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8.xml" ContentType="application/vnd.openxmlformats-officedocument.presentationml.notesSlide+xml"/>
  <Override PartName="/ppt/charts/chart5.xml" ContentType="application/vnd.openxmlformats-officedocument.drawingml.chart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2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72" r:id="rId2"/>
  </p:sldMasterIdLst>
  <p:notesMasterIdLst>
    <p:notesMasterId r:id="rId37"/>
  </p:notesMasterIdLst>
  <p:handoutMasterIdLst>
    <p:handoutMasterId r:id="rId38"/>
  </p:handoutMasterIdLst>
  <p:sldIdLst>
    <p:sldId id="256" r:id="rId3"/>
    <p:sldId id="295" r:id="rId4"/>
    <p:sldId id="298" r:id="rId5"/>
    <p:sldId id="258" r:id="rId6"/>
    <p:sldId id="287" r:id="rId7"/>
    <p:sldId id="288" r:id="rId8"/>
    <p:sldId id="289" r:id="rId9"/>
    <p:sldId id="290" r:id="rId10"/>
    <p:sldId id="266" r:id="rId11"/>
    <p:sldId id="274" r:id="rId12"/>
    <p:sldId id="259" r:id="rId13"/>
    <p:sldId id="276" r:id="rId14"/>
    <p:sldId id="277" r:id="rId15"/>
    <p:sldId id="267" r:id="rId16"/>
    <p:sldId id="294" r:id="rId17"/>
    <p:sldId id="260" r:id="rId18"/>
    <p:sldId id="292" r:id="rId19"/>
    <p:sldId id="301" r:id="rId20"/>
    <p:sldId id="291" r:id="rId21"/>
    <p:sldId id="268" r:id="rId22"/>
    <p:sldId id="262" r:id="rId23"/>
    <p:sldId id="280" r:id="rId24"/>
    <p:sldId id="296" r:id="rId25"/>
    <p:sldId id="265" r:id="rId26"/>
    <p:sldId id="257" r:id="rId27"/>
    <p:sldId id="279" r:id="rId28"/>
    <p:sldId id="273" r:id="rId29"/>
    <p:sldId id="300" r:id="rId30"/>
    <p:sldId id="261" r:id="rId31"/>
    <p:sldId id="269" r:id="rId32"/>
    <p:sldId id="270" r:id="rId33"/>
    <p:sldId id="271" r:id="rId34"/>
    <p:sldId id="263" r:id="rId35"/>
    <p:sldId id="321" r:id="rId36"/>
  </p:sldIdLst>
  <p:sldSz cx="12192000" cy="6858000"/>
  <p:notesSz cx="6858000" cy="9144000"/>
  <p:custDataLst>
    <p:tags r:id="rId3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6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223" autoAdjust="0"/>
    <p:restoredTop sz="95625" autoAdjust="0"/>
  </p:normalViewPr>
  <p:slideViewPr>
    <p:cSldViewPr snapToGrid="0" showGuides="1">
      <p:cViewPr varScale="1">
        <p:scale>
          <a:sx n="90" d="100"/>
          <a:sy n="90" d="100"/>
        </p:scale>
        <p:origin x="78" y="99"/>
      </p:cViewPr>
      <p:guideLst>
        <p:guide orient="horz" pos="2183"/>
        <p:guide pos="386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7764"/>
    </p:cViewPr>
  </p:sorterViewPr>
  <p:notesViewPr>
    <p:cSldViewPr snapToGrid="0">
      <p:cViewPr varScale="1">
        <p:scale>
          <a:sx n="86" d="100"/>
          <a:sy n="86" d="100"/>
        </p:scale>
        <p:origin x="2166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ags" Target="tags/tag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theme" Target="theme/them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ableStyles" Target="tableStyles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849-4B7C-978D-691E7C14C06D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849-4B7C-978D-691E7C14C06D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849-4B7C-978D-691E7C14C06D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849-4B7C-978D-691E7C14C06D}"/>
              </c:ext>
            </c:extLst>
          </c:dPt>
          <c:cat>
            <c:strRef>
              <c:f>Sheet1!$A$2:$A$5</c:f>
              <c:strCache>
                <c:ptCount val="4"/>
                <c:pt idx="0">
                  <c:v>Consulting</c:v>
                </c:pt>
                <c:pt idx="1">
                  <c:v>Marketing</c:v>
                </c:pt>
                <c:pt idx="2">
                  <c:v>Design</c:v>
                </c:pt>
                <c:pt idx="3">
                  <c:v>Management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0</c:v>
                </c:pt>
                <c:pt idx="1">
                  <c:v>80</c:v>
                </c:pt>
                <c:pt idx="2">
                  <c:v>95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849-4B7C-978D-691E7C14C0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overlap val="-27"/>
        <c:axId val="910509136"/>
        <c:axId val="910512272"/>
      </c:barChart>
      <c:catAx>
        <c:axId val="91050913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910512272"/>
        <c:crosses val="autoZero"/>
        <c:auto val="0"/>
        <c:lblAlgn val="ctr"/>
        <c:lblOffset val="100"/>
        <c:noMultiLvlLbl val="0"/>
      </c:catAx>
      <c:valAx>
        <c:axId val="9105122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 smtId="4294967295">
                <a:solidFill>
                  <a:schemeClr val="bg1">
                    <a:lumMod val="65000"/>
                  </a:schemeClr>
                </a:solidFill>
                <a:latin typeface="思源黑体 CN Regular"/>
                <a:ea typeface="思源黑体 CN Regular"/>
                <a:cs typeface="思源黑体 CN Regular" panose="020B0500000000000000" charset="-122"/>
              </a:defRPr>
            </a:pPr>
            <a:endParaRPr lang="zh-CN"/>
          </a:p>
        </c:txPr>
        <c:crossAx val="910509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 smtId="4294967295"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635-40DA-BB65-8484AD1832D6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635-40DA-BB65-8484AD1832D6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A635-40DA-BB65-8484AD1832D6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A635-40DA-BB65-8484AD1832D6}"/>
              </c:ext>
            </c:extLst>
          </c:dPt>
          <c:cat>
            <c:strRef>
              <c:f>Sheet1!$A$2:$A$5</c:f>
              <c:strCache>
                <c:ptCount val="4"/>
                <c:pt idx="0">
                  <c:v>Data 1</c:v>
                </c:pt>
                <c:pt idx="1">
                  <c:v>Data 2</c:v>
                </c:pt>
                <c:pt idx="2">
                  <c:v>Data 3</c:v>
                </c:pt>
                <c:pt idx="3">
                  <c:v>Data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0</c:v>
                </c:pt>
                <c:pt idx="1">
                  <c:v>30</c:v>
                </c:pt>
                <c:pt idx="2">
                  <c:v>40</c:v>
                </c:pt>
                <c:pt idx="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635-40DA-BB65-8484AD1832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1596481800079346"/>
          <c:w val="1"/>
          <c:h val="0.1767080873250961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50" b="0" i="0" u="none" strike="noStrike" kern="1200" baseline="0" smtId="4294967295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思源黑体 CN Regular" panose="020B0500000000000000" charset="-122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 smtId="4294967295"/>
      </a:pPr>
      <a:endParaRPr lang="zh-CN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884-41E8-99D4-370F32A63AF9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1884-41E8-99D4-370F32A63AF9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1884-41E8-99D4-370F32A63AF9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1884-41E8-99D4-370F32A63AF9}"/>
              </c:ext>
            </c:extLst>
          </c:dPt>
          <c:cat>
            <c:strRef>
              <c:f>Sheet1!$A$2:$A$5</c:f>
              <c:strCache>
                <c:ptCount val="4"/>
                <c:pt idx="0">
                  <c:v>Data 1</c:v>
                </c:pt>
                <c:pt idx="1">
                  <c:v>Data 2</c:v>
                </c:pt>
                <c:pt idx="2">
                  <c:v>Data 3</c:v>
                </c:pt>
                <c:pt idx="3">
                  <c:v>Data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0</c:v>
                </c:pt>
                <c:pt idx="1">
                  <c:v>30</c:v>
                </c:pt>
                <c:pt idx="2">
                  <c:v>40</c:v>
                </c:pt>
                <c:pt idx="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884-41E8-99D4-370F32A63A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2208305597305298"/>
          <c:w val="1"/>
          <c:h val="0.1767080873250961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50" b="0" i="0" u="none" strike="noStrike" kern="1200" baseline="0" smtId="4294967295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思源黑体 CN Regular" panose="020B0500000000000000" charset="-122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 smtId="4294967295"/>
      </a:pPr>
      <a:endParaRPr lang="zh-CN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gradFill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2"/>
                </a:gs>
              </a:gsLst>
              <a:lin ang="5400000" scaled="1"/>
            </a:gradFill>
            <a:ln>
              <a:noFill/>
            </a:ln>
            <a:effectLst/>
          </c:spPr>
          <c:cat>
            <c:strRef>
              <c:f>Sheet1!$A$2:$A$7</c:f>
              <c:strCache>
                <c:ptCount val="6"/>
                <c:pt idx="0">
                  <c:v>Data 1</c:v>
                </c:pt>
                <c:pt idx="1">
                  <c:v>Data 2</c:v>
                </c:pt>
                <c:pt idx="2">
                  <c:v>Data 3</c:v>
                </c:pt>
                <c:pt idx="3">
                  <c:v>Data 4</c:v>
                </c:pt>
                <c:pt idx="4">
                  <c:v>Data 5</c:v>
                </c:pt>
                <c:pt idx="5">
                  <c:v>Data 6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3</c:v>
                </c:pt>
                <c:pt idx="1">
                  <c:v>5</c:v>
                </c:pt>
                <c:pt idx="2">
                  <c:v>4</c:v>
                </c:pt>
                <c:pt idx="3">
                  <c:v>2.8</c:v>
                </c:pt>
                <c:pt idx="4">
                  <c:v>5</c:v>
                </c:pt>
                <c:pt idx="5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DF9-47B1-929D-4917943CDF45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gradFill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>
              <a:noFill/>
            </a:ln>
            <a:effectLst/>
          </c:spPr>
          <c:cat>
            <c:strRef>
              <c:f>Sheet1!$A$2:$A$7</c:f>
              <c:strCache>
                <c:ptCount val="6"/>
                <c:pt idx="0">
                  <c:v>Data 1</c:v>
                </c:pt>
                <c:pt idx="1">
                  <c:v>Data 2</c:v>
                </c:pt>
                <c:pt idx="2">
                  <c:v>Data 3</c:v>
                </c:pt>
                <c:pt idx="3">
                  <c:v>Data 4</c:v>
                </c:pt>
                <c:pt idx="4">
                  <c:v>Data 5</c:v>
                </c:pt>
                <c:pt idx="5">
                  <c:v>Data 6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4</c:v>
                </c:pt>
                <c:pt idx="1">
                  <c:v>3</c:v>
                </c:pt>
                <c:pt idx="2">
                  <c:v>3</c:v>
                </c:pt>
                <c:pt idx="3">
                  <c:v>4</c:v>
                </c:pt>
                <c:pt idx="4">
                  <c:v>2</c:v>
                </c:pt>
                <c:pt idx="5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DF9-47B1-929D-4917943CDF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74051168"/>
        <c:axId val="757740192"/>
      </c:areaChart>
      <c:catAx>
        <c:axId val="574051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50" b="0" i="0" u="none" strike="noStrike" kern="1200" baseline="0" smtId="4294967295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思源黑体 CN Regular" panose="020B0500000000000000" charset="-122"/>
              </a:defRPr>
            </a:pPr>
            <a:endParaRPr lang="zh-CN"/>
          </a:p>
        </c:txPr>
        <c:crossAx val="757740192"/>
        <c:crosses val="autoZero"/>
        <c:auto val="0"/>
        <c:lblAlgn val="ctr"/>
        <c:lblOffset val="100"/>
        <c:noMultiLvlLbl val="0"/>
      </c:catAx>
      <c:valAx>
        <c:axId val="75774019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405116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 sz="1050" smtId="4294967295">
          <a:solidFill>
            <a:schemeClr val="bg1">
              <a:lumMod val="65000"/>
            </a:schemeClr>
          </a:solidFill>
          <a:latin typeface="+mn-lt"/>
        </a:defRPr>
      </a:pPr>
      <a:endParaRPr lang="zh-CN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smooth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28575" cap="rnd" cmpd="sng" algn="ctr">
              <a:solidFill>
                <a:schemeClr val="accent6"/>
              </a:solidFill>
              <a:prstDash val="solid"/>
              <a:round/>
            </a:ln>
            <a:effectLst/>
          </c:spPr>
          <c:marker>
            <c:symbol val="circle"/>
            <c:size val="7"/>
            <c:spPr>
              <a:solidFill>
                <a:schemeClr val="accent6"/>
              </a:solidFill>
              <a:ln w="28575" cap="flat" cmpd="sng" algn="ctr">
                <a:solidFill>
                  <a:schemeClr val="accent6"/>
                </a:solidFill>
                <a:prstDash val="solid"/>
                <a:round/>
              </a:ln>
              <a:effectLst/>
            </c:spPr>
          </c:marker>
          <c:xVal>
            <c:numRef>
              <c:f>Sheet1!$A$2:$A$10</c:f>
              <c:numCache>
                <c:formatCode>General</c:formatCode>
                <c:ptCount val="9"/>
                <c:pt idx="0">
                  <c:v>0.1</c:v>
                </c:pt>
                <c:pt idx="1">
                  <c:v>1.2</c:v>
                </c:pt>
                <c:pt idx="2">
                  <c:v>1.8</c:v>
                </c:pt>
                <c:pt idx="3">
                  <c:v>3</c:v>
                </c:pt>
                <c:pt idx="4">
                  <c:v>3.5</c:v>
                </c:pt>
                <c:pt idx="5">
                  <c:v>4</c:v>
                </c:pt>
                <c:pt idx="6">
                  <c:v>4.2</c:v>
                </c:pt>
                <c:pt idx="7">
                  <c:v>4.5</c:v>
                </c:pt>
                <c:pt idx="8">
                  <c:v>5</c:v>
                </c:pt>
              </c:numCache>
            </c:numRef>
          </c:xVal>
          <c:yVal>
            <c:numRef>
              <c:f>Sheet1!$B$2:$B$10</c:f>
              <c:numCache>
                <c:formatCode>General</c:formatCode>
                <c:ptCount val="9"/>
                <c:pt idx="0">
                  <c:v>1</c:v>
                </c:pt>
                <c:pt idx="1">
                  <c:v>2.2000000000000002</c:v>
                </c:pt>
                <c:pt idx="2">
                  <c:v>0.8</c:v>
                </c:pt>
                <c:pt idx="3">
                  <c:v>1.5</c:v>
                </c:pt>
                <c:pt idx="4">
                  <c:v>1.2</c:v>
                </c:pt>
                <c:pt idx="5">
                  <c:v>0.5</c:v>
                </c:pt>
                <c:pt idx="6">
                  <c:v>1.5</c:v>
                </c:pt>
                <c:pt idx="7">
                  <c:v>1</c:v>
                </c:pt>
                <c:pt idx="8">
                  <c:v>2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1D84-450A-8665-469F778E36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48287952"/>
        <c:axId val="1248264432"/>
      </c:scatterChart>
      <c:valAx>
        <c:axId val="12482879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 smtId="4294967295">
                <a:solidFill>
                  <a:schemeClr val="bg1">
                    <a:lumMod val="65000"/>
                  </a:schemeClr>
                </a:solidFill>
                <a:latin typeface="思源黑体 CN Regular"/>
                <a:ea typeface="思源黑体 CN Regular"/>
                <a:cs typeface="思源黑体 CN Regular" panose="020B0500000000000000" charset="-122"/>
              </a:defRPr>
            </a:pPr>
            <a:endParaRPr lang="zh-CN"/>
          </a:p>
        </c:txPr>
        <c:crossAx val="1248264432"/>
        <c:crosses val="autoZero"/>
        <c:crossBetween val="midCat"/>
      </c:valAx>
      <c:valAx>
        <c:axId val="12482644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 smtId="4294967295">
                <a:solidFill>
                  <a:schemeClr val="bg1">
                    <a:lumMod val="65000"/>
                  </a:schemeClr>
                </a:solidFill>
                <a:latin typeface="思源黑体 CN Regular"/>
                <a:ea typeface="思源黑体 CN Regular"/>
                <a:cs typeface="思源黑体 CN Regular" panose="020B0500000000000000" charset="-122"/>
              </a:defRPr>
            </a:pPr>
            <a:endParaRPr lang="zh-CN"/>
          </a:p>
        </c:txPr>
        <c:crossAx val="124828795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 smtId="4294967295"/>
      </a:pPr>
      <a:endParaRPr lang="zh-CN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 dirty="0"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DEB0AD-8502-4CC1-BDC6-C3444BC6AF1C}" type="datetimeFigureOut">
              <a:rPr lang="zh-CN" altLang="en-US" smtClean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2024/11/6</a:t>
            </a:fld>
            <a:endParaRPr lang="zh-CN" altLang="en-US" dirty="0"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 dirty="0"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9F4A2F-B0B4-42C4-8D67-A1465380B7D3}" type="slidenum">
              <a:rPr lang="zh-CN" altLang="en-US" smtClean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‹#›</a:t>
            </a:fld>
            <a:endParaRPr lang="zh-CN" altLang="en-US" dirty="0"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方正综艺简体" panose="03000509000000000000" pitchFamily="65" charset="-122"/>
                <a:ea typeface="方正综艺简体" panose="03000509000000000000" pitchFamily="65" charset="-122"/>
                <a:cs typeface="方正综艺简体" panose="03000509000000000000" pitchFamily="65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方正综艺简体" panose="03000509000000000000" pitchFamily="65" charset="-122"/>
                <a:ea typeface="方正综艺简体" panose="03000509000000000000" pitchFamily="65" charset="-122"/>
                <a:cs typeface="方正综艺简体" panose="03000509000000000000" pitchFamily="65" charset="-122"/>
              </a:defRPr>
            </a:lvl1pPr>
          </a:lstStyle>
          <a:p>
            <a:fld id="{204CF62A-3BC4-4713-981C-E971F3397310}" type="datetimeFigureOut">
              <a:rPr lang="zh-CN" altLang="en-US" smtClean="0"/>
              <a:pPr/>
              <a:t>2024/11/6</a:t>
            </a:fld>
            <a:endParaRPr lang="zh-CN" altLang="en-US" dirty="0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方正综艺简体" panose="03000509000000000000" pitchFamily="65" charset="-122"/>
                <a:ea typeface="方正综艺简体" panose="03000509000000000000" pitchFamily="65" charset="-122"/>
                <a:cs typeface="方正综艺简体" panose="03000509000000000000" pitchFamily="65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方正综艺简体" panose="03000509000000000000" pitchFamily="65" charset="-122"/>
                <a:ea typeface="方正综艺简体" panose="03000509000000000000" pitchFamily="65" charset="-122"/>
                <a:cs typeface="方正综艺简体" panose="03000509000000000000" pitchFamily="65" charset="-122"/>
              </a:defRPr>
            </a:lvl1pPr>
          </a:lstStyle>
          <a:p>
            <a:fld id="{641B8E1C-0BEC-497B-9987-5C8A53428959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方正综艺简体" panose="03000509000000000000" pitchFamily="65" charset="-122"/>
        <a:ea typeface="方正综艺简体" panose="03000509000000000000" pitchFamily="65" charset="-122"/>
        <a:cs typeface="方正综艺简体" panose="03000509000000000000" pitchFamily="65" charset="-122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方正综艺简体" panose="03000509000000000000" pitchFamily="65" charset="-122"/>
        <a:ea typeface="方正综艺简体" panose="03000509000000000000" pitchFamily="65" charset="-122"/>
        <a:cs typeface="方正综艺简体" panose="03000509000000000000" pitchFamily="65" charset="-122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方正综艺简体" panose="03000509000000000000" pitchFamily="65" charset="-122"/>
        <a:ea typeface="方正综艺简体" panose="03000509000000000000" pitchFamily="65" charset="-122"/>
        <a:cs typeface="方正综艺简体" panose="03000509000000000000" pitchFamily="65" charset="-122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方正综艺简体" panose="03000509000000000000" pitchFamily="65" charset="-122"/>
        <a:ea typeface="方正综艺简体" panose="03000509000000000000" pitchFamily="65" charset="-122"/>
        <a:cs typeface="方正综艺简体" panose="03000509000000000000" pitchFamily="65" charset="-122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方正综艺简体" panose="03000509000000000000" pitchFamily="65" charset="-122"/>
        <a:ea typeface="方正综艺简体" panose="03000509000000000000" pitchFamily="65" charset="-122"/>
        <a:cs typeface="方正综艺简体" panose="03000509000000000000" pitchFamily="65" charset="-122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Template from: https://www.freeppt7.com/</a:t>
            </a:r>
            <a:endParaRPr lang="zh-CN" altLang="en-US" dirty="0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CAA1F-465C-4B0C-A122-B391DDE820B7}" type="datetimeFigureOut">
              <a:rPr lang="zh-CN" altLang="en-US" smtClean="0"/>
              <a:t>2024/11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19652-E430-4889-8A05-3ED8B59E777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/>
  <p:hf sldNum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Master #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hape 35"/>
          <p:cNvSpPr/>
          <p:nvPr/>
        </p:nvSpPr>
        <p:spPr>
          <a:xfrm>
            <a:off x="-57150" y="-120650"/>
            <a:ext cx="12306300" cy="6997700"/>
          </a:xfrm>
          <a:prstGeom prst="rect">
            <a:avLst/>
          </a:prstGeom>
          <a:gradFill>
            <a:gsLst>
              <a:gs pos="100000">
                <a:schemeClr val="accent5"/>
              </a:gs>
              <a:gs pos="13000">
                <a:schemeClr val="accent2"/>
              </a:gs>
            </a:gsLst>
            <a:lin ang="5400000"/>
          </a:gradFill>
          <a:ln w="25400">
            <a:solidFill>
              <a:srgbClr val="EBEBEB"/>
            </a:solidFill>
            <a:miter lim="400000"/>
          </a:ln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7" name="Picture Placeholder 17"/>
          <p:cNvSpPr>
            <a:spLocks noGrp="1" noChangeAspect="1"/>
          </p:cNvSpPr>
          <p:nvPr>
            <p:ph type="pic" sz="quarter" idx="10"/>
          </p:nvPr>
        </p:nvSpPr>
        <p:spPr>
          <a:xfrm>
            <a:off x="7406453" y="2936053"/>
            <a:ext cx="2251800" cy="2251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</p:spTree>
  </p:cSld>
  <p:clrMapOvr>
    <a:masterClrMapping/>
  </p:clrMapOvr>
  <p:transition spd="med"/>
  <p:hf sldNum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/>
  <p:hf sldNum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7"/>
          <p:cNvSpPr>
            <a:spLocks noGrp="1" noChangeAspect="1"/>
          </p:cNvSpPr>
          <p:nvPr>
            <p:ph type="pic" sz="quarter" idx="10"/>
          </p:nvPr>
        </p:nvSpPr>
        <p:spPr>
          <a:xfrm>
            <a:off x="1992667" y="1885762"/>
            <a:ext cx="1326600" cy="13266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22" name="Picture Placeholder 17"/>
          <p:cNvSpPr>
            <a:spLocks noGrp="1" noChangeAspect="1"/>
          </p:cNvSpPr>
          <p:nvPr>
            <p:ph type="pic" sz="quarter" idx="11"/>
          </p:nvPr>
        </p:nvSpPr>
        <p:spPr>
          <a:xfrm>
            <a:off x="5471798" y="1885762"/>
            <a:ext cx="1326600" cy="13266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23" name="Picture Placeholder 17"/>
          <p:cNvSpPr>
            <a:spLocks noGrp="1" noChangeAspect="1"/>
          </p:cNvSpPr>
          <p:nvPr>
            <p:ph type="pic" sz="quarter" idx="12"/>
          </p:nvPr>
        </p:nvSpPr>
        <p:spPr>
          <a:xfrm>
            <a:off x="8930500" y="1885762"/>
            <a:ext cx="1326600" cy="13266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</p:spTree>
  </p:cSld>
  <p:clrMapOvr>
    <a:masterClrMapping/>
  </p:clrMapOvr>
  <p:transition spd="med"/>
  <p:hf sldNum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4918" y="1032387"/>
            <a:ext cx="2729892" cy="2396613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</p:spPr>
        <p:txBody>
          <a:bodyPr/>
          <a:lstStyle>
            <a:lvl1pPr marL="0" indent="0" algn="ctr">
              <a:buNone/>
              <a:defRPr sz="1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944812" y="1032387"/>
            <a:ext cx="2729892" cy="2396613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</p:spPr>
        <p:txBody>
          <a:bodyPr/>
          <a:lstStyle>
            <a:lvl1pPr marL="0" indent="0" algn="ctr">
              <a:buNone/>
              <a:defRPr sz="1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214918" y="3429000"/>
            <a:ext cx="2729892" cy="2396613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</p:spPr>
        <p:txBody>
          <a:bodyPr/>
          <a:lstStyle>
            <a:lvl1pPr marL="0" indent="0" algn="ctr">
              <a:buNone/>
              <a:defRPr sz="1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3944812" y="3429000"/>
            <a:ext cx="2729892" cy="2396613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</p:spPr>
        <p:txBody>
          <a:bodyPr/>
          <a:lstStyle>
            <a:lvl1pPr marL="0" indent="0" algn="ctr">
              <a:buNone/>
              <a:defRPr sz="1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</p:cSld>
  <p:clrMapOvr>
    <a:masterClrMapping/>
  </p:clrMapOvr>
  <p:transition/>
  <p:hf sldNum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4154408" cy="6858001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effectLst/>
        </p:spPr>
        <p:txBody>
          <a:bodyPr/>
          <a:lstStyle>
            <a:lvl1pPr marL="0" indent="0" algn="ctr">
              <a:buNone/>
              <a:defRPr sz="175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id-ID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ur="75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ldLvl="0" animBg="1"/>
    </p:bldLst>
  </p:timing>
  <p:hf sldNum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  <p:hf sldNum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12192000" cy="4763729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0" y="201630"/>
            <a:ext cx="7162800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0" y="4763728"/>
            <a:ext cx="12192000" cy="209427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endParaRPr lang="id-ID"/>
          </a:p>
        </p:txBody>
      </p:sp>
    </p:spTree>
  </p:cSld>
  <p:clrMapOvr>
    <a:masterClrMapping/>
  </p:clrMapOvr>
  <p:transition/>
  <p:hf sldNum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59245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id-ID"/>
          </a:p>
        </p:txBody>
      </p:sp>
    </p:spTree>
  </p:cSld>
  <p:clrMapOvr>
    <a:masterClrMapping/>
  </p:clrMapOvr>
  <p:transition/>
  <p:hf sldNum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  <p:hf sldNum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2032388" y="638959"/>
            <a:ext cx="2129544" cy="2129544"/>
          </a:xfrm>
          <a:custGeom>
            <a:avLst/>
            <a:gdLst>
              <a:gd name="connsiteX0" fmla="*/ 1064772 w 2129544"/>
              <a:gd name="connsiteY0" fmla="*/ 0 h 2129544"/>
              <a:gd name="connsiteX1" fmla="*/ 2129544 w 2129544"/>
              <a:gd name="connsiteY1" fmla="*/ 1064772 h 2129544"/>
              <a:gd name="connsiteX2" fmla="*/ 1064772 w 2129544"/>
              <a:gd name="connsiteY2" fmla="*/ 2129544 h 2129544"/>
              <a:gd name="connsiteX3" fmla="*/ 0 w 2129544"/>
              <a:gd name="connsiteY3" fmla="*/ 1064772 h 2129544"/>
              <a:gd name="connsiteX4" fmla="*/ 1064772 w 2129544"/>
              <a:gd name="connsiteY4" fmla="*/ 0 h 2129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29544" h="2129544">
                <a:moveTo>
                  <a:pt x="1064772" y="0"/>
                </a:moveTo>
                <a:cubicBezTo>
                  <a:pt x="1652829" y="0"/>
                  <a:pt x="2129544" y="476715"/>
                  <a:pt x="2129544" y="1064772"/>
                </a:cubicBezTo>
                <a:cubicBezTo>
                  <a:pt x="2129544" y="1652829"/>
                  <a:pt x="1652829" y="2129544"/>
                  <a:pt x="1064772" y="2129544"/>
                </a:cubicBezTo>
                <a:cubicBezTo>
                  <a:pt x="476715" y="2129544"/>
                  <a:pt x="0" y="1652829"/>
                  <a:pt x="0" y="1064772"/>
                </a:cubicBezTo>
                <a:cubicBezTo>
                  <a:pt x="0" y="476715"/>
                  <a:pt x="476715" y="0"/>
                  <a:pt x="1064772" y="0"/>
                </a:cubicBezTo>
                <a:close/>
              </a:path>
            </a:pathLst>
          </a:custGeom>
          <a:effectLst>
            <a:outerShdw blurRad="228600" dist="38100" dir="5400000" algn="t" rotWithShape="0">
              <a:prstClr val="black">
                <a:alpha val="26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ur="1000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ldLvl="0" animBg="1"/>
    </p:bldLst>
  </p:timing>
  <p:hf sldNum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CAA1F-465C-4B0C-A122-B391DDE820B7}" type="datetimeFigureOut">
              <a:rPr lang="zh-CN" altLang="en-US" smtClean="0"/>
              <a:t>2024/11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19652-E430-4889-8A05-3ED8B59E777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/>
  <p:hf sldNum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 rot="300380">
            <a:off x="6763096" y="1534698"/>
            <a:ext cx="4309022" cy="2867729"/>
          </a:xfrm>
          <a:custGeom>
            <a:avLst/>
            <a:gdLst>
              <a:gd name="connsiteX0" fmla="*/ 0 w 3507697"/>
              <a:gd name="connsiteY0" fmla="*/ 0 h 2338388"/>
              <a:gd name="connsiteX1" fmla="*/ 3507697 w 3507697"/>
              <a:gd name="connsiteY1" fmla="*/ 0 h 2338388"/>
              <a:gd name="connsiteX2" fmla="*/ 3507697 w 3507697"/>
              <a:gd name="connsiteY2" fmla="*/ 2338388 h 2338388"/>
              <a:gd name="connsiteX3" fmla="*/ 0 w 3507697"/>
              <a:gd name="connsiteY3" fmla="*/ 2338388 h 2338388"/>
              <a:gd name="connsiteX4" fmla="*/ 0 w 3507697"/>
              <a:gd name="connsiteY4" fmla="*/ 0 h 2338388"/>
              <a:gd name="connsiteX0-1" fmla="*/ 0 w 3783518"/>
              <a:gd name="connsiteY0-2" fmla="*/ 169497 h 2507885"/>
              <a:gd name="connsiteX1-3" fmla="*/ 3783518 w 3783518"/>
              <a:gd name="connsiteY1-4" fmla="*/ 0 h 2507885"/>
              <a:gd name="connsiteX2-5" fmla="*/ 3507697 w 3783518"/>
              <a:gd name="connsiteY2-6" fmla="*/ 2507885 h 2507885"/>
              <a:gd name="connsiteX3-7" fmla="*/ 0 w 3783518"/>
              <a:gd name="connsiteY3-8" fmla="*/ 2507885 h 2507885"/>
              <a:gd name="connsiteX4-9" fmla="*/ 0 w 3783518"/>
              <a:gd name="connsiteY4-10" fmla="*/ 169497 h 2507885"/>
              <a:gd name="connsiteX0-11" fmla="*/ 0 w 3889791"/>
              <a:gd name="connsiteY0-12" fmla="*/ 178806 h 2517194"/>
              <a:gd name="connsiteX1-13" fmla="*/ 3889791 w 3889791"/>
              <a:gd name="connsiteY1-14" fmla="*/ 0 h 2517194"/>
              <a:gd name="connsiteX2-15" fmla="*/ 3507697 w 3889791"/>
              <a:gd name="connsiteY2-16" fmla="*/ 2517194 h 2517194"/>
              <a:gd name="connsiteX3-17" fmla="*/ 0 w 3889791"/>
              <a:gd name="connsiteY3-18" fmla="*/ 2517194 h 2517194"/>
              <a:gd name="connsiteX4-19" fmla="*/ 0 w 3889791"/>
              <a:gd name="connsiteY4-20" fmla="*/ 178806 h 2517194"/>
              <a:gd name="connsiteX0-21" fmla="*/ 0 w 3966642"/>
              <a:gd name="connsiteY0-22" fmla="*/ 262030 h 2600418"/>
              <a:gd name="connsiteX1-23" fmla="*/ 3966642 w 3966642"/>
              <a:gd name="connsiteY1-24" fmla="*/ 0 h 2600418"/>
              <a:gd name="connsiteX2-25" fmla="*/ 3507697 w 3966642"/>
              <a:gd name="connsiteY2-26" fmla="*/ 2600418 h 2600418"/>
              <a:gd name="connsiteX3-27" fmla="*/ 0 w 3966642"/>
              <a:gd name="connsiteY3-28" fmla="*/ 2600418 h 2600418"/>
              <a:gd name="connsiteX4-29" fmla="*/ 0 w 3966642"/>
              <a:gd name="connsiteY4-30" fmla="*/ 262030 h 2600418"/>
              <a:gd name="connsiteX0-31" fmla="*/ 0 w 4072250"/>
              <a:gd name="connsiteY0-32" fmla="*/ 278931 h 2617319"/>
              <a:gd name="connsiteX1-33" fmla="*/ 4072250 w 4072250"/>
              <a:gd name="connsiteY1-34" fmla="*/ 0 h 2617319"/>
              <a:gd name="connsiteX2-35" fmla="*/ 3507697 w 4072250"/>
              <a:gd name="connsiteY2-36" fmla="*/ 2617319 h 2617319"/>
              <a:gd name="connsiteX3-37" fmla="*/ 0 w 4072250"/>
              <a:gd name="connsiteY3-38" fmla="*/ 2617319 h 2617319"/>
              <a:gd name="connsiteX4-39" fmla="*/ 0 w 4072250"/>
              <a:gd name="connsiteY4-40" fmla="*/ 278931 h 2617319"/>
              <a:gd name="connsiteX0-41" fmla="*/ 0 w 4128988"/>
              <a:gd name="connsiteY0-42" fmla="*/ 329796 h 2668184"/>
              <a:gd name="connsiteX1-43" fmla="*/ 4128988 w 4128988"/>
              <a:gd name="connsiteY1-44" fmla="*/ 0 h 2668184"/>
              <a:gd name="connsiteX2-45" fmla="*/ 3507697 w 4128988"/>
              <a:gd name="connsiteY2-46" fmla="*/ 2668184 h 2668184"/>
              <a:gd name="connsiteX3-47" fmla="*/ 0 w 4128988"/>
              <a:gd name="connsiteY3-48" fmla="*/ 2668184 h 2668184"/>
              <a:gd name="connsiteX4-49" fmla="*/ 0 w 4128988"/>
              <a:gd name="connsiteY4-50" fmla="*/ 329796 h 2668184"/>
              <a:gd name="connsiteX0-51" fmla="*/ 0 w 4086102"/>
              <a:gd name="connsiteY0-52" fmla="*/ 295443 h 2633831"/>
              <a:gd name="connsiteX1-53" fmla="*/ 4086102 w 4086102"/>
              <a:gd name="connsiteY1-54" fmla="*/ 0 h 2633831"/>
              <a:gd name="connsiteX2-55" fmla="*/ 3507697 w 4086102"/>
              <a:gd name="connsiteY2-56" fmla="*/ 2633831 h 2633831"/>
              <a:gd name="connsiteX3-57" fmla="*/ 0 w 4086102"/>
              <a:gd name="connsiteY3-58" fmla="*/ 2633831 h 2633831"/>
              <a:gd name="connsiteX4-59" fmla="*/ 0 w 4086102"/>
              <a:gd name="connsiteY4-60" fmla="*/ 295443 h 2633831"/>
              <a:gd name="connsiteX0-61" fmla="*/ 0 w 4086102"/>
              <a:gd name="connsiteY0-62" fmla="*/ 295443 h 2695111"/>
              <a:gd name="connsiteX1-63" fmla="*/ 4086102 w 4086102"/>
              <a:gd name="connsiteY1-64" fmla="*/ 0 h 2695111"/>
              <a:gd name="connsiteX2-65" fmla="*/ 3681347 w 4086102"/>
              <a:gd name="connsiteY2-66" fmla="*/ 2695111 h 2695111"/>
              <a:gd name="connsiteX3-67" fmla="*/ 0 w 4086102"/>
              <a:gd name="connsiteY3-68" fmla="*/ 2633831 h 2695111"/>
              <a:gd name="connsiteX4-69" fmla="*/ 0 w 4086102"/>
              <a:gd name="connsiteY4-70" fmla="*/ 295443 h 2695111"/>
              <a:gd name="connsiteX0-71" fmla="*/ 0 w 4086102"/>
              <a:gd name="connsiteY0-72" fmla="*/ 295443 h 2798060"/>
              <a:gd name="connsiteX1-73" fmla="*/ 4086102 w 4086102"/>
              <a:gd name="connsiteY1-74" fmla="*/ 0 h 2798060"/>
              <a:gd name="connsiteX2-75" fmla="*/ 3728611 w 4086102"/>
              <a:gd name="connsiteY2-76" fmla="*/ 2798060 h 2798060"/>
              <a:gd name="connsiteX3-77" fmla="*/ 0 w 4086102"/>
              <a:gd name="connsiteY3-78" fmla="*/ 2633831 h 2798060"/>
              <a:gd name="connsiteX4-79" fmla="*/ 0 w 4086102"/>
              <a:gd name="connsiteY4-80" fmla="*/ 295443 h 2798060"/>
              <a:gd name="connsiteX0-81" fmla="*/ 0 w 4086102"/>
              <a:gd name="connsiteY0-82" fmla="*/ 295443 h 2841611"/>
              <a:gd name="connsiteX1-83" fmla="*/ 4086102 w 4086102"/>
              <a:gd name="connsiteY1-84" fmla="*/ 0 h 2841611"/>
              <a:gd name="connsiteX2-85" fmla="*/ 3755373 w 4086102"/>
              <a:gd name="connsiteY2-86" fmla="*/ 2841611 h 2841611"/>
              <a:gd name="connsiteX3-87" fmla="*/ 0 w 4086102"/>
              <a:gd name="connsiteY3-88" fmla="*/ 2633831 h 2841611"/>
              <a:gd name="connsiteX4-89" fmla="*/ 0 w 4086102"/>
              <a:gd name="connsiteY4-90" fmla="*/ 295443 h 2841611"/>
              <a:gd name="connsiteX0-91" fmla="*/ 0 w 4086102"/>
              <a:gd name="connsiteY0-92" fmla="*/ 295443 h 2832025"/>
              <a:gd name="connsiteX1-93" fmla="*/ 4086102 w 4086102"/>
              <a:gd name="connsiteY1-94" fmla="*/ 0 h 2832025"/>
              <a:gd name="connsiteX2-95" fmla="*/ 3777481 w 4086102"/>
              <a:gd name="connsiteY2-96" fmla="*/ 2832025 h 2832025"/>
              <a:gd name="connsiteX3-97" fmla="*/ 0 w 4086102"/>
              <a:gd name="connsiteY3-98" fmla="*/ 2633831 h 2832025"/>
              <a:gd name="connsiteX4-99" fmla="*/ 0 w 4086102"/>
              <a:gd name="connsiteY4-100" fmla="*/ 295443 h 2832025"/>
              <a:gd name="connsiteX0-101" fmla="*/ 105884 w 4191986"/>
              <a:gd name="connsiteY0-102" fmla="*/ 295443 h 2832025"/>
              <a:gd name="connsiteX1-103" fmla="*/ 4191986 w 4191986"/>
              <a:gd name="connsiteY1-104" fmla="*/ 0 h 2832025"/>
              <a:gd name="connsiteX2-105" fmla="*/ 3883365 w 4191986"/>
              <a:gd name="connsiteY2-106" fmla="*/ 2832025 h 2832025"/>
              <a:gd name="connsiteX3-107" fmla="*/ 0 w 4191986"/>
              <a:gd name="connsiteY3-108" fmla="*/ 2734897 h 2832025"/>
              <a:gd name="connsiteX4-109" fmla="*/ 105884 w 4191986"/>
              <a:gd name="connsiteY4-110" fmla="*/ 295443 h 2832025"/>
              <a:gd name="connsiteX0-111" fmla="*/ 197364 w 4283466"/>
              <a:gd name="connsiteY0-112" fmla="*/ 295443 h 2832025"/>
              <a:gd name="connsiteX1-113" fmla="*/ 4283466 w 4283466"/>
              <a:gd name="connsiteY1-114" fmla="*/ 0 h 2832025"/>
              <a:gd name="connsiteX2-115" fmla="*/ 3974845 w 4283466"/>
              <a:gd name="connsiteY2-116" fmla="*/ 2832025 h 2832025"/>
              <a:gd name="connsiteX3-117" fmla="*/ 0 w 4283466"/>
              <a:gd name="connsiteY3-118" fmla="*/ 2651120 h 2832025"/>
              <a:gd name="connsiteX4-119" fmla="*/ 197364 w 4283466"/>
              <a:gd name="connsiteY4-120" fmla="*/ 295443 h 2832025"/>
              <a:gd name="connsiteX0-121" fmla="*/ 284189 w 4283466"/>
              <a:gd name="connsiteY0-122" fmla="*/ 326083 h 2832025"/>
              <a:gd name="connsiteX1-123" fmla="*/ 4283466 w 4283466"/>
              <a:gd name="connsiteY1-124" fmla="*/ 0 h 2832025"/>
              <a:gd name="connsiteX2-125" fmla="*/ 3974845 w 4283466"/>
              <a:gd name="connsiteY2-126" fmla="*/ 2832025 h 2832025"/>
              <a:gd name="connsiteX3-127" fmla="*/ 0 w 4283466"/>
              <a:gd name="connsiteY3-128" fmla="*/ 2651120 h 2832025"/>
              <a:gd name="connsiteX4-129" fmla="*/ 284189 w 4283466"/>
              <a:gd name="connsiteY4-130" fmla="*/ 326083 h 2832025"/>
              <a:gd name="connsiteX0-131" fmla="*/ 399383 w 4283466"/>
              <a:gd name="connsiteY0-132" fmla="*/ 331290 h 2832025"/>
              <a:gd name="connsiteX1-133" fmla="*/ 4283466 w 4283466"/>
              <a:gd name="connsiteY1-134" fmla="*/ 0 h 2832025"/>
              <a:gd name="connsiteX2-135" fmla="*/ 3974845 w 4283466"/>
              <a:gd name="connsiteY2-136" fmla="*/ 2832025 h 2832025"/>
              <a:gd name="connsiteX3-137" fmla="*/ 0 w 4283466"/>
              <a:gd name="connsiteY3-138" fmla="*/ 2651120 h 2832025"/>
              <a:gd name="connsiteX4-139" fmla="*/ 399383 w 4283466"/>
              <a:gd name="connsiteY4-140" fmla="*/ 331290 h 2832025"/>
              <a:gd name="connsiteX0-141" fmla="*/ 437338 w 4283466"/>
              <a:gd name="connsiteY0-142" fmla="*/ 327965 h 2832025"/>
              <a:gd name="connsiteX1-143" fmla="*/ 4283466 w 4283466"/>
              <a:gd name="connsiteY1-144" fmla="*/ 0 h 2832025"/>
              <a:gd name="connsiteX2-145" fmla="*/ 3974845 w 4283466"/>
              <a:gd name="connsiteY2-146" fmla="*/ 2832025 h 2832025"/>
              <a:gd name="connsiteX3-147" fmla="*/ 0 w 4283466"/>
              <a:gd name="connsiteY3-148" fmla="*/ 2651120 h 2832025"/>
              <a:gd name="connsiteX4-149" fmla="*/ 437338 w 4283466"/>
              <a:gd name="connsiteY4-150" fmla="*/ 327965 h 2832025"/>
              <a:gd name="connsiteX0-151" fmla="*/ 433348 w 4283466"/>
              <a:gd name="connsiteY0-152" fmla="*/ 282420 h 2832025"/>
              <a:gd name="connsiteX1-153" fmla="*/ 4283466 w 4283466"/>
              <a:gd name="connsiteY1-154" fmla="*/ 0 h 2832025"/>
              <a:gd name="connsiteX2-155" fmla="*/ 3974845 w 4283466"/>
              <a:gd name="connsiteY2-156" fmla="*/ 2832025 h 2832025"/>
              <a:gd name="connsiteX3-157" fmla="*/ 0 w 4283466"/>
              <a:gd name="connsiteY3-158" fmla="*/ 2651120 h 2832025"/>
              <a:gd name="connsiteX4-159" fmla="*/ 433348 w 4283466"/>
              <a:gd name="connsiteY4-160" fmla="*/ 282420 h 2832025"/>
              <a:gd name="connsiteX0-161" fmla="*/ 463712 w 4283466"/>
              <a:gd name="connsiteY0-162" fmla="*/ 279760 h 2832025"/>
              <a:gd name="connsiteX1-163" fmla="*/ 4283466 w 4283466"/>
              <a:gd name="connsiteY1-164" fmla="*/ 0 h 2832025"/>
              <a:gd name="connsiteX2-165" fmla="*/ 3974845 w 4283466"/>
              <a:gd name="connsiteY2-166" fmla="*/ 2832025 h 2832025"/>
              <a:gd name="connsiteX3-167" fmla="*/ 0 w 4283466"/>
              <a:gd name="connsiteY3-168" fmla="*/ 2651120 h 2832025"/>
              <a:gd name="connsiteX4-169" fmla="*/ 463712 w 4283466"/>
              <a:gd name="connsiteY4-170" fmla="*/ 279760 h 2832025"/>
              <a:gd name="connsiteX0-171" fmla="*/ 482344 w 4283466"/>
              <a:gd name="connsiteY0-172" fmla="*/ 383305 h 2832025"/>
              <a:gd name="connsiteX1-173" fmla="*/ 4283466 w 4283466"/>
              <a:gd name="connsiteY1-174" fmla="*/ 0 h 2832025"/>
              <a:gd name="connsiteX2-175" fmla="*/ 3974845 w 4283466"/>
              <a:gd name="connsiteY2-176" fmla="*/ 2832025 h 2832025"/>
              <a:gd name="connsiteX3-177" fmla="*/ 0 w 4283466"/>
              <a:gd name="connsiteY3-178" fmla="*/ 2651120 h 2832025"/>
              <a:gd name="connsiteX4-179" fmla="*/ 482344 w 4283466"/>
              <a:gd name="connsiteY4-180" fmla="*/ 383305 h 2832025"/>
              <a:gd name="connsiteX0-181" fmla="*/ 468699 w 4283466"/>
              <a:gd name="connsiteY0-182" fmla="*/ 336693 h 2832025"/>
              <a:gd name="connsiteX1-183" fmla="*/ 4283466 w 4283466"/>
              <a:gd name="connsiteY1-184" fmla="*/ 0 h 2832025"/>
              <a:gd name="connsiteX2-185" fmla="*/ 3974845 w 4283466"/>
              <a:gd name="connsiteY2-186" fmla="*/ 2832025 h 2832025"/>
              <a:gd name="connsiteX3-187" fmla="*/ 0 w 4283466"/>
              <a:gd name="connsiteY3-188" fmla="*/ 2651120 h 2832025"/>
              <a:gd name="connsiteX4-189" fmla="*/ 468699 w 4283466"/>
              <a:gd name="connsiteY4-190" fmla="*/ 336693 h 2832025"/>
              <a:gd name="connsiteX0-191" fmla="*/ 470534 w 4283466"/>
              <a:gd name="connsiteY0-192" fmla="*/ 303066 h 2832025"/>
              <a:gd name="connsiteX1-193" fmla="*/ 4283466 w 4283466"/>
              <a:gd name="connsiteY1-194" fmla="*/ 0 h 2832025"/>
              <a:gd name="connsiteX2-195" fmla="*/ 3974845 w 4283466"/>
              <a:gd name="connsiteY2-196" fmla="*/ 2832025 h 2832025"/>
              <a:gd name="connsiteX3-197" fmla="*/ 0 w 4283466"/>
              <a:gd name="connsiteY3-198" fmla="*/ 2651120 h 2832025"/>
              <a:gd name="connsiteX4-199" fmla="*/ 470534 w 4283466"/>
              <a:gd name="connsiteY4-200" fmla="*/ 303066 h 2832025"/>
              <a:gd name="connsiteX0-201" fmla="*/ 450309 w 4283466"/>
              <a:gd name="connsiteY0-202" fmla="*/ 290495 h 2832025"/>
              <a:gd name="connsiteX1-203" fmla="*/ 4283466 w 4283466"/>
              <a:gd name="connsiteY1-204" fmla="*/ 0 h 2832025"/>
              <a:gd name="connsiteX2-205" fmla="*/ 3974845 w 4283466"/>
              <a:gd name="connsiteY2-206" fmla="*/ 2832025 h 2832025"/>
              <a:gd name="connsiteX3-207" fmla="*/ 0 w 4283466"/>
              <a:gd name="connsiteY3-208" fmla="*/ 2651120 h 2832025"/>
              <a:gd name="connsiteX4-209" fmla="*/ 450309 w 4283466"/>
              <a:gd name="connsiteY4-210" fmla="*/ 290495 h 2832025"/>
              <a:gd name="connsiteX0-211" fmla="*/ 450309 w 4296452"/>
              <a:gd name="connsiteY0-212" fmla="*/ 305975 h 2847505"/>
              <a:gd name="connsiteX1-213" fmla="*/ 4296452 w 4296452"/>
              <a:gd name="connsiteY1-214" fmla="*/ 0 h 2847505"/>
              <a:gd name="connsiteX2-215" fmla="*/ 3974845 w 4296452"/>
              <a:gd name="connsiteY2-216" fmla="*/ 2847505 h 2847505"/>
              <a:gd name="connsiteX3-217" fmla="*/ 0 w 4296452"/>
              <a:gd name="connsiteY3-218" fmla="*/ 2666600 h 2847505"/>
              <a:gd name="connsiteX4-219" fmla="*/ 450309 w 4296452"/>
              <a:gd name="connsiteY4-220" fmla="*/ 305975 h 2847505"/>
              <a:gd name="connsiteX0-221" fmla="*/ 450309 w 4310684"/>
              <a:gd name="connsiteY0-222" fmla="*/ 307222 h 2848752"/>
              <a:gd name="connsiteX1-223" fmla="*/ 4310684 w 4310684"/>
              <a:gd name="connsiteY1-224" fmla="*/ 0 h 2848752"/>
              <a:gd name="connsiteX2-225" fmla="*/ 3974845 w 4310684"/>
              <a:gd name="connsiteY2-226" fmla="*/ 2848752 h 2848752"/>
              <a:gd name="connsiteX3-227" fmla="*/ 0 w 4310684"/>
              <a:gd name="connsiteY3-228" fmla="*/ 2667847 h 2848752"/>
              <a:gd name="connsiteX4-229" fmla="*/ 450309 w 4310684"/>
              <a:gd name="connsiteY4-230" fmla="*/ 307222 h 2848752"/>
              <a:gd name="connsiteX0-231" fmla="*/ 450309 w 4310684"/>
              <a:gd name="connsiteY0-232" fmla="*/ 307222 h 2867729"/>
              <a:gd name="connsiteX1-233" fmla="*/ 4310684 w 4310684"/>
              <a:gd name="connsiteY1-234" fmla="*/ 0 h 2867729"/>
              <a:gd name="connsiteX2-235" fmla="*/ 3976507 w 4310684"/>
              <a:gd name="connsiteY2-236" fmla="*/ 2867729 h 2867729"/>
              <a:gd name="connsiteX3-237" fmla="*/ 0 w 4310684"/>
              <a:gd name="connsiteY3-238" fmla="*/ 2667847 h 2867729"/>
              <a:gd name="connsiteX4-239" fmla="*/ 450309 w 4310684"/>
              <a:gd name="connsiteY4-240" fmla="*/ 307222 h 2867729"/>
              <a:gd name="connsiteX0-241" fmla="*/ 445149 w 4305524"/>
              <a:gd name="connsiteY0-242" fmla="*/ 307222 h 2867729"/>
              <a:gd name="connsiteX1-243" fmla="*/ 4305524 w 4305524"/>
              <a:gd name="connsiteY1-244" fmla="*/ 0 h 2867729"/>
              <a:gd name="connsiteX2-245" fmla="*/ 3971347 w 4305524"/>
              <a:gd name="connsiteY2-246" fmla="*/ 2867729 h 2867729"/>
              <a:gd name="connsiteX3-247" fmla="*/ 0 w 4305524"/>
              <a:gd name="connsiteY3-248" fmla="*/ 2672175 h 2867729"/>
              <a:gd name="connsiteX4-249" fmla="*/ 445149 w 4305524"/>
              <a:gd name="connsiteY4-250" fmla="*/ 307222 h 2867729"/>
              <a:gd name="connsiteX0-251" fmla="*/ 441825 w 4302200"/>
              <a:gd name="connsiteY0-252" fmla="*/ 307222 h 2867729"/>
              <a:gd name="connsiteX1-253" fmla="*/ 4302200 w 4302200"/>
              <a:gd name="connsiteY1-254" fmla="*/ 0 h 2867729"/>
              <a:gd name="connsiteX2-255" fmla="*/ 3968023 w 4302200"/>
              <a:gd name="connsiteY2-256" fmla="*/ 2867729 h 2867729"/>
              <a:gd name="connsiteX3-257" fmla="*/ 0 w 4302200"/>
              <a:gd name="connsiteY3-258" fmla="*/ 2710129 h 2867729"/>
              <a:gd name="connsiteX4-259" fmla="*/ 441825 w 4302200"/>
              <a:gd name="connsiteY4-260" fmla="*/ 307222 h 2867729"/>
              <a:gd name="connsiteX0-261" fmla="*/ 448231 w 4308606"/>
              <a:gd name="connsiteY0-262" fmla="*/ 307222 h 2867729"/>
              <a:gd name="connsiteX1-263" fmla="*/ 4308606 w 4308606"/>
              <a:gd name="connsiteY1-264" fmla="*/ 0 h 2867729"/>
              <a:gd name="connsiteX2-265" fmla="*/ 3974429 w 4308606"/>
              <a:gd name="connsiteY2-266" fmla="*/ 2867729 h 2867729"/>
              <a:gd name="connsiteX3-267" fmla="*/ 0 w 4308606"/>
              <a:gd name="connsiteY3-268" fmla="*/ 2691567 h 2867729"/>
              <a:gd name="connsiteX4-269" fmla="*/ 448231 w 4308606"/>
              <a:gd name="connsiteY4-270" fmla="*/ 307222 h 2867729"/>
              <a:gd name="connsiteX0-271" fmla="*/ 448647 w 4309022"/>
              <a:gd name="connsiteY0-272" fmla="*/ 307222 h 2867729"/>
              <a:gd name="connsiteX1-273" fmla="*/ 4309022 w 4309022"/>
              <a:gd name="connsiteY1-274" fmla="*/ 0 h 2867729"/>
              <a:gd name="connsiteX2-275" fmla="*/ 3974845 w 4309022"/>
              <a:gd name="connsiteY2-276" fmla="*/ 2867729 h 2867729"/>
              <a:gd name="connsiteX3-277" fmla="*/ 0 w 4309022"/>
              <a:gd name="connsiteY3-278" fmla="*/ 2686822 h 2867729"/>
              <a:gd name="connsiteX4-279" fmla="*/ 448647 w 4309022"/>
              <a:gd name="connsiteY4-280" fmla="*/ 307222 h 286772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4309022" h="2867729">
                <a:moveTo>
                  <a:pt x="448647" y="307222"/>
                </a:moveTo>
                <a:lnTo>
                  <a:pt x="4309022" y="0"/>
                </a:lnTo>
                <a:lnTo>
                  <a:pt x="3974845" y="2867729"/>
                </a:lnTo>
                <a:lnTo>
                  <a:pt x="0" y="2686822"/>
                </a:lnTo>
                <a:lnTo>
                  <a:pt x="448647" y="30722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effectLst>
            <a:innerShdw blurRad="114300">
              <a:prstClr val="black"/>
            </a:innerShdw>
          </a:effectLst>
          <a:scene3d>
            <a:camera prst="isometricOffAxis1Right"/>
            <a:lightRig rig="threePt" dir="t"/>
          </a:scene3d>
        </p:spPr>
        <p:txBody>
          <a:bodyPr/>
          <a:lstStyle>
            <a:lvl1pPr marL="0" indent="0" algn="ctr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ur="1250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ldLvl="0" animBg="1"/>
    </p:bldLst>
  </p:timing>
  <p:hf sldNum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arna Master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hf sldNum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/>
          </p:nvPr>
        </p:nvSpPr>
        <p:spPr/>
        <p:txBody>
          <a:bodyPr/>
          <a:lstStyle/>
          <a:p>
            <a:fld id="{190037F7-26A0-47E0-AF12-548445DA9658}" type="datetimeFigureOut">
              <a:rPr lang="zh-CN" altLang="en-US" smtClean="0"/>
              <a:t>2024/11/6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93AE1883-0942-4AA3-9DB2-9C7C3A0314B1}" type="slidenum">
              <a:rPr lang="zh-CN" altLang="en-US" smtClean="0"/>
              <a:t>‹#›</a:t>
            </a:fld>
            <a:endParaRPr lang="en-US"/>
          </a:p>
        </p:txBody>
      </p:sp>
      <p:sp>
        <p:nvSpPr>
          <p:cNvPr id="7" name="标题 1"/>
          <p:cNvSpPr txBox="1"/>
          <p:nvPr/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lIns="91440" tIns="45720" rIns="91440" bIns="45720"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4400" b="0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j-lt"/>
                <a:ea typeface="+mj-ea"/>
                <a:cs typeface="+mj-cs"/>
                <a:sym typeface="Wingdings" panose="05000000000000000000"/>
              </a:defRPr>
            </a:lvl1pPr>
            <a:lvl2pPr marL="0" marR="0" indent="0" algn="l" defTabSz="914400" rtl="0" eaLnBrk="0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phClr"/>
                </a:solidFill>
                <a:uLnTx/>
                <a:uFillTx/>
                <a:latin typeface="Arial"/>
                <a:ea typeface="Arial"/>
                <a:cs typeface="Arial"/>
                <a:sym typeface="Wingdings" panose="05000000000000000000"/>
              </a:defRPr>
            </a:lvl2pPr>
            <a:lvl3pPr marL="0" marR="0" indent="0" algn="l" defTabSz="914400" rtl="0" eaLnBrk="0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phClr"/>
                </a:solidFill>
                <a:uLnTx/>
                <a:uFillTx/>
                <a:latin typeface="Arial"/>
                <a:ea typeface="Arial"/>
                <a:cs typeface="Arial"/>
                <a:sym typeface="Wingdings" panose="05000000000000000000"/>
              </a:defRPr>
            </a:lvl3pPr>
            <a:lvl4pPr marL="0" marR="0" indent="0" algn="l" defTabSz="914400" rtl="0" eaLnBrk="0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phClr"/>
                </a:solidFill>
                <a:uLnTx/>
                <a:uFillTx/>
                <a:latin typeface="Arial"/>
                <a:ea typeface="Arial"/>
                <a:cs typeface="Arial"/>
                <a:sym typeface="Wingdings" panose="05000000000000000000"/>
              </a:defRPr>
            </a:lvl4pPr>
            <a:lvl5pPr marL="0" marR="0" indent="0" algn="l" defTabSz="914400" rtl="0" eaLnBrk="0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phClr"/>
                </a:solidFill>
                <a:uLnTx/>
                <a:uFillTx/>
                <a:latin typeface="Arial"/>
                <a:ea typeface="Arial"/>
                <a:cs typeface="Arial"/>
                <a:sym typeface="Wingdings" panose="05000000000000000000"/>
              </a:defRPr>
            </a:lvl5pPr>
            <a:lvl6pPr marL="0" marR="0" indent="0" algn="l" defTabSz="914400" rtl="0" eaLnBrk="0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phClr"/>
                </a:solidFill>
                <a:uLnTx/>
                <a:uFillTx/>
                <a:latin typeface="Arial"/>
                <a:ea typeface="Arial"/>
                <a:cs typeface="Arial"/>
                <a:sym typeface="Wingdings" panose="05000000000000000000"/>
              </a:defRPr>
            </a:lvl6pPr>
            <a:lvl7pPr marL="0" marR="0" indent="0" algn="l" defTabSz="914400" rtl="0" eaLnBrk="0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phClr"/>
                </a:solidFill>
                <a:uLnTx/>
                <a:uFillTx/>
                <a:latin typeface="Arial"/>
                <a:ea typeface="Arial"/>
                <a:cs typeface="Arial"/>
                <a:sym typeface="Wingdings" panose="05000000000000000000"/>
              </a:defRPr>
            </a:lvl7pPr>
            <a:lvl8pPr marL="0" marR="0" indent="0" algn="l" defTabSz="914400" rtl="0" eaLnBrk="0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phClr"/>
                </a:solidFill>
                <a:uLnTx/>
                <a:uFillTx/>
                <a:latin typeface="Arial"/>
                <a:ea typeface="Arial"/>
                <a:cs typeface="Arial"/>
                <a:sym typeface="Wingdings" panose="05000000000000000000"/>
              </a:defRPr>
            </a:lvl8pPr>
            <a:lvl9pPr marL="0" marR="0" indent="0" algn="l" defTabSz="914400" rtl="0" eaLnBrk="0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phClr"/>
                </a:solidFill>
                <a:uLnTx/>
                <a:uFillTx/>
                <a:latin typeface="Arial"/>
                <a:ea typeface="Arial"/>
                <a:cs typeface="Arial"/>
                <a:sym typeface="Wingdings" panose="05000000000000000000"/>
              </a:defRPr>
            </a:lvl9pPr>
          </a:lstStyle>
          <a:p>
            <a:r>
              <a:rPr lang="zh-CN" altLang="en-US" dirty="0">
                <a:latin typeface="方正综艺简体" panose="03000509000000000000" pitchFamily="65" charset="-122"/>
                <a:ea typeface="方正综艺简体" panose="03000509000000000000" pitchFamily="65" charset="-122"/>
              </a:rPr>
              <a:t>单击此处编辑母版标题样式</a:t>
            </a:r>
          </a:p>
        </p:txBody>
      </p:sp>
      <p:sp>
        <p:nvSpPr>
          <p:cNvPr id="8" name="文本占位符 2"/>
          <p:cNvSpPr txBox="1"/>
          <p:nvPr/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lIns="91440" tIns="45720" rIns="91440" bIns="4572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kumimoji="0" sz="2400" b="1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1pPr>
            <a:lvl2pPr marL="4572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kumimoji="0" sz="2000" b="1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kumimoji="0" sz="1800" b="1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kumimoji="0" sz="1600" b="1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kumimoji="0" sz="1600" b="1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5pPr>
            <a:lvl6pPr marL="22860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kumimoji="0" sz="1600" b="1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kumimoji="0" sz="1600" b="1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7pPr>
            <a:lvl8pPr marL="3200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kumimoji="0" sz="1600" b="1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8pPr>
            <a:lvl9pPr marL="3657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kumimoji="0" sz="1600" b="1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9pPr>
          </a:lstStyle>
          <a:p>
            <a:pPr lvl="0"/>
            <a:r>
              <a:rPr lang="zh-CN" altLang="en-US" dirty="0">
                <a:latin typeface="方正综艺简体" panose="03000509000000000000" pitchFamily="65" charset="-122"/>
              </a:rPr>
              <a:t>单击此处编辑母版文本样式</a:t>
            </a:r>
          </a:p>
        </p:txBody>
      </p:sp>
      <p:sp>
        <p:nvSpPr>
          <p:cNvPr id="9" name="内容占位符 3"/>
          <p:cNvSpPr txBox="1"/>
          <p:nvPr/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lIns="91440" tIns="45720" rIns="91440" bIns="4572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2800" b="0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2400" b="0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2000" b="0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1800" b="0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1800" b="0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5pPr>
            <a:lvl6pPr marL="25146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1800" b="0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1800" b="0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1800" b="0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8pPr>
            <a:lvl9pPr marL="3886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1800" b="0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9pPr>
          </a:lstStyle>
          <a:p>
            <a:pPr lvl="0"/>
            <a:r>
              <a:rPr lang="zh-CN" altLang="en-US" dirty="0">
                <a:latin typeface="方正综艺简体" panose="03000509000000000000" pitchFamily="65" charset="-122"/>
              </a:rPr>
              <a:t>单击此处编辑母版文本样式</a:t>
            </a:r>
          </a:p>
          <a:p>
            <a:pPr lvl="1"/>
            <a:r>
              <a:rPr lang="zh-CN" altLang="en-US" dirty="0">
                <a:latin typeface="方正综艺简体" panose="03000509000000000000" pitchFamily="65" charset="-122"/>
              </a:rPr>
              <a:t>二级</a:t>
            </a:r>
          </a:p>
          <a:p>
            <a:pPr lvl="2"/>
            <a:r>
              <a:rPr lang="zh-CN" altLang="en-US" dirty="0">
                <a:latin typeface="方正综艺简体" panose="03000509000000000000" pitchFamily="65" charset="-122"/>
              </a:rPr>
              <a:t>三级</a:t>
            </a:r>
          </a:p>
          <a:p>
            <a:pPr lvl="3"/>
            <a:r>
              <a:rPr lang="zh-CN" altLang="en-US" dirty="0">
                <a:latin typeface="方正综艺简体" panose="03000509000000000000" pitchFamily="65" charset="-122"/>
              </a:rPr>
              <a:t>四级</a:t>
            </a:r>
          </a:p>
          <a:p>
            <a:pPr lvl="4"/>
            <a:r>
              <a:rPr lang="zh-CN" altLang="en-US" dirty="0">
                <a:latin typeface="方正综艺简体" panose="03000509000000000000" pitchFamily="65" charset="-122"/>
              </a:rPr>
              <a:t>五级</a:t>
            </a:r>
          </a:p>
        </p:txBody>
      </p:sp>
      <p:sp>
        <p:nvSpPr>
          <p:cNvPr id="10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1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12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13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E9B957CC-A438-4D82-B305-22914934740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/>
  <p:hf sldNum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  <p:hf sldNum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11ECF-D4C8-74D4-A731-3B62D45008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9624D-FE2D-4597-B311-55080AF42397}" type="datetimeFigureOut">
              <a:rPr lang="en-US" smtClean="0"/>
              <a:t>11/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85B175-83FF-DAAA-E479-2028076C07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6CACBA-1D1C-50B8-579A-DFC0D210CF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EED9A-F093-4465-B20F-8EFB89AAAD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67577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CAA1F-465C-4B0C-A122-B391DDE820B7}" type="datetimeFigureOut">
              <a:rPr lang="zh-CN" altLang="en-US" smtClean="0"/>
              <a:t>2024/11/6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19652-E430-4889-8A05-3ED8B59E777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/>
  <p:hf sldNum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ig screen 02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placeholder.png"/>
          <p:cNvPicPr/>
          <p:nvPr/>
        </p:nvPicPr>
        <p:blipFill>
          <a:blip r:embed="rId2">
            <a:alphaModFix amt="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350" y="-95250"/>
            <a:ext cx="12306300" cy="6051550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-38100"/>
            <a:ext cx="12192000" cy="59944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id-ID"/>
          </a:p>
        </p:txBody>
      </p:sp>
      <p:sp>
        <p:nvSpPr>
          <p:cNvPr id="66" name="Shape 66"/>
          <p:cNvSpPr/>
          <p:nvPr/>
        </p:nvSpPr>
        <p:spPr>
          <a:xfrm>
            <a:off x="-57150" y="-57150"/>
            <a:ext cx="12306300" cy="6019800"/>
          </a:xfrm>
          <a:prstGeom prst="rect">
            <a:avLst/>
          </a:prstGeom>
          <a:solidFill>
            <a:srgbClr val="7B8DB3">
              <a:alpha val="10000"/>
            </a:srgbClr>
          </a:solidFill>
          <a:ln w="25400">
            <a:solidFill>
              <a:srgbClr val="EBEBEB">
                <a:alpha val="1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</p:spTree>
  </p:cSld>
  <p:clrMapOvr>
    <a:masterClrMapping/>
  </p:clrMapOvr>
  <p:transition spd="med"/>
  <p:hf sldNum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17"/>
          <p:cNvSpPr>
            <a:spLocks noGrp="1" noChangeAspect="1"/>
          </p:cNvSpPr>
          <p:nvPr>
            <p:ph type="pic" sz="quarter" idx="10"/>
          </p:nvPr>
        </p:nvSpPr>
        <p:spPr>
          <a:xfrm>
            <a:off x="4362865" y="1670078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27" name="Picture Placeholder 17"/>
          <p:cNvSpPr>
            <a:spLocks noGrp="1" noChangeAspect="1"/>
          </p:cNvSpPr>
          <p:nvPr>
            <p:ph type="pic" sz="quarter" idx="11"/>
          </p:nvPr>
        </p:nvSpPr>
        <p:spPr>
          <a:xfrm>
            <a:off x="6563683" y="1670078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28" name="Picture Placeholder 17"/>
          <p:cNvSpPr>
            <a:spLocks noGrp="1" noChangeAspect="1"/>
          </p:cNvSpPr>
          <p:nvPr>
            <p:ph type="pic" sz="quarter" idx="12"/>
          </p:nvPr>
        </p:nvSpPr>
        <p:spPr>
          <a:xfrm>
            <a:off x="8785321" y="1670078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29" name="Picture Placeholder 17"/>
          <p:cNvSpPr>
            <a:spLocks noGrp="1" noChangeAspect="1"/>
          </p:cNvSpPr>
          <p:nvPr>
            <p:ph type="pic" sz="quarter" idx="13"/>
          </p:nvPr>
        </p:nvSpPr>
        <p:spPr>
          <a:xfrm>
            <a:off x="4362865" y="3244435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30" name="Picture Placeholder 17"/>
          <p:cNvSpPr>
            <a:spLocks noGrp="1" noChangeAspect="1"/>
          </p:cNvSpPr>
          <p:nvPr>
            <p:ph type="pic" sz="quarter" idx="14"/>
          </p:nvPr>
        </p:nvSpPr>
        <p:spPr>
          <a:xfrm>
            <a:off x="6563683" y="3244435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31" name="Picture Placeholder 17"/>
          <p:cNvSpPr>
            <a:spLocks noGrp="1" noChangeAspect="1"/>
          </p:cNvSpPr>
          <p:nvPr>
            <p:ph type="pic" sz="quarter" idx="15"/>
          </p:nvPr>
        </p:nvSpPr>
        <p:spPr>
          <a:xfrm>
            <a:off x="8785321" y="3244435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32" name="Picture Placeholder 17"/>
          <p:cNvSpPr>
            <a:spLocks noGrp="1" noChangeAspect="1"/>
          </p:cNvSpPr>
          <p:nvPr>
            <p:ph type="pic" sz="quarter" idx="16"/>
          </p:nvPr>
        </p:nvSpPr>
        <p:spPr>
          <a:xfrm>
            <a:off x="4362865" y="4818352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33" name="Picture Placeholder 17"/>
          <p:cNvSpPr>
            <a:spLocks noGrp="1" noChangeAspect="1"/>
          </p:cNvSpPr>
          <p:nvPr>
            <p:ph type="pic" sz="quarter" idx="17"/>
          </p:nvPr>
        </p:nvSpPr>
        <p:spPr>
          <a:xfrm>
            <a:off x="6563683" y="4818352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34" name="Picture Placeholder 17"/>
          <p:cNvSpPr>
            <a:spLocks noGrp="1" noChangeAspect="1"/>
          </p:cNvSpPr>
          <p:nvPr>
            <p:ph type="pic" sz="quarter" idx="18"/>
          </p:nvPr>
        </p:nvSpPr>
        <p:spPr>
          <a:xfrm>
            <a:off x="8785321" y="4818352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</p:spTree>
  </p:cSld>
  <p:clrMapOvr>
    <a:masterClrMapping/>
  </p:clrMapOvr>
  <p:transition spd="med"/>
  <p:hf sldNum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366000" y="1416050"/>
            <a:ext cx="4826000" cy="236537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4959350" y="3781581"/>
            <a:ext cx="4826000" cy="236537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</p:spTree>
  </p:cSld>
  <p:clrMapOvr>
    <a:masterClrMapping/>
  </p:clrMapOvr>
  <p:transition spd="med"/>
  <p:hf sldNum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Subtitle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/>
  <p:hf sldNum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Subtitle cop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/>
          <p:nvPr/>
        </p:nvSpPr>
        <p:spPr>
          <a:xfrm>
            <a:off x="-57150" y="-120650"/>
            <a:ext cx="12306300" cy="6997700"/>
          </a:xfrm>
          <a:prstGeom prst="rect">
            <a:avLst/>
          </a:prstGeom>
          <a:gradFill>
            <a:gsLst>
              <a:gs pos="0">
                <a:schemeClr val="accent4">
                  <a:lumMod val="75000"/>
                </a:schemeClr>
              </a:gs>
              <a:gs pos="100000">
                <a:schemeClr val="accent1"/>
              </a:gs>
            </a:gsLst>
            <a:lin ang="5400000"/>
          </a:gradFill>
          <a:ln w="25400">
            <a:solidFill>
              <a:srgbClr val="EBEBEB"/>
            </a:solidFill>
            <a:miter lim="400000"/>
          </a:ln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6" name="Picture Placeholder 17"/>
          <p:cNvSpPr>
            <a:spLocks noGrp="1" noChangeAspect="1"/>
          </p:cNvSpPr>
          <p:nvPr>
            <p:ph type="pic" sz="quarter" idx="10"/>
          </p:nvPr>
        </p:nvSpPr>
        <p:spPr>
          <a:xfrm>
            <a:off x="2324478" y="1538027"/>
            <a:ext cx="2307600" cy="23076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</p:spTree>
  </p:cSld>
  <p:clrMapOvr>
    <a:masterClrMapping/>
  </p:clrMapOvr>
  <p:transition spd="med"/>
  <p:hf sldNum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Master #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/>
          <p:nvPr/>
        </p:nvSpPr>
        <p:spPr>
          <a:xfrm>
            <a:off x="-57150" y="-120650"/>
            <a:ext cx="12306300" cy="69977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/>
          </a:gradFill>
          <a:ln w="25400">
            <a:solidFill>
              <a:srgbClr val="EBEBEB"/>
            </a:solidFill>
            <a:miter lim="400000"/>
          </a:ln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9" name="Picture Placeholder 17"/>
          <p:cNvSpPr>
            <a:spLocks noGrp="1" noChangeAspect="1"/>
          </p:cNvSpPr>
          <p:nvPr>
            <p:ph type="pic" sz="quarter" idx="10"/>
          </p:nvPr>
        </p:nvSpPr>
        <p:spPr>
          <a:xfrm>
            <a:off x="7807951" y="4477986"/>
            <a:ext cx="1414800" cy="1414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10" name="Picture Placeholder 17"/>
          <p:cNvSpPr>
            <a:spLocks noGrp="1" noChangeAspect="1"/>
          </p:cNvSpPr>
          <p:nvPr>
            <p:ph type="pic" sz="quarter" idx="11"/>
          </p:nvPr>
        </p:nvSpPr>
        <p:spPr>
          <a:xfrm>
            <a:off x="3053923" y="1231900"/>
            <a:ext cx="811800" cy="811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</p:spTree>
  </p:cSld>
  <p:clrMapOvr>
    <a:masterClrMapping/>
  </p:clrMapOvr>
  <p:transition spd="med"/>
  <p:hf sldNum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方正综艺简体" panose="03000509000000000000" pitchFamily="65" charset="-122"/>
                <a:cs typeface="方正综艺简体" panose="03000509000000000000" pitchFamily="65" charset="-122"/>
              </a:defRPr>
            </a:lvl1pPr>
          </a:lstStyle>
          <a:p>
            <a:fld id="{77DCAA1F-465C-4B0C-A122-B391DDE820B7}" type="datetimeFigureOut">
              <a:rPr lang="zh-CN" altLang="en-US" smtClean="0"/>
              <a:pPr/>
              <a:t>2024/11/6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方正综艺简体" panose="03000509000000000000" pitchFamily="65" charset="-122"/>
                <a:cs typeface="方正综艺简体" panose="03000509000000000000" pitchFamily="65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方正综艺简体" panose="03000509000000000000" pitchFamily="65" charset="-122"/>
                <a:cs typeface="方正综艺简体" panose="03000509000000000000" pitchFamily="65" charset="-122"/>
              </a:defRPr>
            </a:lvl1pPr>
          </a:lstStyle>
          <a:p>
            <a:fld id="{EC019652-E430-4889-8A05-3ED8B59E777F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4" r:id="rId24"/>
  </p:sldLayoutIdLst>
  <p:transition/>
  <p:hf sldNum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方正综艺简体" panose="03000509000000000000" pitchFamily="65" charset="-122"/>
          <a:ea typeface="方正综艺简体" panose="03000509000000000000" pitchFamily="65" charset="-122"/>
          <a:cs typeface="方正综艺简体" panose="03000509000000000000" pitchFamily="65" charset="-122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方正综艺简体" panose="03000509000000000000" pitchFamily="65" charset="-122"/>
          <a:ea typeface="+mn-ea"/>
          <a:cs typeface="方正综艺简体" panose="03000509000000000000" pitchFamily="65" charset="-122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方正综艺简体" panose="03000509000000000000" pitchFamily="65" charset="-122"/>
          <a:ea typeface="+mn-ea"/>
          <a:cs typeface="方正综艺简体" panose="03000509000000000000" pitchFamily="65" charset="-122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方正综艺简体" panose="03000509000000000000" pitchFamily="65" charset="-122"/>
          <a:ea typeface="+mn-ea"/>
          <a:cs typeface="方正综艺简体" panose="03000509000000000000" pitchFamily="65" charset="-122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方正综艺简体" panose="03000509000000000000" pitchFamily="65" charset="-122"/>
          <a:ea typeface="+mn-ea"/>
          <a:cs typeface="方正综艺简体" panose="03000509000000000000" pitchFamily="65" charset="-122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方正综艺简体" panose="03000509000000000000" pitchFamily="65" charset="-122"/>
          <a:ea typeface="+mn-ea"/>
          <a:cs typeface="方正综艺简体" panose="03000509000000000000" pitchFamily="65" charset="-122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transition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1.jpeg"/><Relationship Id="rId5" Type="http://schemas.openxmlformats.org/officeDocument/2006/relationships/image" Target="../media/image40.jpeg"/><Relationship Id="rId4" Type="http://schemas.openxmlformats.org/officeDocument/2006/relationships/image" Target="../media/image3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43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3.xml"/><Relationship Id="rId4" Type="http://schemas.openxmlformats.org/officeDocument/2006/relationships/chart" Target="../charts/char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52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53.jpeg"/><Relationship Id="rId7" Type="http://schemas.openxmlformats.org/officeDocument/2006/relationships/image" Target="../media/image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4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68.jpeg"/><Relationship Id="rId5" Type="http://schemas.openxmlformats.org/officeDocument/2006/relationships/image" Target="../media/image67.jpeg"/><Relationship Id="rId4" Type="http://schemas.openxmlformats.org/officeDocument/2006/relationships/image" Target="../media/image66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0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2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hyperlink" Target="https://twitter.com/freeppt7_com" TargetMode="External"/><Relationship Id="rId13" Type="http://schemas.openxmlformats.org/officeDocument/2006/relationships/hyperlink" Target="https://www.freeppt7.com/" TargetMode="External"/><Relationship Id="rId3" Type="http://schemas.openxmlformats.org/officeDocument/2006/relationships/image" Target="../media/image73.png"/><Relationship Id="rId7" Type="http://schemas.openxmlformats.org/officeDocument/2006/relationships/image" Target="../media/image75.png"/><Relationship Id="rId12" Type="http://schemas.openxmlformats.org/officeDocument/2006/relationships/hyperlink" Target="https://www.freeppt7.com/ggslide-school/" TargetMode="External"/><Relationship Id="rId2" Type="http://schemas.openxmlformats.org/officeDocument/2006/relationships/hyperlink" Target="https://www.facebook.com/freeppt7/" TargetMode="External"/><Relationship Id="rId1" Type="http://schemas.openxmlformats.org/officeDocument/2006/relationships/slideLayout" Target="../slideLayouts/slideLayout24.xml"/><Relationship Id="rId6" Type="http://schemas.openxmlformats.org/officeDocument/2006/relationships/hyperlink" Target="https://www.youtube.com/@Slidestemplatesfree" TargetMode="External"/><Relationship Id="rId11" Type="http://schemas.openxmlformats.org/officeDocument/2006/relationships/image" Target="../media/image77.png"/><Relationship Id="rId5" Type="http://schemas.openxmlformats.org/officeDocument/2006/relationships/image" Target="../media/image74.png"/><Relationship Id="rId10" Type="http://schemas.openxmlformats.org/officeDocument/2006/relationships/hyperlink" Target="https://www.linkedin.com/in/liu-kaiwei-b180991a9/" TargetMode="External"/><Relationship Id="rId4" Type="http://schemas.openxmlformats.org/officeDocument/2006/relationships/hyperlink" Target="https://www.instagram.com/slidesfree/" TargetMode="External"/><Relationship Id="rId9" Type="http://schemas.openxmlformats.org/officeDocument/2006/relationships/image" Target="../media/image76.png"/><Relationship Id="rId14" Type="http://schemas.openxmlformats.org/officeDocument/2006/relationships/hyperlink" Target="http://www.freeppt7.com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png"/><Relationship Id="rId7" Type="http://schemas.openxmlformats.org/officeDocument/2006/relationships/image" Target="../media/image24.jpeg"/><Relationship Id="rId12" Type="http://schemas.openxmlformats.org/officeDocument/2006/relationships/image" Target="../media/image2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3.jpeg"/><Relationship Id="rId11" Type="http://schemas.openxmlformats.org/officeDocument/2006/relationships/image" Target="../media/image28.jpeg"/><Relationship Id="rId5" Type="http://schemas.openxmlformats.org/officeDocument/2006/relationships/image" Target="../media/image22.jpeg"/><Relationship Id="rId10" Type="http://schemas.openxmlformats.org/officeDocument/2006/relationships/image" Target="../media/image27.jpeg"/><Relationship Id="rId4" Type="http://schemas.openxmlformats.org/officeDocument/2006/relationships/image" Target="../media/image21.jpeg"/><Relationship Id="rId9" Type="http://schemas.openxmlformats.org/officeDocument/2006/relationships/image" Target="../media/image2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734953">
            <a:off x="10709702" y="785589"/>
            <a:ext cx="920564" cy="872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3" name="Picture 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734953">
            <a:off x="-82941" y="-792845"/>
            <a:ext cx="2087051" cy="1977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7" name="Picture 1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20703025">
            <a:off x="4441963" y="5701997"/>
            <a:ext cx="1500626" cy="1276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矩形 2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97541" y="363071"/>
            <a:ext cx="11430000" cy="6118411"/>
          </a:xfrm>
          <a:prstGeom prst="rect">
            <a:avLst/>
          </a:prstGeom>
          <a:solidFill>
            <a:schemeClr val="bg1">
              <a:alpha val="48000"/>
            </a:schemeClr>
          </a:solidFill>
          <a:ln w="3175">
            <a:solidFill>
              <a:schemeClr val="bg1">
                <a:alpha val="76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pic>
        <p:nvPicPr>
          <p:cNvPr id="4" name="图片 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1053" y="-438456"/>
            <a:ext cx="8530956" cy="7984325"/>
          </a:xfrm>
          <a:prstGeom prst="rect">
            <a:avLst/>
          </a:prstGeom>
        </p:spPr>
      </p:pic>
      <p:sp>
        <p:nvSpPr>
          <p:cNvPr id="3" name="文本框 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831164" y="3385096"/>
            <a:ext cx="4109145" cy="3819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lnSpc>
                <a:spcPct val="150000"/>
              </a:lnSpc>
            </a:pPr>
            <a:r>
              <a:rPr lang="en-US" altLang="zh-CN" sz="1400" spc="-300" dirty="0">
                <a:gradFill flip="none" rotWithShape="1">
                  <a:gsLst>
                    <a:gs pos="0">
                      <a:schemeClr val="accent5">
                        <a:lumMod val="75000"/>
                      </a:schemeClr>
                    </a:gs>
                    <a:gs pos="96403">
                      <a:schemeClr val="accent2"/>
                    </a:gs>
                    <a:gs pos="75000">
                      <a:schemeClr val="accent4"/>
                    </a:gs>
                  </a:gsLst>
                  <a:lin ang="10800000" scaled="1"/>
                </a:gradFill>
                <a:latin typeface="方正综艺简体" panose="03000509000000000000" pitchFamily="65" charset="-122"/>
                <a:ea typeface="思源黑体 CN Medium" panose="020B0600000000000000" pitchFamily="34" charset="-122"/>
                <a:cs typeface="思源黑体 CN Regular" panose="020B0500000000000000" charset="-122"/>
              </a:rPr>
              <a:t>CREATIVE  POWERPOINT  TEMPLATE</a:t>
            </a:r>
          </a:p>
        </p:txBody>
      </p:sp>
      <p:sp>
        <p:nvSpPr>
          <p:cNvPr id="5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870392" y="3766913"/>
            <a:ext cx="4030691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 dirty="0">
                <a:solidFill>
                  <a:schemeClr val="tx2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. This is a sample text. insert your desired text here. Again. this is a dummy text. enter your own text here.”</a:t>
            </a:r>
          </a:p>
        </p:txBody>
      </p:sp>
      <p:sp>
        <p:nvSpPr>
          <p:cNvPr id="2" name="文本框 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751463" y="2445357"/>
            <a:ext cx="478715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600" b="1" dirty="0">
                <a:solidFill>
                  <a:schemeClr val="accent4"/>
                </a:solidFill>
                <a:effectLst>
                  <a:innerShdw blurRad="63500" dist="50800" dir="15600000">
                    <a:schemeClr val="accent5">
                      <a:alpha val="23000"/>
                    </a:schemeClr>
                  </a:innerShdw>
                </a:effectLst>
                <a:latin typeface="方正综艺简体" panose="03000509000000000000" pitchFamily="65" charset="-122"/>
                <a:cs typeface="思源黑体 CN Regular" panose="020B0500000000000000" charset="-122"/>
              </a:rPr>
              <a:t>BUSINESS</a:t>
            </a:r>
            <a:endParaRPr lang="zh-CN" altLang="en-US" sz="6600" b="1" dirty="0">
              <a:solidFill>
                <a:schemeClr val="accent4"/>
              </a:solidFill>
              <a:effectLst>
                <a:innerShdw blurRad="63500" dist="50800" dir="15600000">
                  <a:schemeClr val="accent5">
                    <a:alpha val="23000"/>
                  </a:schemeClr>
                </a:innerShdw>
              </a:effectLst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pic>
        <p:nvPicPr>
          <p:cNvPr id="21" name="图片 2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880" y="3818965"/>
            <a:ext cx="756911" cy="1543547"/>
          </a:xfrm>
          <a:prstGeom prst="rect">
            <a:avLst/>
          </a:prstGeom>
        </p:spPr>
      </p:pic>
      <p:sp>
        <p:nvSpPr>
          <p:cNvPr id="28" name="Rectangle: Rounded Corners 2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24180" y="5209697"/>
            <a:ext cx="1402161" cy="38237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5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  <a:effectLst>
            <a:outerShdw blurRad="787400" dist="101600" dir="5400000" sx="80000" sy="80000" algn="t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200" dirty="0">
                <a:latin typeface="方正综艺简体" panose="03000509000000000000" pitchFamily="65" charset="-122"/>
                <a:cs typeface="思源黑体 CN Regular" panose="020B0500000000000000" charset="-122"/>
              </a:rPr>
              <a:t>Read Here</a:t>
            </a:r>
          </a:p>
        </p:txBody>
      </p:sp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9" name="Shape 100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flipH="1">
            <a:off x="2820035" y="2259113"/>
            <a:ext cx="1948235" cy="33425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1937" y="21600"/>
                </a:lnTo>
                <a:lnTo>
                  <a:pt x="21600" y="10551"/>
                </a:lnTo>
                <a:lnTo>
                  <a:pt x="11937" y="16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60000"/>
            </a:schemeClr>
          </a:solidFill>
          <a:ln w="25400">
            <a:miter lim="400000"/>
          </a:ln>
        </p:spPr>
        <p:txBody>
          <a:bodyPr lIns="0" tIns="0" rIns="0" bIns="0" anchor="ctr"/>
          <a:lstStyle/>
          <a:p>
            <a:pPr lvl="0"/>
            <a:endParaRPr sz="9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1010" name="Shape 101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rot="10800000">
            <a:off x="2813050" y="2276625"/>
            <a:ext cx="1955559" cy="33369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1811" y="21600"/>
                </a:lnTo>
                <a:lnTo>
                  <a:pt x="21600" y="11173"/>
                </a:lnTo>
                <a:lnTo>
                  <a:pt x="11872" y="16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alpha val="40000"/>
            </a:schemeClr>
          </a:solidFill>
          <a:ln w="25400">
            <a:miter lim="400000"/>
          </a:ln>
        </p:spPr>
        <p:txBody>
          <a:bodyPr lIns="0" tIns="0" rIns="0" bIns="0" anchor="ctr"/>
          <a:lstStyle/>
          <a:p>
            <a:pPr lvl="0"/>
            <a:endParaRPr sz="9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1011" name="Shape 101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3177786" y="3504236"/>
            <a:ext cx="719965" cy="864195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/>
          <a:lstStyle>
            <a:lvl1pPr>
              <a:lnSpc>
                <a:spcPct val="70000"/>
              </a:lnSpc>
              <a:defRPr sz="9600" b="1">
                <a:solidFill>
                  <a:srgbClr val="232323"/>
                </a:solidFill>
                <a:latin typeface="Modern Pictograms"/>
                <a:ea typeface="Modern Pictograms"/>
                <a:cs typeface="Modern Pictograms"/>
                <a:sym typeface="Modern Pictograms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endParaRPr sz="900" dirty="0">
              <a:solidFill>
                <a:schemeClr val="tx1">
                  <a:lumMod val="65000"/>
                  <a:lumOff val="35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1012" name="Shape 101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423734" y="2260427"/>
            <a:ext cx="1948235" cy="33425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1937" y="21600"/>
                </a:lnTo>
                <a:lnTo>
                  <a:pt x="21600" y="10551"/>
                </a:lnTo>
                <a:lnTo>
                  <a:pt x="11937" y="16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60000"/>
            </a:schemeClr>
          </a:solidFill>
          <a:ln w="25400">
            <a:miter lim="400000"/>
          </a:ln>
        </p:spPr>
        <p:txBody>
          <a:bodyPr lIns="0" tIns="0" rIns="0" bIns="0" anchor="ctr"/>
          <a:lstStyle/>
          <a:p>
            <a:pPr lvl="0"/>
            <a:endParaRPr sz="9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1013" name="Shape 101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rot="10800000" flipH="1">
            <a:off x="7423394" y="2277938"/>
            <a:ext cx="1955559" cy="33369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1811" y="21600"/>
                </a:lnTo>
                <a:lnTo>
                  <a:pt x="21600" y="11173"/>
                </a:lnTo>
                <a:lnTo>
                  <a:pt x="11872" y="16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alpha val="40000"/>
            </a:schemeClr>
          </a:solidFill>
          <a:ln w="25400">
            <a:miter lim="400000"/>
          </a:ln>
        </p:spPr>
        <p:txBody>
          <a:bodyPr lIns="0" tIns="0" rIns="0" bIns="0" anchor="ctr"/>
          <a:lstStyle/>
          <a:p>
            <a:pPr lvl="0"/>
            <a:endParaRPr sz="9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1014" name="Shape 101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380435" y="3504236"/>
            <a:ext cx="542327" cy="864195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/>
          <a:lstStyle>
            <a:lvl1pPr>
              <a:lnSpc>
                <a:spcPct val="70000"/>
              </a:lnSpc>
              <a:defRPr sz="9600">
                <a:solidFill>
                  <a:srgbClr val="232323"/>
                </a:solidFill>
                <a:latin typeface="Modern Pictograms"/>
                <a:ea typeface="Modern Pictograms"/>
                <a:cs typeface="Modern Pictograms"/>
                <a:sym typeface="Modern Pictograms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endParaRPr sz="900" dirty="0">
              <a:solidFill>
                <a:schemeClr val="tx1">
                  <a:lumMod val="65000"/>
                  <a:lumOff val="35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1016" name="Shape 101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rot="20883862">
            <a:off x="6556109" y="2390941"/>
            <a:ext cx="335403" cy="11541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747" h="21600" extrusionOk="0">
                <a:moveTo>
                  <a:pt x="0" y="0"/>
                </a:moveTo>
                <a:cubicBezTo>
                  <a:pt x="0" y="0"/>
                  <a:pt x="17581" y="3018"/>
                  <a:pt x="19591" y="10324"/>
                </a:cubicBezTo>
                <a:cubicBezTo>
                  <a:pt x="21600" y="17629"/>
                  <a:pt x="3516" y="21600"/>
                  <a:pt x="3516" y="21600"/>
                </a:cubicBezTo>
              </a:path>
            </a:pathLst>
          </a:custGeom>
          <a:ln w="101600">
            <a:solidFill>
              <a:schemeClr val="bg1">
                <a:lumMod val="85000"/>
              </a:schemeClr>
            </a:solidFill>
            <a:miter lim="400000"/>
          </a:ln>
        </p:spPr>
        <p:txBody>
          <a:bodyPr lIns="0" tIns="0" rIns="0" bIns="0" anchor="ctr"/>
          <a:lstStyle/>
          <a:p>
            <a:pPr lvl="0"/>
            <a:endParaRPr sz="9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1017" name="Shape 101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rot="20883862">
            <a:off x="6685134" y="2207883"/>
            <a:ext cx="414991" cy="14327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747" h="21600" extrusionOk="0">
                <a:moveTo>
                  <a:pt x="0" y="0"/>
                </a:moveTo>
                <a:cubicBezTo>
                  <a:pt x="0" y="0"/>
                  <a:pt x="17581" y="3018"/>
                  <a:pt x="19591" y="10324"/>
                </a:cubicBezTo>
                <a:cubicBezTo>
                  <a:pt x="21600" y="17629"/>
                  <a:pt x="3516" y="21600"/>
                  <a:pt x="3516" y="21600"/>
                </a:cubicBezTo>
              </a:path>
            </a:pathLst>
          </a:custGeom>
          <a:ln w="101600">
            <a:solidFill>
              <a:schemeClr val="bg1">
                <a:lumMod val="85000"/>
              </a:schemeClr>
            </a:solidFill>
            <a:miter lim="400000"/>
          </a:ln>
        </p:spPr>
        <p:txBody>
          <a:bodyPr lIns="0" tIns="0" rIns="0" bIns="0" anchor="ctr"/>
          <a:lstStyle/>
          <a:p>
            <a:pPr lvl="0"/>
            <a:endParaRPr sz="9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1018" name="Shape 101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rot="716122" flipH="1">
            <a:off x="5298320" y="2389350"/>
            <a:ext cx="335404" cy="11541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747" h="21600" extrusionOk="0">
                <a:moveTo>
                  <a:pt x="0" y="0"/>
                </a:moveTo>
                <a:cubicBezTo>
                  <a:pt x="0" y="0"/>
                  <a:pt x="17581" y="3018"/>
                  <a:pt x="19591" y="10324"/>
                </a:cubicBezTo>
                <a:cubicBezTo>
                  <a:pt x="21600" y="17629"/>
                  <a:pt x="3516" y="21600"/>
                  <a:pt x="3516" y="21600"/>
                </a:cubicBezTo>
              </a:path>
            </a:pathLst>
          </a:custGeom>
          <a:ln w="101600">
            <a:solidFill>
              <a:schemeClr val="bg1">
                <a:lumMod val="85000"/>
              </a:schemeClr>
            </a:solidFill>
            <a:miter lim="400000"/>
          </a:ln>
        </p:spPr>
        <p:txBody>
          <a:bodyPr lIns="0" tIns="0" rIns="0" bIns="0" anchor="ctr"/>
          <a:lstStyle/>
          <a:p>
            <a:pPr lvl="0"/>
            <a:endParaRPr sz="9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1019" name="Shape 101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rot="716122" flipH="1">
            <a:off x="5088467" y="2206950"/>
            <a:ext cx="414991" cy="143273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747" h="21600" extrusionOk="0">
                <a:moveTo>
                  <a:pt x="0" y="0"/>
                </a:moveTo>
                <a:cubicBezTo>
                  <a:pt x="0" y="0"/>
                  <a:pt x="17581" y="3018"/>
                  <a:pt x="19591" y="10324"/>
                </a:cubicBezTo>
                <a:cubicBezTo>
                  <a:pt x="21600" y="17629"/>
                  <a:pt x="3516" y="21600"/>
                  <a:pt x="3516" y="21600"/>
                </a:cubicBezTo>
              </a:path>
            </a:pathLst>
          </a:custGeom>
          <a:ln w="101600">
            <a:solidFill>
              <a:schemeClr val="bg1">
                <a:lumMod val="85000"/>
              </a:schemeClr>
            </a:solidFill>
            <a:miter lim="400000"/>
          </a:ln>
        </p:spPr>
        <p:txBody>
          <a:bodyPr lIns="0" tIns="0" rIns="0" bIns="0" anchor="ctr"/>
          <a:lstStyle/>
          <a:p>
            <a:pPr lvl="0"/>
            <a:endParaRPr sz="9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1020" name="Shape 102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174718" y="5275617"/>
            <a:ext cx="1915589" cy="328295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/>
          <a:p>
            <a:pPr lvl="0" algn="l">
              <a:defRPr sz="1800"/>
            </a:pPr>
            <a:r>
              <a:rPr b="1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Description</a:t>
            </a:r>
            <a:r>
              <a:rPr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 Here</a:t>
            </a:r>
          </a:p>
        </p:txBody>
      </p:sp>
      <p:sp>
        <p:nvSpPr>
          <p:cNvPr id="23" name="Rectangle 2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89878" y="1555229"/>
            <a:ext cx="229357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FREEPPT7</a:t>
            </a:r>
          </a:p>
          <a:p>
            <a:r>
              <a:rPr lang="en-US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| </a:t>
            </a:r>
            <a:r>
              <a:rPr lang="en-US" sz="900" b="1" dirty="0">
                <a:solidFill>
                  <a:schemeClr val="accent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DESIGNER</a:t>
            </a:r>
          </a:p>
          <a:p>
            <a:endParaRPr lang="en-US" sz="900" dirty="0">
              <a:solidFill>
                <a:schemeClr val="bg1">
                  <a:lumMod val="65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Conveniently iterate top-line alignments for wireless metrics.</a:t>
            </a:r>
          </a:p>
          <a:p>
            <a:endParaRPr lang="en-US" sz="900" dirty="0">
              <a:solidFill>
                <a:schemeClr val="bg1">
                  <a:lumMod val="65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  <a:p>
            <a:r>
              <a:rPr lang="en-US" b="1" dirty="0">
                <a:solidFill>
                  <a:schemeClr val="accent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65% </a:t>
            </a:r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| </a:t>
            </a: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PHOTOSHOP </a:t>
            </a:r>
          </a:p>
        </p:txBody>
      </p:sp>
      <p:graphicFrame>
        <p:nvGraphicFramePr>
          <p:cNvPr id="25" name="Chart 4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aphicFramePr/>
          <p:nvPr/>
        </p:nvGraphicFramePr>
        <p:xfrm>
          <a:off x="9230820" y="2141688"/>
          <a:ext cx="2832820" cy="16339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6" name="Rectangle 4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395711" y="4169653"/>
            <a:ext cx="107479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accent3"/>
                </a:solidFill>
                <a:effectLst/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40%</a:t>
            </a:r>
          </a:p>
          <a:p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Consulting &amp; </a:t>
            </a:r>
          </a:p>
          <a:p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Service</a:t>
            </a:r>
            <a:endParaRPr lang="en-US" sz="1000" b="1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27" name="Rectangle 4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395711" y="4983889"/>
            <a:ext cx="107479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  <a:effectLst/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90%</a:t>
            </a:r>
          </a:p>
          <a:p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Design&amp; </a:t>
            </a:r>
          </a:p>
          <a:p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Illustrations</a:t>
            </a:r>
            <a:endParaRPr lang="en-US" sz="1000" b="1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28" name="Rectangle 4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0469556" y="4139673"/>
            <a:ext cx="125275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accent2"/>
                </a:solidFill>
                <a:effectLst/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80%</a:t>
            </a:r>
          </a:p>
          <a:p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Marketing &amp; </a:t>
            </a:r>
          </a:p>
          <a:p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Promotions</a:t>
            </a:r>
            <a:endParaRPr lang="en-US" sz="1000" b="1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29" name="Rectangle 4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0469556" y="4953909"/>
            <a:ext cx="125275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accent6"/>
                </a:solidFill>
                <a:effectLst/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40%</a:t>
            </a:r>
          </a:p>
          <a:p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Management &amp; </a:t>
            </a:r>
          </a:p>
          <a:p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System</a:t>
            </a:r>
            <a:endParaRPr lang="en-US" sz="1000" b="1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0" name="Oval 4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312602" y="3351214"/>
            <a:ext cx="228600" cy="228600"/>
          </a:xfrm>
          <a:prstGeom prst="ellipse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3"/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1" name="Oval 5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312602" y="3967903"/>
            <a:ext cx="228600" cy="228600"/>
          </a:xfrm>
          <a:prstGeom prst="ellipse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3"/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2" name="Oval 5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121527" y="4584592"/>
            <a:ext cx="610750" cy="610750"/>
          </a:xfrm>
          <a:prstGeom prst="ellipse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3"/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cxnSp>
        <p:nvCxnSpPr>
          <p:cNvPr id="33" name="Straight Connector 5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CxnSpPr/>
          <p:nvPr/>
        </p:nvCxnSpPr>
        <p:spPr>
          <a:xfrm flipH="1">
            <a:off x="1426902" y="3579814"/>
            <a:ext cx="0" cy="388089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5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1732277" y="3312280"/>
            <a:ext cx="603642" cy="306467"/>
          </a:xfrm>
          <a:prstGeom prst="round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3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8,563</a:t>
            </a:r>
          </a:p>
        </p:txBody>
      </p:sp>
      <p:sp>
        <p:nvSpPr>
          <p:cNvPr id="35" name="Rectangle 5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30971" y="3096181"/>
            <a:ext cx="142507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900" b="1" dirty="0">
                <a:solidFill>
                  <a:schemeClr val="accent3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AWWARDS</a:t>
            </a:r>
          </a:p>
          <a:p>
            <a:pPr algn="r"/>
            <a:endParaRPr lang="en-US" sz="900" dirty="0">
              <a:solidFill>
                <a:schemeClr val="bg1">
                  <a:lumMod val="65000"/>
                </a:schemeClr>
              </a:solidFill>
              <a:effectLst/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6" name="Rectangle 5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582376" y="3984294"/>
            <a:ext cx="156861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b="1" dirty="0">
                <a:solidFill>
                  <a:schemeClr val="accent3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TOTAL:</a:t>
            </a:r>
          </a:p>
          <a:p>
            <a:endParaRPr lang="en-US" sz="900" dirty="0">
              <a:solidFill>
                <a:schemeClr val="bg1">
                  <a:lumMod val="65000"/>
                </a:schemeClr>
              </a:solidFill>
              <a:effectLst/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7" name="TextBox 5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431877" y="3930847"/>
            <a:ext cx="689650" cy="306467"/>
          </a:xfrm>
          <a:prstGeom prst="round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r"/>
            <a:r>
              <a:rPr lang="en-US" sz="1200" dirty="0">
                <a:solidFill>
                  <a:schemeClr val="accent3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15,860</a:t>
            </a:r>
          </a:p>
        </p:txBody>
      </p:sp>
      <p:cxnSp>
        <p:nvCxnSpPr>
          <p:cNvPr id="38" name="Straight Connector 5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CxnSpPr/>
          <p:nvPr/>
        </p:nvCxnSpPr>
        <p:spPr>
          <a:xfrm flipH="1">
            <a:off x="1426902" y="4211727"/>
            <a:ext cx="0" cy="388089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reeform 11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EditPoints="1"/>
          </p:cNvSpPr>
          <p:nvPr/>
        </p:nvSpPr>
        <p:spPr bwMode="auto">
          <a:xfrm>
            <a:off x="1264040" y="4726631"/>
            <a:ext cx="384877" cy="386292"/>
          </a:xfrm>
          <a:custGeom>
            <a:avLst/>
            <a:gdLst>
              <a:gd name="T0" fmla="*/ 176 w 176"/>
              <a:gd name="T1" fmla="*/ 52 h 176"/>
              <a:gd name="T2" fmla="*/ 175 w 176"/>
              <a:gd name="T3" fmla="*/ 50 h 176"/>
              <a:gd name="T4" fmla="*/ 175 w 176"/>
              <a:gd name="T5" fmla="*/ 50 h 176"/>
              <a:gd name="T6" fmla="*/ 175 w 176"/>
              <a:gd name="T7" fmla="*/ 49 h 176"/>
              <a:gd name="T8" fmla="*/ 175 w 176"/>
              <a:gd name="T9" fmla="*/ 49 h 176"/>
              <a:gd name="T10" fmla="*/ 127 w 176"/>
              <a:gd name="T11" fmla="*/ 2 h 176"/>
              <a:gd name="T12" fmla="*/ 127 w 176"/>
              <a:gd name="T13" fmla="*/ 2 h 176"/>
              <a:gd name="T14" fmla="*/ 124 w 176"/>
              <a:gd name="T15" fmla="*/ 0 h 176"/>
              <a:gd name="T16" fmla="*/ 52 w 176"/>
              <a:gd name="T17" fmla="*/ 0 h 176"/>
              <a:gd name="T18" fmla="*/ 49 w 176"/>
              <a:gd name="T19" fmla="*/ 2 h 176"/>
              <a:gd name="T20" fmla="*/ 49 w 176"/>
              <a:gd name="T21" fmla="*/ 2 h 176"/>
              <a:gd name="T22" fmla="*/ 1 w 176"/>
              <a:gd name="T23" fmla="*/ 49 h 176"/>
              <a:gd name="T24" fmla="*/ 1 w 176"/>
              <a:gd name="T25" fmla="*/ 49 h 176"/>
              <a:gd name="T26" fmla="*/ 1 w 176"/>
              <a:gd name="T27" fmla="*/ 50 h 176"/>
              <a:gd name="T28" fmla="*/ 1 w 176"/>
              <a:gd name="T29" fmla="*/ 50 h 176"/>
              <a:gd name="T30" fmla="*/ 0 w 176"/>
              <a:gd name="T31" fmla="*/ 52 h 176"/>
              <a:gd name="T32" fmla="*/ 1 w 176"/>
              <a:gd name="T33" fmla="*/ 54 h 176"/>
              <a:gd name="T34" fmla="*/ 1 w 176"/>
              <a:gd name="T35" fmla="*/ 55 h 176"/>
              <a:gd name="T36" fmla="*/ 85 w 176"/>
              <a:gd name="T37" fmla="*/ 175 h 176"/>
              <a:gd name="T38" fmla="*/ 85 w 176"/>
              <a:gd name="T39" fmla="*/ 174 h 176"/>
              <a:gd name="T40" fmla="*/ 88 w 176"/>
              <a:gd name="T41" fmla="*/ 176 h 176"/>
              <a:gd name="T42" fmla="*/ 91 w 176"/>
              <a:gd name="T43" fmla="*/ 174 h 176"/>
              <a:gd name="T44" fmla="*/ 91 w 176"/>
              <a:gd name="T45" fmla="*/ 175 h 176"/>
              <a:gd name="T46" fmla="*/ 175 w 176"/>
              <a:gd name="T47" fmla="*/ 55 h 176"/>
              <a:gd name="T48" fmla="*/ 175 w 176"/>
              <a:gd name="T49" fmla="*/ 54 h 176"/>
              <a:gd name="T50" fmla="*/ 176 w 176"/>
              <a:gd name="T51" fmla="*/ 52 h 176"/>
              <a:gd name="T52" fmla="*/ 122 w 176"/>
              <a:gd name="T53" fmla="*/ 8 h 176"/>
              <a:gd name="T54" fmla="*/ 162 w 176"/>
              <a:gd name="T55" fmla="*/ 48 h 176"/>
              <a:gd name="T56" fmla="*/ 126 w 176"/>
              <a:gd name="T57" fmla="*/ 48 h 176"/>
              <a:gd name="T58" fmla="*/ 106 w 176"/>
              <a:gd name="T59" fmla="*/ 8 h 176"/>
              <a:gd name="T60" fmla="*/ 122 w 176"/>
              <a:gd name="T61" fmla="*/ 8 h 176"/>
              <a:gd name="T62" fmla="*/ 98 w 176"/>
              <a:gd name="T63" fmla="*/ 8 h 176"/>
              <a:gd name="T64" fmla="*/ 118 w 176"/>
              <a:gd name="T65" fmla="*/ 48 h 176"/>
              <a:gd name="T66" fmla="*/ 58 w 176"/>
              <a:gd name="T67" fmla="*/ 48 h 176"/>
              <a:gd name="T68" fmla="*/ 78 w 176"/>
              <a:gd name="T69" fmla="*/ 8 h 176"/>
              <a:gd name="T70" fmla="*/ 98 w 176"/>
              <a:gd name="T71" fmla="*/ 8 h 176"/>
              <a:gd name="T72" fmla="*/ 54 w 176"/>
              <a:gd name="T73" fmla="*/ 8 h 176"/>
              <a:gd name="T74" fmla="*/ 70 w 176"/>
              <a:gd name="T75" fmla="*/ 8 h 176"/>
              <a:gd name="T76" fmla="*/ 50 w 176"/>
              <a:gd name="T77" fmla="*/ 48 h 176"/>
              <a:gd name="T78" fmla="*/ 14 w 176"/>
              <a:gd name="T79" fmla="*/ 48 h 176"/>
              <a:gd name="T80" fmla="*/ 54 w 176"/>
              <a:gd name="T81" fmla="*/ 8 h 176"/>
              <a:gd name="T82" fmla="*/ 12 w 176"/>
              <a:gd name="T83" fmla="*/ 56 h 176"/>
              <a:gd name="T84" fmla="*/ 49 w 176"/>
              <a:gd name="T85" fmla="*/ 56 h 176"/>
              <a:gd name="T86" fmla="*/ 77 w 176"/>
              <a:gd name="T87" fmla="*/ 149 h 176"/>
              <a:gd name="T88" fmla="*/ 12 w 176"/>
              <a:gd name="T89" fmla="*/ 56 h 176"/>
              <a:gd name="T90" fmla="*/ 88 w 176"/>
              <a:gd name="T91" fmla="*/ 158 h 176"/>
              <a:gd name="T92" fmla="*/ 57 w 176"/>
              <a:gd name="T93" fmla="*/ 56 h 176"/>
              <a:gd name="T94" fmla="*/ 119 w 176"/>
              <a:gd name="T95" fmla="*/ 56 h 176"/>
              <a:gd name="T96" fmla="*/ 88 w 176"/>
              <a:gd name="T97" fmla="*/ 158 h 176"/>
              <a:gd name="T98" fmla="*/ 99 w 176"/>
              <a:gd name="T99" fmla="*/ 149 h 176"/>
              <a:gd name="T100" fmla="*/ 127 w 176"/>
              <a:gd name="T101" fmla="*/ 56 h 176"/>
              <a:gd name="T102" fmla="*/ 164 w 176"/>
              <a:gd name="T103" fmla="*/ 56 h 176"/>
              <a:gd name="T104" fmla="*/ 99 w 176"/>
              <a:gd name="T105" fmla="*/ 149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76" h="176">
                <a:moveTo>
                  <a:pt x="176" y="52"/>
                </a:moveTo>
                <a:cubicBezTo>
                  <a:pt x="176" y="51"/>
                  <a:pt x="176" y="50"/>
                  <a:pt x="175" y="50"/>
                </a:cubicBezTo>
                <a:cubicBezTo>
                  <a:pt x="175" y="50"/>
                  <a:pt x="175" y="50"/>
                  <a:pt x="175" y="50"/>
                </a:cubicBezTo>
                <a:cubicBezTo>
                  <a:pt x="175" y="49"/>
                  <a:pt x="175" y="49"/>
                  <a:pt x="175" y="49"/>
                </a:cubicBezTo>
                <a:cubicBezTo>
                  <a:pt x="175" y="49"/>
                  <a:pt x="175" y="49"/>
                  <a:pt x="175" y="49"/>
                </a:cubicBezTo>
                <a:cubicBezTo>
                  <a:pt x="127" y="2"/>
                  <a:pt x="127" y="2"/>
                  <a:pt x="127" y="2"/>
                </a:cubicBezTo>
                <a:cubicBezTo>
                  <a:pt x="127" y="2"/>
                  <a:pt x="127" y="2"/>
                  <a:pt x="127" y="2"/>
                </a:cubicBezTo>
                <a:cubicBezTo>
                  <a:pt x="126" y="1"/>
                  <a:pt x="125" y="0"/>
                  <a:pt x="124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1" y="0"/>
                  <a:pt x="50" y="1"/>
                  <a:pt x="49" y="2"/>
                </a:cubicBezTo>
                <a:cubicBezTo>
                  <a:pt x="49" y="2"/>
                  <a:pt x="49" y="2"/>
                  <a:pt x="49" y="2"/>
                </a:cubicBezTo>
                <a:cubicBezTo>
                  <a:pt x="1" y="49"/>
                  <a:pt x="1" y="49"/>
                  <a:pt x="1" y="49"/>
                </a:cubicBezTo>
                <a:cubicBezTo>
                  <a:pt x="1" y="49"/>
                  <a:pt x="1" y="49"/>
                  <a:pt x="1" y="49"/>
                </a:cubicBezTo>
                <a:cubicBezTo>
                  <a:pt x="1" y="50"/>
                  <a:pt x="1" y="50"/>
                  <a:pt x="1" y="50"/>
                </a:cubicBezTo>
                <a:cubicBezTo>
                  <a:pt x="1" y="50"/>
                  <a:pt x="1" y="50"/>
                  <a:pt x="1" y="50"/>
                </a:cubicBezTo>
                <a:cubicBezTo>
                  <a:pt x="0" y="50"/>
                  <a:pt x="0" y="51"/>
                  <a:pt x="0" y="52"/>
                </a:cubicBezTo>
                <a:cubicBezTo>
                  <a:pt x="0" y="53"/>
                  <a:pt x="0" y="54"/>
                  <a:pt x="1" y="54"/>
                </a:cubicBezTo>
                <a:cubicBezTo>
                  <a:pt x="1" y="55"/>
                  <a:pt x="1" y="55"/>
                  <a:pt x="1" y="55"/>
                </a:cubicBezTo>
                <a:cubicBezTo>
                  <a:pt x="85" y="175"/>
                  <a:pt x="85" y="175"/>
                  <a:pt x="85" y="175"/>
                </a:cubicBezTo>
                <a:cubicBezTo>
                  <a:pt x="85" y="174"/>
                  <a:pt x="85" y="174"/>
                  <a:pt x="85" y="174"/>
                </a:cubicBezTo>
                <a:cubicBezTo>
                  <a:pt x="86" y="175"/>
                  <a:pt x="87" y="176"/>
                  <a:pt x="88" y="176"/>
                </a:cubicBezTo>
                <a:cubicBezTo>
                  <a:pt x="89" y="176"/>
                  <a:pt x="90" y="175"/>
                  <a:pt x="91" y="174"/>
                </a:cubicBezTo>
                <a:cubicBezTo>
                  <a:pt x="91" y="175"/>
                  <a:pt x="91" y="175"/>
                  <a:pt x="91" y="175"/>
                </a:cubicBezTo>
                <a:cubicBezTo>
                  <a:pt x="175" y="55"/>
                  <a:pt x="175" y="55"/>
                  <a:pt x="175" y="55"/>
                </a:cubicBezTo>
                <a:cubicBezTo>
                  <a:pt x="175" y="54"/>
                  <a:pt x="175" y="54"/>
                  <a:pt x="175" y="54"/>
                </a:cubicBezTo>
                <a:cubicBezTo>
                  <a:pt x="176" y="54"/>
                  <a:pt x="176" y="53"/>
                  <a:pt x="176" y="52"/>
                </a:cubicBezTo>
                <a:moveTo>
                  <a:pt x="122" y="8"/>
                </a:moveTo>
                <a:cubicBezTo>
                  <a:pt x="162" y="48"/>
                  <a:pt x="162" y="48"/>
                  <a:pt x="162" y="48"/>
                </a:cubicBezTo>
                <a:cubicBezTo>
                  <a:pt x="126" y="48"/>
                  <a:pt x="126" y="48"/>
                  <a:pt x="126" y="48"/>
                </a:cubicBezTo>
                <a:cubicBezTo>
                  <a:pt x="106" y="8"/>
                  <a:pt x="106" y="8"/>
                  <a:pt x="106" y="8"/>
                </a:cubicBezTo>
                <a:lnTo>
                  <a:pt x="122" y="8"/>
                </a:lnTo>
                <a:close/>
                <a:moveTo>
                  <a:pt x="98" y="8"/>
                </a:moveTo>
                <a:cubicBezTo>
                  <a:pt x="118" y="48"/>
                  <a:pt x="118" y="48"/>
                  <a:pt x="118" y="48"/>
                </a:cubicBezTo>
                <a:cubicBezTo>
                  <a:pt x="58" y="48"/>
                  <a:pt x="58" y="48"/>
                  <a:pt x="58" y="48"/>
                </a:cubicBezTo>
                <a:cubicBezTo>
                  <a:pt x="78" y="8"/>
                  <a:pt x="78" y="8"/>
                  <a:pt x="78" y="8"/>
                </a:cubicBezTo>
                <a:lnTo>
                  <a:pt x="98" y="8"/>
                </a:lnTo>
                <a:close/>
                <a:moveTo>
                  <a:pt x="54" y="8"/>
                </a:moveTo>
                <a:cubicBezTo>
                  <a:pt x="70" y="8"/>
                  <a:pt x="70" y="8"/>
                  <a:pt x="70" y="8"/>
                </a:cubicBezTo>
                <a:cubicBezTo>
                  <a:pt x="50" y="48"/>
                  <a:pt x="50" y="48"/>
                  <a:pt x="50" y="48"/>
                </a:cubicBezTo>
                <a:cubicBezTo>
                  <a:pt x="14" y="48"/>
                  <a:pt x="14" y="48"/>
                  <a:pt x="14" y="48"/>
                </a:cubicBezTo>
                <a:lnTo>
                  <a:pt x="54" y="8"/>
                </a:lnTo>
                <a:close/>
                <a:moveTo>
                  <a:pt x="12" y="56"/>
                </a:moveTo>
                <a:cubicBezTo>
                  <a:pt x="49" y="56"/>
                  <a:pt x="49" y="56"/>
                  <a:pt x="49" y="56"/>
                </a:cubicBezTo>
                <a:cubicBezTo>
                  <a:pt x="77" y="149"/>
                  <a:pt x="77" y="149"/>
                  <a:pt x="77" y="149"/>
                </a:cubicBezTo>
                <a:lnTo>
                  <a:pt x="12" y="56"/>
                </a:lnTo>
                <a:close/>
                <a:moveTo>
                  <a:pt x="88" y="158"/>
                </a:moveTo>
                <a:cubicBezTo>
                  <a:pt x="57" y="56"/>
                  <a:pt x="57" y="56"/>
                  <a:pt x="57" y="56"/>
                </a:cubicBezTo>
                <a:cubicBezTo>
                  <a:pt x="119" y="56"/>
                  <a:pt x="119" y="56"/>
                  <a:pt x="119" y="56"/>
                </a:cubicBezTo>
                <a:lnTo>
                  <a:pt x="88" y="158"/>
                </a:lnTo>
                <a:close/>
                <a:moveTo>
                  <a:pt x="99" y="149"/>
                </a:moveTo>
                <a:cubicBezTo>
                  <a:pt x="127" y="56"/>
                  <a:pt x="127" y="56"/>
                  <a:pt x="127" y="56"/>
                </a:cubicBezTo>
                <a:cubicBezTo>
                  <a:pt x="164" y="56"/>
                  <a:pt x="164" y="56"/>
                  <a:pt x="164" y="56"/>
                </a:cubicBezTo>
                <a:lnTo>
                  <a:pt x="99" y="14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GB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42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635311" y="5327044"/>
            <a:ext cx="1703156" cy="761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>
                <a:solidFill>
                  <a:schemeClr val="tx2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</a:t>
            </a:r>
          </a:p>
        </p:txBody>
      </p:sp>
      <p:sp>
        <p:nvSpPr>
          <p:cNvPr id="43" name="TextBox 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503275" y="540017"/>
            <a:ext cx="523560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Team Single: </a:t>
            </a:r>
            <a:r>
              <a:rPr lang="en-US" altLang="zh-CN" sz="3600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FREEPPT7</a:t>
            </a:r>
            <a:endParaRPr lang="en-US" sz="3600" dirty="0">
              <a:solidFill>
                <a:schemeClr val="tx1">
                  <a:lumMod val="65000"/>
                  <a:lumOff val="35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pic>
        <p:nvPicPr>
          <p:cNvPr id="44" name="图片 4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4407" y="1866814"/>
            <a:ext cx="3050317" cy="3197398"/>
          </a:xfrm>
          <a:prstGeom prst="rect">
            <a:avLst/>
          </a:prstGeom>
        </p:spPr>
      </p:pic>
      <p:sp>
        <p:nvSpPr>
          <p:cNvPr id="46" name="TextBox 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350990" y="6406120"/>
            <a:ext cx="13548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b="1" dirty="0">
                <a:solidFill>
                  <a:schemeClr val="accent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FREEPPT7</a:t>
            </a:r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 Company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140" r="-85"/>
          <a:stretch>
            <a:fillRect/>
          </a:stretch>
        </p:blipFill>
        <p:spPr>
          <a:xfrm>
            <a:off x="4005072" y="-1"/>
            <a:ext cx="8186928" cy="6761815"/>
          </a:xfrm>
          <a:prstGeom prst="rect">
            <a:avLst/>
          </a:prstGeom>
        </p:spPr>
      </p:pic>
      <p:pic>
        <p:nvPicPr>
          <p:cNvPr id="2" name="图片 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848"/>
          <a:stretch>
            <a:fillRect/>
          </a:stretch>
        </p:blipFill>
        <p:spPr>
          <a:xfrm>
            <a:off x="4554839" y="688243"/>
            <a:ext cx="7503811" cy="6169757"/>
          </a:xfrm>
          <a:prstGeom prst="rect">
            <a:avLst/>
          </a:prstGeom>
        </p:spPr>
      </p:pic>
      <p:sp>
        <p:nvSpPr>
          <p:cNvPr id="4" name="文本框 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725251" y="3387436"/>
            <a:ext cx="4109145" cy="3819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lnSpc>
                <a:spcPct val="150000"/>
              </a:lnSpc>
            </a:pPr>
            <a:r>
              <a:rPr lang="en-US" altLang="zh-CN" sz="1400" spc="-300" dirty="0">
                <a:gradFill flip="none" rotWithShape="1">
                  <a:gsLst>
                    <a:gs pos="0">
                      <a:schemeClr val="accent5">
                        <a:lumMod val="75000"/>
                      </a:schemeClr>
                    </a:gs>
                    <a:gs pos="96403">
                      <a:schemeClr val="accent2"/>
                    </a:gs>
                    <a:gs pos="75000">
                      <a:schemeClr val="accent4"/>
                    </a:gs>
                  </a:gsLst>
                  <a:lin ang="10800000" scaled="1"/>
                </a:gradFill>
                <a:latin typeface="方正综艺简体" panose="03000509000000000000" pitchFamily="65" charset="-122"/>
                <a:ea typeface="思源黑体 CN Medium" panose="020B0600000000000000" pitchFamily="34" charset="-122"/>
                <a:cs typeface="思源黑体 CN Regular" panose="020B0500000000000000" charset="-122"/>
              </a:rPr>
              <a:t>CREATIVE  POWERPOINT  TEMPLATE</a:t>
            </a:r>
          </a:p>
        </p:txBody>
      </p:sp>
      <p:sp>
        <p:nvSpPr>
          <p:cNvPr id="5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725251" y="3766913"/>
            <a:ext cx="4030691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 dirty="0">
                <a:solidFill>
                  <a:schemeClr val="tx2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. This is a sample text. insert your desired text here. Again. this is a dummy text. enter your own text here.”</a:t>
            </a:r>
          </a:p>
        </p:txBody>
      </p:sp>
      <p:sp>
        <p:nvSpPr>
          <p:cNvPr id="6" name="文本框 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594447" y="2540271"/>
            <a:ext cx="478715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600" b="1" dirty="0">
                <a:solidFill>
                  <a:schemeClr val="accent4"/>
                </a:solidFill>
                <a:effectLst>
                  <a:innerShdw blurRad="63500" dist="50800" dir="15600000">
                    <a:schemeClr val="accent5">
                      <a:alpha val="23000"/>
                    </a:schemeClr>
                  </a:innerShdw>
                </a:effectLst>
                <a:latin typeface="方正综艺简体" panose="03000509000000000000" pitchFamily="65" charset="-122"/>
                <a:cs typeface="思源黑体 CN Regular" panose="020B0500000000000000" charset="-122"/>
              </a:rPr>
              <a:t>PART TWO</a:t>
            </a:r>
            <a:endParaRPr lang="zh-CN" altLang="en-US" sz="6600" b="1" dirty="0">
              <a:solidFill>
                <a:schemeClr val="accent4"/>
              </a:solidFill>
              <a:effectLst>
                <a:innerShdw blurRad="63500" dist="50800" dir="15600000">
                  <a:schemeClr val="accent5">
                    <a:alpha val="23000"/>
                  </a:schemeClr>
                </a:innerShdw>
              </a:effectLst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7" name="Rectangle: Rounded Corners 2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79039" y="5209697"/>
            <a:ext cx="1402161" cy="38237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5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  <a:effectLst>
            <a:outerShdw blurRad="787400" dist="101600" dir="5400000" sx="80000" sy="80000" algn="t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200" dirty="0">
                <a:latin typeface="方正综艺简体" panose="03000509000000000000" pitchFamily="65" charset="-122"/>
                <a:cs typeface="思源黑体 CN Regular" panose="020B0500000000000000" charset="-122"/>
              </a:rPr>
              <a:t>Read Here</a:t>
            </a:r>
          </a:p>
        </p:txBody>
      </p:sp>
      <p:pic>
        <p:nvPicPr>
          <p:cNvPr id="8" name="图片 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6018"/>
          <a:stretch>
            <a:fillRect/>
          </a:stretch>
        </p:blipFill>
        <p:spPr>
          <a:xfrm>
            <a:off x="705391" y="1430726"/>
            <a:ext cx="888459" cy="1006768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图片占位符 3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32" name="Picture 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图片占位符 3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Grp="1" noChangeAspect="1"/>
          </p:cNvPicPr>
          <p:nvPr>
            <p:ph type="pic" sz="quarter" idx="1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34" name="Picture 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Grp="1" noChangeAspect="1" noChangeArrowheads="1"/>
          </p:cNvPicPr>
          <p:nvPr>
            <p:ph type="pic" sz="quarter" idx="13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tangle: Rounded Corners 2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746260" y="2624418"/>
            <a:ext cx="7908823" cy="1624264"/>
          </a:xfrm>
          <a:prstGeom prst="roundRect">
            <a:avLst>
              <a:gd name="adj" fmla="val 50000"/>
            </a:avLst>
          </a:prstGeom>
          <a:gradFill>
            <a:gsLst>
              <a:gs pos="2000">
                <a:schemeClr val="accent1"/>
              </a:gs>
              <a:gs pos="100000">
                <a:schemeClr val="accent4"/>
              </a:gs>
            </a:gsLst>
            <a:lin ang="0" scaled="0"/>
          </a:gradFill>
          <a:ln>
            <a:noFill/>
          </a:ln>
          <a:effectLst>
            <a:outerShdw blurRad="1270000" dist="762000" dir="5400000" sx="90000" sy="9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125" dirty="0"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grpSp>
        <p:nvGrpSpPr>
          <p:cNvPr id="27" name="Group 2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7340517" y="2131660"/>
            <a:ext cx="451293" cy="94511"/>
            <a:chOff x="1464244" y="3674277"/>
            <a:chExt cx="1830619" cy="383373"/>
          </a:xfrm>
        </p:grpSpPr>
        <p:sp>
          <p:nvSpPr>
            <p:cNvPr id="28" name="Arc 27"/>
            <p:cNvSpPr/>
            <p:nvPr/>
          </p:nvSpPr>
          <p:spPr>
            <a:xfrm>
              <a:off x="2911491" y="3674277"/>
              <a:ext cx="383372" cy="383373"/>
            </a:xfrm>
            <a:prstGeom prst="arc">
              <a:avLst>
                <a:gd name="adj1" fmla="val 16200000"/>
                <a:gd name="adj2" fmla="val 5435974"/>
              </a:avLst>
            </a:prstGeom>
            <a:ln w="31750" cap="rnd"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d-ID" sz="1125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29" name="Arc 28"/>
            <p:cNvSpPr/>
            <p:nvPr/>
          </p:nvSpPr>
          <p:spPr>
            <a:xfrm>
              <a:off x="2187866" y="3674277"/>
              <a:ext cx="383372" cy="383373"/>
            </a:xfrm>
            <a:prstGeom prst="arc">
              <a:avLst>
                <a:gd name="adj1" fmla="val 16200000"/>
                <a:gd name="adj2" fmla="val 5435974"/>
              </a:avLst>
            </a:prstGeom>
            <a:ln w="31750" cap="rnd">
              <a:solidFill>
                <a:schemeClr val="accent1">
                  <a:alpha val="2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d-ID" sz="1125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30" name="Arc 29"/>
            <p:cNvSpPr/>
            <p:nvPr/>
          </p:nvSpPr>
          <p:spPr>
            <a:xfrm>
              <a:off x="1464244" y="3674277"/>
              <a:ext cx="383372" cy="383373"/>
            </a:xfrm>
            <a:prstGeom prst="arc">
              <a:avLst>
                <a:gd name="adj1" fmla="val 16200000"/>
                <a:gd name="adj2" fmla="val 5435974"/>
              </a:avLst>
            </a:prstGeom>
            <a:ln w="31750" cap="rnd">
              <a:solidFill>
                <a:schemeClr val="accent1">
                  <a:alpha val="1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d-ID" sz="1125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</p:grpSp>
      <p:grpSp>
        <p:nvGrpSpPr>
          <p:cNvPr id="7" name="Group 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2496619" y="2401237"/>
            <a:ext cx="2070629" cy="2070626"/>
            <a:chOff x="3960459" y="3841979"/>
            <a:chExt cx="3313006" cy="3313002"/>
          </a:xfrm>
        </p:grpSpPr>
        <p:grpSp>
          <p:nvGrpSpPr>
            <p:cNvPr id="37" name="Group 36"/>
            <p:cNvGrpSpPr/>
            <p:nvPr/>
          </p:nvGrpSpPr>
          <p:grpSpPr>
            <a:xfrm>
              <a:off x="3960459" y="3841979"/>
              <a:ext cx="3313006" cy="3313002"/>
              <a:chOff x="6104965" y="2265289"/>
              <a:chExt cx="1855694" cy="1855694"/>
            </a:xfrm>
          </p:grpSpPr>
          <p:sp>
            <p:nvSpPr>
              <p:cNvPr id="38" name="Oval 37"/>
              <p:cNvSpPr/>
              <p:nvPr/>
            </p:nvSpPr>
            <p:spPr>
              <a:xfrm>
                <a:off x="6104965" y="2265289"/>
                <a:ext cx="1855694" cy="1855694"/>
              </a:xfrm>
              <a:prstGeom prst="ellipse">
                <a:avLst/>
              </a:prstGeom>
              <a:solidFill>
                <a:schemeClr val="accent1">
                  <a:alpha val="31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9" name="Oval 38"/>
              <p:cNvSpPr/>
              <p:nvPr/>
            </p:nvSpPr>
            <p:spPr>
              <a:xfrm>
                <a:off x="6326458" y="2482124"/>
                <a:ext cx="1422023" cy="1422023"/>
              </a:xfrm>
              <a:prstGeom prst="ellipse">
                <a:avLst/>
              </a:prstGeom>
              <a:solidFill>
                <a:schemeClr val="accent1">
                  <a:alpha val="57000"/>
                </a:schemeClr>
              </a:solidFill>
              <a:ln>
                <a:noFill/>
              </a:ln>
              <a:effectLst>
                <a:outerShdw blurRad="889000" dist="50800" dir="5400000" sx="89000" sy="89000" algn="ctr" rotWithShape="0">
                  <a:srgbClr val="000000">
                    <a:alpha val="49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40" name="Oval 39"/>
              <p:cNvSpPr/>
              <p:nvPr/>
            </p:nvSpPr>
            <p:spPr>
              <a:xfrm>
                <a:off x="6566834" y="2724359"/>
                <a:ext cx="942451" cy="94245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</p:grpSp>
        <p:sp>
          <p:nvSpPr>
            <p:cNvPr id="41" name="AutoShape 139"/>
            <p:cNvSpPr/>
            <p:nvPr/>
          </p:nvSpPr>
          <p:spPr bwMode="auto">
            <a:xfrm>
              <a:off x="5227757" y="5065720"/>
              <a:ext cx="807456" cy="782610"/>
            </a:xfrm>
            <a:custGeom>
              <a:avLst/>
              <a:gdLst>
                <a:gd name="T0" fmla="+- 0 10800 104"/>
                <a:gd name="T1" fmla="*/ T0 w 21392"/>
                <a:gd name="T2" fmla="*/ 10800 h 21600"/>
                <a:gd name="T3" fmla="+- 0 10800 104"/>
                <a:gd name="T4" fmla="*/ T3 w 21392"/>
                <a:gd name="T5" fmla="*/ 10800 h 21600"/>
                <a:gd name="T6" fmla="+- 0 10800 104"/>
                <a:gd name="T7" fmla="*/ T6 w 21392"/>
                <a:gd name="T8" fmla="*/ 10800 h 21600"/>
                <a:gd name="T9" fmla="+- 0 10800 104"/>
                <a:gd name="T10" fmla="*/ T9 w 21392"/>
                <a:gd name="T11" fmla="*/ 10800 h 21600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</a:cxnLst>
              <a:rect l="0" t="0" r="r" b="b"/>
              <a:pathLst>
                <a:path w="21392" h="21600">
                  <a:moveTo>
                    <a:pt x="15768" y="12794"/>
                  </a:moveTo>
                  <a:cubicBezTo>
                    <a:pt x="15426" y="13150"/>
                    <a:pt x="15271" y="13651"/>
                    <a:pt x="15350" y="14142"/>
                  </a:cubicBezTo>
                  <a:lnTo>
                    <a:pt x="16296" y="20031"/>
                  </a:lnTo>
                  <a:lnTo>
                    <a:pt x="11443" y="17309"/>
                  </a:lnTo>
                  <a:cubicBezTo>
                    <a:pt x="11210" y="17178"/>
                    <a:pt x="10953" y="17112"/>
                    <a:pt x="10696" y="17112"/>
                  </a:cubicBezTo>
                  <a:cubicBezTo>
                    <a:pt x="10439" y="17112"/>
                    <a:pt x="10182" y="17178"/>
                    <a:pt x="9949" y="17309"/>
                  </a:cubicBezTo>
                  <a:lnTo>
                    <a:pt x="5095" y="20031"/>
                  </a:lnTo>
                  <a:lnTo>
                    <a:pt x="6042" y="14142"/>
                  </a:lnTo>
                  <a:cubicBezTo>
                    <a:pt x="6121" y="13651"/>
                    <a:pt x="5966" y="13150"/>
                    <a:pt x="5624" y="12794"/>
                  </a:cubicBezTo>
                  <a:lnTo>
                    <a:pt x="1545" y="8550"/>
                  </a:lnTo>
                  <a:lnTo>
                    <a:pt x="7111" y="7685"/>
                  </a:lnTo>
                  <a:cubicBezTo>
                    <a:pt x="7619" y="7607"/>
                    <a:pt x="8057" y="7275"/>
                    <a:pt x="8276" y="6802"/>
                  </a:cubicBezTo>
                  <a:lnTo>
                    <a:pt x="10696" y="1568"/>
                  </a:lnTo>
                  <a:lnTo>
                    <a:pt x="13116" y="6802"/>
                  </a:lnTo>
                  <a:cubicBezTo>
                    <a:pt x="13334" y="7275"/>
                    <a:pt x="13772" y="7607"/>
                    <a:pt x="14280" y="7685"/>
                  </a:cubicBezTo>
                  <a:lnTo>
                    <a:pt x="19847" y="8550"/>
                  </a:lnTo>
                  <a:cubicBezTo>
                    <a:pt x="19847" y="8550"/>
                    <a:pt x="15768" y="12794"/>
                    <a:pt x="15768" y="12794"/>
                  </a:cubicBezTo>
                  <a:close/>
                  <a:moveTo>
                    <a:pt x="21312" y="8051"/>
                  </a:moveTo>
                  <a:cubicBezTo>
                    <a:pt x="21127" y="7495"/>
                    <a:pt x="20652" y="7088"/>
                    <a:pt x="20080" y="6999"/>
                  </a:cubicBezTo>
                  <a:lnTo>
                    <a:pt x="14514" y="6136"/>
                  </a:lnTo>
                  <a:lnTo>
                    <a:pt x="12094" y="901"/>
                  </a:lnTo>
                  <a:cubicBezTo>
                    <a:pt x="11840" y="351"/>
                    <a:pt x="11295" y="0"/>
                    <a:pt x="10696" y="0"/>
                  </a:cubicBezTo>
                  <a:cubicBezTo>
                    <a:pt x="10097" y="0"/>
                    <a:pt x="9552" y="351"/>
                    <a:pt x="9297" y="901"/>
                  </a:cubicBezTo>
                  <a:lnTo>
                    <a:pt x="6878" y="6136"/>
                  </a:lnTo>
                  <a:lnTo>
                    <a:pt x="1311" y="6999"/>
                  </a:lnTo>
                  <a:cubicBezTo>
                    <a:pt x="739" y="7088"/>
                    <a:pt x="264" y="7495"/>
                    <a:pt x="80" y="8051"/>
                  </a:cubicBezTo>
                  <a:cubicBezTo>
                    <a:pt x="-104" y="8609"/>
                    <a:pt x="35" y="9224"/>
                    <a:pt x="439" y="9644"/>
                  </a:cubicBezTo>
                  <a:lnTo>
                    <a:pt x="4518" y="13889"/>
                  </a:lnTo>
                  <a:lnTo>
                    <a:pt x="3572" y="19777"/>
                  </a:lnTo>
                  <a:cubicBezTo>
                    <a:pt x="3476" y="20370"/>
                    <a:pt x="3722" y="20966"/>
                    <a:pt x="4206" y="21313"/>
                  </a:cubicBezTo>
                  <a:cubicBezTo>
                    <a:pt x="4471" y="21503"/>
                    <a:pt x="4783" y="21600"/>
                    <a:pt x="5095" y="21600"/>
                  </a:cubicBezTo>
                  <a:cubicBezTo>
                    <a:pt x="5352" y="21600"/>
                    <a:pt x="5609" y="21534"/>
                    <a:pt x="5843" y="21404"/>
                  </a:cubicBezTo>
                  <a:lnTo>
                    <a:pt x="10696" y="18681"/>
                  </a:lnTo>
                  <a:lnTo>
                    <a:pt x="15549" y="21404"/>
                  </a:lnTo>
                  <a:cubicBezTo>
                    <a:pt x="15782" y="21534"/>
                    <a:pt x="16040" y="21600"/>
                    <a:pt x="16296" y="21600"/>
                  </a:cubicBezTo>
                  <a:cubicBezTo>
                    <a:pt x="16608" y="21600"/>
                    <a:pt x="16920" y="21503"/>
                    <a:pt x="17186" y="21313"/>
                  </a:cubicBezTo>
                  <a:cubicBezTo>
                    <a:pt x="17669" y="20966"/>
                    <a:pt x="17915" y="20370"/>
                    <a:pt x="17820" y="19777"/>
                  </a:cubicBezTo>
                  <a:lnTo>
                    <a:pt x="16873" y="13889"/>
                  </a:lnTo>
                  <a:lnTo>
                    <a:pt x="20953" y="9644"/>
                  </a:lnTo>
                  <a:cubicBezTo>
                    <a:pt x="21357" y="9224"/>
                    <a:pt x="21496" y="8609"/>
                    <a:pt x="21312" y="805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lIns="11906" tIns="11906" rIns="11906" bIns="11906" anchor="ctr"/>
            <a:lstStyle/>
            <a:p>
              <a:pPr algn="ctr" defTabSz="142875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940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等线" panose="02010600030101010101" charset="-122"/>
              </a:endParaRPr>
            </a:p>
          </p:txBody>
        </p:sp>
      </p:grpSp>
      <p:grpSp>
        <p:nvGrpSpPr>
          <p:cNvPr id="9" name="Group 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4754237" y="3028370"/>
            <a:ext cx="1711199" cy="820818"/>
            <a:chOff x="6886095" y="4753961"/>
            <a:chExt cx="2737918" cy="1313308"/>
          </a:xfrm>
        </p:grpSpPr>
        <p:sp>
          <p:nvSpPr>
            <p:cNvPr id="42" name="Rectangle 41"/>
            <p:cNvSpPr/>
            <p:nvPr/>
          </p:nvSpPr>
          <p:spPr>
            <a:xfrm>
              <a:off x="6886095" y="5611247"/>
              <a:ext cx="2451956" cy="45602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125" dirty="0">
                  <a:solidFill>
                    <a:schemeClr val="bg1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rPr>
                <a:t>Business Fact 1</a:t>
              </a: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6886095" y="4753961"/>
              <a:ext cx="2737918" cy="10727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3375" dirty="0">
                  <a:solidFill>
                    <a:schemeClr val="bg1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rPr>
                <a:t>546,</a:t>
              </a:r>
              <a:r>
                <a:rPr lang="en-US" sz="2000" dirty="0">
                  <a:solidFill>
                    <a:schemeClr val="bg1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rPr>
                <a:t>12</a:t>
              </a:r>
              <a:endParaRPr lang="en-US" sz="3375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</p:grpSp>
      <p:grpSp>
        <p:nvGrpSpPr>
          <p:cNvPr id="45" name="Group 4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6585871" y="3028370"/>
            <a:ext cx="1711199" cy="820818"/>
            <a:chOff x="6886095" y="4753961"/>
            <a:chExt cx="2737918" cy="1313308"/>
          </a:xfrm>
        </p:grpSpPr>
        <p:sp>
          <p:nvSpPr>
            <p:cNvPr id="46" name="Rectangle 45"/>
            <p:cNvSpPr/>
            <p:nvPr/>
          </p:nvSpPr>
          <p:spPr>
            <a:xfrm>
              <a:off x="6886095" y="5611247"/>
              <a:ext cx="2451956" cy="45602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125" dirty="0">
                  <a:solidFill>
                    <a:schemeClr val="bg1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rPr>
                <a:t>Business Fact 2</a:t>
              </a: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6886095" y="4753961"/>
              <a:ext cx="2737918" cy="10727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3375" dirty="0">
                  <a:solidFill>
                    <a:schemeClr val="bg1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rPr>
                <a:t>716,</a:t>
              </a:r>
              <a:r>
                <a:rPr lang="en-US" sz="2000" dirty="0">
                  <a:solidFill>
                    <a:schemeClr val="bg1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rPr>
                <a:t>10</a:t>
              </a:r>
              <a:endParaRPr lang="en-US" sz="3375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</p:grpSp>
      <p:grpSp>
        <p:nvGrpSpPr>
          <p:cNvPr id="48" name="Group 4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8417506" y="3028370"/>
            <a:ext cx="1711199" cy="820818"/>
            <a:chOff x="6886095" y="4753961"/>
            <a:chExt cx="2737918" cy="1313308"/>
          </a:xfrm>
        </p:grpSpPr>
        <p:sp>
          <p:nvSpPr>
            <p:cNvPr id="49" name="Rectangle 48"/>
            <p:cNvSpPr/>
            <p:nvPr/>
          </p:nvSpPr>
          <p:spPr>
            <a:xfrm>
              <a:off x="6886095" y="5611247"/>
              <a:ext cx="2451956" cy="45602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125" dirty="0">
                  <a:solidFill>
                    <a:schemeClr val="bg1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rPr>
                <a:t>Business Fact 3</a:t>
              </a: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6886095" y="4753961"/>
              <a:ext cx="2737918" cy="10727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3375" dirty="0">
                  <a:solidFill>
                    <a:schemeClr val="bg1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rPr>
                <a:t>460,</a:t>
              </a:r>
              <a:r>
                <a:rPr lang="en-US" sz="2000" dirty="0">
                  <a:solidFill>
                    <a:schemeClr val="bg1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rPr>
                <a:t>72</a:t>
              </a:r>
              <a:endParaRPr lang="en-US" sz="3375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</p:grpSp>
      <p:sp>
        <p:nvSpPr>
          <p:cNvPr id="44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7015709" y="4418350"/>
            <a:ext cx="3174792" cy="12695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. This is a sample text. insert your desired text here. Again. this is a dummy text. enter your own text here.”</a:t>
            </a:r>
          </a:p>
        </p:txBody>
      </p:sp>
      <p:sp>
        <p:nvSpPr>
          <p:cNvPr id="51" name="Shape 31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952209" y="1362800"/>
            <a:ext cx="3295650" cy="1233158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/>
          <a:p>
            <a:pPr lvl="0" algn="r">
              <a:lnSpc>
                <a:spcPct val="80000"/>
              </a:lnSpc>
              <a:defRPr sz="1800"/>
            </a:pPr>
            <a:r>
              <a:rPr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The Secrets</a:t>
            </a:r>
            <a:r>
              <a:rPr sz="3200" dirty="0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 of Our Success Story</a:t>
            </a:r>
          </a:p>
        </p:txBody>
      </p:sp>
      <p:sp>
        <p:nvSpPr>
          <p:cNvPr id="52" name="Shape 31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196393" y="880466"/>
            <a:ext cx="2202526" cy="482183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>
            <a:lvl1pPr algn="l">
              <a:defRPr sz="4000" b="1">
                <a:solidFill>
                  <a:srgbClr val="232323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800" dirty="0">
                <a:gradFill>
                  <a:gsLst>
                    <a:gs pos="0">
                      <a:schemeClr val="accent5"/>
                    </a:gs>
                    <a:gs pos="100000">
                      <a:schemeClr val="accent2"/>
                    </a:gs>
                  </a:gsLst>
                  <a:lin ang="10800000" scaled="0"/>
                </a:gra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What We Do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Grp="1" noChangeAspect="1" noChangeArrowheads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Arrow: Up 2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rot="16200000">
            <a:off x="5014233" y="-1800325"/>
            <a:ext cx="3878036" cy="10458649"/>
          </a:xfrm>
          <a:prstGeom prst="upArrow">
            <a:avLst/>
          </a:prstGeom>
          <a:gradFill flip="none" rotWithShape="1">
            <a:gsLst>
              <a:gs pos="0">
                <a:schemeClr val="accent1">
                  <a:alpha val="5000"/>
                </a:schemeClr>
              </a:gs>
              <a:gs pos="100000">
                <a:schemeClr val="accent4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125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5" name="Rectangle: Rounded Corners 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214138" y="1308919"/>
            <a:ext cx="2942203" cy="4240161"/>
          </a:xfrm>
          <a:prstGeom prst="roundRect">
            <a:avLst>
              <a:gd name="adj" fmla="val 538"/>
            </a:avLst>
          </a:prstGeom>
          <a:gradFill>
            <a:gsLst>
              <a:gs pos="200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2700000" scaled="1"/>
          </a:gradFill>
          <a:ln>
            <a:noFill/>
          </a:ln>
          <a:effectLst>
            <a:outerShdw blurRad="1270000" dist="1219200" dir="8100000" sx="90000" sy="9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125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4" name="Rectangle: Rounded Corners 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550977" y="1308920"/>
            <a:ext cx="2942203" cy="4240161"/>
          </a:xfrm>
          <a:prstGeom prst="roundRect">
            <a:avLst>
              <a:gd name="adj" fmla="val 538"/>
            </a:avLst>
          </a:prstGeom>
          <a:gradFill>
            <a:gsLst>
              <a:gs pos="2000">
                <a:schemeClr val="accent1"/>
              </a:gs>
              <a:gs pos="100000">
                <a:schemeClr val="accent1">
                  <a:lumMod val="75000"/>
                </a:schemeClr>
              </a:gs>
            </a:gsLst>
            <a:lin ang="2700000" scaled="1"/>
          </a:gradFill>
          <a:ln>
            <a:noFill/>
          </a:ln>
          <a:effectLst>
            <a:outerShdw blurRad="1270000" dist="1219200" dir="8100000" sx="90000" sy="9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125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25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4827145" y="2854171"/>
            <a:ext cx="2158271" cy="1777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 dirty="0">
                <a:solidFill>
                  <a:schemeClr val="bg1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. This is a sample text. insert your desired text here. Again. this is a dummy text. enter your own text here.”</a:t>
            </a:r>
          </a:p>
        </p:txBody>
      </p:sp>
      <p:sp>
        <p:nvSpPr>
          <p:cNvPr id="33" name="Shape 31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763645" y="1645443"/>
            <a:ext cx="2356683" cy="937693"/>
          </a:xfrm>
          <a:prstGeom prst="rect">
            <a:avLst/>
          </a:prstGeom>
          <a:ln w="12700">
            <a:miter lim="400000"/>
          </a:ln>
        </p:spPr>
        <p:txBody>
          <a:bodyPr wrap="square" lIns="25400" tIns="25400" rIns="25400" bIns="25400" anchor="ctr">
            <a:spAutoFit/>
          </a:bodyPr>
          <a:lstStyle/>
          <a:p>
            <a:pPr lvl="0">
              <a:lnSpc>
                <a:spcPct val="80000"/>
              </a:lnSpc>
              <a:defRPr sz="1800"/>
            </a:pPr>
            <a:r>
              <a:rPr sz="2400" b="1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The Secrets</a:t>
            </a:r>
            <a:r>
              <a:rPr sz="24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 of Our Success Story</a:t>
            </a:r>
          </a:p>
        </p:txBody>
      </p:sp>
      <p:sp>
        <p:nvSpPr>
          <p:cNvPr id="34" name="Freeform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355955" y="3638670"/>
            <a:ext cx="176375" cy="176375"/>
          </a:xfrm>
          <a:custGeom>
            <a:avLst/>
            <a:gdLst/>
            <a:ahLst/>
            <a:cxnLst/>
            <a:rect l="l" t="t" r="r" b="b"/>
            <a:pathLst>
              <a:path w="195943" h="195943">
                <a:moveTo>
                  <a:pt x="144151" y="57533"/>
                </a:moveTo>
                <a:cubicBezTo>
                  <a:pt x="141940" y="57533"/>
                  <a:pt x="140026" y="58340"/>
                  <a:pt x="138410" y="59956"/>
                </a:cubicBezTo>
                <a:lnTo>
                  <a:pt x="86363" y="111876"/>
                </a:lnTo>
                <a:lnTo>
                  <a:pt x="57533" y="83046"/>
                </a:lnTo>
                <a:cubicBezTo>
                  <a:pt x="55917" y="81430"/>
                  <a:pt x="54003" y="80622"/>
                  <a:pt x="51792" y="80622"/>
                </a:cubicBezTo>
                <a:cubicBezTo>
                  <a:pt x="49581" y="80622"/>
                  <a:pt x="47668" y="81430"/>
                  <a:pt x="46052" y="83046"/>
                </a:cubicBezTo>
                <a:lnTo>
                  <a:pt x="34443" y="94527"/>
                </a:lnTo>
                <a:cubicBezTo>
                  <a:pt x="32912" y="96058"/>
                  <a:pt x="32147" y="98014"/>
                  <a:pt x="32147" y="100395"/>
                </a:cubicBezTo>
                <a:cubicBezTo>
                  <a:pt x="32147" y="102691"/>
                  <a:pt x="32912" y="104605"/>
                  <a:pt x="34443" y="106136"/>
                </a:cubicBezTo>
                <a:lnTo>
                  <a:pt x="80622" y="152315"/>
                </a:lnTo>
                <a:cubicBezTo>
                  <a:pt x="82238" y="153931"/>
                  <a:pt x="84152" y="154739"/>
                  <a:pt x="86363" y="154739"/>
                </a:cubicBezTo>
                <a:cubicBezTo>
                  <a:pt x="88659" y="154739"/>
                  <a:pt x="90615" y="153931"/>
                  <a:pt x="92231" y="152315"/>
                </a:cubicBezTo>
                <a:lnTo>
                  <a:pt x="161500" y="83046"/>
                </a:lnTo>
                <a:cubicBezTo>
                  <a:pt x="163031" y="81515"/>
                  <a:pt x="163796" y="79602"/>
                  <a:pt x="163796" y="77305"/>
                </a:cubicBezTo>
                <a:cubicBezTo>
                  <a:pt x="163796" y="74924"/>
                  <a:pt x="163031" y="72968"/>
                  <a:pt x="161500" y="71437"/>
                </a:cubicBezTo>
                <a:lnTo>
                  <a:pt x="149891" y="59956"/>
                </a:lnTo>
                <a:cubicBezTo>
                  <a:pt x="148275" y="58340"/>
                  <a:pt x="146362" y="57533"/>
                  <a:pt x="144151" y="57533"/>
                </a:cubicBezTo>
                <a:close/>
                <a:moveTo>
                  <a:pt x="97972" y="0"/>
                </a:moveTo>
                <a:cubicBezTo>
                  <a:pt x="115746" y="0"/>
                  <a:pt x="132138" y="4380"/>
                  <a:pt x="147149" y="13139"/>
                </a:cubicBezTo>
                <a:cubicBezTo>
                  <a:pt x="162159" y="21899"/>
                  <a:pt x="174044" y="33784"/>
                  <a:pt x="182804" y="48794"/>
                </a:cubicBezTo>
                <a:cubicBezTo>
                  <a:pt x="191563" y="63805"/>
                  <a:pt x="195943" y="80197"/>
                  <a:pt x="195943" y="97971"/>
                </a:cubicBezTo>
                <a:cubicBezTo>
                  <a:pt x="195943" y="115746"/>
                  <a:pt x="191563" y="132138"/>
                  <a:pt x="182804" y="147148"/>
                </a:cubicBezTo>
                <a:cubicBezTo>
                  <a:pt x="174044" y="162159"/>
                  <a:pt x="162159" y="174044"/>
                  <a:pt x="147149" y="182803"/>
                </a:cubicBezTo>
                <a:cubicBezTo>
                  <a:pt x="132138" y="191563"/>
                  <a:pt x="115746" y="195943"/>
                  <a:pt x="97972" y="195943"/>
                </a:cubicBezTo>
                <a:cubicBezTo>
                  <a:pt x="80197" y="195943"/>
                  <a:pt x="63805" y="191563"/>
                  <a:pt x="48794" y="182803"/>
                </a:cubicBezTo>
                <a:cubicBezTo>
                  <a:pt x="33784" y="174044"/>
                  <a:pt x="21899" y="162159"/>
                  <a:pt x="13140" y="147148"/>
                </a:cubicBezTo>
                <a:cubicBezTo>
                  <a:pt x="4380" y="132138"/>
                  <a:pt x="0" y="115746"/>
                  <a:pt x="0" y="97971"/>
                </a:cubicBezTo>
                <a:cubicBezTo>
                  <a:pt x="0" y="80197"/>
                  <a:pt x="4380" y="63805"/>
                  <a:pt x="13140" y="48794"/>
                </a:cubicBezTo>
                <a:cubicBezTo>
                  <a:pt x="21899" y="33784"/>
                  <a:pt x="33784" y="21899"/>
                  <a:pt x="48794" y="13139"/>
                </a:cubicBezTo>
                <a:cubicBezTo>
                  <a:pt x="63805" y="4380"/>
                  <a:pt x="80197" y="0"/>
                  <a:pt x="97972" y="0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5" name="Rectangle 1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633914" y="3494293"/>
            <a:ext cx="2188986" cy="4417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800" dirty="0">
                <a:solidFill>
                  <a:schemeClr val="tx2">
                    <a:lumMod val="20000"/>
                    <a:lumOff val="8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Distinctively </a:t>
            </a:r>
            <a:r>
              <a:rPr lang="en-US" sz="800" dirty="0" err="1">
                <a:solidFill>
                  <a:schemeClr val="tx2">
                    <a:lumMod val="20000"/>
                    <a:lumOff val="8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productivate</a:t>
            </a:r>
            <a:r>
              <a:rPr lang="en-US" sz="800" dirty="0">
                <a:solidFill>
                  <a:schemeClr val="tx2">
                    <a:lumMod val="20000"/>
                    <a:lumOff val="8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 dynamic total linkage vis-a-vis competitive platforms. </a:t>
            </a:r>
          </a:p>
        </p:txBody>
      </p:sp>
      <p:sp>
        <p:nvSpPr>
          <p:cNvPr id="36" name="Freeform 1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355955" y="4257384"/>
            <a:ext cx="176375" cy="176375"/>
          </a:xfrm>
          <a:custGeom>
            <a:avLst/>
            <a:gdLst/>
            <a:ahLst/>
            <a:cxnLst/>
            <a:rect l="l" t="t" r="r" b="b"/>
            <a:pathLst>
              <a:path w="195943" h="195943">
                <a:moveTo>
                  <a:pt x="144151" y="57533"/>
                </a:moveTo>
                <a:cubicBezTo>
                  <a:pt x="141940" y="57533"/>
                  <a:pt x="140026" y="58340"/>
                  <a:pt x="138410" y="59956"/>
                </a:cubicBezTo>
                <a:lnTo>
                  <a:pt x="86363" y="111876"/>
                </a:lnTo>
                <a:lnTo>
                  <a:pt x="57533" y="83046"/>
                </a:lnTo>
                <a:cubicBezTo>
                  <a:pt x="55917" y="81430"/>
                  <a:pt x="54003" y="80622"/>
                  <a:pt x="51792" y="80622"/>
                </a:cubicBezTo>
                <a:cubicBezTo>
                  <a:pt x="49581" y="80622"/>
                  <a:pt x="47668" y="81430"/>
                  <a:pt x="46052" y="83046"/>
                </a:cubicBezTo>
                <a:lnTo>
                  <a:pt x="34443" y="94527"/>
                </a:lnTo>
                <a:cubicBezTo>
                  <a:pt x="32912" y="96058"/>
                  <a:pt x="32147" y="98014"/>
                  <a:pt x="32147" y="100395"/>
                </a:cubicBezTo>
                <a:cubicBezTo>
                  <a:pt x="32147" y="102691"/>
                  <a:pt x="32912" y="104605"/>
                  <a:pt x="34443" y="106136"/>
                </a:cubicBezTo>
                <a:lnTo>
                  <a:pt x="80622" y="152315"/>
                </a:lnTo>
                <a:cubicBezTo>
                  <a:pt x="82238" y="153931"/>
                  <a:pt x="84152" y="154739"/>
                  <a:pt x="86363" y="154739"/>
                </a:cubicBezTo>
                <a:cubicBezTo>
                  <a:pt x="88659" y="154739"/>
                  <a:pt x="90615" y="153931"/>
                  <a:pt x="92231" y="152315"/>
                </a:cubicBezTo>
                <a:lnTo>
                  <a:pt x="161500" y="83046"/>
                </a:lnTo>
                <a:cubicBezTo>
                  <a:pt x="163031" y="81515"/>
                  <a:pt x="163796" y="79602"/>
                  <a:pt x="163796" y="77305"/>
                </a:cubicBezTo>
                <a:cubicBezTo>
                  <a:pt x="163796" y="74924"/>
                  <a:pt x="163031" y="72968"/>
                  <a:pt x="161500" y="71437"/>
                </a:cubicBezTo>
                <a:lnTo>
                  <a:pt x="149891" y="59956"/>
                </a:lnTo>
                <a:cubicBezTo>
                  <a:pt x="148275" y="58340"/>
                  <a:pt x="146362" y="57533"/>
                  <a:pt x="144151" y="57533"/>
                </a:cubicBezTo>
                <a:close/>
                <a:moveTo>
                  <a:pt x="97972" y="0"/>
                </a:moveTo>
                <a:cubicBezTo>
                  <a:pt x="115746" y="0"/>
                  <a:pt x="132138" y="4380"/>
                  <a:pt x="147149" y="13139"/>
                </a:cubicBezTo>
                <a:cubicBezTo>
                  <a:pt x="162159" y="21899"/>
                  <a:pt x="174044" y="33784"/>
                  <a:pt x="182804" y="48794"/>
                </a:cubicBezTo>
                <a:cubicBezTo>
                  <a:pt x="191563" y="63805"/>
                  <a:pt x="195943" y="80197"/>
                  <a:pt x="195943" y="97971"/>
                </a:cubicBezTo>
                <a:cubicBezTo>
                  <a:pt x="195943" y="115746"/>
                  <a:pt x="191563" y="132138"/>
                  <a:pt x="182804" y="147148"/>
                </a:cubicBezTo>
                <a:cubicBezTo>
                  <a:pt x="174044" y="162159"/>
                  <a:pt x="162159" y="174044"/>
                  <a:pt x="147149" y="182803"/>
                </a:cubicBezTo>
                <a:cubicBezTo>
                  <a:pt x="132138" y="191563"/>
                  <a:pt x="115746" y="195943"/>
                  <a:pt x="97972" y="195943"/>
                </a:cubicBezTo>
                <a:cubicBezTo>
                  <a:pt x="80197" y="195943"/>
                  <a:pt x="63805" y="191563"/>
                  <a:pt x="48794" y="182803"/>
                </a:cubicBezTo>
                <a:cubicBezTo>
                  <a:pt x="33784" y="174044"/>
                  <a:pt x="21899" y="162159"/>
                  <a:pt x="13140" y="147148"/>
                </a:cubicBezTo>
                <a:cubicBezTo>
                  <a:pt x="4380" y="132138"/>
                  <a:pt x="0" y="115746"/>
                  <a:pt x="0" y="97971"/>
                </a:cubicBezTo>
                <a:cubicBezTo>
                  <a:pt x="0" y="80197"/>
                  <a:pt x="4380" y="63805"/>
                  <a:pt x="13140" y="48794"/>
                </a:cubicBezTo>
                <a:cubicBezTo>
                  <a:pt x="21899" y="33784"/>
                  <a:pt x="33784" y="21899"/>
                  <a:pt x="48794" y="13139"/>
                </a:cubicBezTo>
                <a:cubicBezTo>
                  <a:pt x="63805" y="4380"/>
                  <a:pt x="80197" y="0"/>
                  <a:pt x="97972" y="0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7" name="Rectangle 1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633914" y="4113007"/>
            <a:ext cx="2188986" cy="4417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800" dirty="0">
                <a:solidFill>
                  <a:schemeClr val="tx2">
                    <a:lumMod val="20000"/>
                    <a:lumOff val="8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Distinctively </a:t>
            </a:r>
            <a:r>
              <a:rPr lang="en-US" sz="800" dirty="0" err="1">
                <a:solidFill>
                  <a:schemeClr val="tx2">
                    <a:lumMod val="20000"/>
                    <a:lumOff val="8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productivate</a:t>
            </a:r>
            <a:r>
              <a:rPr lang="en-US" sz="800" dirty="0">
                <a:solidFill>
                  <a:schemeClr val="tx2">
                    <a:lumMod val="20000"/>
                    <a:lumOff val="8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 dynamic total linkage vis-a-vis competitive platforms. </a:t>
            </a:r>
          </a:p>
        </p:txBody>
      </p:sp>
      <p:sp>
        <p:nvSpPr>
          <p:cNvPr id="38" name="Freeform 1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344525" y="4876098"/>
            <a:ext cx="176375" cy="176375"/>
          </a:xfrm>
          <a:custGeom>
            <a:avLst/>
            <a:gdLst/>
            <a:ahLst/>
            <a:cxnLst/>
            <a:rect l="l" t="t" r="r" b="b"/>
            <a:pathLst>
              <a:path w="195943" h="195943">
                <a:moveTo>
                  <a:pt x="144151" y="57533"/>
                </a:moveTo>
                <a:cubicBezTo>
                  <a:pt x="141940" y="57533"/>
                  <a:pt x="140026" y="58340"/>
                  <a:pt x="138410" y="59956"/>
                </a:cubicBezTo>
                <a:lnTo>
                  <a:pt x="86363" y="111876"/>
                </a:lnTo>
                <a:lnTo>
                  <a:pt x="57533" y="83046"/>
                </a:lnTo>
                <a:cubicBezTo>
                  <a:pt x="55917" y="81430"/>
                  <a:pt x="54003" y="80622"/>
                  <a:pt x="51792" y="80622"/>
                </a:cubicBezTo>
                <a:cubicBezTo>
                  <a:pt x="49581" y="80622"/>
                  <a:pt x="47668" y="81430"/>
                  <a:pt x="46052" y="83046"/>
                </a:cubicBezTo>
                <a:lnTo>
                  <a:pt x="34443" y="94527"/>
                </a:lnTo>
                <a:cubicBezTo>
                  <a:pt x="32912" y="96058"/>
                  <a:pt x="32147" y="98014"/>
                  <a:pt x="32147" y="100395"/>
                </a:cubicBezTo>
                <a:cubicBezTo>
                  <a:pt x="32147" y="102691"/>
                  <a:pt x="32912" y="104605"/>
                  <a:pt x="34443" y="106136"/>
                </a:cubicBezTo>
                <a:lnTo>
                  <a:pt x="80622" y="152315"/>
                </a:lnTo>
                <a:cubicBezTo>
                  <a:pt x="82238" y="153931"/>
                  <a:pt x="84152" y="154739"/>
                  <a:pt x="86363" y="154739"/>
                </a:cubicBezTo>
                <a:cubicBezTo>
                  <a:pt x="88659" y="154739"/>
                  <a:pt x="90615" y="153931"/>
                  <a:pt x="92231" y="152315"/>
                </a:cubicBezTo>
                <a:lnTo>
                  <a:pt x="161500" y="83046"/>
                </a:lnTo>
                <a:cubicBezTo>
                  <a:pt x="163031" y="81515"/>
                  <a:pt x="163796" y="79602"/>
                  <a:pt x="163796" y="77305"/>
                </a:cubicBezTo>
                <a:cubicBezTo>
                  <a:pt x="163796" y="74924"/>
                  <a:pt x="163031" y="72968"/>
                  <a:pt x="161500" y="71437"/>
                </a:cubicBezTo>
                <a:lnTo>
                  <a:pt x="149891" y="59956"/>
                </a:lnTo>
                <a:cubicBezTo>
                  <a:pt x="148275" y="58340"/>
                  <a:pt x="146362" y="57533"/>
                  <a:pt x="144151" y="57533"/>
                </a:cubicBezTo>
                <a:close/>
                <a:moveTo>
                  <a:pt x="97972" y="0"/>
                </a:moveTo>
                <a:cubicBezTo>
                  <a:pt x="115746" y="0"/>
                  <a:pt x="132138" y="4380"/>
                  <a:pt x="147149" y="13139"/>
                </a:cubicBezTo>
                <a:cubicBezTo>
                  <a:pt x="162159" y="21899"/>
                  <a:pt x="174044" y="33784"/>
                  <a:pt x="182804" y="48794"/>
                </a:cubicBezTo>
                <a:cubicBezTo>
                  <a:pt x="191563" y="63805"/>
                  <a:pt x="195943" y="80197"/>
                  <a:pt x="195943" y="97971"/>
                </a:cubicBezTo>
                <a:cubicBezTo>
                  <a:pt x="195943" y="115746"/>
                  <a:pt x="191563" y="132138"/>
                  <a:pt x="182804" y="147148"/>
                </a:cubicBezTo>
                <a:cubicBezTo>
                  <a:pt x="174044" y="162159"/>
                  <a:pt x="162159" y="174044"/>
                  <a:pt x="147149" y="182803"/>
                </a:cubicBezTo>
                <a:cubicBezTo>
                  <a:pt x="132138" y="191563"/>
                  <a:pt x="115746" y="195943"/>
                  <a:pt x="97972" y="195943"/>
                </a:cubicBezTo>
                <a:cubicBezTo>
                  <a:pt x="80197" y="195943"/>
                  <a:pt x="63805" y="191563"/>
                  <a:pt x="48794" y="182803"/>
                </a:cubicBezTo>
                <a:cubicBezTo>
                  <a:pt x="33784" y="174044"/>
                  <a:pt x="21899" y="162159"/>
                  <a:pt x="13140" y="147148"/>
                </a:cubicBezTo>
                <a:cubicBezTo>
                  <a:pt x="4380" y="132138"/>
                  <a:pt x="0" y="115746"/>
                  <a:pt x="0" y="97971"/>
                </a:cubicBezTo>
                <a:cubicBezTo>
                  <a:pt x="0" y="80197"/>
                  <a:pt x="4380" y="63805"/>
                  <a:pt x="13140" y="48794"/>
                </a:cubicBezTo>
                <a:cubicBezTo>
                  <a:pt x="21899" y="33784"/>
                  <a:pt x="33784" y="21899"/>
                  <a:pt x="48794" y="13139"/>
                </a:cubicBezTo>
                <a:cubicBezTo>
                  <a:pt x="63805" y="4380"/>
                  <a:pt x="80197" y="0"/>
                  <a:pt x="97972" y="0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9" name="Rectangle 2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622484" y="4731721"/>
            <a:ext cx="2188986" cy="4417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800" dirty="0">
                <a:solidFill>
                  <a:schemeClr val="tx2">
                    <a:lumMod val="20000"/>
                    <a:lumOff val="8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Distinctively </a:t>
            </a:r>
            <a:r>
              <a:rPr lang="en-US" sz="800" dirty="0" err="1">
                <a:solidFill>
                  <a:schemeClr val="tx2">
                    <a:lumMod val="20000"/>
                    <a:lumOff val="8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productivate</a:t>
            </a:r>
            <a:r>
              <a:rPr lang="en-US" sz="800" dirty="0">
                <a:solidFill>
                  <a:schemeClr val="tx2">
                    <a:lumMod val="20000"/>
                    <a:lumOff val="8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 dynamic total linkage vis-a-vis competitive platforms. </a:t>
            </a:r>
          </a:p>
        </p:txBody>
      </p:sp>
      <p:sp>
        <p:nvSpPr>
          <p:cNvPr id="41" name="Rounded Rectangle 2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879830" y="2965032"/>
            <a:ext cx="3370523" cy="430619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bg1"/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42" name="Rounded Rectangle 3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rot="5400000">
            <a:off x="10700119" y="3095283"/>
            <a:ext cx="691119" cy="430619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43" name="Oval 3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0868912" y="3261418"/>
            <a:ext cx="353532" cy="353532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7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3</a:t>
            </a:r>
          </a:p>
        </p:txBody>
      </p:sp>
      <p:sp>
        <p:nvSpPr>
          <p:cNvPr id="44" name="Rounded Rectangle 3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rot="5400000">
            <a:off x="7675154" y="2850733"/>
            <a:ext cx="749593" cy="340244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45" name="Rounded Rectangle 2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879832" y="2541058"/>
            <a:ext cx="2828262" cy="430619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bg1"/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46" name="Rounded Rectangle 2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rot="5400000">
            <a:off x="10147223" y="2671309"/>
            <a:ext cx="691119" cy="430619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47" name="Oval 2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0316016" y="2837444"/>
            <a:ext cx="353532" cy="353532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7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2</a:t>
            </a:r>
          </a:p>
        </p:txBody>
      </p:sp>
      <p:sp>
        <p:nvSpPr>
          <p:cNvPr id="48" name="Rounded Rectangle 2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rot="5400000">
            <a:off x="7675155" y="2426759"/>
            <a:ext cx="749593" cy="340244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49" name="Rounded Rectangle 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879833" y="2117083"/>
            <a:ext cx="2339163" cy="430619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bg1"/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50" name="Rounded Rectangle 1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rot="5400000">
            <a:off x="9658126" y="2247334"/>
            <a:ext cx="691119" cy="430619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51" name="Oval 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826919" y="2413469"/>
            <a:ext cx="353532" cy="353532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2">
                    <a:lumMod val="7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1</a:t>
            </a:r>
          </a:p>
        </p:txBody>
      </p:sp>
      <p:sp>
        <p:nvSpPr>
          <p:cNvPr id="52" name="Rounded 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rot="5400000">
            <a:off x="7675156" y="2002784"/>
            <a:ext cx="749593" cy="340244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53" name="Freeform 1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904314" y="1795450"/>
            <a:ext cx="315761" cy="321632"/>
          </a:xfrm>
          <a:custGeom>
            <a:avLst/>
            <a:gdLst>
              <a:gd name="connsiteX0" fmla="*/ 160816 w 315761"/>
              <a:gd name="connsiteY0" fmla="*/ 0 h 321632"/>
              <a:gd name="connsiteX1" fmla="*/ 315761 w 315761"/>
              <a:gd name="connsiteY1" fmla="*/ 0 h 321632"/>
              <a:gd name="connsiteX2" fmla="*/ 315761 w 315761"/>
              <a:gd name="connsiteY2" fmla="*/ 321632 h 321632"/>
              <a:gd name="connsiteX3" fmla="*/ 160816 w 315761"/>
              <a:gd name="connsiteY3" fmla="*/ 321632 h 321632"/>
              <a:gd name="connsiteX4" fmla="*/ 0 w 315761"/>
              <a:gd name="connsiteY4" fmla="*/ 160816 h 321632"/>
              <a:gd name="connsiteX5" fmla="*/ 160816 w 315761"/>
              <a:gd name="connsiteY5" fmla="*/ 0 h 321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5761" h="321632">
                <a:moveTo>
                  <a:pt x="160816" y="0"/>
                </a:moveTo>
                <a:lnTo>
                  <a:pt x="315761" y="0"/>
                </a:lnTo>
                <a:lnTo>
                  <a:pt x="315761" y="321632"/>
                </a:lnTo>
                <a:lnTo>
                  <a:pt x="160816" y="321632"/>
                </a:lnTo>
                <a:cubicBezTo>
                  <a:pt x="72000" y="321632"/>
                  <a:pt x="0" y="249632"/>
                  <a:pt x="0" y="160816"/>
                </a:cubicBezTo>
                <a:cubicBezTo>
                  <a:pt x="0" y="72000"/>
                  <a:pt x="72000" y="0"/>
                  <a:pt x="160816" y="0"/>
                </a:cubicBez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54" name="TextBox 3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8355556" y="1383599"/>
            <a:ext cx="1733167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WHY TREND</a:t>
            </a:r>
          </a:p>
          <a:p>
            <a:r>
              <a:rPr lang="en-US" sz="10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PRODUCT</a:t>
            </a:r>
            <a:endParaRPr lang="en-US" sz="2000" dirty="0">
              <a:solidFill>
                <a:schemeClr val="bg1"/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55" name="TextBox 3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8702089" y="2205960"/>
            <a:ext cx="89319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ESSENTIAL</a:t>
            </a:r>
          </a:p>
        </p:txBody>
      </p:sp>
      <p:sp>
        <p:nvSpPr>
          <p:cNvPr id="56" name="TextBox 3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8702089" y="2631536"/>
            <a:ext cx="70403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UNIQUE</a:t>
            </a:r>
          </a:p>
        </p:txBody>
      </p:sp>
      <p:sp>
        <p:nvSpPr>
          <p:cNvPr id="57" name="TextBox 4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8702089" y="3057111"/>
            <a:ext cx="11737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PROFESSIONAL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iagonal Stripe 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740699" y="-1"/>
            <a:ext cx="5985569" cy="5985569"/>
          </a:xfrm>
          <a:prstGeom prst="diagStripe">
            <a:avLst/>
          </a:prstGeom>
          <a:solidFill>
            <a:schemeClr val="tx1">
              <a:alpha val="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solidFill>
                <a:schemeClr val="tx1"/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16" name="Shape 31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41350" y="1977396"/>
            <a:ext cx="3295650" cy="1233158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/>
          <a:p>
            <a:pPr lvl="0" algn="r">
              <a:lnSpc>
                <a:spcPct val="80000"/>
              </a:lnSpc>
              <a:defRPr sz="1800"/>
            </a:pPr>
            <a:r>
              <a:rPr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The Secrets</a:t>
            </a:r>
            <a:r>
              <a:rPr sz="3200" dirty="0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 of Our Success Story</a:t>
            </a:r>
          </a:p>
        </p:txBody>
      </p:sp>
      <p:sp>
        <p:nvSpPr>
          <p:cNvPr id="317" name="Shape 31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1157347" y="6350352"/>
            <a:ext cx="182742" cy="189796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>
            <a:lvl1pPr>
              <a:defRPr sz="2400" b="1">
                <a:solidFill>
                  <a:srgbClr val="444444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900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09</a:t>
            </a:r>
          </a:p>
        </p:txBody>
      </p:sp>
      <p:sp>
        <p:nvSpPr>
          <p:cNvPr id="318" name="Shape 31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965700" y="1416051"/>
            <a:ext cx="2400300" cy="2365063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5400">
            <a:noFill/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pic>
        <p:nvPicPr>
          <p:cNvPr id="319" name="placeholder.png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6000" y="1416051"/>
            <a:ext cx="4832350" cy="2365063"/>
          </a:xfrm>
          <a:prstGeom prst="rect">
            <a:avLst/>
          </a:prstGeom>
          <a:ln w="12700">
            <a:miter lim="400000"/>
          </a:ln>
        </p:spPr>
      </p:pic>
      <p:sp>
        <p:nvSpPr>
          <p:cNvPr id="320" name="Shape 32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791700" y="3781737"/>
            <a:ext cx="2400300" cy="2365063"/>
          </a:xfrm>
          <a:prstGeom prst="rect">
            <a:avLst/>
          </a:prstGeom>
          <a:solidFill>
            <a:schemeClr val="accent5">
              <a:lumMod val="75000"/>
            </a:schemeClr>
          </a:solidFill>
          <a:ln w="25400">
            <a:noFill/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pic>
        <p:nvPicPr>
          <p:cNvPr id="321" name="placeholder.png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5700" y="3781737"/>
            <a:ext cx="4832350" cy="2365063"/>
          </a:xfrm>
          <a:prstGeom prst="rect">
            <a:avLst/>
          </a:prstGeom>
          <a:ln w="12700">
            <a:miter lim="400000"/>
          </a:ln>
        </p:spPr>
      </p:pic>
      <p:sp>
        <p:nvSpPr>
          <p:cNvPr id="322" name="Shape 32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787183" y="1905342"/>
            <a:ext cx="755651" cy="7556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3" h="21600" extrusionOk="0">
                <a:moveTo>
                  <a:pt x="16976" y="19986"/>
                </a:moveTo>
                <a:lnTo>
                  <a:pt x="11226" y="17681"/>
                </a:lnTo>
                <a:cubicBezTo>
                  <a:pt x="11089" y="17626"/>
                  <a:pt x="10947" y="17608"/>
                  <a:pt x="10806" y="17600"/>
                </a:cubicBezTo>
                <a:lnTo>
                  <a:pt x="19660" y="3838"/>
                </a:lnTo>
                <a:cubicBezTo>
                  <a:pt x="19660" y="3838"/>
                  <a:pt x="16976" y="19986"/>
                  <a:pt x="16976" y="19986"/>
                </a:cubicBezTo>
                <a:close/>
                <a:moveTo>
                  <a:pt x="6859" y="16245"/>
                </a:moveTo>
                <a:cubicBezTo>
                  <a:pt x="6858" y="16242"/>
                  <a:pt x="6856" y="16241"/>
                  <a:pt x="6854" y="16238"/>
                </a:cubicBezTo>
                <a:lnTo>
                  <a:pt x="19607" y="2552"/>
                </a:lnTo>
                <a:lnTo>
                  <a:pt x="8735" y="19537"/>
                </a:lnTo>
                <a:cubicBezTo>
                  <a:pt x="8735" y="19537"/>
                  <a:pt x="6859" y="16245"/>
                  <a:pt x="6859" y="16245"/>
                </a:cubicBezTo>
                <a:close/>
                <a:moveTo>
                  <a:pt x="2111" y="14025"/>
                </a:moveTo>
                <a:lnTo>
                  <a:pt x="17713" y="3595"/>
                </a:lnTo>
                <a:lnTo>
                  <a:pt x="6369" y="15770"/>
                </a:lnTo>
                <a:cubicBezTo>
                  <a:pt x="6309" y="15735"/>
                  <a:pt x="6256" y="15687"/>
                  <a:pt x="6191" y="15661"/>
                </a:cubicBezTo>
                <a:cubicBezTo>
                  <a:pt x="6191" y="15661"/>
                  <a:pt x="2111" y="14025"/>
                  <a:pt x="2111" y="14025"/>
                </a:cubicBezTo>
                <a:close/>
                <a:moveTo>
                  <a:pt x="21234" y="108"/>
                </a:moveTo>
                <a:cubicBezTo>
                  <a:pt x="21123" y="36"/>
                  <a:pt x="20996" y="0"/>
                  <a:pt x="20869" y="0"/>
                </a:cubicBezTo>
                <a:cubicBezTo>
                  <a:pt x="20739" y="0"/>
                  <a:pt x="20609" y="37"/>
                  <a:pt x="20496" y="113"/>
                </a:cubicBezTo>
                <a:lnTo>
                  <a:pt x="299" y="13613"/>
                </a:lnTo>
                <a:cubicBezTo>
                  <a:pt x="91" y="13752"/>
                  <a:pt x="-23" y="13996"/>
                  <a:pt x="3" y="14245"/>
                </a:cubicBezTo>
                <a:cubicBezTo>
                  <a:pt x="29" y="14494"/>
                  <a:pt x="190" y="14709"/>
                  <a:pt x="423" y="14801"/>
                </a:cubicBezTo>
                <a:lnTo>
                  <a:pt x="5690" y="16915"/>
                </a:lnTo>
                <a:lnTo>
                  <a:pt x="8167" y="21260"/>
                </a:lnTo>
                <a:cubicBezTo>
                  <a:pt x="8285" y="21468"/>
                  <a:pt x="8505" y="21597"/>
                  <a:pt x="8744" y="21600"/>
                </a:cubicBezTo>
                <a:lnTo>
                  <a:pt x="8751" y="21600"/>
                </a:lnTo>
                <a:cubicBezTo>
                  <a:pt x="8987" y="21600"/>
                  <a:pt x="9207" y="21475"/>
                  <a:pt x="9329" y="21272"/>
                </a:cubicBezTo>
                <a:lnTo>
                  <a:pt x="10727" y="18934"/>
                </a:lnTo>
                <a:lnTo>
                  <a:pt x="17253" y="21551"/>
                </a:lnTo>
                <a:cubicBezTo>
                  <a:pt x="17333" y="21584"/>
                  <a:pt x="17418" y="21600"/>
                  <a:pt x="17503" y="21600"/>
                </a:cubicBezTo>
                <a:cubicBezTo>
                  <a:pt x="17617" y="21600"/>
                  <a:pt x="17731" y="21571"/>
                  <a:pt x="17833" y="21513"/>
                </a:cubicBezTo>
                <a:cubicBezTo>
                  <a:pt x="18010" y="21413"/>
                  <a:pt x="18134" y="21238"/>
                  <a:pt x="18167" y="21036"/>
                </a:cubicBezTo>
                <a:lnTo>
                  <a:pt x="21533" y="786"/>
                </a:lnTo>
                <a:cubicBezTo>
                  <a:pt x="21577" y="521"/>
                  <a:pt x="21460" y="254"/>
                  <a:pt x="21234" y="108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defTabSz="22860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15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grpSp>
        <p:nvGrpSpPr>
          <p:cNvPr id="325" name="Group 32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10601920" y="4241489"/>
            <a:ext cx="755650" cy="660400"/>
            <a:chOff x="0" y="0"/>
            <a:chExt cx="1511299" cy="1320798"/>
          </a:xfrm>
          <a:solidFill>
            <a:schemeClr val="bg1"/>
          </a:solidFill>
        </p:grpSpPr>
        <p:sp>
          <p:nvSpPr>
            <p:cNvPr id="323" name="Shape 323"/>
            <p:cNvSpPr/>
            <p:nvPr/>
          </p:nvSpPr>
          <p:spPr>
            <a:xfrm>
              <a:off x="236140" y="235857"/>
              <a:ext cx="543125" cy="3537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61" y="0"/>
                  </a:moveTo>
                  <a:cubicBezTo>
                    <a:pt x="9461" y="0"/>
                    <a:pt x="0" y="9233"/>
                    <a:pt x="0" y="20160"/>
                  </a:cubicBezTo>
                  <a:cubicBezTo>
                    <a:pt x="0" y="20955"/>
                    <a:pt x="421" y="21600"/>
                    <a:pt x="939" y="21600"/>
                  </a:cubicBezTo>
                  <a:cubicBezTo>
                    <a:pt x="1457" y="21600"/>
                    <a:pt x="1878" y="20955"/>
                    <a:pt x="1878" y="20160"/>
                  </a:cubicBezTo>
                  <a:cubicBezTo>
                    <a:pt x="1878" y="10956"/>
                    <a:pt x="10655" y="2880"/>
                    <a:pt x="20661" y="2880"/>
                  </a:cubicBezTo>
                  <a:cubicBezTo>
                    <a:pt x="21179" y="2880"/>
                    <a:pt x="21600" y="2235"/>
                    <a:pt x="21600" y="1440"/>
                  </a:cubicBezTo>
                  <a:cubicBezTo>
                    <a:pt x="21600" y="645"/>
                    <a:pt x="21179" y="0"/>
                    <a:pt x="20661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2286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5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324" name="Shape 324"/>
            <p:cNvSpPr/>
            <p:nvPr/>
          </p:nvSpPr>
          <p:spPr>
            <a:xfrm>
              <a:off x="0" y="0"/>
              <a:ext cx="1511300" cy="13207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6971"/>
                  </a:moveTo>
                  <a:cubicBezTo>
                    <a:pt x="10181" y="16971"/>
                    <a:pt x="9547" y="16918"/>
                    <a:pt x="8913" y="16812"/>
                  </a:cubicBezTo>
                  <a:cubicBezTo>
                    <a:pt x="8847" y="16800"/>
                    <a:pt x="8782" y="16795"/>
                    <a:pt x="8717" y="16795"/>
                  </a:cubicBezTo>
                  <a:cubicBezTo>
                    <a:pt x="8316" y="16795"/>
                    <a:pt x="7932" y="16999"/>
                    <a:pt x="7674" y="17359"/>
                  </a:cubicBezTo>
                  <a:cubicBezTo>
                    <a:pt x="7384" y="17762"/>
                    <a:pt x="6563" y="18657"/>
                    <a:pt x="5591" y="19318"/>
                  </a:cubicBezTo>
                  <a:cubicBezTo>
                    <a:pt x="5854" y="18628"/>
                    <a:pt x="6061" y="17854"/>
                    <a:pt x="6074" y="17056"/>
                  </a:cubicBezTo>
                  <a:cubicBezTo>
                    <a:pt x="6078" y="17007"/>
                    <a:pt x="6080" y="16957"/>
                    <a:pt x="6080" y="16914"/>
                  </a:cubicBezTo>
                  <a:cubicBezTo>
                    <a:pt x="6080" y="16335"/>
                    <a:pt x="5796" y="15803"/>
                    <a:pt x="5345" y="15540"/>
                  </a:cubicBezTo>
                  <a:cubicBezTo>
                    <a:pt x="2843" y="14080"/>
                    <a:pt x="1350" y="11731"/>
                    <a:pt x="1350" y="9257"/>
                  </a:cubicBezTo>
                  <a:cubicBezTo>
                    <a:pt x="1350" y="5003"/>
                    <a:pt x="5589" y="1543"/>
                    <a:pt x="10800" y="1543"/>
                  </a:cubicBezTo>
                  <a:cubicBezTo>
                    <a:pt x="16011" y="1543"/>
                    <a:pt x="20250" y="5003"/>
                    <a:pt x="20250" y="9257"/>
                  </a:cubicBezTo>
                  <a:cubicBezTo>
                    <a:pt x="20250" y="13511"/>
                    <a:pt x="16011" y="16971"/>
                    <a:pt x="10800" y="16971"/>
                  </a:cubicBezTo>
                  <a:moveTo>
                    <a:pt x="10800" y="0"/>
                  </a:moveTo>
                  <a:cubicBezTo>
                    <a:pt x="4835" y="0"/>
                    <a:pt x="0" y="4145"/>
                    <a:pt x="0" y="9257"/>
                  </a:cubicBezTo>
                  <a:cubicBezTo>
                    <a:pt x="0" y="12441"/>
                    <a:pt x="1876" y="15248"/>
                    <a:pt x="4730" y="16914"/>
                  </a:cubicBezTo>
                  <a:cubicBezTo>
                    <a:pt x="4730" y="16935"/>
                    <a:pt x="4725" y="16949"/>
                    <a:pt x="4725" y="16971"/>
                  </a:cubicBezTo>
                  <a:cubicBezTo>
                    <a:pt x="4725" y="18355"/>
                    <a:pt x="3821" y="19843"/>
                    <a:pt x="3423" y="20625"/>
                  </a:cubicBezTo>
                  <a:lnTo>
                    <a:pt x="3425" y="20625"/>
                  </a:lnTo>
                  <a:cubicBezTo>
                    <a:pt x="3393" y="20710"/>
                    <a:pt x="3375" y="20803"/>
                    <a:pt x="3375" y="20901"/>
                  </a:cubicBezTo>
                  <a:cubicBezTo>
                    <a:pt x="3375" y="21287"/>
                    <a:pt x="3648" y="21600"/>
                    <a:pt x="3986" y="21600"/>
                  </a:cubicBezTo>
                  <a:cubicBezTo>
                    <a:pt x="4050" y="21600"/>
                    <a:pt x="4161" y="21580"/>
                    <a:pt x="4159" y="21590"/>
                  </a:cubicBezTo>
                  <a:cubicBezTo>
                    <a:pt x="6268" y="21195"/>
                    <a:pt x="8255" y="18980"/>
                    <a:pt x="8717" y="18338"/>
                  </a:cubicBezTo>
                  <a:cubicBezTo>
                    <a:pt x="9391" y="18451"/>
                    <a:pt x="10086" y="18514"/>
                    <a:pt x="10800" y="18514"/>
                  </a:cubicBezTo>
                  <a:cubicBezTo>
                    <a:pt x="16764" y="18514"/>
                    <a:pt x="21600" y="14369"/>
                    <a:pt x="21600" y="9257"/>
                  </a:cubicBezTo>
                  <a:cubicBezTo>
                    <a:pt x="21600" y="4145"/>
                    <a:pt x="16764" y="0"/>
                    <a:pt x="10800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2286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5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</p:grpSp>
      <p:sp>
        <p:nvSpPr>
          <p:cNvPr id="326" name="Shape 32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233393" y="2873780"/>
            <a:ext cx="1866901" cy="494494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/>
          <a:p>
            <a:pPr lvl="0">
              <a:lnSpc>
                <a:spcPct val="80000"/>
              </a:lnSpc>
              <a:defRPr sz="1800"/>
            </a:pPr>
            <a:r>
              <a:rPr b="1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MOBILE</a:t>
            </a:r>
            <a:r>
              <a:rPr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 SERVICES</a:t>
            </a:r>
          </a:p>
        </p:txBody>
      </p:sp>
      <p:sp>
        <p:nvSpPr>
          <p:cNvPr id="327" name="Shape 32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0058400" y="5128030"/>
            <a:ext cx="1866900" cy="494494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/>
          <a:p>
            <a:pPr lvl="0">
              <a:lnSpc>
                <a:spcPct val="80000"/>
              </a:lnSpc>
              <a:defRPr sz="1800"/>
            </a:pPr>
            <a:r>
              <a:rPr b="1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MOBILE</a:t>
            </a:r>
            <a:r>
              <a:rPr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 SERVICES</a:t>
            </a:r>
          </a:p>
        </p:txBody>
      </p:sp>
      <p:pic>
        <p:nvPicPr>
          <p:cNvPr id="4" name="图片占位符 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Grp="1" noChangeAspect="1"/>
          </p:cNvPicPr>
          <p:nvPr>
            <p:ph type="pic" sz="quarter" idx="10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/>
      </p:pic>
      <p:pic>
        <p:nvPicPr>
          <p:cNvPr id="5" name="图片占位符 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Grp="1" noChangeAspect="1"/>
          </p:cNvPicPr>
          <p:nvPr>
            <p:ph type="pic" sz="quarter" idx="1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/>
      </p:pic>
      <p:sp>
        <p:nvSpPr>
          <p:cNvPr id="19" name="Shape 31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989832" y="1330535"/>
            <a:ext cx="2202526" cy="482183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>
            <a:lvl1pPr algn="l">
              <a:defRPr sz="4000" b="1">
                <a:solidFill>
                  <a:srgbClr val="232323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800" dirty="0">
                <a:gradFill>
                  <a:gsLst>
                    <a:gs pos="0">
                      <a:schemeClr val="accent5"/>
                    </a:gs>
                    <a:gs pos="100000">
                      <a:schemeClr val="accent2"/>
                    </a:gs>
                  </a:gsLst>
                  <a:lin ang="10800000" scaled="0"/>
                </a:gra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What We Do</a:t>
            </a:r>
          </a:p>
        </p:txBody>
      </p:sp>
      <p:sp>
        <p:nvSpPr>
          <p:cNvPr id="21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704850" y="3429000"/>
            <a:ext cx="3174792" cy="12695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ct val="150000"/>
              </a:lnSpc>
            </a:pPr>
            <a:r>
              <a:rPr lang="en-US" altLang="zh-CN" sz="1100" dirty="0">
                <a:solidFill>
                  <a:schemeClr val="tx2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. This is a sample text. insert your desired text here. Again. this is a dummy text. enter your own text here.”</a:t>
            </a:r>
          </a:p>
        </p:txBody>
      </p:sp>
      <p:sp>
        <p:nvSpPr>
          <p:cNvPr id="22" name="Rectangle: Rounded Corners 2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588789" y="5419247"/>
            <a:ext cx="1402161" cy="38237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5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  <a:effectLst>
            <a:outerShdw blurRad="787400" dist="101600" dir="5400000" sx="80000" sy="80000" algn="t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200" dirty="0">
                <a:latin typeface="方正综艺简体" panose="03000509000000000000" pitchFamily="65" charset="-122"/>
                <a:cs typeface="思源黑体 CN Regular" panose="020B0500000000000000" charset="-122"/>
              </a:rPr>
              <a:t>Read Her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29264" y="704089"/>
            <a:ext cx="2888343" cy="2888343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pic>
        <p:nvPicPr>
          <p:cNvPr id="6" name="Picture 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4512" y="981244"/>
            <a:ext cx="4895512" cy="4895512"/>
          </a:xfrm>
          <a:prstGeom prst="rect">
            <a:avLst/>
          </a:prstGeom>
        </p:spPr>
      </p:pic>
      <p:sp>
        <p:nvSpPr>
          <p:cNvPr id="9" name="TextBox 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748564" y="1564808"/>
            <a:ext cx="4036682" cy="11757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80000"/>
              </a:lnSpc>
            </a:pPr>
            <a:r>
              <a:rPr lang="id-ID" sz="4400" dirty="0">
                <a:solidFill>
                  <a:schemeClr val="accent1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Dekstop</a:t>
            </a:r>
          </a:p>
          <a:p>
            <a:pPr>
              <a:lnSpc>
                <a:spcPct val="80000"/>
              </a:lnSpc>
            </a:pPr>
            <a:r>
              <a:rPr lang="id-ID" sz="4400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Mockup Slide </a:t>
            </a:r>
          </a:p>
        </p:txBody>
      </p:sp>
      <p:grpSp>
        <p:nvGrpSpPr>
          <p:cNvPr id="3" name="Group 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1002972" y="3915029"/>
            <a:ext cx="4288555" cy="984885"/>
            <a:chOff x="1002973" y="4154871"/>
            <a:chExt cx="3897690" cy="984885"/>
          </a:xfrm>
        </p:grpSpPr>
        <p:grpSp>
          <p:nvGrpSpPr>
            <p:cNvPr id="10" name="Group 9"/>
            <p:cNvGrpSpPr/>
            <p:nvPr/>
          </p:nvGrpSpPr>
          <p:grpSpPr>
            <a:xfrm>
              <a:off x="2032291" y="4154871"/>
              <a:ext cx="2868372" cy="984885"/>
              <a:chOff x="1667765" y="3026816"/>
              <a:chExt cx="2868372" cy="984885"/>
            </a:xfrm>
          </p:grpSpPr>
          <p:sp>
            <p:nvSpPr>
              <p:cNvPr id="11" name="TextBox 10"/>
              <p:cNvSpPr txBox="1"/>
              <p:nvPr/>
            </p:nvSpPr>
            <p:spPr>
              <a:xfrm>
                <a:off x="1667765" y="3026816"/>
                <a:ext cx="2868372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d-ID" sz="1600" b="1" dirty="0">
                    <a:solidFill>
                      <a:schemeClr val="tx2"/>
                    </a:solidFill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rPr>
                  <a:t>Technology Implementation</a:t>
                </a: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1667765" y="3365370"/>
                <a:ext cx="2701285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just"/>
                <a:r>
                  <a:rPr lang="en-US" sz="1200" dirty="0">
                    <a:solidFill>
                      <a:schemeClr val="tx2"/>
                    </a:solidFill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rPr>
                  <a:t>Lorem Ipsum is simply dummy text of the printing and typesetting industry. Lorem Ipsum has been the industry's</a:t>
                </a:r>
                <a:endParaRPr lang="id-ID" sz="1200" dirty="0">
                  <a:solidFill>
                    <a:schemeClr val="tx2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</p:grpSp>
        <p:sp>
          <p:nvSpPr>
            <p:cNvPr id="17" name="Freeform 30"/>
            <p:cNvSpPr>
              <a:spLocks noEditPoints="1"/>
            </p:cNvSpPr>
            <p:nvPr/>
          </p:nvSpPr>
          <p:spPr bwMode="auto">
            <a:xfrm>
              <a:off x="1002973" y="4372914"/>
              <a:ext cx="729930" cy="548800"/>
            </a:xfrm>
            <a:custGeom>
              <a:avLst/>
              <a:gdLst>
                <a:gd name="T0" fmla="*/ 212 w 228"/>
                <a:gd name="T1" fmla="*/ 19 h 172"/>
                <a:gd name="T2" fmla="*/ 19 w 228"/>
                <a:gd name="T3" fmla="*/ 0 h 172"/>
                <a:gd name="T4" fmla="*/ 0 w 228"/>
                <a:gd name="T5" fmla="*/ 121 h 172"/>
                <a:gd name="T6" fmla="*/ 86 w 228"/>
                <a:gd name="T7" fmla="*/ 140 h 172"/>
                <a:gd name="T8" fmla="*/ 72 w 228"/>
                <a:gd name="T9" fmla="*/ 164 h 172"/>
                <a:gd name="T10" fmla="*/ 72 w 228"/>
                <a:gd name="T11" fmla="*/ 172 h 172"/>
                <a:gd name="T12" fmla="*/ 144 w 228"/>
                <a:gd name="T13" fmla="*/ 168 h 172"/>
                <a:gd name="T14" fmla="*/ 128 w 228"/>
                <a:gd name="T15" fmla="*/ 164 h 172"/>
                <a:gd name="T16" fmla="*/ 156 w 228"/>
                <a:gd name="T17" fmla="*/ 140 h 172"/>
                <a:gd name="T18" fmla="*/ 175 w 228"/>
                <a:gd name="T19" fmla="*/ 172 h 172"/>
                <a:gd name="T20" fmla="*/ 228 w 228"/>
                <a:gd name="T21" fmla="*/ 153 h 172"/>
                <a:gd name="T22" fmla="*/ 212 w 228"/>
                <a:gd name="T23" fmla="*/ 40 h 172"/>
                <a:gd name="T24" fmla="*/ 94 w 228"/>
                <a:gd name="T25" fmla="*/ 140 h 172"/>
                <a:gd name="T26" fmla="*/ 120 w 228"/>
                <a:gd name="T27" fmla="*/ 164 h 172"/>
                <a:gd name="T28" fmla="*/ 156 w 228"/>
                <a:gd name="T29" fmla="*/ 132 h 172"/>
                <a:gd name="T30" fmla="*/ 8 w 228"/>
                <a:gd name="T31" fmla="*/ 121 h 172"/>
                <a:gd name="T32" fmla="*/ 156 w 228"/>
                <a:gd name="T33" fmla="*/ 120 h 172"/>
                <a:gd name="T34" fmla="*/ 156 w 228"/>
                <a:gd name="T35" fmla="*/ 59 h 172"/>
                <a:gd name="T36" fmla="*/ 8 w 228"/>
                <a:gd name="T37" fmla="*/ 112 h 172"/>
                <a:gd name="T38" fmla="*/ 19 w 228"/>
                <a:gd name="T39" fmla="*/ 8 h 172"/>
                <a:gd name="T40" fmla="*/ 204 w 228"/>
                <a:gd name="T41" fmla="*/ 19 h 172"/>
                <a:gd name="T42" fmla="*/ 175 w 228"/>
                <a:gd name="T43" fmla="*/ 40 h 172"/>
                <a:gd name="T44" fmla="*/ 220 w 228"/>
                <a:gd name="T45" fmla="*/ 153 h 172"/>
                <a:gd name="T46" fmla="*/ 175 w 228"/>
                <a:gd name="T47" fmla="*/ 164 h 172"/>
                <a:gd name="T48" fmla="*/ 164 w 228"/>
                <a:gd name="T49" fmla="*/ 59 h 172"/>
                <a:gd name="T50" fmla="*/ 209 w 228"/>
                <a:gd name="T51" fmla="*/ 48 h 172"/>
                <a:gd name="T52" fmla="*/ 220 w 228"/>
                <a:gd name="T53" fmla="*/ 153 h 172"/>
                <a:gd name="T54" fmla="*/ 188 w 228"/>
                <a:gd name="T55" fmla="*/ 56 h 172"/>
                <a:gd name="T56" fmla="*/ 188 w 228"/>
                <a:gd name="T57" fmla="*/ 64 h 172"/>
                <a:gd name="T58" fmla="*/ 200 w 228"/>
                <a:gd name="T59" fmla="*/ 60 h 172"/>
                <a:gd name="T60" fmla="*/ 193 w 228"/>
                <a:gd name="T61" fmla="*/ 140 h 172"/>
                <a:gd name="T62" fmla="*/ 184 w 228"/>
                <a:gd name="T63" fmla="*/ 148 h 172"/>
                <a:gd name="T64" fmla="*/ 192 w 228"/>
                <a:gd name="T65" fmla="*/ 156 h 172"/>
                <a:gd name="T66" fmla="*/ 200 w 228"/>
                <a:gd name="T67" fmla="*/ 149 h 172"/>
                <a:gd name="T68" fmla="*/ 193 w 228"/>
                <a:gd name="T69" fmla="*/ 14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28" h="172">
                  <a:moveTo>
                    <a:pt x="212" y="40"/>
                  </a:moveTo>
                  <a:cubicBezTo>
                    <a:pt x="212" y="19"/>
                    <a:pt x="212" y="19"/>
                    <a:pt x="212" y="19"/>
                  </a:cubicBezTo>
                  <a:cubicBezTo>
                    <a:pt x="212" y="9"/>
                    <a:pt x="203" y="0"/>
                    <a:pt x="193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9" y="0"/>
                    <a:pt x="0" y="9"/>
                    <a:pt x="0" y="19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131"/>
                    <a:pt x="9" y="140"/>
                    <a:pt x="19" y="140"/>
                  </a:cubicBezTo>
                  <a:cubicBezTo>
                    <a:pt x="86" y="140"/>
                    <a:pt x="86" y="140"/>
                    <a:pt x="86" y="140"/>
                  </a:cubicBezTo>
                  <a:cubicBezTo>
                    <a:pt x="84" y="164"/>
                    <a:pt x="84" y="164"/>
                    <a:pt x="84" y="164"/>
                  </a:cubicBezTo>
                  <a:cubicBezTo>
                    <a:pt x="72" y="164"/>
                    <a:pt x="72" y="164"/>
                    <a:pt x="72" y="164"/>
                  </a:cubicBezTo>
                  <a:cubicBezTo>
                    <a:pt x="70" y="164"/>
                    <a:pt x="68" y="166"/>
                    <a:pt x="68" y="168"/>
                  </a:cubicBezTo>
                  <a:cubicBezTo>
                    <a:pt x="68" y="170"/>
                    <a:pt x="70" y="172"/>
                    <a:pt x="72" y="172"/>
                  </a:cubicBezTo>
                  <a:cubicBezTo>
                    <a:pt x="140" y="172"/>
                    <a:pt x="140" y="172"/>
                    <a:pt x="140" y="172"/>
                  </a:cubicBezTo>
                  <a:cubicBezTo>
                    <a:pt x="142" y="172"/>
                    <a:pt x="144" y="170"/>
                    <a:pt x="144" y="168"/>
                  </a:cubicBezTo>
                  <a:cubicBezTo>
                    <a:pt x="144" y="166"/>
                    <a:pt x="142" y="164"/>
                    <a:pt x="140" y="164"/>
                  </a:cubicBezTo>
                  <a:cubicBezTo>
                    <a:pt x="128" y="164"/>
                    <a:pt x="128" y="164"/>
                    <a:pt x="128" y="164"/>
                  </a:cubicBezTo>
                  <a:cubicBezTo>
                    <a:pt x="126" y="140"/>
                    <a:pt x="126" y="140"/>
                    <a:pt x="126" y="140"/>
                  </a:cubicBezTo>
                  <a:cubicBezTo>
                    <a:pt x="156" y="140"/>
                    <a:pt x="156" y="140"/>
                    <a:pt x="156" y="140"/>
                  </a:cubicBezTo>
                  <a:cubicBezTo>
                    <a:pt x="156" y="153"/>
                    <a:pt x="156" y="153"/>
                    <a:pt x="156" y="153"/>
                  </a:cubicBezTo>
                  <a:cubicBezTo>
                    <a:pt x="156" y="163"/>
                    <a:pt x="165" y="172"/>
                    <a:pt x="175" y="172"/>
                  </a:cubicBezTo>
                  <a:cubicBezTo>
                    <a:pt x="209" y="172"/>
                    <a:pt x="209" y="172"/>
                    <a:pt x="209" y="172"/>
                  </a:cubicBezTo>
                  <a:cubicBezTo>
                    <a:pt x="219" y="172"/>
                    <a:pt x="228" y="163"/>
                    <a:pt x="228" y="153"/>
                  </a:cubicBezTo>
                  <a:cubicBezTo>
                    <a:pt x="228" y="59"/>
                    <a:pt x="228" y="59"/>
                    <a:pt x="228" y="59"/>
                  </a:cubicBezTo>
                  <a:cubicBezTo>
                    <a:pt x="228" y="50"/>
                    <a:pt x="221" y="42"/>
                    <a:pt x="212" y="40"/>
                  </a:cubicBezTo>
                  <a:close/>
                  <a:moveTo>
                    <a:pt x="92" y="164"/>
                  </a:moveTo>
                  <a:cubicBezTo>
                    <a:pt x="94" y="140"/>
                    <a:pt x="94" y="140"/>
                    <a:pt x="94" y="140"/>
                  </a:cubicBezTo>
                  <a:cubicBezTo>
                    <a:pt x="118" y="140"/>
                    <a:pt x="118" y="140"/>
                    <a:pt x="118" y="140"/>
                  </a:cubicBezTo>
                  <a:cubicBezTo>
                    <a:pt x="120" y="164"/>
                    <a:pt x="120" y="164"/>
                    <a:pt x="120" y="164"/>
                  </a:cubicBezTo>
                  <a:lnTo>
                    <a:pt x="92" y="164"/>
                  </a:lnTo>
                  <a:close/>
                  <a:moveTo>
                    <a:pt x="156" y="132"/>
                  </a:moveTo>
                  <a:cubicBezTo>
                    <a:pt x="19" y="132"/>
                    <a:pt x="19" y="132"/>
                    <a:pt x="19" y="132"/>
                  </a:cubicBezTo>
                  <a:cubicBezTo>
                    <a:pt x="13" y="132"/>
                    <a:pt x="8" y="127"/>
                    <a:pt x="8" y="121"/>
                  </a:cubicBezTo>
                  <a:cubicBezTo>
                    <a:pt x="8" y="120"/>
                    <a:pt x="8" y="120"/>
                    <a:pt x="8" y="120"/>
                  </a:cubicBezTo>
                  <a:cubicBezTo>
                    <a:pt x="156" y="120"/>
                    <a:pt x="156" y="120"/>
                    <a:pt x="156" y="120"/>
                  </a:cubicBezTo>
                  <a:lnTo>
                    <a:pt x="156" y="132"/>
                  </a:lnTo>
                  <a:close/>
                  <a:moveTo>
                    <a:pt x="156" y="59"/>
                  </a:moveTo>
                  <a:cubicBezTo>
                    <a:pt x="156" y="112"/>
                    <a:pt x="156" y="112"/>
                    <a:pt x="156" y="112"/>
                  </a:cubicBezTo>
                  <a:cubicBezTo>
                    <a:pt x="8" y="112"/>
                    <a:pt x="8" y="112"/>
                    <a:pt x="8" y="112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3"/>
                    <a:pt x="13" y="8"/>
                    <a:pt x="19" y="8"/>
                  </a:cubicBezTo>
                  <a:cubicBezTo>
                    <a:pt x="193" y="8"/>
                    <a:pt x="193" y="8"/>
                    <a:pt x="193" y="8"/>
                  </a:cubicBezTo>
                  <a:cubicBezTo>
                    <a:pt x="199" y="8"/>
                    <a:pt x="204" y="13"/>
                    <a:pt x="204" y="19"/>
                  </a:cubicBezTo>
                  <a:cubicBezTo>
                    <a:pt x="204" y="40"/>
                    <a:pt x="204" y="40"/>
                    <a:pt x="204" y="40"/>
                  </a:cubicBezTo>
                  <a:cubicBezTo>
                    <a:pt x="175" y="40"/>
                    <a:pt x="175" y="40"/>
                    <a:pt x="175" y="40"/>
                  </a:cubicBezTo>
                  <a:cubicBezTo>
                    <a:pt x="165" y="40"/>
                    <a:pt x="156" y="49"/>
                    <a:pt x="156" y="59"/>
                  </a:cubicBezTo>
                  <a:close/>
                  <a:moveTo>
                    <a:pt x="220" y="153"/>
                  </a:moveTo>
                  <a:cubicBezTo>
                    <a:pt x="220" y="159"/>
                    <a:pt x="215" y="164"/>
                    <a:pt x="209" y="164"/>
                  </a:cubicBezTo>
                  <a:cubicBezTo>
                    <a:pt x="175" y="164"/>
                    <a:pt x="175" y="164"/>
                    <a:pt x="175" y="164"/>
                  </a:cubicBezTo>
                  <a:cubicBezTo>
                    <a:pt x="169" y="164"/>
                    <a:pt x="164" y="159"/>
                    <a:pt x="164" y="153"/>
                  </a:cubicBezTo>
                  <a:cubicBezTo>
                    <a:pt x="164" y="59"/>
                    <a:pt x="164" y="59"/>
                    <a:pt x="164" y="59"/>
                  </a:cubicBezTo>
                  <a:cubicBezTo>
                    <a:pt x="164" y="53"/>
                    <a:pt x="169" y="48"/>
                    <a:pt x="175" y="48"/>
                  </a:cubicBezTo>
                  <a:cubicBezTo>
                    <a:pt x="209" y="48"/>
                    <a:pt x="209" y="48"/>
                    <a:pt x="209" y="48"/>
                  </a:cubicBezTo>
                  <a:cubicBezTo>
                    <a:pt x="215" y="48"/>
                    <a:pt x="220" y="53"/>
                    <a:pt x="220" y="59"/>
                  </a:cubicBezTo>
                  <a:lnTo>
                    <a:pt x="220" y="153"/>
                  </a:lnTo>
                  <a:close/>
                  <a:moveTo>
                    <a:pt x="196" y="56"/>
                  </a:moveTo>
                  <a:cubicBezTo>
                    <a:pt x="188" y="56"/>
                    <a:pt x="188" y="56"/>
                    <a:pt x="188" y="56"/>
                  </a:cubicBezTo>
                  <a:cubicBezTo>
                    <a:pt x="186" y="56"/>
                    <a:pt x="184" y="58"/>
                    <a:pt x="184" y="60"/>
                  </a:cubicBezTo>
                  <a:cubicBezTo>
                    <a:pt x="184" y="62"/>
                    <a:pt x="186" y="64"/>
                    <a:pt x="188" y="64"/>
                  </a:cubicBezTo>
                  <a:cubicBezTo>
                    <a:pt x="196" y="64"/>
                    <a:pt x="196" y="64"/>
                    <a:pt x="196" y="64"/>
                  </a:cubicBezTo>
                  <a:cubicBezTo>
                    <a:pt x="198" y="64"/>
                    <a:pt x="200" y="62"/>
                    <a:pt x="200" y="60"/>
                  </a:cubicBezTo>
                  <a:cubicBezTo>
                    <a:pt x="200" y="58"/>
                    <a:pt x="198" y="56"/>
                    <a:pt x="196" y="56"/>
                  </a:cubicBezTo>
                  <a:close/>
                  <a:moveTo>
                    <a:pt x="193" y="140"/>
                  </a:moveTo>
                  <a:cubicBezTo>
                    <a:pt x="192" y="140"/>
                    <a:pt x="192" y="140"/>
                    <a:pt x="192" y="140"/>
                  </a:cubicBezTo>
                  <a:cubicBezTo>
                    <a:pt x="187" y="140"/>
                    <a:pt x="184" y="143"/>
                    <a:pt x="184" y="148"/>
                  </a:cubicBezTo>
                  <a:cubicBezTo>
                    <a:pt x="184" y="149"/>
                    <a:pt x="184" y="149"/>
                    <a:pt x="184" y="149"/>
                  </a:cubicBezTo>
                  <a:cubicBezTo>
                    <a:pt x="184" y="153"/>
                    <a:pt x="187" y="156"/>
                    <a:pt x="192" y="156"/>
                  </a:cubicBezTo>
                  <a:cubicBezTo>
                    <a:pt x="193" y="156"/>
                    <a:pt x="193" y="156"/>
                    <a:pt x="193" y="156"/>
                  </a:cubicBezTo>
                  <a:cubicBezTo>
                    <a:pt x="197" y="156"/>
                    <a:pt x="200" y="153"/>
                    <a:pt x="200" y="149"/>
                  </a:cubicBezTo>
                  <a:cubicBezTo>
                    <a:pt x="200" y="148"/>
                    <a:pt x="200" y="148"/>
                    <a:pt x="200" y="148"/>
                  </a:cubicBezTo>
                  <a:cubicBezTo>
                    <a:pt x="200" y="143"/>
                    <a:pt x="197" y="140"/>
                    <a:pt x="193" y="140"/>
                  </a:cubicBezTo>
                  <a:close/>
                </a:path>
              </a:pathLst>
            </a:custGeom>
            <a:gradFill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2"/>
                </a:gs>
              </a:gsLst>
              <a:lin ang="0" scaled="1"/>
            </a:gradFill>
            <a:ln>
              <a:noFill/>
            </a:ln>
            <a:effectLst>
              <a:outerShdw blurRad="469900" dist="38100" dir="5400000" algn="t" rotWithShape="0">
                <a:schemeClr val="accent1">
                  <a:alpha val="40000"/>
                </a:scheme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</p:grpSp>
      <p:pic>
        <p:nvPicPr>
          <p:cNvPr id="4" name="图片占位符 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/>
      </p:pic>
      <p:sp>
        <p:nvSpPr>
          <p:cNvPr id="13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875153" y="2717602"/>
            <a:ext cx="4030691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 dirty="0">
                <a:solidFill>
                  <a:schemeClr val="tx2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. This is a sample text. insert your desired text here. Again. this is a dummy text. enter your own text here.”</a:t>
            </a:r>
          </a:p>
        </p:txBody>
      </p:sp>
      <p:sp>
        <p:nvSpPr>
          <p:cNvPr id="14" name="Rectangle: Rounded Corners 2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94029" y="5239677"/>
            <a:ext cx="1402161" cy="38237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5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  <a:effectLst>
            <a:outerShdw blurRad="787400" dist="101600" dir="5400000" sx="80000" sy="80000" algn="t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200" dirty="0">
                <a:latin typeface="方正综艺简体" panose="03000509000000000000" pitchFamily="65" charset="-122"/>
                <a:cs typeface="思源黑体 CN Regular" panose="020B0500000000000000" charset="-122"/>
              </a:rPr>
              <a:t>Read Here</a:t>
            </a:r>
          </a:p>
        </p:txBody>
      </p:sp>
    </p:spTree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4549" y="-228600"/>
            <a:ext cx="8333890" cy="7516784"/>
          </a:xfrm>
          <a:prstGeom prst="rect">
            <a:avLst/>
          </a:prstGeom>
        </p:spPr>
      </p:pic>
      <p:sp>
        <p:nvSpPr>
          <p:cNvPr id="3" name="文本框 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725251" y="3387436"/>
            <a:ext cx="4109145" cy="3819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lnSpc>
                <a:spcPct val="150000"/>
              </a:lnSpc>
            </a:pPr>
            <a:r>
              <a:rPr lang="en-US" altLang="zh-CN" sz="1400" spc="-300" dirty="0">
                <a:gradFill flip="none" rotWithShape="1">
                  <a:gsLst>
                    <a:gs pos="0">
                      <a:schemeClr val="accent5">
                        <a:lumMod val="75000"/>
                      </a:schemeClr>
                    </a:gs>
                    <a:gs pos="96403">
                      <a:schemeClr val="accent2"/>
                    </a:gs>
                    <a:gs pos="75000">
                      <a:schemeClr val="accent4"/>
                    </a:gs>
                  </a:gsLst>
                  <a:lin ang="10800000" scaled="1"/>
                </a:gradFill>
                <a:latin typeface="方正综艺简体" panose="03000509000000000000" pitchFamily="65" charset="-122"/>
                <a:ea typeface="思源黑体 CN Medium" panose="020B0600000000000000" pitchFamily="34" charset="-122"/>
                <a:cs typeface="思源黑体 CN Regular" panose="020B0500000000000000" charset="-122"/>
              </a:rPr>
              <a:t>CREATIVE  POWERPOINT  TEMPLATE</a:t>
            </a:r>
          </a:p>
        </p:txBody>
      </p:sp>
      <p:sp>
        <p:nvSpPr>
          <p:cNvPr id="4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725251" y="3766913"/>
            <a:ext cx="4030691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>
                <a:solidFill>
                  <a:schemeClr val="tx2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. This is a sample text. insert your desired text here. Again. this is a dummy text. enter your own text here.”</a:t>
            </a:r>
          </a:p>
        </p:txBody>
      </p:sp>
      <p:sp>
        <p:nvSpPr>
          <p:cNvPr id="5" name="文本框 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594447" y="2540271"/>
            <a:ext cx="609210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600" b="1" dirty="0">
                <a:solidFill>
                  <a:schemeClr val="accent4"/>
                </a:solidFill>
                <a:effectLst>
                  <a:innerShdw blurRad="63500" dist="50800" dir="15600000">
                    <a:schemeClr val="accent5">
                      <a:alpha val="23000"/>
                    </a:schemeClr>
                  </a:innerShdw>
                </a:effectLst>
                <a:latin typeface="方正综艺简体" panose="03000509000000000000" pitchFamily="65" charset="-122"/>
                <a:cs typeface="思源黑体 CN Regular" panose="020B0500000000000000" charset="-122"/>
              </a:rPr>
              <a:t>PART THREE</a:t>
            </a:r>
            <a:endParaRPr lang="zh-CN" altLang="en-US" sz="6600" b="1" dirty="0">
              <a:solidFill>
                <a:schemeClr val="accent4"/>
              </a:solidFill>
              <a:effectLst>
                <a:innerShdw blurRad="63500" dist="50800" dir="15600000">
                  <a:schemeClr val="accent5">
                    <a:alpha val="23000"/>
                  </a:schemeClr>
                </a:innerShdw>
              </a:effectLst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6" name="Rectangle: Rounded Corners 2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79039" y="5209697"/>
            <a:ext cx="1402161" cy="38237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5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  <a:effectLst>
            <a:outerShdw blurRad="787400" dist="101600" dir="5400000" sx="80000" sy="80000" algn="t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200" dirty="0">
                <a:latin typeface="方正综艺简体" panose="03000509000000000000" pitchFamily="65" charset="-122"/>
                <a:cs typeface="思源黑体 CN Regular" panose="020B0500000000000000" charset="-122"/>
              </a:rPr>
              <a:t>Read Here</a:t>
            </a:r>
          </a:p>
        </p:txBody>
      </p:sp>
      <p:pic>
        <p:nvPicPr>
          <p:cNvPr id="7" name="图片 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91" y="1430726"/>
            <a:ext cx="888459" cy="1006768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  <a:alpha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矩形 3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115051" y="762000"/>
            <a:ext cx="5486400" cy="23050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pic>
        <p:nvPicPr>
          <p:cNvPr id="33" name="图片 3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3152" y="4359286"/>
            <a:ext cx="2674198" cy="3030300"/>
          </a:xfrm>
          <a:prstGeom prst="rect">
            <a:avLst/>
          </a:prstGeom>
        </p:spPr>
      </p:pic>
      <p:grpSp>
        <p:nvGrpSpPr>
          <p:cNvPr id="13" name="Group 1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1066800" y="3257550"/>
            <a:ext cx="2374491" cy="2506540"/>
            <a:chOff x="1066800" y="3257550"/>
            <a:chExt cx="2374491" cy="2506540"/>
          </a:xfrm>
        </p:grpSpPr>
        <p:sp>
          <p:nvSpPr>
            <p:cNvPr id="10" name="Rectangle: Rounded Corners 9"/>
            <p:cNvSpPr/>
            <p:nvPr/>
          </p:nvSpPr>
          <p:spPr>
            <a:xfrm>
              <a:off x="1066800" y="3257550"/>
              <a:ext cx="2374491" cy="2506540"/>
            </a:xfrm>
            <a:prstGeom prst="roundRect">
              <a:avLst>
                <a:gd name="adj" fmla="val 4866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1174174" y="3583746"/>
              <a:ext cx="2159742" cy="2075766"/>
              <a:chOff x="1014674" y="3888088"/>
              <a:chExt cx="2159742" cy="2075766"/>
            </a:xfrm>
          </p:grpSpPr>
          <p:graphicFrame>
            <p:nvGraphicFramePr>
              <p:cNvPr id="3" name="Chart 2"/>
              <p:cNvGraphicFramePr/>
              <p:nvPr/>
            </p:nvGraphicFramePr>
            <p:xfrm>
              <a:off x="1014674" y="3888088"/>
              <a:ext cx="2159742" cy="2075766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sp>
            <p:nvSpPr>
              <p:cNvPr id="4" name="Oval 3"/>
              <p:cNvSpPr/>
              <p:nvPr/>
            </p:nvSpPr>
            <p:spPr>
              <a:xfrm>
                <a:off x="1681477" y="4243648"/>
                <a:ext cx="826138" cy="82613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方正综艺简体" panose="03000509000000000000" pitchFamily="65" charset="-122"/>
                    <a:cs typeface="思源黑体 CN Regular" panose="020B0500000000000000" charset="-122"/>
                  </a:rPr>
                  <a:t>66%</a:t>
                </a:r>
              </a:p>
            </p:txBody>
          </p:sp>
        </p:grpSp>
      </p:grpSp>
      <p:grpSp>
        <p:nvGrpSpPr>
          <p:cNvPr id="14" name="Group 1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3544529" y="3257550"/>
            <a:ext cx="2374491" cy="2506540"/>
            <a:chOff x="3544529" y="3257550"/>
            <a:chExt cx="2374491" cy="2506540"/>
          </a:xfrm>
        </p:grpSpPr>
        <p:sp>
          <p:nvSpPr>
            <p:cNvPr id="11" name="Rectangle: Rounded Corners 10"/>
            <p:cNvSpPr/>
            <p:nvPr/>
          </p:nvSpPr>
          <p:spPr>
            <a:xfrm>
              <a:off x="3544529" y="3257550"/>
              <a:ext cx="2374491" cy="2506540"/>
            </a:xfrm>
            <a:prstGeom prst="roundRect">
              <a:avLst>
                <a:gd name="adj" fmla="val 4866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grpSp>
          <p:nvGrpSpPr>
            <p:cNvPr id="5" name="Group 4"/>
            <p:cNvGrpSpPr/>
            <p:nvPr/>
          </p:nvGrpSpPr>
          <p:grpSpPr>
            <a:xfrm>
              <a:off x="3616474" y="3577136"/>
              <a:ext cx="2159742" cy="2075766"/>
              <a:chOff x="3646971" y="3881478"/>
              <a:chExt cx="2159742" cy="2075766"/>
            </a:xfrm>
          </p:grpSpPr>
          <p:graphicFrame>
            <p:nvGraphicFramePr>
              <p:cNvPr id="6" name="Chart 5"/>
              <p:cNvGraphicFramePr/>
              <p:nvPr/>
            </p:nvGraphicFramePr>
            <p:xfrm>
              <a:off x="3646971" y="3881478"/>
              <a:ext cx="2159742" cy="2075766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5"/>
              </a:graphicData>
            </a:graphic>
          </p:graphicFrame>
          <p:sp>
            <p:nvSpPr>
              <p:cNvPr id="7" name="Oval 6"/>
              <p:cNvSpPr/>
              <p:nvPr/>
            </p:nvSpPr>
            <p:spPr>
              <a:xfrm>
                <a:off x="4313773" y="4237038"/>
                <a:ext cx="826138" cy="82613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方正综艺简体" panose="03000509000000000000" pitchFamily="65" charset="-122"/>
                    <a:cs typeface="思源黑体 CN Regular" panose="020B0500000000000000" charset="-122"/>
                  </a:rPr>
                  <a:t>82%</a:t>
                </a:r>
              </a:p>
            </p:txBody>
          </p:sp>
        </p:grpSp>
      </p:grpSp>
      <p:grpSp>
        <p:nvGrpSpPr>
          <p:cNvPr id="30" name="Group 2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6132513" y="3257550"/>
            <a:ext cx="5487987" cy="2506540"/>
            <a:chOff x="6022258" y="3257550"/>
            <a:chExt cx="5232758" cy="2506540"/>
          </a:xfrm>
        </p:grpSpPr>
        <p:sp>
          <p:nvSpPr>
            <p:cNvPr id="12" name="Rectangle: Rounded Corners 11"/>
            <p:cNvSpPr/>
            <p:nvPr/>
          </p:nvSpPr>
          <p:spPr>
            <a:xfrm>
              <a:off x="6022258" y="3257550"/>
              <a:ext cx="5232758" cy="2506540"/>
            </a:xfrm>
            <a:prstGeom prst="roundRect">
              <a:avLst>
                <a:gd name="adj" fmla="val 4866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graphicFrame>
          <p:nvGraphicFramePr>
            <p:cNvPr id="8" name="Chart 7"/>
            <p:cNvGraphicFramePr/>
            <p:nvPr/>
          </p:nvGraphicFramePr>
          <p:xfrm>
            <a:off x="6201578" y="3551440"/>
            <a:ext cx="5053438" cy="210807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</p:grpSp>
      <p:sp>
        <p:nvSpPr>
          <p:cNvPr id="16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15448" y="2209116"/>
            <a:ext cx="45719" cy="71196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17" name="TextBox 1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748564" y="809474"/>
            <a:ext cx="3139001" cy="11757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80000"/>
              </a:lnSpc>
            </a:pPr>
            <a:r>
              <a:rPr lang="id-ID" sz="4400" dirty="0">
                <a:solidFill>
                  <a:schemeClr val="accent1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Business </a:t>
            </a:r>
          </a:p>
          <a:p>
            <a:pPr>
              <a:lnSpc>
                <a:spcPct val="80000"/>
              </a:lnSpc>
            </a:pPr>
            <a:r>
              <a:rPr lang="id-ID" sz="4400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Chart Slide</a:t>
            </a:r>
          </a:p>
        </p:txBody>
      </p:sp>
      <p:grpSp>
        <p:nvGrpSpPr>
          <p:cNvPr id="31" name="Group 3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6246966" y="924971"/>
            <a:ext cx="5697384" cy="1983263"/>
            <a:chOff x="6246966" y="924971"/>
            <a:chExt cx="3700697" cy="1983263"/>
          </a:xfrm>
        </p:grpSpPr>
        <p:grpSp>
          <p:nvGrpSpPr>
            <p:cNvPr id="18" name="Group 17"/>
            <p:cNvGrpSpPr/>
            <p:nvPr/>
          </p:nvGrpSpPr>
          <p:grpSpPr>
            <a:xfrm>
              <a:off x="6246966" y="924971"/>
              <a:ext cx="3700697" cy="650234"/>
              <a:chOff x="6246966" y="924971"/>
              <a:chExt cx="3700697" cy="650234"/>
            </a:xfrm>
          </p:grpSpPr>
          <p:sp>
            <p:nvSpPr>
              <p:cNvPr id="19" name="Freeform 4642"/>
              <p:cNvSpPr/>
              <p:nvPr/>
            </p:nvSpPr>
            <p:spPr bwMode="auto">
              <a:xfrm>
                <a:off x="6306473" y="1000038"/>
                <a:ext cx="165466" cy="261542"/>
              </a:xfrm>
              <a:custGeom>
                <a:avLst/>
                <a:gdLst>
                  <a:gd name="T0" fmla="*/ 58 w 125"/>
                  <a:gd name="T1" fmla="*/ 2 h 198"/>
                  <a:gd name="T2" fmla="*/ 3 w 125"/>
                  <a:gd name="T3" fmla="*/ 71 h 198"/>
                  <a:gd name="T4" fmla="*/ 6 w 125"/>
                  <a:gd name="T5" fmla="*/ 78 h 198"/>
                  <a:gd name="T6" fmla="*/ 33 w 125"/>
                  <a:gd name="T7" fmla="*/ 78 h 198"/>
                  <a:gd name="T8" fmla="*/ 37 w 125"/>
                  <a:gd name="T9" fmla="*/ 82 h 198"/>
                  <a:gd name="T10" fmla="*/ 37 w 125"/>
                  <a:gd name="T11" fmla="*/ 194 h 198"/>
                  <a:gd name="T12" fmla="*/ 41 w 125"/>
                  <a:gd name="T13" fmla="*/ 198 h 198"/>
                  <a:gd name="T14" fmla="*/ 85 w 125"/>
                  <a:gd name="T15" fmla="*/ 198 h 198"/>
                  <a:gd name="T16" fmla="*/ 89 w 125"/>
                  <a:gd name="T17" fmla="*/ 194 h 198"/>
                  <a:gd name="T18" fmla="*/ 89 w 125"/>
                  <a:gd name="T19" fmla="*/ 82 h 198"/>
                  <a:gd name="T20" fmla="*/ 93 w 125"/>
                  <a:gd name="T21" fmla="*/ 78 h 198"/>
                  <a:gd name="T22" fmla="*/ 119 w 125"/>
                  <a:gd name="T23" fmla="*/ 78 h 198"/>
                  <a:gd name="T24" fmla="*/ 123 w 125"/>
                  <a:gd name="T25" fmla="*/ 71 h 198"/>
                  <a:gd name="T26" fmla="*/ 65 w 125"/>
                  <a:gd name="T27" fmla="*/ 2 h 198"/>
                  <a:gd name="T28" fmla="*/ 58 w 125"/>
                  <a:gd name="T29" fmla="*/ 2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5" h="198">
                    <a:moveTo>
                      <a:pt x="58" y="2"/>
                    </a:moveTo>
                    <a:cubicBezTo>
                      <a:pt x="3" y="71"/>
                      <a:pt x="3" y="71"/>
                      <a:pt x="3" y="71"/>
                    </a:cubicBezTo>
                    <a:cubicBezTo>
                      <a:pt x="0" y="74"/>
                      <a:pt x="3" y="78"/>
                      <a:pt x="6" y="78"/>
                    </a:cubicBezTo>
                    <a:cubicBezTo>
                      <a:pt x="33" y="78"/>
                      <a:pt x="33" y="78"/>
                      <a:pt x="33" y="78"/>
                    </a:cubicBezTo>
                    <a:cubicBezTo>
                      <a:pt x="35" y="78"/>
                      <a:pt x="37" y="80"/>
                      <a:pt x="37" y="82"/>
                    </a:cubicBezTo>
                    <a:cubicBezTo>
                      <a:pt x="37" y="194"/>
                      <a:pt x="37" y="194"/>
                      <a:pt x="37" y="194"/>
                    </a:cubicBezTo>
                    <a:cubicBezTo>
                      <a:pt x="37" y="196"/>
                      <a:pt x="39" y="198"/>
                      <a:pt x="41" y="198"/>
                    </a:cubicBezTo>
                    <a:cubicBezTo>
                      <a:pt x="85" y="198"/>
                      <a:pt x="85" y="198"/>
                      <a:pt x="85" y="198"/>
                    </a:cubicBezTo>
                    <a:cubicBezTo>
                      <a:pt x="87" y="198"/>
                      <a:pt x="89" y="196"/>
                      <a:pt x="89" y="194"/>
                    </a:cubicBezTo>
                    <a:cubicBezTo>
                      <a:pt x="89" y="82"/>
                      <a:pt x="89" y="82"/>
                      <a:pt x="89" y="82"/>
                    </a:cubicBezTo>
                    <a:cubicBezTo>
                      <a:pt x="89" y="80"/>
                      <a:pt x="91" y="78"/>
                      <a:pt x="93" y="78"/>
                    </a:cubicBezTo>
                    <a:cubicBezTo>
                      <a:pt x="119" y="78"/>
                      <a:pt x="119" y="78"/>
                      <a:pt x="119" y="78"/>
                    </a:cubicBezTo>
                    <a:cubicBezTo>
                      <a:pt x="123" y="78"/>
                      <a:pt x="125" y="74"/>
                      <a:pt x="123" y="71"/>
                    </a:cubicBezTo>
                    <a:cubicBezTo>
                      <a:pt x="65" y="2"/>
                      <a:pt x="65" y="2"/>
                      <a:pt x="65" y="2"/>
                    </a:cubicBezTo>
                    <a:cubicBezTo>
                      <a:pt x="63" y="0"/>
                      <a:pt x="59" y="0"/>
                      <a:pt x="58" y="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2800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6490156" y="924971"/>
                <a:ext cx="767894" cy="46166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en-US" sz="2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方正综艺简体" panose="03000509000000000000" pitchFamily="65" charset="-122"/>
                    <a:cs typeface="思源黑体 CN Regular" panose="020B0500000000000000" charset="-122"/>
                  </a:rPr>
                  <a:t>3,250</a:t>
                </a:r>
              </a:p>
            </p:txBody>
          </p:sp>
          <p:sp>
            <p:nvSpPr>
              <p:cNvPr id="21" name="TextBox 20"/>
              <p:cNvSpPr txBox="1"/>
              <p:nvPr/>
            </p:nvSpPr>
            <p:spPr>
              <a:xfrm>
                <a:off x="6246966" y="1267428"/>
                <a:ext cx="3700697" cy="307777"/>
              </a:xfrm>
              <a:prstGeom prst="rect">
                <a:avLst/>
              </a:prstGeom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chemeClr val="tx2"/>
                    </a:solidFill>
                    <a:latin typeface="方正综艺简体" panose="03000509000000000000" pitchFamily="65" charset="-122"/>
                    <a:cs typeface="思源黑体 CN Regular" panose="020B0500000000000000" charset="-122"/>
                  </a:rPr>
                  <a:t>This is a sample text. insert your desired text here</a:t>
                </a:r>
                <a:r>
                  <a:rPr lang="en-IN" sz="1400" dirty="0">
                    <a:solidFill>
                      <a:schemeClr val="bg1">
                        <a:lumMod val="65000"/>
                      </a:schemeClr>
                    </a:solidFill>
                    <a:latin typeface="方正综艺简体" panose="03000509000000000000" pitchFamily="65" charset="-122"/>
                    <a:cs typeface="思源黑体 CN Regular" panose="020B0500000000000000" charset="-122"/>
                  </a:rPr>
                  <a:t>.</a:t>
                </a:r>
              </a:p>
            </p:txBody>
          </p:sp>
        </p:grpSp>
        <p:grpSp>
          <p:nvGrpSpPr>
            <p:cNvPr id="22" name="Group 21"/>
            <p:cNvGrpSpPr/>
            <p:nvPr/>
          </p:nvGrpSpPr>
          <p:grpSpPr>
            <a:xfrm>
              <a:off x="6246966" y="1578629"/>
              <a:ext cx="3700697" cy="650234"/>
              <a:chOff x="6246966" y="924971"/>
              <a:chExt cx="3700697" cy="650234"/>
            </a:xfrm>
          </p:grpSpPr>
          <p:sp>
            <p:nvSpPr>
              <p:cNvPr id="23" name="Freeform 4642"/>
              <p:cNvSpPr/>
              <p:nvPr/>
            </p:nvSpPr>
            <p:spPr bwMode="auto">
              <a:xfrm>
                <a:off x="6306473" y="1000038"/>
                <a:ext cx="165466" cy="261542"/>
              </a:xfrm>
              <a:custGeom>
                <a:avLst/>
                <a:gdLst>
                  <a:gd name="T0" fmla="*/ 58 w 125"/>
                  <a:gd name="T1" fmla="*/ 2 h 198"/>
                  <a:gd name="T2" fmla="*/ 3 w 125"/>
                  <a:gd name="T3" fmla="*/ 71 h 198"/>
                  <a:gd name="T4" fmla="*/ 6 w 125"/>
                  <a:gd name="T5" fmla="*/ 78 h 198"/>
                  <a:gd name="T6" fmla="*/ 33 w 125"/>
                  <a:gd name="T7" fmla="*/ 78 h 198"/>
                  <a:gd name="T8" fmla="*/ 37 w 125"/>
                  <a:gd name="T9" fmla="*/ 82 h 198"/>
                  <a:gd name="T10" fmla="*/ 37 w 125"/>
                  <a:gd name="T11" fmla="*/ 194 h 198"/>
                  <a:gd name="T12" fmla="*/ 41 w 125"/>
                  <a:gd name="T13" fmla="*/ 198 h 198"/>
                  <a:gd name="T14" fmla="*/ 85 w 125"/>
                  <a:gd name="T15" fmla="*/ 198 h 198"/>
                  <a:gd name="T16" fmla="*/ 89 w 125"/>
                  <a:gd name="T17" fmla="*/ 194 h 198"/>
                  <a:gd name="T18" fmla="*/ 89 w 125"/>
                  <a:gd name="T19" fmla="*/ 82 h 198"/>
                  <a:gd name="T20" fmla="*/ 93 w 125"/>
                  <a:gd name="T21" fmla="*/ 78 h 198"/>
                  <a:gd name="T22" fmla="*/ 119 w 125"/>
                  <a:gd name="T23" fmla="*/ 78 h 198"/>
                  <a:gd name="T24" fmla="*/ 123 w 125"/>
                  <a:gd name="T25" fmla="*/ 71 h 198"/>
                  <a:gd name="T26" fmla="*/ 65 w 125"/>
                  <a:gd name="T27" fmla="*/ 2 h 198"/>
                  <a:gd name="T28" fmla="*/ 58 w 125"/>
                  <a:gd name="T29" fmla="*/ 2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5" h="198">
                    <a:moveTo>
                      <a:pt x="58" y="2"/>
                    </a:moveTo>
                    <a:cubicBezTo>
                      <a:pt x="3" y="71"/>
                      <a:pt x="3" y="71"/>
                      <a:pt x="3" y="71"/>
                    </a:cubicBezTo>
                    <a:cubicBezTo>
                      <a:pt x="0" y="74"/>
                      <a:pt x="3" y="78"/>
                      <a:pt x="6" y="78"/>
                    </a:cubicBezTo>
                    <a:cubicBezTo>
                      <a:pt x="33" y="78"/>
                      <a:pt x="33" y="78"/>
                      <a:pt x="33" y="78"/>
                    </a:cubicBezTo>
                    <a:cubicBezTo>
                      <a:pt x="35" y="78"/>
                      <a:pt x="37" y="80"/>
                      <a:pt x="37" y="82"/>
                    </a:cubicBezTo>
                    <a:cubicBezTo>
                      <a:pt x="37" y="194"/>
                      <a:pt x="37" y="194"/>
                      <a:pt x="37" y="194"/>
                    </a:cubicBezTo>
                    <a:cubicBezTo>
                      <a:pt x="37" y="196"/>
                      <a:pt x="39" y="198"/>
                      <a:pt x="41" y="198"/>
                    </a:cubicBezTo>
                    <a:cubicBezTo>
                      <a:pt x="85" y="198"/>
                      <a:pt x="85" y="198"/>
                      <a:pt x="85" y="198"/>
                    </a:cubicBezTo>
                    <a:cubicBezTo>
                      <a:pt x="87" y="198"/>
                      <a:pt x="89" y="196"/>
                      <a:pt x="89" y="194"/>
                    </a:cubicBezTo>
                    <a:cubicBezTo>
                      <a:pt x="89" y="82"/>
                      <a:pt x="89" y="82"/>
                      <a:pt x="89" y="82"/>
                    </a:cubicBezTo>
                    <a:cubicBezTo>
                      <a:pt x="89" y="80"/>
                      <a:pt x="91" y="78"/>
                      <a:pt x="93" y="78"/>
                    </a:cubicBezTo>
                    <a:cubicBezTo>
                      <a:pt x="119" y="78"/>
                      <a:pt x="119" y="78"/>
                      <a:pt x="119" y="78"/>
                    </a:cubicBezTo>
                    <a:cubicBezTo>
                      <a:pt x="123" y="78"/>
                      <a:pt x="125" y="74"/>
                      <a:pt x="123" y="71"/>
                    </a:cubicBezTo>
                    <a:cubicBezTo>
                      <a:pt x="65" y="2"/>
                      <a:pt x="65" y="2"/>
                      <a:pt x="65" y="2"/>
                    </a:cubicBezTo>
                    <a:cubicBezTo>
                      <a:pt x="63" y="0"/>
                      <a:pt x="59" y="0"/>
                      <a:pt x="58" y="2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2800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>
                <a:off x="6490156" y="924971"/>
                <a:ext cx="767894" cy="46166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id-ID" sz="2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方正综艺简体" panose="03000509000000000000" pitchFamily="65" charset="-122"/>
                    <a:cs typeface="思源黑体 CN Regular" panose="020B0500000000000000" charset="-122"/>
                  </a:rPr>
                  <a:t>4,553</a:t>
                </a:r>
                <a:endParaRPr lang="en-US" sz="2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5" name="TextBox 24"/>
              <p:cNvSpPr txBox="1"/>
              <p:nvPr/>
            </p:nvSpPr>
            <p:spPr>
              <a:xfrm>
                <a:off x="6246966" y="1267428"/>
                <a:ext cx="3700697" cy="307777"/>
              </a:xfrm>
              <a:prstGeom prst="rect">
                <a:avLst/>
              </a:prstGeom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chemeClr val="tx2"/>
                    </a:solidFill>
                    <a:latin typeface="方正综艺简体" panose="03000509000000000000" pitchFamily="65" charset="-122"/>
                    <a:cs typeface="思源黑体 CN Regular" panose="020B0500000000000000" charset="-122"/>
                  </a:rPr>
                  <a:t>This is a sample text. insert your desired text here</a:t>
                </a:r>
                <a:r>
                  <a:rPr lang="en-IN" sz="1400" dirty="0">
                    <a:solidFill>
                      <a:schemeClr val="bg1">
                        <a:lumMod val="65000"/>
                      </a:schemeClr>
                    </a:solidFill>
                    <a:latin typeface="方正综艺简体" panose="03000509000000000000" pitchFamily="65" charset="-122"/>
                    <a:cs typeface="思源黑体 CN Regular" panose="020B0500000000000000" charset="-122"/>
                  </a:rPr>
                  <a:t>.</a:t>
                </a:r>
              </a:p>
            </p:txBody>
          </p:sp>
        </p:grpSp>
        <p:grpSp>
          <p:nvGrpSpPr>
            <p:cNvPr id="26" name="Group 25"/>
            <p:cNvGrpSpPr/>
            <p:nvPr/>
          </p:nvGrpSpPr>
          <p:grpSpPr>
            <a:xfrm>
              <a:off x="6246966" y="2232288"/>
              <a:ext cx="3700697" cy="675946"/>
              <a:chOff x="6246966" y="924971"/>
              <a:chExt cx="3700697" cy="675946"/>
            </a:xfrm>
          </p:grpSpPr>
          <p:sp>
            <p:nvSpPr>
              <p:cNvPr id="27" name="Freeform 4642"/>
              <p:cNvSpPr/>
              <p:nvPr/>
            </p:nvSpPr>
            <p:spPr bwMode="auto">
              <a:xfrm flipV="1">
                <a:off x="6306473" y="1000038"/>
                <a:ext cx="165466" cy="261542"/>
              </a:xfrm>
              <a:custGeom>
                <a:avLst/>
                <a:gdLst>
                  <a:gd name="T0" fmla="*/ 58 w 125"/>
                  <a:gd name="T1" fmla="*/ 2 h 198"/>
                  <a:gd name="T2" fmla="*/ 3 w 125"/>
                  <a:gd name="T3" fmla="*/ 71 h 198"/>
                  <a:gd name="T4" fmla="*/ 6 w 125"/>
                  <a:gd name="T5" fmla="*/ 78 h 198"/>
                  <a:gd name="T6" fmla="*/ 33 w 125"/>
                  <a:gd name="T7" fmla="*/ 78 h 198"/>
                  <a:gd name="T8" fmla="*/ 37 w 125"/>
                  <a:gd name="T9" fmla="*/ 82 h 198"/>
                  <a:gd name="T10" fmla="*/ 37 w 125"/>
                  <a:gd name="T11" fmla="*/ 194 h 198"/>
                  <a:gd name="T12" fmla="*/ 41 w 125"/>
                  <a:gd name="T13" fmla="*/ 198 h 198"/>
                  <a:gd name="T14" fmla="*/ 85 w 125"/>
                  <a:gd name="T15" fmla="*/ 198 h 198"/>
                  <a:gd name="T16" fmla="*/ 89 w 125"/>
                  <a:gd name="T17" fmla="*/ 194 h 198"/>
                  <a:gd name="T18" fmla="*/ 89 w 125"/>
                  <a:gd name="T19" fmla="*/ 82 h 198"/>
                  <a:gd name="T20" fmla="*/ 93 w 125"/>
                  <a:gd name="T21" fmla="*/ 78 h 198"/>
                  <a:gd name="T22" fmla="*/ 119 w 125"/>
                  <a:gd name="T23" fmla="*/ 78 h 198"/>
                  <a:gd name="T24" fmla="*/ 123 w 125"/>
                  <a:gd name="T25" fmla="*/ 71 h 198"/>
                  <a:gd name="T26" fmla="*/ 65 w 125"/>
                  <a:gd name="T27" fmla="*/ 2 h 198"/>
                  <a:gd name="T28" fmla="*/ 58 w 125"/>
                  <a:gd name="T29" fmla="*/ 2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5" h="198">
                    <a:moveTo>
                      <a:pt x="58" y="2"/>
                    </a:moveTo>
                    <a:cubicBezTo>
                      <a:pt x="3" y="71"/>
                      <a:pt x="3" y="71"/>
                      <a:pt x="3" y="71"/>
                    </a:cubicBezTo>
                    <a:cubicBezTo>
                      <a:pt x="0" y="74"/>
                      <a:pt x="3" y="78"/>
                      <a:pt x="6" y="78"/>
                    </a:cubicBezTo>
                    <a:cubicBezTo>
                      <a:pt x="33" y="78"/>
                      <a:pt x="33" y="78"/>
                      <a:pt x="33" y="78"/>
                    </a:cubicBezTo>
                    <a:cubicBezTo>
                      <a:pt x="35" y="78"/>
                      <a:pt x="37" y="80"/>
                      <a:pt x="37" y="82"/>
                    </a:cubicBezTo>
                    <a:cubicBezTo>
                      <a:pt x="37" y="194"/>
                      <a:pt x="37" y="194"/>
                      <a:pt x="37" y="194"/>
                    </a:cubicBezTo>
                    <a:cubicBezTo>
                      <a:pt x="37" y="196"/>
                      <a:pt x="39" y="198"/>
                      <a:pt x="41" y="198"/>
                    </a:cubicBezTo>
                    <a:cubicBezTo>
                      <a:pt x="85" y="198"/>
                      <a:pt x="85" y="198"/>
                      <a:pt x="85" y="198"/>
                    </a:cubicBezTo>
                    <a:cubicBezTo>
                      <a:pt x="87" y="198"/>
                      <a:pt x="89" y="196"/>
                      <a:pt x="89" y="194"/>
                    </a:cubicBezTo>
                    <a:cubicBezTo>
                      <a:pt x="89" y="82"/>
                      <a:pt x="89" y="82"/>
                      <a:pt x="89" y="82"/>
                    </a:cubicBezTo>
                    <a:cubicBezTo>
                      <a:pt x="89" y="80"/>
                      <a:pt x="91" y="78"/>
                      <a:pt x="93" y="78"/>
                    </a:cubicBezTo>
                    <a:cubicBezTo>
                      <a:pt x="119" y="78"/>
                      <a:pt x="119" y="78"/>
                      <a:pt x="119" y="78"/>
                    </a:cubicBezTo>
                    <a:cubicBezTo>
                      <a:pt x="123" y="78"/>
                      <a:pt x="125" y="74"/>
                      <a:pt x="123" y="71"/>
                    </a:cubicBezTo>
                    <a:cubicBezTo>
                      <a:pt x="65" y="2"/>
                      <a:pt x="65" y="2"/>
                      <a:pt x="65" y="2"/>
                    </a:cubicBezTo>
                    <a:cubicBezTo>
                      <a:pt x="63" y="0"/>
                      <a:pt x="59" y="0"/>
                      <a:pt x="58" y="2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2800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8" name="TextBox 27"/>
              <p:cNvSpPr txBox="1"/>
              <p:nvPr/>
            </p:nvSpPr>
            <p:spPr>
              <a:xfrm>
                <a:off x="6490156" y="924971"/>
                <a:ext cx="767894" cy="46166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id-ID" sz="2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方正综艺简体" panose="03000509000000000000" pitchFamily="65" charset="-122"/>
                    <a:cs typeface="思源黑体 CN Regular" panose="020B0500000000000000" charset="-122"/>
                  </a:rPr>
                  <a:t>6,121</a:t>
                </a:r>
                <a:endParaRPr lang="en-US" sz="2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9" name="TextBox 28"/>
              <p:cNvSpPr txBox="1"/>
              <p:nvPr/>
            </p:nvSpPr>
            <p:spPr>
              <a:xfrm>
                <a:off x="6246966" y="1267428"/>
                <a:ext cx="3700697" cy="333489"/>
              </a:xfrm>
              <a:prstGeom prst="rect">
                <a:avLst/>
              </a:prstGeom>
            </p:spPr>
            <p:txBody>
              <a:bodyPr wrap="square" rtlCol="0">
                <a:spAutoFit/>
              </a:bodyPr>
              <a:lstStyle/>
              <a:p>
                <a:pPr algn="just">
                  <a:lnSpc>
                    <a:spcPct val="120000"/>
                  </a:lnSpc>
                </a:pPr>
                <a:r>
                  <a:rPr lang="en-US" altLang="zh-CN" sz="1400" dirty="0">
                    <a:solidFill>
                      <a:schemeClr val="tx2"/>
                    </a:solidFill>
                    <a:latin typeface="方正综艺简体" panose="03000509000000000000" pitchFamily="65" charset="-122"/>
                    <a:cs typeface="思源黑体 CN Regular" panose="020B0500000000000000" charset="-122"/>
                  </a:rPr>
                  <a:t>This is a sample text. insert your desired text here. </a:t>
                </a:r>
              </a:p>
            </p:txBody>
          </p:sp>
        </p:grpSp>
      </p:grpSp>
      <p:sp>
        <p:nvSpPr>
          <p:cNvPr id="32" name="Rectangle 3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050127" y="2140422"/>
            <a:ext cx="4607723" cy="11854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n-US" sz="1200" dirty="0">
                <a:solidFill>
                  <a:schemeClr val="tx2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This is a sample text. insert your desired text here. Again. this is a dummy text. enter your own text here. </a:t>
            </a:r>
            <a:r>
              <a:rPr lang="en-US" altLang="zh-CN" sz="1200" dirty="0">
                <a:solidFill>
                  <a:schemeClr val="tx2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This is a sample text. insert your desired text here. Again. this is a dummy text. enter your own text here. </a:t>
            </a:r>
          </a:p>
          <a:p>
            <a:pPr algn="just">
              <a:lnSpc>
                <a:spcPct val="120000"/>
              </a:lnSpc>
            </a:pPr>
            <a:endParaRPr lang="en-US" sz="1200" dirty="0">
              <a:solidFill>
                <a:schemeClr val="tx2"/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pic>
        <p:nvPicPr>
          <p:cNvPr id="34" name="图片 3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67385" y="-312362"/>
            <a:ext cx="1334770" cy="1512512"/>
          </a:xfrm>
          <a:prstGeom prst="rect">
            <a:avLst/>
          </a:prstGeom>
        </p:spPr>
      </p:pic>
    </p:spTree>
  </p:cSld>
  <p:clrMapOvr>
    <a:masterClrMapping/>
  </p:clrMapOvr>
  <p:transition spd="slow">
    <p:push dir="d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9" name="图片 9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3152" y="4359286"/>
            <a:ext cx="2674198" cy="3030300"/>
          </a:xfrm>
          <a:prstGeom prst="rect">
            <a:avLst/>
          </a:prstGeom>
        </p:spPr>
      </p:pic>
      <p:pic>
        <p:nvPicPr>
          <p:cNvPr id="100" name="图片 9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67386" y="-312362"/>
            <a:ext cx="1849859" cy="2096192"/>
          </a:xfrm>
          <a:prstGeom prst="rect">
            <a:avLst/>
          </a:prstGeom>
        </p:spPr>
      </p:pic>
      <p:sp>
        <p:nvSpPr>
          <p:cNvPr id="41" name="Rectangle 4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52500" y="680484"/>
            <a:ext cx="2386123" cy="334925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42" name="Rectangle 4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688361" y="680484"/>
            <a:ext cx="914400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solidFill>
                <a:schemeClr val="bg1"/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43" name="Rectangle 4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084077" y="1899850"/>
            <a:ext cx="2122967" cy="6639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PROJECT </a:t>
            </a:r>
            <a:r>
              <a:rPr lang="en-US" b="1" dirty="0">
                <a:solidFill>
                  <a:srgbClr val="F39C12"/>
                </a:solidFill>
                <a:effectLst/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PROCESS </a:t>
            </a:r>
          </a:p>
        </p:txBody>
      </p:sp>
      <p:sp>
        <p:nvSpPr>
          <p:cNvPr id="44" name="Rectangle 4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3942905" y="680483"/>
            <a:ext cx="2386123" cy="549171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45" name="Rectangle 4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3942904" y="680484"/>
            <a:ext cx="2386123" cy="58479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bg1"/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46" name="TextBox 4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4127746" y="1600200"/>
            <a:ext cx="201643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AWESOME TEAM</a:t>
            </a:r>
          </a:p>
          <a:p>
            <a:r>
              <a:rPr lang="en-US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CREATIVE</a:t>
            </a:r>
          </a:p>
          <a:p>
            <a:endParaRPr lang="en-US" sz="900" dirty="0">
              <a:solidFill>
                <a:schemeClr val="bg1">
                  <a:lumMod val="65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47" name="TextBox 4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4127746" y="2484681"/>
            <a:ext cx="201643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AWESOME TEAM</a:t>
            </a:r>
          </a:p>
          <a:p>
            <a:r>
              <a:rPr lang="en-US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CREATIVE</a:t>
            </a:r>
          </a:p>
          <a:p>
            <a:endParaRPr lang="en-US" sz="900" dirty="0">
              <a:solidFill>
                <a:schemeClr val="bg1">
                  <a:lumMod val="65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48" name="Rectangle 4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3942904" y="4545309"/>
            <a:ext cx="1828800" cy="2515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90%</a:t>
            </a:r>
          </a:p>
        </p:txBody>
      </p:sp>
      <p:sp>
        <p:nvSpPr>
          <p:cNvPr id="49" name="Rectangle 4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771703" y="4545309"/>
            <a:ext cx="557323" cy="251530"/>
          </a:xfrm>
          <a:prstGeom prst="rect">
            <a:avLst/>
          </a:prstGeom>
          <a:pattFill prst="wd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50" name="Rectangle 4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3942904" y="4906816"/>
            <a:ext cx="1188720" cy="25153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50%</a:t>
            </a:r>
          </a:p>
        </p:txBody>
      </p:sp>
      <p:sp>
        <p:nvSpPr>
          <p:cNvPr id="51" name="Rectangle 5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131624" y="4906816"/>
            <a:ext cx="1197402" cy="251530"/>
          </a:xfrm>
          <a:prstGeom prst="rect">
            <a:avLst/>
          </a:prstGeom>
          <a:pattFill prst="wd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52" name="Rectangle 5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3942904" y="5268323"/>
            <a:ext cx="457200" cy="2515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10%</a:t>
            </a:r>
          </a:p>
        </p:txBody>
      </p:sp>
      <p:sp>
        <p:nvSpPr>
          <p:cNvPr id="53" name="Rectangle 5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400103" y="5268323"/>
            <a:ext cx="1928923" cy="251530"/>
          </a:xfrm>
          <a:prstGeom prst="rect">
            <a:avLst/>
          </a:prstGeom>
          <a:pattFill prst="wd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54" name="Rectangle 5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3942904" y="5629830"/>
            <a:ext cx="1890822" cy="25153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92%</a:t>
            </a:r>
          </a:p>
        </p:txBody>
      </p:sp>
      <p:sp>
        <p:nvSpPr>
          <p:cNvPr id="55" name="Rectangle 5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833726" y="5629830"/>
            <a:ext cx="495300" cy="251530"/>
          </a:xfrm>
          <a:prstGeom prst="rect">
            <a:avLst/>
          </a:prstGeom>
          <a:pattFill prst="wd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56" name="Rectangle 5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933309" y="680484"/>
            <a:ext cx="4229991" cy="334925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57" name="Rectangle 5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933308" y="680485"/>
            <a:ext cx="4229992" cy="30834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THE CREATIVE TEAM INFORMATION:</a:t>
            </a:r>
          </a:p>
        </p:txBody>
      </p:sp>
      <p:sp>
        <p:nvSpPr>
          <p:cNvPr id="58" name="Rectangle 5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065704" y="1243204"/>
            <a:ext cx="4097596" cy="2330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900" b="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THE SUCCESS PROCESS</a:t>
            </a:r>
          </a:p>
        </p:txBody>
      </p:sp>
      <p:sp>
        <p:nvSpPr>
          <p:cNvPr id="59" name="Rectangle 5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52500" y="4552288"/>
            <a:ext cx="2386123" cy="164090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60" name="TextBox 5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4123405" y="3429000"/>
            <a:ext cx="201643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AWESOME TEAM</a:t>
            </a:r>
          </a:p>
          <a:p>
            <a:r>
              <a:rPr lang="en-US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CREATIVE</a:t>
            </a:r>
          </a:p>
          <a:p>
            <a:endParaRPr lang="en-US" sz="900" dirty="0">
              <a:solidFill>
                <a:schemeClr val="bg1">
                  <a:lumMod val="65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graphicFrame>
        <p:nvGraphicFramePr>
          <p:cNvPr id="61" name="Chart 6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aphicFramePr/>
          <p:nvPr/>
        </p:nvGraphicFramePr>
        <p:xfrm>
          <a:off x="7040895" y="2632052"/>
          <a:ext cx="4122405" cy="1274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2" name="Oval 6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550027" y="4777207"/>
            <a:ext cx="1191066" cy="1191066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60%</a:t>
            </a:r>
          </a:p>
        </p:txBody>
      </p:sp>
      <p:sp>
        <p:nvSpPr>
          <p:cNvPr id="63" name="Arc 6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550025" y="4777207"/>
            <a:ext cx="1191066" cy="1191066"/>
          </a:xfrm>
          <a:prstGeom prst="arc">
            <a:avLst>
              <a:gd name="adj1" fmla="val 16200000"/>
              <a:gd name="adj2" fmla="val 7882882"/>
            </a:avLst>
          </a:prstGeom>
          <a:noFill/>
          <a:ln w="76200" cap="rnd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64" name="Rectangle 6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933308" y="4541792"/>
            <a:ext cx="1371600" cy="164090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65" name="Rectangle 6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791700" y="4541792"/>
            <a:ext cx="1371600" cy="164090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66" name="Rectangle 6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362504" y="4541792"/>
            <a:ext cx="1371600" cy="164090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67" name="Oval 6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324782" y="4679671"/>
            <a:ext cx="588652" cy="588652"/>
          </a:xfrm>
          <a:prstGeom prst="ellipse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2"/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68" name="Oval 6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753978" y="4679671"/>
            <a:ext cx="588652" cy="588652"/>
          </a:xfrm>
          <a:prstGeom prst="ellipse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/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69" name="Oval 6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0183174" y="4679671"/>
            <a:ext cx="588652" cy="588652"/>
          </a:xfrm>
          <a:prstGeom prst="ellipse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3"/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70" name="TextBox 6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7114064" y="5457209"/>
            <a:ext cx="10100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INFOGRAPHIC </a:t>
            </a:r>
          </a:p>
          <a:p>
            <a:pPr algn="ctr"/>
            <a:r>
              <a:rPr lang="en-US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CREATIVE</a:t>
            </a:r>
            <a:endParaRPr lang="en-US" sz="900" dirty="0">
              <a:solidFill>
                <a:schemeClr val="bg1">
                  <a:lumMod val="65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71" name="TextBox 7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8543260" y="5457209"/>
            <a:ext cx="10100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INFOGRAPHIC </a:t>
            </a:r>
          </a:p>
          <a:p>
            <a:pPr algn="ctr"/>
            <a:r>
              <a:rPr lang="en-US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CREATIVE</a:t>
            </a:r>
            <a:endParaRPr lang="en-US" sz="900" dirty="0">
              <a:solidFill>
                <a:schemeClr val="bg1">
                  <a:lumMod val="65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72" name="TextBox 7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9972456" y="5457209"/>
            <a:ext cx="10100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INFOGRAPHIC </a:t>
            </a:r>
          </a:p>
          <a:p>
            <a:pPr algn="ctr"/>
            <a:r>
              <a:rPr lang="en-US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CREATIVE</a:t>
            </a:r>
            <a:endParaRPr lang="en-US" sz="900" dirty="0">
              <a:solidFill>
                <a:schemeClr val="bg1">
                  <a:lumMod val="65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2" name="矩形 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091192" y="1955180"/>
            <a:ext cx="204132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>
                <a:solidFill>
                  <a:schemeClr val="tx2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This is a sample text. insert your desired text here</a:t>
            </a:r>
            <a:endParaRPr lang="zh-CN" altLang="en-US" sz="11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5" name="矩形 3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091192" y="2827108"/>
            <a:ext cx="204132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>
                <a:solidFill>
                  <a:schemeClr val="tx2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This is a sample text. insert your desired text here</a:t>
            </a:r>
            <a:endParaRPr lang="zh-CN" altLang="en-US" sz="11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6" name="矩形 3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091192" y="3758997"/>
            <a:ext cx="204132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>
                <a:solidFill>
                  <a:schemeClr val="tx2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This is a sample text. insert your desired text here</a:t>
            </a:r>
            <a:endParaRPr lang="zh-CN" altLang="en-US" sz="11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7" name="Rectangle 3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076174" y="1435884"/>
            <a:ext cx="3956588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n-US" sz="1100" dirty="0">
                <a:solidFill>
                  <a:schemeClr val="tx2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This is a sample text. insert your desired text here. Again. this is a dummy text. enter your own text here. </a:t>
            </a:r>
            <a:r>
              <a:rPr lang="en-US" altLang="zh-CN" sz="1100" dirty="0">
                <a:solidFill>
                  <a:schemeClr val="tx2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This is a sample text. insert your desired text here. Again. this is a dummy text. enter your own text here. </a:t>
            </a:r>
          </a:p>
          <a:p>
            <a:pPr algn="just">
              <a:lnSpc>
                <a:spcPct val="120000"/>
              </a:lnSpc>
            </a:pPr>
            <a:endParaRPr lang="en-US" sz="1100" dirty="0">
              <a:solidFill>
                <a:schemeClr val="tx2"/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" name="矩形 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264171" y="2701101"/>
            <a:ext cx="177883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200" dirty="0">
                <a:solidFill>
                  <a:schemeClr val="tx2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This is a sample text. insert your desired text here. Again. this is a dummy text. </a:t>
            </a:r>
            <a:endParaRPr lang="zh-CN" altLang="en-US" sz="12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85" name="Freeform 25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EditPoints="1"/>
          </p:cNvSpPr>
          <p:nvPr/>
        </p:nvSpPr>
        <p:spPr bwMode="auto">
          <a:xfrm>
            <a:off x="1876773" y="886106"/>
            <a:ext cx="521654" cy="485311"/>
          </a:xfrm>
          <a:custGeom>
            <a:avLst/>
            <a:gdLst>
              <a:gd name="T0" fmla="*/ 494 w 933"/>
              <a:gd name="T1" fmla="*/ 8 h 868"/>
              <a:gd name="T2" fmla="*/ 466 w 933"/>
              <a:gd name="T3" fmla="*/ 0 h 868"/>
              <a:gd name="T4" fmla="*/ 439 w 933"/>
              <a:gd name="T5" fmla="*/ 8 h 868"/>
              <a:gd name="T6" fmla="*/ 14 w 933"/>
              <a:gd name="T7" fmla="*/ 431 h 868"/>
              <a:gd name="T8" fmla="*/ 1 w 933"/>
              <a:gd name="T9" fmla="*/ 456 h 868"/>
              <a:gd name="T10" fmla="*/ 4 w 933"/>
              <a:gd name="T11" fmla="*/ 485 h 868"/>
              <a:gd name="T12" fmla="*/ 14 w 933"/>
              <a:gd name="T13" fmla="*/ 501 h 868"/>
              <a:gd name="T14" fmla="*/ 40 w 933"/>
              <a:gd name="T15" fmla="*/ 514 h 868"/>
              <a:gd name="T16" fmla="*/ 68 w 933"/>
              <a:gd name="T17" fmla="*/ 511 h 868"/>
              <a:gd name="T18" fmla="*/ 107 w 933"/>
              <a:gd name="T19" fmla="*/ 478 h 868"/>
              <a:gd name="T20" fmla="*/ 108 w 933"/>
              <a:gd name="T21" fmla="*/ 750 h 868"/>
              <a:gd name="T22" fmla="*/ 118 w 933"/>
              <a:gd name="T23" fmla="*/ 788 h 868"/>
              <a:gd name="T24" fmla="*/ 137 w 933"/>
              <a:gd name="T25" fmla="*/ 820 h 868"/>
              <a:gd name="T26" fmla="*/ 165 w 933"/>
              <a:gd name="T27" fmla="*/ 845 h 868"/>
              <a:gd name="T28" fmla="*/ 199 w 933"/>
              <a:gd name="T29" fmla="*/ 862 h 868"/>
              <a:gd name="T30" fmla="*/ 238 w 933"/>
              <a:gd name="T31" fmla="*/ 868 h 868"/>
              <a:gd name="T32" fmla="*/ 708 w 933"/>
              <a:gd name="T33" fmla="*/ 868 h 868"/>
              <a:gd name="T34" fmla="*/ 746 w 933"/>
              <a:gd name="T35" fmla="*/ 857 h 868"/>
              <a:gd name="T36" fmla="*/ 778 w 933"/>
              <a:gd name="T37" fmla="*/ 838 h 868"/>
              <a:gd name="T38" fmla="*/ 803 w 933"/>
              <a:gd name="T39" fmla="*/ 810 h 868"/>
              <a:gd name="T40" fmla="*/ 820 w 933"/>
              <a:gd name="T41" fmla="*/ 776 h 868"/>
              <a:gd name="T42" fmla="*/ 826 w 933"/>
              <a:gd name="T43" fmla="*/ 737 h 868"/>
              <a:gd name="T44" fmla="*/ 849 w 933"/>
              <a:gd name="T45" fmla="*/ 501 h 868"/>
              <a:gd name="T46" fmla="*/ 874 w 933"/>
              <a:gd name="T47" fmla="*/ 514 h 868"/>
              <a:gd name="T48" fmla="*/ 893 w 933"/>
              <a:gd name="T49" fmla="*/ 514 h 868"/>
              <a:gd name="T50" fmla="*/ 919 w 933"/>
              <a:gd name="T51" fmla="*/ 501 h 868"/>
              <a:gd name="T52" fmla="*/ 929 w 933"/>
              <a:gd name="T53" fmla="*/ 485 h 868"/>
              <a:gd name="T54" fmla="*/ 932 w 933"/>
              <a:gd name="T55" fmla="*/ 456 h 868"/>
              <a:gd name="T56" fmla="*/ 919 w 933"/>
              <a:gd name="T57" fmla="*/ 431 h 868"/>
              <a:gd name="T58" fmla="*/ 760 w 933"/>
              <a:gd name="T59" fmla="*/ 737 h 868"/>
              <a:gd name="T60" fmla="*/ 749 w 933"/>
              <a:gd name="T61" fmla="*/ 773 h 868"/>
              <a:gd name="T62" fmla="*/ 720 w 933"/>
              <a:gd name="T63" fmla="*/ 797 h 868"/>
              <a:gd name="T64" fmla="*/ 238 w 933"/>
              <a:gd name="T65" fmla="*/ 803 h 868"/>
              <a:gd name="T66" fmla="*/ 213 w 933"/>
              <a:gd name="T67" fmla="*/ 797 h 868"/>
              <a:gd name="T68" fmla="*/ 184 w 933"/>
              <a:gd name="T69" fmla="*/ 773 h 868"/>
              <a:gd name="T70" fmla="*/ 173 w 933"/>
              <a:gd name="T71" fmla="*/ 737 h 868"/>
              <a:gd name="T72" fmla="*/ 760 w 933"/>
              <a:gd name="T73" fmla="*/ 413 h 868"/>
              <a:gd name="T74" fmla="*/ 313 w 933"/>
              <a:gd name="T75" fmla="*/ 712 h 868"/>
              <a:gd name="T76" fmla="*/ 318 w 933"/>
              <a:gd name="T77" fmla="*/ 724 h 868"/>
              <a:gd name="T78" fmla="*/ 604 w 933"/>
              <a:gd name="T79" fmla="*/ 729 h 868"/>
              <a:gd name="T80" fmla="*/ 615 w 933"/>
              <a:gd name="T81" fmla="*/ 724 h 868"/>
              <a:gd name="T82" fmla="*/ 620 w 933"/>
              <a:gd name="T83" fmla="*/ 438 h 868"/>
              <a:gd name="T84" fmla="*/ 615 w 933"/>
              <a:gd name="T85" fmla="*/ 426 h 868"/>
              <a:gd name="T86" fmla="*/ 329 w 933"/>
              <a:gd name="T87" fmla="*/ 421 h 868"/>
              <a:gd name="T88" fmla="*/ 318 w 933"/>
              <a:gd name="T89" fmla="*/ 426 h 868"/>
              <a:gd name="T90" fmla="*/ 313 w 933"/>
              <a:gd name="T91" fmla="*/ 438 h 868"/>
              <a:gd name="T92" fmla="*/ 587 w 933"/>
              <a:gd name="T93" fmla="*/ 696 h 8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933" h="865">
                <a:moveTo>
                  <a:pt x="501" y="14"/>
                </a:moveTo>
                <a:lnTo>
                  <a:pt x="501" y="14"/>
                </a:lnTo>
                <a:lnTo>
                  <a:pt x="494" y="8"/>
                </a:lnTo>
                <a:lnTo>
                  <a:pt x="485" y="4"/>
                </a:lnTo>
                <a:lnTo>
                  <a:pt x="476" y="1"/>
                </a:lnTo>
                <a:lnTo>
                  <a:pt x="466" y="0"/>
                </a:lnTo>
                <a:lnTo>
                  <a:pt x="457" y="1"/>
                </a:lnTo>
                <a:lnTo>
                  <a:pt x="448" y="4"/>
                </a:lnTo>
                <a:lnTo>
                  <a:pt x="439" y="8"/>
                </a:lnTo>
                <a:lnTo>
                  <a:pt x="432" y="14"/>
                </a:lnTo>
                <a:lnTo>
                  <a:pt x="14" y="431"/>
                </a:lnTo>
                <a:lnTo>
                  <a:pt x="14" y="431"/>
                </a:lnTo>
                <a:lnTo>
                  <a:pt x="8" y="439"/>
                </a:lnTo>
                <a:lnTo>
                  <a:pt x="4" y="448"/>
                </a:lnTo>
                <a:lnTo>
                  <a:pt x="1" y="456"/>
                </a:lnTo>
                <a:lnTo>
                  <a:pt x="0" y="466"/>
                </a:lnTo>
                <a:lnTo>
                  <a:pt x="1" y="475"/>
                </a:lnTo>
                <a:lnTo>
                  <a:pt x="4" y="485"/>
                </a:lnTo>
                <a:lnTo>
                  <a:pt x="8" y="493"/>
                </a:lnTo>
                <a:lnTo>
                  <a:pt x="14" y="501"/>
                </a:lnTo>
                <a:lnTo>
                  <a:pt x="14" y="501"/>
                </a:lnTo>
                <a:lnTo>
                  <a:pt x="23" y="507"/>
                </a:lnTo>
                <a:lnTo>
                  <a:pt x="31" y="511"/>
                </a:lnTo>
                <a:lnTo>
                  <a:pt x="40" y="514"/>
                </a:lnTo>
                <a:lnTo>
                  <a:pt x="49" y="515"/>
                </a:lnTo>
                <a:lnTo>
                  <a:pt x="59" y="514"/>
                </a:lnTo>
                <a:lnTo>
                  <a:pt x="68" y="511"/>
                </a:lnTo>
                <a:lnTo>
                  <a:pt x="77" y="507"/>
                </a:lnTo>
                <a:lnTo>
                  <a:pt x="84" y="501"/>
                </a:lnTo>
                <a:lnTo>
                  <a:pt x="107" y="478"/>
                </a:lnTo>
                <a:lnTo>
                  <a:pt x="107" y="737"/>
                </a:lnTo>
                <a:lnTo>
                  <a:pt x="107" y="737"/>
                </a:lnTo>
                <a:lnTo>
                  <a:pt x="108" y="750"/>
                </a:lnTo>
                <a:lnTo>
                  <a:pt x="109" y="764"/>
                </a:lnTo>
                <a:lnTo>
                  <a:pt x="113" y="776"/>
                </a:lnTo>
                <a:lnTo>
                  <a:pt x="118" y="788"/>
                </a:lnTo>
                <a:lnTo>
                  <a:pt x="122" y="800"/>
                </a:lnTo>
                <a:lnTo>
                  <a:pt x="130" y="810"/>
                </a:lnTo>
                <a:lnTo>
                  <a:pt x="137" y="820"/>
                </a:lnTo>
                <a:lnTo>
                  <a:pt x="145" y="830"/>
                </a:lnTo>
                <a:lnTo>
                  <a:pt x="155" y="838"/>
                </a:lnTo>
                <a:lnTo>
                  <a:pt x="165" y="845"/>
                </a:lnTo>
                <a:lnTo>
                  <a:pt x="175" y="852"/>
                </a:lnTo>
                <a:lnTo>
                  <a:pt x="187" y="857"/>
                </a:lnTo>
                <a:lnTo>
                  <a:pt x="199" y="862"/>
                </a:lnTo>
                <a:lnTo>
                  <a:pt x="211" y="866"/>
                </a:lnTo>
                <a:lnTo>
                  <a:pt x="225" y="868"/>
                </a:lnTo>
                <a:lnTo>
                  <a:pt x="238" y="868"/>
                </a:lnTo>
                <a:lnTo>
                  <a:pt x="695" y="868"/>
                </a:lnTo>
                <a:lnTo>
                  <a:pt x="695" y="868"/>
                </a:lnTo>
                <a:lnTo>
                  <a:pt x="708" y="868"/>
                </a:lnTo>
                <a:lnTo>
                  <a:pt x="722" y="866"/>
                </a:lnTo>
                <a:lnTo>
                  <a:pt x="734" y="862"/>
                </a:lnTo>
                <a:lnTo>
                  <a:pt x="746" y="857"/>
                </a:lnTo>
                <a:lnTo>
                  <a:pt x="758" y="852"/>
                </a:lnTo>
                <a:lnTo>
                  <a:pt x="768" y="845"/>
                </a:lnTo>
                <a:lnTo>
                  <a:pt x="778" y="838"/>
                </a:lnTo>
                <a:lnTo>
                  <a:pt x="788" y="830"/>
                </a:lnTo>
                <a:lnTo>
                  <a:pt x="796" y="820"/>
                </a:lnTo>
                <a:lnTo>
                  <a:pt x="803" y="810"/>
                </a:lnTo>
                <a:lnTo>
                  <a:pt x="811" y="800"/>
                </a:lnTo>
                <a:lnTo>
                  <a:pt x="815" y="788"/>
                </a:lnTo>
                <a:lnTo>
                  <a:pt x="820" y="776"/>
                </a:lnTo>
                <a:lnTo>
                  <a:pt x="824" y="764"/>
                </a:lnTo>
                <a:lnTo>
                  <a:pt x="825" y="750"/>
                </a:lnTo>
                <a:lnTo>
                  <a:pt x="826" y="737"/>
                </a:lnTo>
                <a:lnTo>
                  <a:pt x="826" y="478"/>
                </a:lnTo>
                <a:lnTo>
                  <a:pt x="849" y="501"/>
                </a:lnTo>
                <a:lnTo>
                  <a:pt x="849" y="501"/>
                </a:lnTo>
                <a:lnTo>
                  <a:pt x="856" y="507"/>
                </a:lnTo>
                <a:lnTo>
                  <a:pt x="865" y="511"/>
                </a:lnTo>
                <a:lnTo>
                  <a:pt x="874" y="514"/>
                </a:lnTo>
                <a:lnTo>
                  <a:pt x="884" y="515"/>
                </a:lnTo>
                <a:lnTo>
                  <a:pt x="884" y="515"/>
                </a:lnTo>
                <a:lnTo>
                  <a:pt x="893" y="514"/>
                </a:lnTo>
                <a:lnTo>
                  <a:pt x="902" y="511"/>
                </a:lnTo>
                <a:lnTo>
                  <a:pt x="910" y="507"/>
                </a:lnTo>
                <a:lnTo>
                  <a:pt x="919" y="501"/>
                </a:lnTo>
                <a:lnTo>
                  <a:pt x="919" y="501"/>
                </a:lnTo>
                <a:lnTo>
                  <a:pt x="925" y="493"/>
                </a:lnTo>
                <a:lnTo>
                  <a:pt x="929" y="485"/>
                </a:lnTo>
                <a:lnTo>
                  <a:pt x="932" y="475"/>
                </a:lnTo>
                <a:lnTo>
                  <a:pt x="933" y="466"/>
                </a:lnTo>
                <a:lnTo>
                  <a:pt x="932" y="456"/>
                </a:lnTo>
                <a:lnTo>
                  <a:pt x="929" y="448"/>
                </a:lnTo>
                <a:lnTo>
                  <a:pt x="925" y="439"/>
                </a:lnTo>
                <a:lnTo>
                  <a:pt x="919" y="431"/>
                </a:lnTo>
                <a:lnTo>
                  <a:pt x="501" y="14"/>
                </a:lnTo>
                <a:close/>
                <a:moveTo>
                  <a:pt x="760" y="737"/>
                </a:moveTo>
                <a:lnTo>
                  <a:pt x="760" y="737"/>
                </a:lnTo>
                <a:lnTo>
                  <a:pt x="759" y="750"/>
                </a:lnTo>
                <a:lnTo>
                  <a:pt x="755" y="762"/>
                </a:lnTo>
                <a:lnTo>
                  <a:pt x="749" y="773"/>
                </a:lnTo>
                <a:lnTo>
                  <a:pt x="741" y="784"/>
                </a:lnTo>
                <a:lnTo>
                  <a:pt x="731" y="791"/>
                </a:lnTo>
                <a:lnTo>
                  <a:pt x="720" y="797"/>
                </a:lnTo>
                <a:lnTo>
                  <a:pt x="708" y="801"/>
                </a:lnTo>
                <a:lnTo>
                  <a:pt x="695" y="803"/>
                </a:lnTo>
                <a:lnTo>
                  <a:pt x="238" y="803"/>
                </a:lnTo>
                <a:lnTo>
                  <a:pt x="238" y="803"/>
                </a:lnTo>
                <a:lnTo>
                  <a:pt x="225" y="801"/>
                </a:lnTo>
                <a:lnTo>
                  <a:pt x="213" y="797"/>
                </a:lnTo>
                <a:lnTo>
                  <a:pt x="202" y="791"/>
                </a:lnTo>
                <a:lnTo>
                  <a:pt x="192" y="784"/>
                </a:lnTo>
                <a:lnTo>
                  <a:pt x="184" y="773"/>
                </a:lnTo>
                <a:lnTo>
                  <a:pt x="178" y="762"/>
                </a:lnTo>
                <a:lnTo>
                  <a:pt x="174" y="750"/>
                </a:lnTo>
                <a:lnTo>
                  <a:pt x="173" y="737"/>
                </a:lnTo>
                <a:lnTo>
                  <a:pt x="173" y="413"/>
                </a:lnTo>
                <a:lnTo>
                  <a:pt x="466" y="119"/>
                </a:lnTo>
                <a:lnTo>
                  <a:pt x="760" y="413"/>
                </a:lnTo>
                <a:lnTo>
                  <a:pt x="760" y="737"/>
                </a:lnTo>
                <a:close/>
                <a:moveTo>
                  <a:pt x="313" y="438"/>
                </a:moveTo>
                <a:lnTo>
                  <a:pt x="313" y="712"/>
                </a:lnTo>
                <a:lnTo>
                  <a:pt x="313" y="712"/>
                </a:lnTo>
                <a:lnTo>
                  <a:pt x="315" y="719"/>
                </a:lnTo>
                <a:lnTo>
                  <a:pt x="318" y="724"/>
                </a:lnTo>
                <a:lnTo>
                  <a:pt x="323" y="728"/>
                </a:lnTo>
                <a:lnTo>
                  <a:pt x="329" y="729"/>
                </a:lnTo>
                <a:lnTo>
                  <a:pt x="604" y="729"/>
                </a:lnTo>
                <a:lnTo>
                  <a:pt x="604" y="729"/>
                </a:lnTo>
                <a:lnTo>
                  <a:pt x="610" y="728"/>
                </a:lnTo>
                <a:lnTo>
                  <a:pt x="615" y="724"/>
                </a:lnTo>
                <a:lnTo>
                  <a:pt x="618" y="719"/>
                </a:lnTo>
                <a:lnTo>
                  <a:pt x="620" y="712"/>
                </a:lnTo>
                <a:lnTo>
                  <a:pt x="620" y="438"/>
                </a:lnTo>
                <a:lnTo>
                  <a:pt x="620" y="438"/>
                </a:lnTo>
                <a:lnTo>
                  <a:pt x="618" y="432"/>
                </a:lnTo>
                <a:lnTo>
                  <a:pt x="615" y="426"/>
                </a:lnTo>
                <a:lnTo>
                  <a:pt x="610" y="423"/>
                </a:lnTo>
                <a:lnTo>
                  <a:pt x="604" y="421"/>
                </a:lnTo>
                <a:lnTo>
                  <a:pt x="329" y="421"/>
                </a:lnTo>
                <a:lnTo>
                  <a:pt x="329" y="421"/>
                </a:lnTo>
                <a:lnTo>
                  <a:pt x="323" y="423"/>
                </a:lnTo>
                <a:lnTo>
                  <a:pt x="318" y="426"/>
                </a:lnTo>
                <a:lnTo>
                  <a:pt x="315" y="432"/>
                </a:lnTo>
                <a:lnTo>
                  <a:pt x="313" y="438"/>
                </a:lnTo>
                <a:lnTo>
                  <a:pt x="313" y="438"/>
                </a:lnTo>
                <a:close/>
                <a:moveTo>
                  <a:pt x="346" y="455"/>
                </a:moveTo>
                <a:lnTo>
                  <a:pt x="587" y="455"/>
                </a:lnTo>
                <a:lnTo>
                  <a:pt x="587" y="696"/>
                </a:lnTo>
                <a:lnTo>
                  <a:pt x="346" y="696"/>
                </a:lnTo>
                <a:lnTo>
                  <a:pt x="346" y="45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id-ID" dirty="0">
              <a:latin typeface="微软雅黑 Light" panose="020B0502040204020203" pitchFamily="34" charset="-122"/>
              <a:ea typeface="微软雅黑 Light" panose="020B0502040204020203" pitchFamily="34" charset="-122"/>
              <a:cs typeface="思源黑体 CN Regular" panose="020B0500000000000000" charset="-122"/>
              <a:sym typeface="微软雅黑 Light" panose="020B0502040204020203" pitchFamily="34" charset="-122"/>
            </a:endParaRPr>
          </a:p>
        </p:txBody>
      </p:sp>
      <p:grpSp>
        <p:nvGrpSpPr>
          <p:cNvPr id="86" name="Group 3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7420342" y="4799682"/>
            <a:ext cx="419513" cy="324366"/>
            <a:chOff x="10126663" y="4848225"/>
            <a:chExt cx="615950" cy="476250"/>
          </a:xfrm>
          <a:solidFill>
            <a:schemeClr val="tx2"/>
          </a:solidFill>
        </p:grpSpPr>
        <p:sp>
          <p:nvSpPr>
            <p:cNvPr id="87" name="Freeform 50"/>
            <p:cNvSpPr>
              <a:spLocks noEditPoints="1"/>
            </p:cNvSpPr>
            <p:nvPr/>
          </p:nvSpPr>
          <p:spPr bwMode="auto">
            <a:xfrm>
              <a:off x="10196513" y="4848225"/>
              <a:ext cx="476250" cy="298450"/>
            </a:xfrm>
            <a:custGeom>
              <a:avLst/>
              <a:gdLst>
                <a:gd name="T0" fmla="*/ 278 w 300"/>
                <a:gd name="T1" fmla="*/ 0 h 188"/>
                <a:gd name="T2" fmla="*/ 22 w 300"/>
                <a:gd name="T3" fmla="*/ 0 h 188"/>
                <a:gd name="T4" fmla="*/ 22 w 300"/>
                <a:gd name="T5" fmla="*/ 0 h 188"/>
                <a:gd name="T6" fmla="*/ 14 w 300"/>
                <a:gd name="T7" fmla="*/ 2 h 188"/>
                <a:gd name="T8" fmla="*/ 6 w 300"/>
                <a:gd name="T9" fmla="*/ 6 h 188"/>
                <a:gd name="T10" fmla="*/ 2 w 300"/>
                <a:gd name="T11" fmla="*/ 14 h 188"/>
                <a:gd name="T12" fmla="*/ 0 w 300"/>
                <a:gd name="T13" fmla="*/ 22 h 188"/>
                <a:gd name="T14" fmla="*/ 0 w 300"/>
                <a:gd name="T15" fmla="*/ 166 h 188"/>
                <a:gd name="T16" fmla="*/ 0 w 300"/>
                <a:gd name="T17" fmla="*/ 166 h 188"/>
                <a:gd name="T18" fmla="*/ 2 w 300"/>
                <a:gd name="T19" fmla="*/ 174 h 188"/>
                <a:gd name="T20" fmla="*/ 6 w 300"/>
                <a:gd name="T21" fmla="*/ 180 h 188"/>
                <a:gd name="T22" fmla="*/ 14 w 300"/>
                <a:gd name="T23" fmla="*/ 186 h 188"/>
                <a:gd name="T24" fmla="*/ 22 w 300"/>
                <a:gd name="T25" fmla="*/ 188 h 188"/>
                <a:gd name="T26" fmla="*/ 278 w 300"/>
                <a:gd name="T27" fmla="*/ 188 h 188"/>
                <a:gd name="T28" fmla="*/ 278 w 300"/>
                <a:gd name="T29" fmla="*/ 188 h 188"/>
                <a:gd name="T30" fmla="*/ 286 w 300"/>
                <a:gd name="T31" fmla="*/ 186 h 188"/>
                <a:gd name="T32" fmla="*/ 294 w 300"/>
                <a:gd name="T33" fmla="*/ 180 h 188"/>
                <a:gd name="T34" fmla="*/ 298 w 300"/>
                <a:gd name="T35" fmla="*/ 174 h 188"/>
                <a:gd name="T36" fmla="*/ 300 w 300"/>
                <a:gd name="T37" fmla="*/ 166 h 188"/>
                <a:gd name="T38" fmla="*/ 300 w 300"/>
                <a:gd name="T39" fmla="*/ 22 h 188"/>
                <a:gd name="T40" fmla="*/ 300 w 300"/>
                <a:gd name="T41" fmla="*/ 22 h 188"/>
                <a:gd name="T42" fmla="*/ 298 w 300"/>
                <a:gd name="T43" fmla="*/ 14 h 188"/>
                <a:gd name="T44" fmla="*/ 294 w 300"/>
                <a:gd name="T45" fmla="*/ 6 h 188"/>
                <a:gd name="T46" fmla="*/ 286 w 300"/>
                <a:gd name="T47" fmla="*/ 2 h 188"/>
                <a:gd name="T48" fmla="*/ 278 w 300"/>
                <a:gd name="T49" fmla="*/ 0 h 188"/>
                <a:gd name="T50" fmla="*/ 278 w 300"/>
                <a:gd name="T51" fmla="*/ 0 h 188"/>
                <a:gd name="T52" fmla="*/ 266 w 300"/>
                <a:gd name="T53" fmla="*/ 146 h 188"/>
                <a:gd name="T54" fmla="*/ 266 w 300"/>
                <a:gd name="T55" fmla="*/ 146 h 188"/>
                <a:gd name="T56" fmla="*/ 264 w 300"/>
                <a:gd name="T57" fmla="*/ 152 h 188"/>
                <a:gd name="T58" fmla="*/ 262 w 300"/>
                <a:gd name="T59" fmla="*/ 156 h 188"/>
                <a:gd name="T60" fmla="*/ 256 w 300"/>
                <a:gd name="T61" fmla="*/ 160 h 188"/>
                <a:gd name="T62" fmla="*/ 250 w 300"/>
                <a:gd name="T63" fmla="*/ 162 h 188"/>
                <a:gd name="T64" fmla="*/ 50 w 300"/>
                <a:gd name="T65" fmla="*/ 162 h 188"/>
                <a:gd name="T66" fmla="*/ 50 w 300"/>
                <a:gd name="T67" fmla="*/ 162 h 188"/>
                <a:gd name="T68" fmla="*/ 44 w 300"/>
                <a:gd name="T69" fmla="*/ 160 h 188"/>
                <a:gd name="T70" fmla="*/ 38 w 300"/>
                <a:gd name="T71" fmla="*/ 156 h 188"/>
                <a:gd name="T72" fmla="*/ 36 w 300"/>
                <a:gd name="T73" fmla="*/ 152 h 188"/>
                <a:gd name="T74" fmla="*/ 34 w 300"/>
                <a:gd name="T75" fmla="*/ 146 h 188"/>
                <a:gd name="T76" fmla="*/ 34 w 300"/>
                <a:gd name="T77" fmla="*/ 42 h 188"/>
                <a:gd name="T78" fmla="*/ 34 w 300"/>
                <a:gd name="T79" fmla="*/ 42 h 188"/>
                <a:gd name="T80" fmla="*/ 36 w 300"/>
                <a:gd name="T81" fmla="*/ 36 h 188"/>
                <a:gd name="T82" fmla="*/ 38 w 300"/>
                <a:gd name="T83" fmla="*/ 32 h 188"/>
                <a:gd name="T84" fmla="*/ 44 w 300"/>
                <a:gd name="T85" fmla="*/ 28 h 188"/>
                <a:gd name="T86" fmla="*/ 50 w 300"/>
                <a:gd name="T87" fmla="*/ 26 h 188"/>
                <a:gd name="T88" fmla="*/ 250 w 300"/>
                <a:gd name="T89" fmla="*/ 26 h 188"/>
                <a:gd name="T90" fmla="*/ 250 w 300"/>
                <a:gd name="T91" fmla="*/ 26 h 188"/>
                <a:gd name="T92" fmla="*/ 256 w 300"/>
                <a:gd name="T93" fmla="*/ 28 h 188"/>
                <a:gd name="T94" fmla="*/ 262 w 300"/>
                <a:gd name="T95" fmla="*/ 32 h 188"/>
                <a:gd name="T96" fmla="*/ 264 w 300"/>
                <a:gd name="T97" fmla="*/ 36 h 188"/>
                <a:gd name="T98" fmla="*/ 266 w 300"/>
                <a:gd name="T99" fmla="*/ 42 h 188"/>
                <a:gd name="T100" fmla="*/ 266 w 300"/>
                <a:gd name="T101" fmla="*/ 146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00" h="188">
                  <a:moveTo>
                    <a:pt x="278" y="0"/>
                  </a:moveTo>
                  <a:lnTo>
                    <a:pt x="22" y="0"/>
                  </a:lnTo>
                  <a:lnTo>
                    <a:pt x="22" y="0"/>
                  </a:lnTo>
                  <a:lnTo>
                    <a:pt x="14" y="2"/>
                  </a:lnTo>
                  <a:lnTo>
                    <a:pt x="6" y="6"/>
                  </a:lnTo>
                  <a:lnTo>
                    <a:pt x="2" y="14"/>
                  </a:lnTo>
                  <a:lnTo>
                    <a:pt x="0" y="22"/>
                  </a:lnTo>
                  <a:lnTo>
                    <a:pt x="0" y="166"/>
                  </a:lnTo>
                  <a:lnTo>
                    <a:pt x="0" y="166"/>
                  </a:lnTo>
                  <a:lnTo>
                    <a:pt x="2" y="174"/>
                  </a:lnTo>
                  <a:lnTo>
                    <a:pt x="6" y="180"/>
                  </a:lnTo>
                  <a:lnTo>
                    <a:pt x="14" y="186"/>
                  </a:lnTo>
                  <a:lnTo>
                    <a:pt x="22" y="188"/>
                  </a:lnTo>
                  <a:lnTo>
                    <a:pt x="278" y="188"/>
                  </a:lnTo>
                  <a:lnTo>
                    <a:pt x="278" y="188"/>
                  </a:lnTo>
                  <a:lnTo>
                    <a:pt x="286" y="186"/>
                  </a:lnTo>
                  <a:lnTo>
                    <a:pt x="294" y="180"/>
                  </a:lnTo>
                  <a:lnTo>
                    <a:pt x="298" y="174"/>
                  </a:lnTo>
                  <a:lnTo>
                    <a:pt x="300" y="166"/>
                  </a:lnTo>
                  <a:lnTo>
                    <a:pt x="300" y="22"/>
                  </a:lnTo>
                  <a:lnTo>
                    <a:pt x="300" y="22"/>
                  </a:lnTo>
                  <a:lnTo>
                    <a:pt x="298" y="14"/>
                  </a:lnTo>
                  <a:lnTo>
                    <a:pt x="294" y="6"/>
                  </a:lnTo>
                  <a:lnTo>
                    <a:pt x="286" y="2"/>
                  </a:lnTo>
                  <a:lnTo>
                    <a:pt x="278" y="0"/>
                  </a:lnTo>
                  <a:lnTo>
                    <a:pt x="278" y="0"/>
                  </a:lnTo>
                  <a:close/>
                  <a:moveTo>
                    <a:pt x="266" y="146"/>
                  </a:moveTo>
                  <a:lnTo>
                    <a:pt x="266" y="146"/>
                  </a:lnTo>
                  <a:lnTo>
                    <a:pt x="264" y="152"/>
                  </a:lnTo>
                  <a:lnTo>
                    <a:pt x="262" y="156"/>
                  </a:lnTo>
                  <a:lnTo>
                    <a:pt x="256" y="160"/>
                  </a:lnTo>
                  <a:lnTo>
                    <a:pt x="250" y="162"/>
                  </a:lnTo>
                  <a:lnTo>
                    <a:pt x="50" y="162"/>
                  </a:lnTo>
                  <a:lnTo>
                    <a:pt x="50" y="162"/>
                  </a:lnTo>
                  <a:lnTo>
                    <a:pt x="44" y="160"/>
                  </a:lnTo>
                  <a:lnTo>
                    <a:pt x="38" y="156"/>
                  </a:lnTo>
                  <a:lnTo>
                    <a:pt x="36" y="152"/>
                  </a:lnTo>
                  <a:lnTo>
                    <a:pt x="34" y="146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6" y="36"/>
                  </a:lnTo>
                  <a:lnTo>
                    <a:pt x="38" y="32"/>
                  </a:lnTo>
                  <a:lnTo>
                    <a:pt x="44" y="28"/>
                  </a:lnTo>
                  <a:lnTo>
                    <a:pt x="50" y="26"/>
                  </a:lnTo>
                  <a:lnTo>
                    <a:pt x="250" y="26"/>
                  </a:lnTo>
                  <a:lnTo>
                    <a:pt x="250" y="26"/>
                  </a:lnTo>
                  <a:lnTo>
                    <a:pt x="256" y="28"/>
                  </a:lnTo>
                  <a:lnTo>
                    <a:pt x="262" y="32"/>
                  </a:lnTo>
                  <a:lnTo>
                    <a:pt x="264" y="36"/>
                  </a:lnTo>
                  <a:lnTo>
                    <a:pt x="266" y="42"/>
                  </a:lnTo>
                  <a:lnTo>
                    <a:pt x="266" y="1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 dirty="0">
                <a:latin typeface="微软雅黑 Light" panose="020B0502040204020203" pitchFamily="34" charset="-122"/>
                <a:ea typeface="微软雅黑 Light" panose="020B0502040204020203" pitchFamily="34" charset="-122"/>
                <a:cs typeface="思源黑体 CN Regular" panose="020B0500000000000000" charset="-122"/>
                <a:sym typeface="微软雅黑 Light" panose="020B0502040204020203" pitchFamily="34" charset="-122"/>
              </a:endParaRPr>
            </a:p>
          </p:txBody>
        </p:sp>
        <p:sp>
          <p:nvSpPr>
            <p:cNvPr id="88" name="Freeform 51"/>
            <p:cNvSpPr>
              <a:spLocks noEditPoints="1"/>
            </p:cNvSpPr>
            <p:nvPr/>
          </p:nvSpPr>
          <p:spPr bwMode="auto">
            <a:xfrm>
              <a:off x="10126663" y="5162550"/>
              <a:ext cx="615950" cy="161925"/>
            </a:xfrm>
            <a:custGeom>
              <a:avLst/>
              <a:gdLst>
                <a:gd name="T0" fmla="*/ 354 w 388"/>
                <a:gd name="T1" fmla="*/ 14 h 102"/>
                <a:gd name="T2" fmla="*/ 354 w 388"/>
                <a:gd name="T3" fmla="*/ 14 h 102"/>
                <a:gd name="T4" fmla="*/ 346 w 388"/>
                <a:gd name="T5" fmla="*/ 4 h 102"/>
                <a:gd name="T6" fmla="*/ 342 w 388"/>
                <a:gd name="T7" fmla="*/ 0 h 102"/>
                <a:gd name="T8" fmla="*/ 336 w 388"/>
                <a:gd name="T9" fmla="*/ 0 h 102"/>
                <a:gd name="T10" fmla="*/ 52 w 388"/>
                <a:gd name="T11" fmla="*/ 0 h 102"/>
                <a:gd name="T12" fmla="*/ 52 w 388"/>
                <a:gd name="T13" fmla="*/ 0 h 102"/>
                <a:gd name="T14" fmla="*/ 46 w 388"/>
                <a:gd name="T15" fmla="*/ 2 h 102"/>
                <a:gd name="T16" fmla="*/ 40 w 388"/>
                <a:gd name="T17" fmla="*/ 6 h 102"/>
                <a:gd name="T18" fmla="*/ 32 w 388"/>
                <a:gd name="T19" fmla="*/ 18 h 102"/>
                <a:gd name="T20" fmla="*/ 2 w 388"/>
                <a:gd name="T21" fmla="*/ 70 h 102"/>
                <a:gd name="T22" fmla="*/ 386 w 388"/>
                <a:gd name="T23" fmla="*/ 70 h 102"/>
                <a:gd name="T24" fmla="*/ 354 w 388"/>
                <a:gd name="T25" fmla="*/ 14 h 102"/>
                <a:gd name="T26" fmla="*/ 134 w 388"/>
                <a:gd name="T27" fmla="*/ 64 h 102"/>
                <a:gd name="T28" fmla="*/ 140 w 388"/>
                <a:gd name="T29" fmla="*/ 48 h 102"/>
                <a:gd name="T30" fmla="*/ 246 w 388"/>
                <a:gd name="T31" fmla="*/ 48 h 102"/>
                <a:gd name="T32" fmla="*/ 254 w 388"/>
                <a:gd name="T33" fmla="*/ 64 h 102"/>
                <a:gd name="T34" fmla="*/ 134 w 388"/>
                <a:gd name="T35" fmla="*/ 64 h 102"/>
                <a:gd name="T36" fmla="*/ 330 w 388"/>
                <a:gd name="T37" fmla="*/ 36 h 102"/>
                <a:gd name="T38" fmla="*/ 60 w 388"/>
                <a:gd name="T39" fmla="*/ 36 h 102"/>
                <a:gd name="T40" fmla="*/ 60 w 388"/>
                <a:gd name="T41" fmla="*/ 36 h 102"/>
                <a:gd name="T42" fmla="*/ 52 w 388"/>
                <a:gd name="T43" fmla="*/ 36 h 102"/>
                <a:gd name="T44" fmla="*/ 48 w 388"/>
                <a:gd name="T45" fmla="*/ 34 h 102"/>
                <a:gd name="T46" fmla="*/ 46 w 388"/>
                <a:gd name="T47" fmla="*/ 32 h 102"/>
                <a:gd name="T48" fmla="*/ 46 w 388"/>
                <a:gd name="T49" fmla="*/ 30 h 102"/>
                <a:gd name="T50" fmla="*/ 52 w 388"/>
                <a:gd name="T51" fmla="*/ 16 h 102"/>
                <a:gd name="T52" fmla="*/ 52 w 388"/>
                <a:gd name="T53" fmla="*/ 16 h 102"/>
                <a:gd name="T54" fmla="*/ 58 w 388"/>
                <a:gd name="T55" fmla="*/ 12 h 102"/>
                <a:gd name="T56" fmla="*/ 66 w 388"/>
                <a:gd name="T57" fmla="*/ 10 h 102"/>
                <a:gd name="T58" fmla="*/ 322 w 388"/>
                <a:gd name="T59" fmla="*/ 10 h 102"/>
                <a:gd name="T60" fmla="*/ 322 w 388"/>
                <a:gd name="T61" fmla="*/ 10 h 102"/>
                <a:gd name="T62" fmla="*/ 330 w 388"/>
                <a:gd name="T63" fmla="*/ 12 h 102"/>
                <a:gd name="T64" fmla="*/ 336 w 388"/>
                <a:gd name="T65" fmla="*/ 16 h 102"/>
                <a:gd name="T66" fmla="*/ 342 w 388"/>
                <a:gd name="T67" fmla="*/ 30 h 102"/>
                <a:gd name="T68" fmla="*/ 342 w 388"/>
                <a:gd name="T69" fmla="*/ 30 h 102"/>
                <a:gd name="T70" fmla="*/ 344 w 388"/>
                <a:gd name="T71" fmla="*/ 32 h 102"/>
                <a:gd name="T72" fmla="*/ 342 w 388"/>
                <a:gd name="T73" fmla="*/ 34 h 102"/>
                <a:gd name="T74" fmla="*/ 338 w 388"/>
                <a:gd name="T75" fmla="*/ 36 h 102"/>
                <a:gd name="T76" fmla="*/ 330 w 388"/>
                <a:gd name="T77" fmla="*/ 36 h 102"/>
                <a:gd name="T78" fmla="*/ 330 w 388"/>
                <a:gd name="T79" fmla="*/ 36 h 102"/>
                <a:gd name="T80" fmla="*/ 0 w 388"/>
                <a:gd name="T81" fmla="*/ 82 h 102"/>
                <a:gd name="T82" fmla="*/ 0 w 388"/>
                <a:gd name="T83" fmla="*/ 82 h 102"/>
                <a:gd name="T84" fmla="*/ 4 w 388"/>
                <a:gd name="T85" fmla="*/ 88 h 102"/>
                <a:gd name="T86" fmla="*/ 14 w 388"/>
                <a:gd name="T87" fmla="*/ 102 h 102"/>
                <a:gd name="T88" fmla="*/ 374 w 388"/>
                <a:gd name="T89" fmla="*/ 102 h 102"/>
                <a:gd name="T90" fmla="*/ 374 w 388"/>
                <a:gd name="T91" fmla="*/ 102 h 102"/>
                <a:gd name="T92" fmla="*/ 384 w 388"/>
                <a:gd name="T93" fmla="*/ 88 h 102"/>
                <a:gd name="T94" fmla="*/ 388 w 388"/>
                <a:gd name="T95" fmla="*/ 82 h 102"/>
                <a:gd name="T96" fmla="*/ 0 w 388"/>
                <a:gd name="T97" fmla="*/ 8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88" h="102">
                  <a:moveTo>
                    <a:pt x="354" y="14"/>
                  </a:moveTo>
                  <a:lnTo>
                    <a:pt x="354" y="14"/>
                  </a:lnTo>
                  <a:lnTo>
                    <a:pt x="346" y="4"/>
                  </a:lnTo>
                  <a:lnTo>
                    <a:pt x="342" y="0"/>
                  </a:lnTo>
                  <a:lnTo>
                    <a:pt x="336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46" y="2"/>
                  </a:lnTo>
                  <a:lnTo>
                    <a:pt x="40" y="6"/>
                  </a:lnTo>
                  <a:lnTo>
                    <a:pt x="32" y="18"/>
                  </a:lnTo>
                  <a:lnTo>
                    <a:pt x="2" y="70"/>
                  </a:lnTo>
                  <a:lnTo>
                    <a:pt x="386" y="70"/>
                  </a:lnTo>
                  <a:lnTo>
                    <a:pt x="354" y="14"/>
                  </a:lnTo>
                  <a:close/>
                  <a:moveTo>
                    <a:pt x="134" y="64"/>
                  </a:moveTo>
                  <a:lnTo>
                    <a:pt x="140" y="48"/>
                  </a:lnTo>
                  <a:lnTo>
                    <a:pt x="246" y="48"/>
                  </a:lnTo>
                  <a:lnTo>
                    <a:pt x="254" y="64"/>
                  </a:lnTo>
                  <a:lnTo>
                    <a:pt x="134" y="64"/>
                  </a:lnTo>
                  <a:close/>
                  <a:moveTo>
                    <a:pt x="330" y="36"/>
                  </a:moveTo>
                  <a:lnTo>
                    <a:pt x="60" y="36"/>
                  </a:lnTo>
                  <a:lnTo>
                    <a:pt x="60" y="36"/>
                  </a:lnTo>
                  <a:lnTo>
                    <a:pt x="52" y="36"/>
                  </a:lnTo>
                  <a:lnTo>
                    <a:pt x="48" y="34"/>
                  </a:lnTo>
                  <a:lnTo>
                    <a:pt x="46" y="32"/>
                  </a:lnTo>
                  <a:lnTo>
                    <a:pt x="46" y="30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8" y="12"/>
                  </a:lnTo>
                  <a:lnTo>
                    <a:pt x="66" y="10"/>
                  </a:lnTo>
                  <a:lnTo>
                    <a:pt x="322" y="10"/>
                  </a:lnTo>
                  <a:lnTo>
                    <a:pt x="322" y="10"/>
                  </a:lnTo>
                  <a:lnTo>
                    <a:pt x="330" y="12"/>
                  </a:lnTo>
                  <a:lnTo>
                    <a:pt x="336" y="16"/>
                  </a:lnTo>
                  <a:lnTo>
                    <a:pt x="342" y="30"/>
                  </a:lnTo>
                  <a:lnTo>
                    <a:pt x="342" y="30"/>
                  </a:lnTo>
                  <a:lnTo>
                    <a:pt x="344" y="32"/>
                  </a:lnTo>
                  <a:lnTo>
                    <a:pt x="342" y="34"/>
                  </a:lnTo>
                  <a:lnTo>
                    <a:pt x="338" y="36"/>
                  </a:lnTo>
                  <a:lnTo>
                    <a:pt x="330" y="36"/>
                  </a:lnTo>
                  <a:lnTo>
                    <a:pt x="330" y="36"/>
                  </a:lnTo>
                  <a:close/>
                  <a:moveTo>
                    <a:pt x="0" y="82"/>
                  </a:moveTo>
                  <a:lnTo>
                    <a:pt x="0" y="82"/>
                  </a:lnTo>
                  <a:lnTo>
                    <a:pt x="4" y="88"/>
                  </a:lnTo>
                  <a:lnTo>
                    <a:pt x="14" y="102"/>
                  </a:lnTo>
                  <a:lnTo>
                    <a:pt x="374" y="102"/>
                  </a:lnTo>
                  <a:lnTo>
                    <a:pt x="374" y="102"/>
                  </a:lnTo>
                  <a:lnTo>
                    <a:pt x="384" y="88"/>
                  </a:lnTo>
                  <a:lnTo>
                    <a:pt x="388" y="82"/>
                  </a:lnTo>
                  <a:lnTo>
                    <a:pt x="0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 dirty="0">
                <a:latin typeface="微软雅黑 Light" panose="020B0502040204020203" pitchFamily="34" charset="-122"/>
                <a:ea typeface="微软雅黑 Light" panose="020B0502040204020203" pitchFamily="34" charset="-122"/>
                <a:cs typeface="思源黑体 CN Regular" panose="020B0500000000000000" charset="-122"/>
                <a:sym typeface="微软雅黑 Light" panose="020B0502040204020203" pitchFamily="34" charset="-122"/>
              </a:endParaRPr>
            </a:p>
          </p:txBody>
        </p:sp>
      </p:grpSp>
      <p:sp>
        <p:nvSpPr>
          <p:cNvPr id="89" name="Freeform 5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EditPoints="1"/>
          </p:cNvSpPr>
          <p:nvPr/>
        </p:nvSpPr>
        <p:spPr bwMode="auto">
          <a:xfrm>
            <a:off x="4153950" y="781345"/>
            <a:ext cx="443607" cy="394027"/>
          </a:xfrm>
          <a:custGeom>
            <a:avLst/>
            <a:gdLst>
              <a:gd name="T0" fmla="*/ 128 w 340"/>
              <a:gd name="T1" fmla="*/ 46 h 302"/>
              <a:gd name="T2" fmla="*/ 116 w 340"/>
              <a:gd name="T3" fmla="*/ 48 h 302"/>
              <a:gd name="T4" fmla="*/ 106 w 340"/>
              <a:gd name="T5" fmla="*/ 56 h 302"/>
              <a:gd name="T6" fmla="*/ 98 w 340"/>
              <a:gd name="T7" fmla="*/ 66 h 302"/>
              <a:gd name="T8" fmla="*/ 96 w 340"/>
              <a:gd name="T9" fmla="*/ 78 h 302"/>
              <a:gd name="T10" fmla="*/ 96 w 340"/>
              <a:gd name="T11" fmla="*/ 86 h 302"/>
              <a:gd name="T12" fmla="*/ 102 w 340"/>
              <a:gd name="T13" fmla="*/ 96 h 302"/>
              <a:gd name="T14" fmla="*/ 110 w 340"/>
              <a:gd name="T15" fmla="*/ 106 h 302"/>
              <a:gd name="T16" fmla="*/ 122 w 340"/>
              <a:gd name="T17" fmla="*/ 110 h 302"/>
              <a:gd name="T18" fmla="*/ 128 w 340"/>
              <a:gd name="T19" fmla="*/ 110 h 302"/>
              <a:gd name="T20" fmla="*/ 142 w 340"/>
              <a:gd name="T21" fmla="*/ 108 h 302"/>
              <a:gd name="T22" fmla="*/ 152 w 340"/>
              <a:gd name="T23" fmla="*/ 102 h 302"/>
              <a:gd name="T24" fmla="*/ 158 w 340"/>
              <a:gd name="T25" fmla="*/ 92 h 302"/>
              <a:gd name="T26" fmla="*/ 160 w 340"/>
              <a:gd name="T27" fmla="*/ 78 h 302"/>
              <a:gd name="T28" fmla="*/ 160 w 340"/>
              <a:gd name="T29" fmla="*/ 72 h 302"/>
              <a:gd name="T30" fmla="*/ 156 w 340"/>
              <a:gd name="T31" fmla="*/ 60 h 302"/>
              <a:gd name="T32" fmla="*/ 146 w 340"/>
              <a:gd name="T33" fmla="*/ 52 h 302"/>
              <a:gd name="T34" fmla="*/ 134 w 340"/>
              <a:gd name="T35" fmla="*/ 48 h 302"/>
              <a:gd name="T36" fmla="*/ 128 w 340"/>
              <a:gd name="T37" fmla="*/ 46 h 302"/>
              <a:gd name="T38" fmla="*/ 48 w 340"/>
              <a:gd name="T39" fmla="*/ 0 h 302"/>
              <a:gd name="T40" fmla="*/ 38 w 340"/>
              <a:gd name="T41" fmla="*/ 2 h 302"/>
              <a:gd name="T42" fmla="*/ 20 w 340"/>
              <a:gd name="T43" fmla="*/ 8 h 302"/>
              <a:gd name="T44" fmla="*/ 8 w 340"/>
              <a:gd name="T45" fmla="*/ 22 h 302"/>
              <a:gd name="T46" fmla="*/ 0 w 340"/>
              <a:gd name="T47" fmla="*/ 38 h 302"/>
              <a:gd name="T48" fmla="*/ 0 w 340"/>
              <a:gd name="T49" fmla="*/ 210 h 302"/>
              <a:gd name="T50" fmla="*/ 0 w 340"/>
              <a:gd name="T51" fmla="*/ 220 h 302"/>
              <a:gd name="T52" fmla="*/ 8 w 340"/>
              <a:gd name="T53" fmla="*/ 238 h 302"/>
              <a:gd name="T54" fmla="*/ 20 w 340"/>
              <a:gd name="T55" fmla="*/ 250 h 302"/>
              <a:gd name="T56" fmla="*/ 38 w 340"/>
              <a:gd name="T57" fmla="*/ 258 h 302"/>
              <a:gd name="T58" fmla="*/ 130 w 340"/>
              <a:gd name="T59" fmla="*/ 258 h 302"/>
              <a:gd name="T60" fmla="*/ 210 w 340"/>
              <a:gd name="T61" fmla="*/ 284 h 302"/>
              <a:gd name="T62" fmla="*/ 292 w 340"/>
              <a:gd name="T63" fmla="*/ 258 h 302"/>
              <a:gd name="T64" fmla="*/ 302 w 340"/>
              <a:gd name="T65" fmla="*/ 258 h 302"/>
              <a:gd name="T66" fmla="*/ 320 w 340"/>
              <a:gd name="T67" fmla="*/ 250 h 302"/>
              <a:gd name="T68" fmla="*/ 332 w 340"/>
              <a:gd name="T69" fmla="*/ 238 h 302"/>
              <a:gd name="T70" fmla="*/ 340 w 340"/>
              <a:gd name="T71" fmla="*/ 220 h 302"/>
              <a:gd name="T72" fmla="*/ 340 w 340"/>
              <a:gd name="T73" fmla="*/ 48 h 302"/>
              <a:gd name="T74" fmla="*/ 340 w 340"/>
              <a:gd name="T75" fmla="*/ 38 h 302"/>
              <a:gd name="T76" fmla="*/ 332 w 340"/>
              <a:gd name="T77" fmla="*/ 22 h 302"/>
              <a:gd name="T78" fmla="*/ 320 w 340"/>
              <a:gd name="T79" fmla="*/ 8 h 302"/>
              <a:gd name="T80" fmla="*/ 302 w 340"/>
              <a:gd name="T81" fmla="*/ 2 h 302"/>
              <a:gd name="T82" fmla="*/ 292 w 340"/>
              <a:gd name="T83" fmla="*/ 0 h 302"/>
              <a:gd name="T84" fmla="*/ 240 w 340"/>
              <a:gd name="T85" fmla="*/ 102 h 302"/>
              <a:gd name="T86" fmla="*/ 94 w 340"/>
              <a:gd name="T87" fmla="*/ 152 h 302"/>
              <a:gd name="T88" fmla="*/ 24 w 340"/>
              <a:gd name="T89" fmla="*/ 222 h 302"/>
              <a:gd name="T90" fmla="*/ 22 w 340"/>
              <a:gd name="T91" fmla="*/ 210 h 302"/>
              <a:gd name="T92" fmla="*/ 22 w 340"/>
              <a:gd name="T93" fmla="*/ 48 h 302"/>
              <a:gd name="T94" fmla="*/ 30 w 340"/>
              <a:gd name="T95" fmla="*/ 30 h 302"/>
              <a:gd name="T96" fmla="*/ 48 w 340"/>
              <a:gd name="T97" fmla="*/ 22 h 302"/>
              <a:gd name="T98" fmla="*/ 292 w 340"/>
              <a:gd name="T99" fmla="*/ 22 h 302"/>
              <a:gd name="T100" fmla="*/ 312 w 340"/>
              <a:gd name="T101" fmla="*/ 30 h 302"/>
              <a:gd name="T102" fmla="*/ 318 w 340"/>
              <a:gd name="T103" fmla="*/ 48 h 302"/>
              <a:gd name="T104" fmla="*/ 96 w 340"/>
              <a:gd name="T105" fmla="*/ 302 h 302"/>
              <a:gd name="T106" fmla="*/ 244 w 340"/>
              <a:gd name="T107" fmla="*/ 294 h 302"/>
              <a:gd name="T108" fmla="*/ 96 w 340"/>
              <a:gd name="T109" fmla="*/ 302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40" h="302">
                <a:moveTo>
                  <a:pt x="128" y="46"/>
                </a:moveTo>
                <a:lnTo>
                  <a:pt x="128" y="46"/>
                </a:lnTo>
                <a:lnTo>
                  <a:pt x="122" y="48"/>
                </a:lnTo>
                <a:lnTo>
                  <a:pt x="116" y="48"/>
                </a:lnTo>
                <a:lnTo>
                  <a:pt x="110" y="52"/>
                </a:lnTo>
                <a:lnTo>
                  <a:pt x="106" y="56"/>
                </a:lnTo>
                <a:lnTo>
                  <a:pt x="102" y="60"/>
                </a:lnTo>
                <a:lnTo>
                  <a:pt x="98" y="66"/>
                </a:lnTo>
                <a:lnTo>
                  <a:pt x="96" y="72"/>
                </a:lnTo>
                <a:lnTo>
                  <a:pt x="96" y="78"/>
                </a:lnTo>
                <a:lnTo>
                  <a:pt x="96" y="78"/>
                </a:lnTo>
                <a:lnTo>
                  <a:pt x="96" y="86"/>
                </a:lnTo>
                <a:lnTo>
                  <a:pt x="98" y="92"/>
                </a:lnTo>
                <a:lnTo>
                  <a:pt x="102" y="96"/>
                </a:lnTo>
                <a:lnTo>
                  <a:pt x="106" y="102"/>
                </a:lnTo>
                <a:lnTo>
                  <a:pt x="110" y="106"/>
                </a:lnTo>
                <a:lnTo>
                  <a:pt x="116" y="108"/>
                </a:lnTo>
                <a:lnTo>
                  <a:pt x="122" y="110"/>
                </a:lnTo>
                <a:lnTo>
                  <a:pt x="128" y="110"/>
                </a:lnTo>
                <a:lnTo>
                  <a:pt x="128" y="110"/>
                </a:lnTo>
                <a:lnTo>
                  <a:pt x="134" y="110"/>
                </a:lnTo>
                <a:lnTo>
                  <a:pt x="142" y="108"/>
                </a:lnTo>
                <a:lnTo>
                  <a:pt x="146" y="106"/>
                </a:lnTo>
                <a:lnTo>
                  <a:pt x="152" y="102"/>
                </a:lnTo>
                <a:lnTo>
                  <a:pt x="156" y="96"/>
                </a:lnTo>
                <a:lnTo>
                  <a:pt x="158" y="92"/>
                </a:lnTo>
                <a:lnTo>
                  <a:pt x="160" y="86"/>
                </a:lnTo>
                <a:lnTo>
                  <a:pt x="160" y="78"/>
                </a:lnTo>
                <a:lnTo>
                  <a:pt x="160" y="78"/>
                </a:lnTo>
                <a:lnTo>
                  <a:pt x="160" y="72"/>
                </a:lnTo>
                <a:lnTo>
                  <a:pt x="158" y="66"/>
                </a:lnTo>
                <a:lnTo>
                  <a:pt x="156" y="60"/>
                </a:lnTo>
                <a:lnTo>
                  <a:pt x="152" y="56"/>
                </a:lnTo>
                <a:lnTo>
                  <a:pt x="146" y="52"/>
                </a:lnTo>
                <a:lnTo>
                  <a:pt x="142" y="48"/>
                </a:lnTo>
                <a:lnTo>
                  <a:pt x="134" y="48"/>
                </a:lnTo>
                <a:lnTo>
                  <a:pt x="128" y="46"/>
                </a:lnTo>
                <a:lnTo>
                  <a:pt x="128" y="46"/>
                </a:lnTo>
                <a:close/>
                <a:moveTo>
                  <a:pt x="292" y="0"/>
                </a:moveTo>
                <a:lnTo>
                  <a:pt x="48" y="0"/>
                </a:lnTo>
                <a:lnTo>
                  <a:pt x="48" y="0"/>
                </a:lnTo>
                <a:lnTo>
                  <a:pt x="38" y="2"/>
                </a:lnTo>
                <a:lnTo>
                  <a:pt x="28" y="4"/>
                </a:lnTo>
                <a:lnTo>
                  <a:pt x="20" y="8"/>
                </a:lnTo>
                <a:lnTo>
                  <a:pt x="14" y="14"/>
                </a:lnTo>
                <a:lnTo>
                  <a:pt x="8" y="22"/>
                </a:lnTo>
                <a:lnTo>
                  <a:pt x="4" y="30"/>
                </a:lnTo>
                <a:lnTo>
                  <a:pt x="0" y="38"/>
                </a:lnTo>
                <a:lnTo>
                  <a:pt x="0" y="48"/>
                </a:lnTo>
                <a:lnTo>
                  <a:pt x="0" y="210"/>
                </a:lnTo>
                <a:lnTo>
                  <a:pt x="0" y="210"/>
                </a:lnTo>
                <a:lnTo>
                  <a:pt x="0" y="220"/>
                </a:lnTo>
                <a:lnTo>
                  <a:pt x="4" y="230"/>
                </a:lnTo>
                <a:lnTo>
                  <a:pt x="8" y="238"/>
                </a:lnTo>
                <a:lnTo>
                  <a:pt x="14" y="244"/>
                </a:lnTo>
                <a:lnTo>
                  <a:pt x="20" y="250"/>
                </a:lnTo>
                <a:lnTo>
                  <a:pt x="28" y="256"/>
                </a:lnTo>
                <a:lnTo>
                  <a:pt x="38" y="258"/>
                </a:lnTo>
                <a:lnTo>
                  <a:pt x="48" y="258"/>
                </a:lnTo>
                <a:lnTo>
                  <a:pt x="130" y="258"/>
                </a:lnTo>
                <a:lnTo>
                  <a:pt x="130" y="284"/>
                </a:lnTo>
                <a:lnTo>
                  <a:pt x="210" y="284"/>
                </a:lnTo>
                <a:lnTo>
                  <a:pt x="210" y="258"/>
                </a:lnTo>
                <a:lnTo>
                  <a:pt x="292" y="258"/>
                </a:lnTo>
                <a:lnTo>
                  <a:pt x="292" y="258"/>
                </a:lnTo>
                <a:lnTo>
                  <a:pt x="302" y="258"/>
                </a:lnTo>
                <a:lnTo>
                  <a:pt x="312" y="256"/>
                </a:lnTo>
                <a:lnTo>
                  <a:pt x="320" y="250"/>
                </a:lnTo>
                <a:lnTo>
                  <a:pt x="326" y="244"/>
                </a:lnTo>
                <a:lnTo>
                  <a:pt x="332" y="238"/>
                </a:lnTo>
                <a:lnTo>
                  <a:pt x="336" y="230"/>
                </a:lnTo>
                <a:lnTo>
                  <a:pt x="340" y="220"/>
                </a:lnTo>
                <a:lnTo>
                  <a:pt x="340" y="210"/>
                </a:lnTo>
                <a:lnTo>
                  <a:pt x="340" y="48"/>
                </a:lnTo>
                <a:lnTo>
                  <a:pt x="340" y="48"/>
                </a:lnTo>
                <a:lnTo>
                  <a:pt x="340" y="38"/>
                </a:lnTo>
                <a:lnTo>
                  <a:pt x="336" y="30"/>
                </a:lnTo>
                <a:lnTo>
                  <a:pt x="332" y="22"/>
                </a:lnTo>
                <a:lnTo>
                  <a:pt x="326" y="14"/>
                </a:lnTo>
                <a:lnTo>
                  <a:pt x="320" y="8"/>
                </a:lnTo>
                <a:lnTo>
                  <a:pt x="312" y="4"/>
                </a:lnTo>
                <a:lnTo>
                  <a:pt x="302" y="2"/>
                </a:lnTo>
                <a:lnTo>
                  <a:pt x="292" y="0"/>
                </a:lnTo>
                <a:lnTo>
                  <a:pt x="292" y="0"/>
                </a:lnTo>
                <a:close/>
                <a:moveTo>
                  <a:pt x="318" y="182"/>
                </a:moveTo>
                <a:lnTo>
                  <a:pt x="240" y="102"/>
                </a:lnTo>
                <a:lnTo>
                  <a:pt x="142" y="200"/>
                </a:lnTo>
                <a:lnTo>
                  <a:pt x="94" y="152"/>
                </a:lnTo>
                <a:lnTo>
                  <a:pt x="24" y="222"/>
                </a:lnTo>
                <a:lnTo>
                  <a:pt x="24" y="222"/>
                </a:lnTo>
                <a:lnTo>
                  <a:pt x="22" y="216"/>
                </a:lnTo>
                <a:lnTo>
                  <a:pt x="22" y="210"/>
                </a:lnTo>
                <a:lnTo>
                  <a:pt x="22" y="48"/>
                </a:lnTo>
                <a:lnTo>
                  <a:pt x="22" y="48"/>
                </a:lnTo>
                <a:lnTo>
                  <a:pt x="24" y="38"/>
                </a:lnTo>
                <a:lnTo>
                  <a:pt x="30" y="30"/>
                </a:lnTo>
                <a:lnTo>
                  <a:pt x="38" y="24"/>
                </a:lnTo>
                <a:lnTo>
                  <a:pt x="48" y="22"/>
                </a:lnTo>
                <a:lnTo>
                  <a:pt x="292" y="22"/>
                </a:lnTo>
                <a:lnTo>
                  <a:pt x="292" y="22"/>
                </a:lnTo>
                <a:lnTo>
                  <a:pt x="302" y="24"/>
                </a:lnTo>
                <a:lnTo>
                  <a:pt x="312" y="30"/>
                </a:lnTo>
                <a:lnTo>
                  <a:pt x="316" y="38"/>
                </a:lnTo>
                <a:lnTo>
                  <a:pt x="318" y="48"/>
                </a:lnTo>
                <a:lnTo>
                  <a:pt x="318" y="182"/>
                </a:lnTo>
                <a:close/>
                <a:moveTo>
                  <a:pt x="96" y="302"/>
                </a:moveTo>
                <a:lnTo>
                  <a:pt x="244" y="302"/>
                </a:lnTo>
                <a:lnTo>
                  <a:pt x="244" y="294"/>
                </a:lnTo>
                <a:lnTo>
                  <a:pt x="96" y="294"/>
                </a:lnTo>
                <a:lnTo>
                  <a:pt x="96" y="3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id-ID" dirty="0">
              <a:latin typeface="微软雅黑 Light" panose="020B0502040204020203" pitchFamily="34" charset="-122"/>
              <a:ea typeface="微软雅黑 Light" panose="020B0502040204020203" pitchFamily="34" charset="-122"/>
              <a:cs typeface="思源黑体 CN Regular" panose="020B0500000000000000" charset="-122"/>
              <a:sym typeface="微软雅黑 Light" panose="020B0502040204020203" pitchFamily="34" charset="-122"/>
            </a:endParaRPr>
          </a:p>
        </p:txBody>
      </p:sp>
      <p:grpSp>
        <p:nvGrpSpPr>
          <p:cNvPr id="90" name="Group 4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10283253" y="4794725"/>
            <a:ext cx="385719" cy="381002"/>
            <a:chOff x="5826734" y="3292170"/>
            <a:chExt cx="316282" cy="312413"/>
          </a:xfrm>
          <a:solidFill>
            <a:schemeClr val="tx2"/>
          </a:solidFill>
        </p:grpSpPr>
        <p:sp>
          <p:nvSpPr>
            <p:cNvPr id="91" name="Freeform 14"/>
            <p:cNvSpPr/>
            <p:nvPr/>
          </p:nvSpPr>
          <p:spPr bwMode="auto">
            <a:xfrm>
              <a:off x="5941056" y="3551869"/>
              <a:ext cx="52714" cy="52714"/>
            </a:xfrm>
            <a:custGeom>
              <a:avLst/>
              <a:gdLst>
                <a:gd name="T0" fmla="*/ 0 w 46"/>
                <a:gd name="T1" fmla="*/ 22 h 46"/>
                <a:gd name="T2" fmla="*/ 0 w 46"/>
                <a:gd name="T3" fmla="*/ 22 h 46"/>
                <a:gd name="T4" fmla="*/ 2 w 46"/>
                <a:gd name="T5" fmla="*/ 14 h 46"/>
                <a:gd name="T6" fmla="*/ 6 w 46"/>
                <a:gd name="T7" fmla="*/ 6 h 46"/>
                <a:gd name="T8" fmla="*/ 14 w 46"/>
                <a:gd name="T9" fmla="*/ 0 h 46"/>
                <a:gd name="T10" fmla="*/ 22 w 46"/>
                <a:gd name="T11" fmla="*/ 0 h 46"/>
                <a:gd name="T12" fmla="*/ 22 w 46"/>
                <a:gd name="T13" fmla="*/ 0 h 46"/>
                <a:gd name="T14" fmla="*/ 32 w 46"/>
                <a:gd name="T15" fmla="*/ 0 h 46"/>
                <a:gd name="T16" fmla="*/ 38 w 46"/>
                <a:gd name="T17" fmla="*/ 6 h 46"/>
                <a:gd name="T18" fmla="*/ 44 w 46"/>
                <a:gd name="T19" fmla="*/ 14 h 46"/>
                <a:gd name="T20" fmla="*/ 46 w 46"/>
                <a:gd name="T21" fmla="*/ 22 h 46"/>
                <a:gd name="T22" fmla="*/ 46 w 46"/>
                <a:gd name="T23" fmla="*/ 22 h 46"/>
                <a:gd name="T24" fmla="*/ 44 w 46"/>
                <a:gd name="T25" fmla="*/ 32 h 46"/>
                <a:gd name="T26" fmla="*/ 38 w 46"/>
                <a:gd name="T27" fmla="*/ 40 h 46"/>
                <a:gd name="T28" fmla="*/ 32 w 46"/>
                <a:gd name="T29" fmla="*/ 44 h 46"/>
                <a:gd name="T30" fmla="*/ 22 w 46"/>
                <a:gd name="T31" fmla="*/ 46 h 46"/>
                <a:gd name="T32" fmla="*/ 22 w 46"/>
                <a:gd name="T33" fmla="*/ 46 h 46"/>
                <a:gd name="T34" fmla="*/ 14 w 46"/>
                <a:gd name="T35" fmla="*/ 44 h 46"/>
                <a:gd name="T36" fmla="*/ 6 w 46"/>
                <a:gd name="T37" fmla="*/ 40 h 46"/>
                <a:gd name="T38" fmla="*/ 2 w 46"/>
                <a:gd name="T39" fmla="*/ 32 h 46"/>
                <a:gd name="T40" fmla="*/ 0 w 46"/>
                <a:gd name="T41" fmla="*/ 22 h 46"/>
                <a:gd name="T42" fmla="*/ 0 w 46"/>
                <a:gd name="T43" fmla="*/ 2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46">
                  <a:moveTo>
                    <a:pt x="0" y="22"/>
                  </a:moveTo>
                  <a:lnTo>
                    <a:pt x="0" y="22"/>
                  </a:lnTo>
                  <a:lnTo>
                    <a:pt x="2" y="14"/>
                  </a:lnTo>
                  <a:lnTo>
                    <a:pt x="6" y="6"/>
                  </a:lnTo>
                  <a:lnTo>
                    <a:pt x="14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32" y="0"/>
                  </a:lnTo>
                  <a:lnTo>
                    <a:pt x="38" y="6"/>
                  </a:lnTo>
                  <a:lnTo>
                    <a:pt x="44" y="14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4" y="32"/>
                  </a:lnTo>
                  <a:lnTo>
                    <a:pt x="38" y="40"/>
                  </a:lnTo>
                  <a:lnTo>
                    <a:pt x="32" y="44"/>
                  </a:lnTo>
                  <a:lnTo>
                    <a:pt x="22" y="46"/>
                  </a:lnTo>
                  <a:lnTo>
                    <a:pt x="22" y="46"/>
                  </a:lnTo>
                  <a:lnTo>
                    <a:pt x="14" y="44"/>
                  </a:lnTo>
                  <a:lnTo>
                    <a:pt x="6" y="40"/>
                  </a:lnTo>
                  <a:lnTo>
                    <a:pt x="2" y="32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 dirty="0">
                <a:latin typeface="微软雅黑 Light" panose="020B0502040204020203" pitchFamily="34" charset="-122"/>
                <a:ea typeface="微软雅黑 Light" panose="020B0502040204020203" pitchFamily="34" charset="-122"/>
                <a:cs typeface="思源黑体 CN Regular" panose="020B0500000000000000" charset="-122"/>
                <a:sym typeface="微软雅黑 Light" panose="020B0502040204020203" pitchFamily="34" charset="-122"/>
              </a:endParaRPr>
            </a:p>
          </p:txBody>
        </p:sp>
        <p:sp>
          <p:nvSpPr>
            <p:cNvPr id="92" name="Freeform 15"/>
            <p:cNvSpPr/>
            <p:nvPr/>
          </p:nvSpPr>
          <p:spPr bwMode="auto">
            <a:xfrm>
              <a:off x="6073964" y="3551869"/>
              <a:ext cx="50422" cy="52714"/>
            </a:xfrm>
            <a:custGeom>
              <a:avLst/>
              <a:gdLst>
                <a:gd name="T0" fmla="*/ 0 w 44"/>
                <a:gd name="T1" fmla="*/ 22 h 46"/>
                <a:gd name="T2" fmla="*/ 0 w 44"/>
                <a:gd name="T3" fmla="*/ 22 h 46"/>
                <a:gd name="T4" fmla="*/ 0 w 44"/>
                <a:gd name="T5" fmla="*/ 14 h 46"/>
                <a:gd name="T6" fmla="*/ 6 w 44"/>
                <a:gd name="T7" fmla="*/ 6 h 46"/>
                <a:gd name="T8" fmla="*/ 14 w 44"/>
                <a:gd name="T9" fmla="*/ 0 h 46"/>
                <a:gd name="T10" fmla="*/ 22 w 44"/>
                <a:gd name="T11" fmla="*/ 0 h 46"/>
                <a:gd name="T12" fmla="*/ 22 w 44"/>
                <a:gd name="T13" fmla="*/ 0 h 46"/>
                <a:gd name="T14" fmla="*/ 30 w 44"/>
                <a:gd name="T15" fmla="*/ 0 h 46"/>
                <a:gd name="T16" fmla="*/ 38 w 44"/>
                <a:gd name="T17" fmla="*/ 6 h 46"/>
                <a:gd name="T18" fmla="*/ 44 w 44"/>
                <a:gd name="T19" fmla="*/ 14 h 46"/>
                <a:gd name="T20" fmla="*/ 44 w 44"/>
                <a:gd name="T21" fmla="*/ 22 h 46"/>
                <a:gd name="T22" fmla="*/ 44 w 44"/>
                <a:gd name="T23" fmla="*/ 22 h 46"/>
                <a:gd name="T24" fmla="*/ 44 w 44"/>
                <a:gd name="T25" fmla="*/ 32 h 46"/>
                <a:gd name="T26" fmla="*/ 38 w 44"/>
                <a:gd name="T27" fmla="*/ 40 h 46"/>
                <a:gd name="T28" fmla="*/ 30 w 44"/>
                <a:gd name="T29" fmla="*/ 44 h 46"/>
                <a:gd name="T30" fmla="*/ 22 w 44"/>
                <a:gd name="T31" fmla="*/ 46 h 46"/>
                <a:gd name="T32" fmla="*/ 22 w 44"/>
                <a:gd name="T33" fmla="*/ 46 h 46"/>
                <a:gd name="T34" fmla="*/ 14 w 44"/>
                <a:gd name="T35" fmla="*/ 44 h 46"/>
                <a:gd name="T36" fmla="*/ 6 w 44"/>
                <a:gd name="T37" fmla="*/ 40 h 46"/>
                <a:gd name="T38" fmla="*/ 0 w 44"/>
                <a:gd name="T39" fmla="*/ 32 h 46"/>
                <a:gd name="T40" fmla="*/ 0 w 44"/>
                <a:gd name="T41" fmla="*/ 22 h 46"/>
                <a:gd name="T42" fmla="*/ 0 w 44"/>
                <a:gd name="T43" fmla="*/ 2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4" h="46">
                  <a:moveTo>
                    <a:pt x="0" y="22"/>
                  </a:moveTo>
                  <a:lnTo>
                    <a:pt x="0" y="22"/>
                  </a:lnTo>
                  <a:lnTo>
                    <a:pt x="0" y="14"/>
                  </a:lnTo>
                  <a:lnTo>
                    <a:pt x="6" y="6"/>
                  </a:lnTo>
                  <a:lnTo>
                    <a:pt x="14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30" y="0"/>
                  </a:lnTo>
                  <a:lnTo>
                    <a:pt x="38" y="6"/>
                  </a:lnTo>
                  <a:lnTo>
                    <a:pt x="44" y="14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32"/>
                  </a:lnTo>
                  <a:lnTo>
                    <a:pt x="38" y="40"/>
                  </a:lnTo>
                  <a:lnTo>
                    <a:pt x="30" y="44"/>
                  </a:lnTo>
                  <a:lnTo>
                    <a:pt x="22" y="46"/>
                  </a:lnTo>
                  <a:lnTo>
                    <a:pt x="22" y="46"/>
                  </a:lnTo>
                  <a:lnTo>
                    <a:pt x="14" y="44"/>
                  </a:lnTo>
                  <a:lnTo>
                    <a:pt x="6" y="40"/>
                  </a:lnTo>
                  <a:lnTo>
                    <a:pt x="0" y="32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 dirty="0">
                <a:latin typeface="微软雅黑 Light" panose="020B0502040204020203" pitchFamily="34" charset="-122"/>
                <a:ea typeface="微软雅黑 Light" panose="020B0502040204020203" pitchFamily="34" charset="-122"/>
                <a:cs typeface="思源黑体 CN Regular" panose="020B0500000000000000" charset="-122"/>
                <a:sym typeface="微软雅黑 Light" panose="020B0502040204020203" pitchFamily="34" charset="-122"/>
              </a:endParaRPr>
            </a:p>
          </p:txBody>
        </p:sp>
        <p:sp>
          <p:nvSpPr>
            <p:cNvPr id="93" name="Freeform 16"/>
            <p:cNvSpPr>
              <a:spLocks noEditPoints="1"/>
            </p:cNvSpPr>
            <p:nvPr/>
          </p:nvSpPr>
          <p:spPr bwMode="auto">
            <a:xfrm>
              <a:off x="5826734" y="3292170"/>
              <a:ext cx="316282" cy="187936"/>
            </a:xfrm>
            <a:custGeom>
              <a:avLst/>
              <a:gdLst>
                <a:gd name="T0" fmla="*/ 266 w 276"/>
                <a:gd name="T1" fmla="*/ 52 h 164"/>
                <a:gd name="T2" fmla="*/ 106 w 276"/>
                <a:gd name="T3" fmla="*/ 52 h 164"/>
                <a:gd name="T4" fmla="*/ 106 w 276"/>
                <a:gd name="T5" fmla="*/ 52 h 164"/>
                <a:gd name="T6" fmla="*/ 100 w 276"/>
                <a:gd name="T7" fmla="*/ 50 h 164"/>
                <a:gd name="T8" fmla="*/ 94 w 276"/>
                <a:gd name="T9" fmla="*/ 46 h 164"/>
                <a:gd name="T10" fmla="*/ 90 w 276"/>
                <a:gd name="T11" fmla="*/ 42 h 164"/>
                <a:gd name="T12" fmla="*/ 88 w 276"/>
                <a:gd name="T13" fmla="*/ 34 h 164"/>
                <a:gd name="T14" fmla="*/ 88 w 276"/>
                <a:gd name="T15" fmla="*/ 16 h 164"/>
                <a:gd name="T16" fmla="*/ 88 w 276"/>
                <a:gd name="T17" fmla="*/ 16 h 164"/>
                <a:gd name="T18" fmla="*/ 86 w 276"/>
                <a:gd name="T19" fmla="*/ 10 h 164"/>
                <a:gd name="T20" fmla="*/ 82 w 276"/>
                <a:gd name="T21" fmla="*/ 4 h 164"/>
                <a:gd name="T22" fmla="*/ 76 w 276"/>
                <a:gd name="T23" fmla="*/ 0 h 164"/>
                <a:gd name="T24" fmla="*/ 70 w 276"/>
                <a:gd name="T25" fmla="*/ 0 h 164"/>
                <a:gd name="T26" fmla="*/ 18 w 276"/>
                <a:gd name="T27" fmla="*/ 0 h 164"/>
                <a:gd name="T28" fmla="*/ 18 w 276"/>
                <a:gd name="T29" fmla="*/ 0 h 164"/>
                <a:gd name="T30" fmla="*/ 12 w 276"/>
                <a:gd name="T31" fmla="*/ 0 h 164"/>
                <a:gd name="T32" fmla="*/ 6 w 276"/>
                <a:gd name="T33" fmla="*/ 4 h 164"/>
                <a:gd name="T34" fmla="*/ 2 w 276"/>
                <a:gd name="T35" fmla="*/ 8 h 164"/>
                <a:gd name="T36" fmla="*/ 0 w 276"/>
                <a:gd name="T37" fmla="*/ 14 h 164"/>
                <a:gd name="T38" fmla="*/ 0 w 276"/>
                <a:gd name="T39" fmla="*/ 14 h 164"/>
                <a:gd name="T40" fmla="*/ 2 w 276"/>
                <a:gd name="T41" fmla="*/ 20 h 164"/>
                <a:gd name="T42" fmla="*/ 4 w 276"/>
                <a:gd name="T43" fmla="*/ 26 h 164"/>
                <a:gd name="T44" fmla="*/ 10 w 276"/>
                <a:gd name="T45" fmla="*/ 28 h 164"/>
                <a:gd name="T46" fmla="*/ 16 w 276"/>
                <a:gd name="T47" fmla="*/ 30 h 164"/>
                <a:gd name="T48" fmla="*/ 36 w 276"/>
                <a:gd name="T49" fmla="*/ 30 h 164"/>
                <a:gd name="T50" fmla="*/ 36 w 276"/>
                <a:gd name="T51" fmla="*/ 30 h 164"/>
                <a:gd name="T52" fmla="*/ 42 w 276"/>
                <a:gd name="T53" fmla="*/ 30 h 164"/>
                <a:gd name="T54" fmla="*/ 50 w 276"/>
                <a:gd name="T55" fmla="*/ 34 h 164"/>
                <a:gd name="T56" fmla="*/ 54 w 276"/>
                <a:gd name="T57" fmla="*/ 40 h 164"/>
                <a:gd name="T58" fmla="*/ 58 w 276"/>
                <a:gd name="T59" fmla="*/ 46 h 164"/>
                <a:gd name="T60" fmla="*/ 98 w 276"/>
                <a:gd name="T61" fmla="*/ 150 h 164"/>
                <a:gd name="T62" fmla="*/ 98 w 276"/>
                <a:gd name="T63" fmla="*/ 150 h 164"/>
                <a:gd name="T64" fmla="*/ 100 w 276"/>
                <a:gd name="T65" fmla="*/ 156 h 164"/>
                <a:gd name="T66" fmla="*/ 106 w 276"/>
                <a:gd name="T67" fmla="*/ 160 h 164"/>
                <a:gd name="T68" fmla="*/ 112 w 276"/>
                <a:gd name="T69" fmla="*/ 164 h 164"/>
                <a:gd name="T70" fmla="*/ 120 w 276"/>
                <a:gd name="T71" fmla="*/ 164 h 164"/>
                <a:gd name="T72" fmla="*/ 218 w 276"/>
                <a:gd name="T73" fmla="*/ 164 h 164"/>
                <a:gd name="T74" fmla="*/ 218 w 276"/>
                <a:gd name="T75" fmla="*/ 164 h 164"/>
                <a:gd name="T76" fmla="*/ 226 w 276"/>
                <a:gd name="T77" fmla="*/ 164 h 164"/>
                <a:gd name="T78" fmla="*/ 232 w 276"/>
                <a:gd name="T79" fmla="*/ 160 h 164"/>
                <a:gd name="T80" fmla="*/ 238 w 276"/>
                <a:gd name="T81" fmla="*/ 156 h 164"/>
                <a:gd name="T82" fmla="*/ 242 w 276"/>
                <a:gd name="T83" fmla="*/ 150 h 164"/>
                <a:gd name="T84" fmla="*/ 276 w 276"/>
                <a:gd name="T85" fmla="*/ 68 h 164"/>
                <a:gd name="T86" fmla="*/ 276 w 276"/>
                <a:gd name="T87" fmla="*/ 68 h 164"/>
                <a:gd name="T88" fmla="*/ 276 w 276"/>
                <a:gd name="T89" fmla="*/ 62 h 164"/>
                <a:gd name="T90" fmla="*/ 276 w 276"/>
                <a:gd name="T91" fmla="*/ 56 h 164"/>
                <a:gd name="T92" fmla="*/ 272 w 276"/>
                <a:gd name="T93" fmla="*/ 52 h 164"/>
                <a:gd name="T94" fmla="*/ 266 w 276"/>
                <a:gd name="T95" fmla="*/ 52 h 164"/>
                <a:gd name="T96" fmla="*/ 266 w 276"/>
                <a:gd name="T97" fmla="*/ 52 h 164"/>
                <a:gd name="T98" fmla="*/ 212 w 276"/>
                <a:gd name="T99" fmla="*/ 142 h 164"/>
                <a:gd name="T100" fmla="*/ 128 w 276"/>
                <a:gd name="T101" fmla="*/ 142 h 164"/>
                <a:gd name="T102" fmla="*/ 106 w 276"/>
                <a:gd name="T103" fmla="*/ 76 h 164"/>
                <a:gd name="T104" fmla="*/ 238 w 276"/>
                <a:gd name="T105" fmla="*/ 76 h 164"/>
                <a:gd name="T106" fmla="*/ 212 w 276"/>
                <a:gd name="T107" fmla="*/ 142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76" h="164">
                  <a:moveTo>
                    <a:pt x="266" y="52"/>
                  </a:moveTo>
                  <a:lnTo>
                    <a:pt x="106" y="52"/>
                  </a:lnTo>
                  <a:lnTo>
                    <a:pt x="106" y="52"/>
                  </a:lnTo>
                  <a:lnTo>
                    <a:pt x="100" y="50"/>
                  </a:lnTo>
                  <a:lnTo>
                    <a:pt x="94" y="46"/>
                  </a:lnTo>
                  <a:lnTo>
                    <a:pt x="90" y="42"/>
                  </a:lnTo>
                  <a:lnTo>
                    <a:pt x="88" y="34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6" y="10"/>
                  </a:lnTo>
                  <a:lnTo>
                    <a:pt x="82" y="4"/>
                  </a:lnTo>
                  <a:lnTo>
                    <a:pt x="76" y="0"/>
                  </a:lnTo>
                  <a:lnTo>
                    <a:pt x="70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6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20"/>
                  </a:lnTo>
                  <a:lnTo>
                    <a:pt x="4" y="26"/>
                  </a:lnTo>
                  <a:lnTo>
                    <a:pt x="10" y="28"/>
                  </a:lnTo>
                  <a:lnTo>
                    <a:pt x="16" y="30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42" y="30"/>
                  </a:lnTo>
                  <a:lnTo>
                    <a:pt x="50" y="34"/>
                  </a:lnTo>
                  <a:lnTo>
                    <a:pt x="54" y="40"/>
                  </a:lnTo>
                  <a:lnTo>
                    <a:pt x="58" y="46"/>
                  </a:lnTo>
                  <a:lnTo>
                    <a:pt x="98" y="150"/>
                  </a:lnTo>
                  <a:lnTo>
                    <a:pt x="98" y="150"/>
                  </a:lnTo>
                  <a:lnTo>
                    <a:pt x="100" y="156"/>
                  </a:lnTo>
                  <a:lnTo>
                    <a:pt x="106" y="160"/>
                  </a:lnTo>
                  <a:lnTo>
                    <a:pt x="112" y="164"/>
                  </a:lnTo>
                  <a:lnTo>
                    <a:pt x="120" y="164"/>
                  </a:lnTo>
                  <a:lnTo>
                    <a:pt x="218" y="164"/>
                  </a:lnTo>
                  <a:lnTo>
                    <a:pt x="218" y="164"/>
                  </a:lnTo>
                  <a:lnTo>
                    <a:pt x="226" y="164"/>
                  </a:lnTo>
                  <a:lnTo>
                    <a:pt x="232" y="160"/>
                  </a:lnTo>
                  <a:lnTo>
                    <a:pt x="238" y="156"/>
                  </a:lnTo>
                  <a:lnTo>
                    <a:pt x="242" y="150"/>
                  </a:lnTo>
                  <a:lnTo>
                    <a:pt x="276" y="68"/>
                  </a:lnTo>
                  <a:lnTo>
                    <a:pt x="276" y="68"/>
                  </a:lnTo>
                  <a:lnTo>
                    <a:pt x="276" y="62"/>
                  </a:lnTo>
                  <a:lnTo>
                    <a:pt x="276" y="56"/>
                  </a:lnTo>
                  <a:lnTo>
                    <a:pt x="272" y="52"/>
                  </a:lnTo>
                  <a:lnTo>
                    <a:pt x="266" y="52"/>
                  </a:lnTo>
                  <a:lnTo>
                    <a:pt x="266" y="52"/>
                  </a:lnTo>
                  <a:close/>
                  <a:moveTo>
                    <a:pt x="212" y="142"/>
                  </a:moveTo>
                  <a:lnTo>
                    <a:pt x="128" y="142"/>
                  </a:lnTo>
                  <a:lnTo>
                    <a:pt x="106" y="76"/>
                  </a:lnTo>
                  <a:lnTo>
                    <a:pt x="238" y="76"/>
                  </a:lnTo>
                  <a:lnTo>
                    <a:pt x="212" y="1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 dirty="0">
                <a:latin typeface="微软雅黑 Light" panose="020B0502040204020203" pitchFamily="34" charset="-122"/>
                <a:ea typeface="微软雅黑 Light" panose="020B0502040204020203" pitchFamily="34" charset="-122"/>
                <a:cs typeface="思源黑体 CN Regular" panose="020B0500000000000000" charset="-122"/>
                <a:sym typeface="微软雅黑 Light" panose="020B0502040204020203" pitchFamily="34" charset="-122"/>
              </a:endParaRPr>
            </a:p>
          </p:txBody>
        </p:sp>
      </p:grpSp>
      <p:grpSp>
        <p:nvGrpSpPr>
          <p:cNvPr id="94" name="Group 4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8856841" y="4746948"/>
            <a:ext cx="392089" cy="392089"/>
            <a:chOff x="4543425" y="1855788"/>
            <a:chExt cx="244475" cy="244475"/>
          </a:xfrm>
          <a:solidFill>
            <a:schemeClr val="tx2"/>
          </a:solidFill>
        </p:grpSpPr>
        <p:sp>
          <p:nvSpPr>
            <p:cNvPr id="95" name="Freeform 132"/>
            <p:cNvSpPr>
              <a:spLocks noEditPoints="1"/>
            </p:cNvSpPr>
            <p:nvPr/>
          </p:nvSpPr>
          <p:spPr bwMode="auto">
            <a:xfrm>
              <a:off x="4559300" y="1995488"/>
              <a:ext cx="212725" cy="104775"/>
            </a:xfrm>
            <a:custGeom>
              <a:avLst/>
              <a:gdLst>
                <a:gd name="T0" fmla="*/ 14 w 134"/>
                <a:gd name="T1" fmla="*/ 66 h 66"/>
                <a:gd name="T2" fmla="*/ 4 w 134"/>
                <a:gd name="T3" fmla="*/ 60 h 66"/>
                <a:gd name="T4" fmla="*/ 134 w 134"/>
                <a:gd name="T5" fmla="*/ 0 h 66"/>
                <a:gd name="T6" fmla="*/ 130 w 134"/>
                <a:gd name="T7" fmla="*/ 56 h 66"/>
                <a:gd name="T8" fmla="*/ 122 w 134"/>
                <a:gd name="T9" fmla="*/ 66 h 66"/>
                <a:gd name="T10" fmla="*/ 4 w 134"/>
                <a:gd name="T11" fmla="*/ 4 h 66"/>
                <a:gd name="T12" fmla="*/ 10 w 134"/>
                <a:gd name="T13" fmla="*/ 60 h 66"/>
                <a:gd name="T14" fmla="*/ 118 w 134"/>
                <a:gd name="T15" fmla="*/ 62 h 66"/>
                <a:gd name="T16" fmla="*/ 130 w 134"/>
                <a:gd name="T17" fmla="*/ 4 h 66"/>
                <a:gd name="T18" fmla="*/ 104 w 134"/>
                <a:gd name="T19" fmla="*/ 56 h 66"/>
                <a:gd name="T20" fmla="*/ 98 w 134"/>
                <a:gd name="T21" fmla="*/ 20 h 66"/>
                <a:gd name="T22" fmla="*/ 104 w 134"/>
                <a:gd name="T23" fmla="*/ 14 h 66"/>
                <a:gd name="T24" fmla="*/ 110 w 134"/>
                <a:gd name="T25" fmla="*/ 20 h 66"/>
                <a:gd name="T26" fmla="*/ 108 w 134"/>
                <a:gd name="T27" fmla="*/ 54 h 66"/>
                <a:gd name="T28" fmla="*/ 104 w 134"/>
                <a:gd name="T29" fmla="*/ 18 h 66"/>
                <a:gd name="T30" fmla="*/ 102 w 134"/>
                <a:gd name="T31" fmla="*/ 20 h 66"/>
                <a:gd name="T32" fmla="*/ 104 w 134"/>
                <a:gd name="T33" fmla="*/ 50 h 66"/>
                <a:gd name="T34" fmla="*/ 106 w 134"/>
                <a:gd name="T35" fmla="*/ 50 h 66"/>
                <a:gd name="T36" fmla="*/ 106 w 134"/>
                <a:gd name="T37" fmla="*/ 20 h 66"/>
                <a:gd name="T38" fmla="*/ 104 w 134"/>
                <a:gd name="T39" fmla="*/ 18 h 66"/>
                <a:gd name="T40" fmla="*/ 76 w 134"/>
                <a:gd name="T41" fmla="*/ 54 h 66"/>
                <a:gd name="T42" fmla="*/ 74 w 134"/>
                <a:gd name="T43" fmla="*/ 20 h 66"/>
                <a:gd name="T44" fmla="*/ 80 w 134"/>
                <a:gd name="T45" fmla="*/ 14 h 66"/>
                <a:gd name="T46" fmla="*/ 84 w 134"/>
                <a:gd name="T47" fmla="*/ 48 h 66"/>
                <a:gd name="T48" fmla="*/ 80 w 134"/>
                <a:gd name="T49" fmla="*/ 56 h 66"/>
                <a:gd name="T50" fmla="*/ 80 w 134"/>
                <a:gd name="T51" fmla="*/ 18 h 66"/>
                <a:gd name="T52" fmla="*/ 78 w 134"/>
                <a:gd name="T53" fmla="*/ 48 h 66"/>
                <a:gd name="T54" fmla="*/ 80 w 134"/>
                <a:gd name="T55" fmla="*/ 52 h 66"/>
                <a:gd name="T56" fmla="*/ 80 w 134"/>
                <a:gd name="T57" fmla="*/ 48 h 66"/>
                <a:gd name="T58" fmla="*/ 80 w 134"/>
                <a:gd name="T59" fmla="*/ 18 h 66"/>
                <a:gd name="T60" fmla="*/ 54 w 134"/>
                <a:gd name="T61" fmla="*/ 56 h 66"/>
                <a:gd name="T62" fmla="*/ 48 w 134"/>
                <a:gd name="T63" fmla="*/ 48 h 66"/>
                <a:gd name="T64" fmla="*/ 50 w 134"/>
                <a:gd name="T65" fmla="*/ 16 h 66"/>
                <a:gd name="T66" fmla="*/ 58 w 134"/>
                <a:gd name="T67" fmla="*/ 16 h 66"/>
                <a:gd name="T68" fmla="*/ 60 w 134"/>
                <a:gd name="T69" fmla="*/ 48 h 66"/>
                <a:gd name="T70" fmla="*/ 54 w 134"/>
                <a:gd name="T71" fmla="*/ 56 h 66"/>
                <a:gd name="T72" fmla="*/ 52 w 134"/>
                <a:gd name="T73" fmla="*/ 18 h 66"/>
                <a:gd name="T74" fmla="*/ 52 w 134"/>
                <a:gd name="T75" fmla="*/ 48 h 66"/>
                <a:gd name="T76" fmla="*/ 54 w 134"/>
                <a:gd name="T77" fmla="*/ 52 h 66"/>
                <a:gd name="T78" fmla="*/ 56 w 134"/>
                <a:gd name="T79" fmla="*/ 20 h 66"/>
                <a:gd name="T80" fmla="*/ 54 w 134"/>
                <a:gd name="T81" fmla="*/ 18 h 66"/>
                <a:gd name="T82" fmla="*/ 28 w 134"/>
                <a:gd name="T83" fmla="*/ 56 h 66"/>
                <a:gd name="T84" fmla="*/ 24 w 134"/>
                <a:gd name="T85" fmla="*/ 20 h 66"/>
                <a:gd name="T86" fmla="*/ 28 w 134"/>
                <a:gd name="T87" fmla="*/ 14 h 66"/>
                <a:gd name="T88" fmla="*/ 34 w 134"/>
                <a:gd name="T89" fmla="*/ 20 h 66"/>
                <a:gd name="T90" fmla="*/ 32 w 134"/>
                <a:gd name="T91" fmla="*/ 54 h 66"/>
                <a:gd name="T92" fmla="*/ 28 w 134"/>
                <a:gd name="T93" fmla="*/ 18 h 66"/>
                <a:gd name="T94" fmla="*/ 28 w 134"/>
                <a:gd name="T95" fmla="*/ 20 h 66"/>
                <a:gd name="T96" fmla="*/ 28 w 134"/>
                <a:gd name="T97" fmla="*/ 50 h 66"/>
                <a:gd name="T98" fmla="*/ 30 w 134"/>
                <a:gd name="T99" fmla="*/ 50 h 66"/>
                <a:gd name="T100" fmla="*/ 30 w 134"/>
                <a:gd name="T101" fmla="*/ 20 h 66"/>
                <a:gd name="T102" fmla="*/ 28 w 134"/>
                <a:gd name="T103" fmla="*/ 1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4" h="66">
                  <a:moveTo>
                    <a:pt x="118" y="66"/>
                  </a:moveTo>
                  <a:lnTo>
                    <a:pt x="14" y="66"/>
                  </a:lnTo>
                  <a:lnTo>
                    <a:pt x="14" y="66"/>
                  </a:lnTo>
                  <a:lnTo>
                    <a:pt x="10" y="66"/>
                  </a:lnTo>
                  <a:lnTo>
                    <a:pt x="6" y="62"/>
                  </a:lnTo>
                  <a:lnTo>
                    <a:pt x="4" y="60"/>
                  </a:lnTo>
                  <a:lnTo>
                    <a:pt x="2" y="56"/>
                  </a:lnTo>
                  <a:lnTo>
                    <a:pt x="0" y="0"/>
                  </a:lnTo>
                  <a:lnTo>
                    <a:pt x="134" y="0"/>
                  </a:lnTo>
                  <a:lnTo>
                    <a:pt x="134" y="2"/>
                  </a:lnTo>
                  <a:lnTo>
                    <a:pt x="130" y="56"/>
                  </a:lnTo>
                  <a:lnTo>
                    <a:pt x="130" y="56"/>
                  </a:lnTo>
                  <a:lnTo>
                    <a:pt x="130" y="60"/>
                  </a:lnTo>
                  <a:lnTo>
                    <a:pt x="126" y="62"/>
                  </a:lnTo>
                  <a:lnTo>
                    <a:pt x="122" y="66"/>
                  </a:lnTo>
                  <a:lnTo>
                    <a:pt x="118" y="66"/>
                  </a:lnTo>
                  <a:lnTo>
                    <a:pt x="118" y="66"/>
                  </a:lnTo>
                  <a:close/>
                  <a:moveTo>
                    <a:pt x="4" y="4"/>
                  </a:moveTo>
                  <a:lnTo>
                    <a:pt x="6" y="54"/>
                  </a:lnTo>
                  <a:lnTo>
                    <a:pt x="6" y="54"/>
                  </a:lnTo>
                  <a:lnTo>
                    <a:pt x="10" y="60"/>
                  </a:lnTo>
                  <a:lnTo>
                    <a:pt x="14" y="62"/>
                  </a:lnTo>
                  <a:lnTo>
                    <a:pt x="118" y="62"/>
                  </a:lnTo>
                  <a:lnTo>
                    <a:pt x="118" y="62"/>
                  </a:lnTo>
                  <a:lnTo>
                    <a:pt x="124" y="60"/>
                  </a:lnTo>
                  <a:lnTo>
                    <a:pt x="126" y="54"/>
                  </a:lnTo>
                  <a:lnTo>
                    <a:pt x="130" y="4"/>
                  </a:lnTo>
                  <a:lnTo>
                    <a:pt x="4" y="4"/>
                  </a:lnTo>
                  <a:close/>
                  <a:moveTo>
                    <a:pt x="104" y="56"/>
                  </a:moveTo>
                  <a:lnTo>
                    <a:pt x="104" y="56"/>
                  </a:lnTo>
                  <a:lnTo>
                    <a:pt x="100" y="54"/>
                  </a:lnTo>
                  <a:lnTo>
                    <a:pt x="98" y="48"/>
                  </a:lnTo>
                  <a:lnTo>
                    <a:pt x="98" y="20"/>
                  </a:lnTo>
                  <a:lnTo>
                    <a:pt x="98" y="20"/>
                  </a:lnTo>
                  <a:lnTo>
                    <a:pt x="100" y="16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8" y="16"/>
                  </a:lnTo>
                  <a:lnTo>
                    <a:pt x="110" y="20"/>
                  </a:lnTo>
                  <a:lnTo>
                    <a:pt x="110" y="48"/>
                  </a:lnTo>
                  <a:lnTo>
                    <a:pt x="110" y="48"/>
                  </a:lnTo>
                  <a:lnTo>
                    <a:pt x="108" y="54"/>
                  </a:lnTo>
                  <a:lnTo>
                    <a:pt x="104" y="56"/>
                  </a:lnTo>
                  <a:lnTo>
                    <a:pt x="104" y="56"/>
                  </a:lnTo>
                  <a:close/>
                  <a:moveTo>
                    <a:pt x="104" y="18"/>
                  </a:moveTo>
                  <a:lnTo>
                    <a:pt x="104" y="18"/>
                  </a:lnTo>
                  <a:lnTo>
                    <a:pt x="104" y="18"/>
                  </a:lnTo>
                  <a:lnTo>
                    <a:pt x="102" y="20"/>
                  </a:lnTo>
                  <a:lnTo>
                    <a:pt x="102" y="48"/>
                  </a:lnTo>
                  <a:lnTo>
                    <a:pt x="102" y="48"/>
                  </a:lnTo>
                  <a:lnTo>
                    <a:pt x="104" y="50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6" y="50"/>
                  </a:lnTo>
                  <a:lnTo>
                    <a:pt x="106" y="48"/>
                  </a:lnTo>
                  <a:lnTo>
                    <a:pt x="106" y="20"/>
                  </a:lnTo>
                  <a:lnTo>
                    <a:pt x="106" y="20"/>
                  </a:lnTo>
                  <a:lnTo>
                    <a:pt x="106" y="18"/>
                  </a:lnTo>
                  <a:lnTo>
                    <a:pt x="104" y="18"/>
                  </a:lnTo>
                  <a:lnTo>
                    <a:pt x="104" y="18"/>
                  </a:lnTo>
                  <a:close/>
                  <a:moveTo>
                    <a:pt x="80" y="56"/>
                  </a:moveTo>
                  <a:lnTo>
                    <a:pt x="80" y="56"/>
                  </a:lnTo>
                  <a:lnTo>
                    <a:pt x="76" y="54"/>
                  </a:lnTo>
                  <a:lnTo>
                    <a:pt x="74" y="48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6" y="16"/>
                  </a:lnTo>
                  <a:lnTo>
                    <a:pt x="80" y="14"/>
                  </a:lnTo>
                  <a:lnTo>
                    <a:pt x="80" y="14"/>
                  </a:lnTo>
                  <a:lnTo>
                    <a:pt x="82" y="16"/>
                  </a:lnTo>
                  <a:lnTo>
                    <a:pt x="84" y="20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2" y="54"/>
                  </a:lnTo>
                  <a:lnTo>
                    <a:pt x="80" y="56"/>
                  </a:lnTo>
                  <a:lnTo>
                    <a:pt x="80" y="56"/>
                  </a:lnTo>
                  <a:close/>
                  <a:moveTo>
                    <a:pt x="80" y="18"/>
                  </a:moveTo>
                  <a:lnTo>
                    <a:pt x="80" y="18"/>
                  </a:lnTo>
                  <a:lnTo>
                    <a:pt x="78" y="18"/>
                  </a:lnTo>
                  <a:lnTo>
                    <a:pt x="78" y="20"/>
                  </a:lnTo>
                  <a:lnTo>
                    <a:pt x="78" y="48"/>
                  </a:lnTo>
                  <a:lnTo>
                    <a:pt x="78" y="48"/>
                  </a:lnTo>
                  <a:lnTo>
                    <a:pt x="78" y="50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0"/>
                  </a:lnTo>
                  <a:lnTo>
                    <a:pt x="80" y="48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close/>
                  <a:moveTo>
                    <a:pt x="54" y="56"/>
                  </a:moveTo>
                  <a:lnTo>
                    <a:pt x="54" y="56"/>
                  </a:lnTo>
                  <a:lnTo>
                    <a:pt x="50" y="54"/>
                  </a:lnTo>
                  <a:lnTo>
                    <a:pt x="48" y="48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0" y="16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8" y="16"/>
                  </a:lnTo>
                  <a:lnTo>
                    <a:pt x="60" y="20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8" y="54"/>
                  </a:lnTo>
                  <a:lnTo>
                    <a:pt x="54" y="56"/>
                  </a:lnTo>
                  <a:lnTo>
                    <a:pt x="54" y="56"/>
                  </a:lnTo>
                  <a:close/>
                  <a:moveTo>
                    <a:pt x="54" y="18"/>
                  </a:moveTo>
                  <a:lnTo>
                    <a:pt x="54" y="18"/>
                  </a:lnTo>
                  <a:lnTo>
                    <a:pt x="52" y="18"/>
                  </a:lnTo>
                  <a:lnTo>
                    <a:pt x="52" y="20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50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6" y="50"/>
                  </a:lnTo>
                  <a:lnTo>
                    <a:pt x="56" y="48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18"/>
                  </a:lnTo>
                  <a:lnTo>
                    <a:pt x="54" y="18"/>
                  </a:lnTo>
                  <a:lnTo>
                    <a:pt x="54" y="18"/>
                  </a:lnTo>
                  <a:close/>
                  <a:moveTo>
                    <a:pt x="28" y="56"/>
                  </a:moveTo>
                  <a:lnTo>
                    <a:pt x="28" y="56"/>
                  </a:lnTo>
                  <a:lnTo>
                    <a:pt x="26" y="54"/>
                  </a:lnTo>
                  <a:lnTo>
                    <a:pt x="24" y="48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6" y="16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32" y="16"/>
                  </a:lnTo>
                  <a:lnTo>
                    <a:pt x="34" y="20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2" y="54"/>
                  </a:lnTo>
                  <a:lnTo>
                    <a:pt x="28" y="56"/>
                  </a:lnTo>
                  <a:lnTo>
                    <a:pt x="28" y="56"/>
                  </a:lnTo>
                  <a:close/>
                  <a:moveTo>
                    <a:pt x="28" y="18"/>
                  </a:moveTo>
                  <a:lnTo>
                    <a:pt x="28" y="18"/>
                  </a:lnTo>
                  <a:lnTo>
                    <a:pt x="28" y="18"/>
                  </a:lnTo>
                  <a:lnTo>
                    <a:pt x="28" y="20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50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30" y="50"/>
                  </a:lnTo>
                  <a:lnTo>
                    <a:pt x="30" y="48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18"/>
                  </a:lnTo>
                  <a:lnTo>
                    <a:pt x="28" y="18"/>
                  </a:lnTo>
                  <a:lnTo>
                    <a:pt x="28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 dirty="0">
                <a:latin typeface="微软雅黑 Light" panose="020B0502040204020203" pitchFamily="34" charset="-122"/>
                <a:ea typeface="微软雅黑 Light" panose="020B0502040204020203" pitchFamily="34" charset="-122"/>
                <a:cs typeface="思源黑体 CN Regular" panose="020B0500000000000000" charset="-122"/>
                <a:sym typeface="微软雅黑 Light" panose="020B0502040204020203" pitchFamily="34" charset="-122"/>
              </a:endParaRPr>
            </a:p>
          </p:txBody>
        </p:sp>
        <p:sp>
          <p:nvSpPr>
            <p:cNvPr id="96" name="Freeform 133"/>
            <p:cNvSpPr>
              <a:spLocks noEditPoints="1"/>
            </p:cNvSpPr>
            <p:nvPr/>
          </p:nvSpPr>
          <p:spPr bwMode="auto">
            <a:xfrm>
              <a:off x="4543425" y="1944688"/>
              <a:ext cx="123825" cy="50800"/>
            </a:xfrm>
            <a:custGeom>
              <a:avLst/>
              <a:gdLst>
                <a:gd name="T0" fmla="*/ 78 w 78"/>
                <a:gd name="T1" fmla="*/ 32 h 32"/>
                <a:gd name="T2" fmla="*/ 6 w 78"/>
                <a:gd name="T3" fmla="*/ 32 h 32"/>
                <a:gd name="T4" fmla="*/ 6 w 78"/>
                <a:gd name="T5" fmla="*/ 32 h 32"/>
                <a:gd name="T6" fmla="*/ 2 w 78"/>
                <a:gd name="T7" fmla="*/ 30 h 32"/>
                <a:gd name="T8" fmla="*/ 0 w 78"/>
                <a:gd name="T9" fmla="*/ 24 h 32"/>
                <a:gd name="T10" fmla="*/ 0 w 78"/>
                <a:gd name="T11" fmla="*/ 6 h 32"/>
                <a:gd name="T12" fmla="*/ 0 w 78"/>
                <a:gd name="T13" fmla="*/ 6 h 32"/>
                <a:gd name="T14" fmla="*/ 2 w 78"/>
                <a:gd name="T15" fmla="*/ 2 h 32"/>
                <a:gd name="T16" fmla="*/ 6 w 78"/>
                <a:gd name="T17" fmla="*/ 0 h 32"/>
                <a:gd name="T18" fmla="*/ 64 w 78"/>
                <a:gd name="T19" fmla="*/ 0 h 32"/>
                <a:gd name="T20" fmla="*/ 56 w 78"/>
                <a:gd name="T21" fmla="*/ 6 h 32"/>
                <a:gd name="T22" fmla="*/ 56 w 78"/>
                <a:gd name="T23" fmla="*/ 6 h 32"/>
                <a:gd name="T24" fmla="*/ 56 w 78"/>
                <a:gd name="T25" fmla="*/ 8 h 32"/>
                <a:gd name="T26" fmla="*/ 54 w 78"/>
                <a:gd name="T27" fmla="*/ 10 h 32"/>
                <a:gd name="T28" fmla="*/ 54 w 78"/>
                <a:gd name="T29" fmla="*/ 10 h 32"/>
                <a:gd name="T30" fmla="*/ 56 w 78"/>
                <a:gd name="T31" fmla="*/ 14 h 32"/>
                <a:gd name="T32" fmla="*/ 56 w 78"/>
                <a:gd name="T33" fmla="*/ 16 h 32"/>
                <a:gd name="T34" fmla="*/ 66 w 78"/>
                <a:gd name="T35" fmla="*/ 26 h 32"/>
                <a:gd name="T36" fmla="*/ 66 w 78"/>
                <a:gd name="T37" fmla="*/ 26 h 32"/>
                <a:gd name="T38" fmla="*/ 70 w 78"/>
                <a:gd name="T39" fmla="*/ 28 h 32"/>
                <a:gd name="T40" fmla="*/ 78 w 78"/>
                <a:gd name="T41" fmla="*/ 32 h 32"/>
                <a:gd name="T42" fmla="*/ 6 w 78"/>
                <a:gd name="T43" fmla="*/ 4 h 32"/>
                <a:gd name="T44" fmla="*/ 6 w 78"/>
                <a:gd name="T45" fmla="*/ 4 h 32"/>
                <a:gd name="T46" fmla="*/ 4 w 78"/>
                <a:gd name="T47" fmla="*/ 4 h 32"/>
                <a:gd name="T48" fmla="*/ 4 w 78"/>
                <a:gd name="T49" fmla="*/ 6 h 32"/>
                <a:gd name="T50" fmla="*/ 4 w 78"/>
                <a:gd name="T51" fmla="*/ 24 h 32"/>
                <a:gd name="T52" fmla="*/ 4 w 78"/>
                <a:gd name="T53" fmla="*/ 24 h 32"/>
                <a:gd name="T54" fmla="*/ 4 w 78"/>
                <a:gd name="T55" fmla="*/ 26 h 32"/>
                <a:gd name="T56" fmla="*/ 6 w 78"/>
                <a:gd name="T57" fmla="*/ 28 h 32"/>
                <a:gd name="T58" fmla="*/ 64 w 78"/>
                <a:gd name="T59" fmla="*/ 28 h 32"/>
                <a:gd name="T60" fmla="*/ 54 w 78"/>
                <a:gd name="T61" fmla="*/ 18 h 32"/>
                <a:gd name="T62" fmla="*/ 54 w 78"/>
                <a:gd name="T63" fmla="*/ 18 h 32"/>
                <a:gd name="T64" fmla="*/ 52 w 78"/>
                <a:gd name="T65" fmla="*/ 16 h 32"/>
                <a:gd name="T66" fmla="*/ 52 w 78"/>
                <a:gd name="T67" fmla="*/ 10 h 32"/>
                <a:gd name="T68" fmla="*/ 52 w 78"/>
                <a:gd name="T69" fmla="*/ 10 h 32"/>
                <a:gd name="T70" fmla="*/ 52 w 78"/>
                <a:gd name="T71" fmla="*/ 6 h 32"/>
                <a:gd name="T72" fmla="*/ 54 w 78"/>
                <a:gd name="T73" fmla="*/ 4 h 32"/>
                <a:gd name="T74" fmla="*/ 6 w 78"/>
                <a:gd name="T75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8" h="32">
                  <a:moveTo>
                    <a:pt x="78" y="32"/>
                  </a:moveTo>
                  <a:lnTo>
                    <a:pt x="6" y="32"/>
                  </a:lnTo>
                  <a:lnTo>
                    <a:pt x="6" y="32"/>
                  </a:lnTo>
                  <a:lnTo>
                    <a:pt x="2" y="30"/>
                  </a:lnTo>
                  <a:lnTo>
                    <a:pt x="0" y="24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4" y="0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8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6" y="14"/>
                  </a:lnTo>
                  <a:lnTo>
                    <a:pt x="56" y="1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70" y="28"/>
                  </a:lnTo>
                  <a:lnTo>
                    <a:pt x="78" y="32"/>
                  </a:lnTo>
                  <a:close/>
                  <a:moveTo>
                    <a:pt x="6" y="4"/>
                  </a:moveTo>
                  <a:lnTo>
                    <a:pt x="6" y="4"/>
                  </a:lnTo>
                  <a:lnTo>
                    <a:pt x="4" y="4"/>
                  </a:lnTo>
                  <a:lnTo>
                    <a:pt x="4" y="6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64" y="2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2" y="16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6"/>
                  </a:lnTo>
                  <a:lnTo>
                    <a:pt x="54" y="4"/>
                  </a:lnTo>
                  <a:lnTo>
                    <a:pt x="6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 dirty="0">
                <a:latin typeface="微软雅黑 Light" panose="020B0502040204020203" pitchFamily="34" charset="-122"/>
                <a:ea typeface="微软雅黑 Light" panose="020B0502040204020203" pitchFamily="34" charset="-122"/>
                <a:cs typeface="思源黑体 CN Regular" panose="020B0500000000000000" charset="-122"/>
                <a:sym typeface="微软雅黑 Light" panose="020B0502040204020203" pitchFamily="34" charset="-122"/>
              </a:endParaRPr>
            </a:p>
          </p:txBody>
        </p:sp>
        <p:sp>
          <p:nvSpPr>
            <p:cNvPr id="97" name="Freeform 134"/>
            <p:cNvSpPr>
              <a:spLocks noEditPoints="1"/>
            </p:cNvSpPr>
            <p:nvPr/>
          </p:nvSpPr>
          <p:spPr bwMode="auto">
            <a:xfrm>
              <a:off x="4648200" y="1944688"/>
              <a:ext cx="139700" cy="50800"/>
            </a:xfrm>
            <a:custGeom>
              <a:avLst/>
              <a:gdLst>
                <a:gd name="T0" fmla="*/ 82 w 88"/>
                <a:gd name="T1" fmla="*/ 32 h 32"/>
                <a:gd name="T2" fmla="*/ 0 w 88"/>
                <a:gd name="T3" fmla="*/ 32 h 32"/>
                <a:gd name="T4" fmla="*/ 10 w 88"/>
                <a:gd name="T5" fmla="*/ 28 h 32"/>
                <a:gd name="T6" fmla="*/ 10 w 88"/>
                <a:gd name="T7" fmla="*/ 28 h 32"/>
                <a:gd name="T8" fmla="*/ 12 w 88"/>
                <a:gd name="T9" fmla="*/ 26 h 32"/>
                <a:gd name="T10" fmla="*/ 38 w 88"/>
                <a:gd name="T11" fmla="*/ 0 h 32"/>
                <a:gd name="T12" fmla="*/ 82 w 88"/>
                <a:gd name="T13" fmla="*/ 0 h 32"/>
                <a:gd name="T14" fmla="*/ 82 w 88"/>
                <a:gd name="T15" fmla="*/ 0 h 32"/>
                <a:gd name="T16" fmla="*/ 86 w 88"/>
                <a:gd name="T17" fmla="*/ 2 h 32"/>
                <a:gd name="T18" fmla="*/ 88 w 88"/>
                <a:gd name="T19" fmla="*/ 6 h 32"/>
                <a:gd name="T20" fmla="*/ 88 w 88"/>
                <a:gd name="T21" fmla="*/ 24 h 32"/>
                <a:gd name="T22" fmla="*/ 88 w 88"/>
                <a:gd name="T23" fmla="*/ 24 h 32"/>
                <a:gd name="T24" fmla="*/ 86 w 88"/>
                <a:gd name="T25" fmla="*/ 30 h 32"/>
                <a:gd name="T26" fmla="*/ 82 w 88"/>
                <a:gd name="T27" fmla="*/ 32 h 32"/>
                <a:gd name="T28" fmla="*/ 82 w 88"/>
                <a:gd name="T29" fmla="*/ 32 h 32"/>
                <a:gd name="T30" fmla="*/ 16 w 88"/>
                <a:gd name="T31" fmla="*/ 28 h 32"/>
                <a:gd name="T32" fmla="*/ 82 w 88"/>
                <a:gd name="T33" fmla="*/ 28 h 32"/>
                <a:gd name="T34" fmla="*/ 82 w 88"/>
                <a:gd name="T35" fmla="*/ 28 h 32"/>
                <a:gd name="T36" fmla="*/ 84 w 88"/>
                <a:gd name="T37" fmla="*/ 26 h 32"/>
                <a:gd name="T38" fmla="*/ 84 w 88"/>
                <a:gd name="T39" fmla="*/ 24 h 32"/>
                <a:gd name="T40" fmla="*/ 84 w 88"/>
                <a:gd name="T41" fmla="*/ 6 h 32"/>
                <a:gd name="T42" fmla="*/ 84 w 88"/>
                <a:gd name="T43" fmla="*/ 6 h 32"/>
                <a:gd name="T44" fmla="*/ 84 w 88"/>
                <a:gd name="T45" fmla="*/ 4 h 32"/>
                <a:gd name="T46" fmla="*/ 82 w 88"/>
                <a:gd name="T47" fmla="*/ 4 h 32"/>
                <a:gd name="T48" fmla="*/ 40 w 88"/>
                <a:gd name="T49" fmla="*/ 4 h 32"/>
                <a:gd name="T50" fmla="*/ 16 w 88"/>
                <a:gd name="T51" fmla="*/ 2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8" h="32">
                  <a:moveTo>
                    <a:pt x="82" y="32"/>
                  </a:moveTo>
                  <a:lnTo>
                    <a:pt x="0" y="32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2" y="26"/>
                  </a:lnTo>
                  <a:lnTo>
                    <a:pt x="38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6" y="2"/>
                  </a:lnTo>
                  <a:lnTo>
                    <a:pt x="88" y="6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6" y="30"/>
                  </a:lnTo>
                  <a:lnTo>
                    <a:pt x="82" y="32"/>
                  </a:lnTo>
                  <a:lnTo>
                    <a:pt x="82" y="32"/>
                  </a:lnTo>
                  <a:close/>
                  <a:moveTo>
                    <a:pt x="16" y="28"/>
                  </a:moveTo>
                  <a:lnTo>
                    <a:pt x="82" y="28"/>
                  </a:lnTo>
                  <a:lnTo>
                    <a:pt x="82" y="28"/>
                  </a:lnTo>
                  <a:lnTo>
                    <a:pt x="84" y="26"/>
                  </a:lnTo>
                  <a:lnTo>
                    <a:pt x="84" y="24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4" y="4"/>
                  </a:lnTo>
                  <a:lnTo>
                    <a:pt x="82" y="4"/>
                  </a:lnTo>
                  <a:lnTo>
                    <a:pt x="40" y="4"/>
                  </a:lnTo>
                  <a:lnTo>
                    <a:pt x="1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 dirty="0">
                <a:latin typeface="微软雅黑 Light" panose="020B0502040204020203" pitchFamily="34" charset="-122"/>
                <a:ea typeface="微软雅黑 Light" panose="020B0502040204020203" pitchFamily="34" charset="-122"/>
                <a:cs typeface="思源黑体 CN Regular" panose="020B0500000000000000" charset="-122"/>
                <a:sym typeface="微软雅黑 Light" panose="020B0502040204020203" pitchFamily="34" charset="-122"/>
              </a:endParaRPr>
            </a:p>
          </p:txBody>
        </p:sp>
        <p:sp>
          <p:nvSpPr>
            <p:cNvPr id="98" name="Freeform 135"/>
            <p:cNvSpPr>
              <a:spLocks noEditPoints="1"/>
            </p:cNvSpPr>
            <p:nvPr/>
          </p:nvSpPr>
          <p:spPr bwMode="auto">
            <a:xfrm>
              <a:off x="4632325" y="1855788"/>
              <a:ext cx="130175" cy="133350"/>
            </a:xfrm>
            <a:custGeom>
              <a:avLst/>
              <a:gdLst>
                <a:gd name="T0" fmla="*/ 16 w 82"/>
                <a:gd name="T1" fmla="*/ 84 h 84"/>
                <a:gd name="T2" fmla="*/ 16 w 82"/>
                <a:gd name="T3" fmla="*/ 84 h 84"/>
                <a:gd name="T4" fmla="*/ 12 w 82"/>
                <a:gd name="T5" fmla="*/ 82 h 84"/>
                <a:gd name="T6" fmla="*/ 2 w 82"/>
                <a:gd name="T7" fmla="*/ 72 h 84"/>
                <a:gd name="T8" fmla="*/ 2 w 82"/>
                <a:gd name="T9" fmla="*/ 72 h 84"/>
                <a:gd name="T10" fmla="*/ 0 w 82"/>
                <a:gd name="T11" fmla="*/ 66 h 84"/>
                <a:gd name="T12" fmla="*/ 0 w 82"/>
                <a:gd name="T13" fmla="*/ 66 h 84"/>
                <a:gd name="T14" fmla="*/ 2 w 82"/>
                <a:gd name="T15" fmla="*/ 62 h 84"/>
                <a:gd name="T16" fmla="*/ 62 w 82"/>
                <a:gd name="T17" fmla="*/ 2 h 84"/>
                <a:gd name="T18" fmla="*/ 62 w 82"/>
                <a:gd name="T19" fmla="*/ 2 h 84"/>
                <a:gd name="T20" fmla="*/ 66 w 82"/>
                <a:gd name="T21" fmla="*/ 0 h 84"/>
                <a:gd name="T22" fmla="*/ 70 w 82"/>
                <a:gd name="T23" fmla="*/ 2 h 84"/>
                <a:gd name="T24" fmla="*/ 80 w 82"/>
                <a:gd name="T25" fmla="*/ 12 h 84"/>
                <a:gd name="T26" fmla="*/ 80 w 82"/>
                <a:gd name="T27" fmla="*/ 12 h 84"/>
                <a:gd name="T28" fmla="*/ 82 w 82"/>
                <a:gd name="T29" fmla="*/ 18 h 84"/>
                <a:gd name="T30" fmla="*/ 82 w 82"/>
                <a:gd name="T31" fmla="*/ 18 h 84"/>
                <a:gd name="T32" fmla="*/ 80 w 82"/>
                <a:gd name="T33" fmla="*/ 22 h 84"/>
                <a:gd name="T34" fmla="*/ 20 w 82"/>
                <a:gd name="T35" fmla="*/ 82 h 84"/>
                <a:gd name="T36" fmla="*/ 20 w 82"/>
                <a:gd name="T37" fmla="*/ 82 h 84"/>
                <a:gd name="T38" fmla="*/ 16 w 82"/>
                <a:gd name="T39" fmla="*/ 84 h 84"/>
                <a:gd name="T40" fmla="*/ 16 w 82"/>
                <a:gd name="T41" fmla="*/ 84 h 84"/>
                <a:gd name="T42" fmla="*/ 66 w 82"/>
                <a:gd name="T43" fmla="*/ 4 h 84"/>
                <a:gd name="T44" fmla="*/ 66 w 82"/>
                <a:gd name="T45" fmla="*/ 4 h 84"/>
                <a:gd name="T46" fmla="*/ 64 w 82"/>
                <a:gd name="T47" fmla="*/ 6 h 84"/>
                <a:gd name="T48" fmla="*/ 4 w 82"/>
                <a:gd name="T49" fmla="*/ 64 h 84"/>
                <a:gd name="T50" fmla="*/ 4 w 82"/>
                <a:gd name="T51" fmla="*/ 66 h 84"/>
                <a:gd name="T52" fmla="*/ 4 w 82"/>
                <a:gd name="T53" fmla="*/ 66 h 84"/>
                <a:gd name="T54" fmla="*/ 4 w 82"/>
                <a:gd name="T55" fmla="*/ 68 h 84"/>
                <a:gd name="T56" fmla="*/ 14 w 82"/>
                <a:gd name="T57" fmla="*/ 78 h 84"/>
                <a:gd name="T58" fmla="*/ 14 w 82"/>
                <a:gd name="T59" fmla="*/ 78 h 84"/>
                <a:gd name="T60" fmla="*/ 16 w 82"/>
                <a:gd name="T61" fmla="*/ 80 h 84"/>
                <a:gd name="T62" fmla="*/ 18 w 82"/>
                <a:gd name="T63" fmla="*/ 78 h 84"/>
                <a:gd name="T64" fmla="*/ 78 w 82"/>
                <a:gd name="T65" fmla="*/ 20 h 84"/>
                <a:gd name="T66" fmla="*/ 78 w 82"/>
                <a:gd name="T67" fmla="*/ 20 h 84"/>
                <a:gd name="T68" fmla="*/ 78 w 82"/>
                <a:gd name="T69" fmla="*/ 18 h 84"/>
                <a:gd name="T70" fmla="*/ 78 w 82"/>
                <a:gd name="T71" fmla="*/ 18 h 84"/>
                <a:gd name="T72" fmla="*/ 78 w 82"/>
                <a:gd name="T73" fmla="*/ 16 h 84"/>
                <a:gd name="T74" fmla="*/ 68 w 82"/>
                <a:gd name="T75" fmla="*/ 6 h 84"/>
                <a:gd name="T76" fmla="*/ 68 w 82"/>
                <a:gd name="T77" fmla="*/ 6 h 84"/>
                <a:gd name="T78" fmla="*/ 66 w 82"/>
                <a:gd name="T79" fmla="*/ 4 h 84"/>
                <a:gd name="T80" fmla="*/ 66 w 82"/>
                <a:gd name="T81" fmla="*/ 4 h 84"/>
                <a:gd name="T82" fmla="*/ 16 w 82"/>
                <a:gd name="T83" fmla="*/ 74 h 84"/>
                <a:gd name="T84" fmla="*/ 16 w 82"/>
                <a:gd name="T85" fmla="*/ 74 h 84"/>
                <a:gd name="T86" fmla="*/ 10 w 82"/>
                <a:gd name="T87" fmla="*/ 72 h 84"/>
                <a:gd name="T88" fmla="*/ 8 w 82"/>
                <a:gd name="T89" fmla="*/ 68 h 84"/>
                <a:gd name="T90" fmla="*/ 8 w 82"/>
                <a:gd name="T91" fmla="*/ 68 h 84"/>
                <a:gd name="T92" fmla="*/ 10 w 82"/>
                <a:gd name="T93" fmla="*/ 62 h 84"/>
                <a:gd name="T94" fmla="*/ 16 w 82"/>
                <a:gd name="T95" fmla="*/ 60 h 84"/>
                <a:gd name="T96" fmla="*/ 16 w 82"/>
                <a:gd name="T97" fmla="*/ 60 h 84"/>
                <a:gd name="T98" fmla="*/ 20 w 82"/>
                <a:gd name="T99" fmla="*/ 62 h 84"/>
                <a:gd name="T100" fmla="*/ 22 w 82"/>
                <a:gd name="T101" fmla="*/ 68 h 84"/>
                <a:gd name="T102" fmla="*/ 22 w 82"/>
                <a:gd name="T103" fmla="*/ 68 h 84"/>
                <a:gd name="T104" fmla="*/ 20 w 82"/>
                <a:gd name="T105" fmla="*/ 72 h 84"/>
                <a:gd name="T106" fmla="*/ 16 w 82"/>
                <a:gd name="T107" fmla="*/ 74 h 84"/>
                <a:gd name="T108" fmla="*/ 16 w 82"/>
                <a:gd name="T109" fmla="*/ 7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2" h="84">
                  <a:moveTo>
                    <a:pt x="16" y="84"/>
                  </a:moveTo>
                  <a:lnTo>
                    <a:pt x="16" y="84"/>
                  </a:lnTo>
                  <a:lnTo>
                    <a:pt x="12" y="8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2" y="6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6" y="0"/>
                  </a:lnTo>
                  <a:lnTo>
                    <a:pt x="70" y="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2" y="18"/>
                  </a:lnTo>
                  <a:lnTo>
                    <a:pt x="82" y="18"/>
                  </a:lnTo>
                  <a:lnTo>
                    <a:pt x="80" y="2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16" y="84"/>
                  </a:lnTo>
                  <a:lnTo>
                    <a:pt x="16" y="84"/>
                  </a:lnTo>
                  <a:close/>
                  <a:moveTo>
                    <a:pt x="66" y="4"/>
                  </a:moveTo>
                  <a:lnTo>
                    <a:pt x="66" y="4"/>
                  </a:lnTo>
                  <a:lnTo>
                    <a:pt x="64" y="6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4" y="68"/>
                  </a:lnTo>
                  <a:lnTo>
                    <a:pt x="14" y="78"/>
                  </a:lnTo>
                  <a:lnTo>
                    <a:pt x="14" y="78"/>
                  </a:lnTo>
                  <a:lnTo>
                    <a:pt x="16" y="80"/>
                  </a:lnTo>
                  <a:lnTo>
                    <a:pt x="18" y="78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8" y="16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6" y="4"/>
                  </a:lnTo>
                  <a:lnTo>
                    <a:pt x="66" y="4"/>
                  </a:lnTo>
                  <a:close/>
                  <a:moveTo>
                    <a:pt x="16" y="74"/>
                  </a:moveTo>
                  <a:lnTo>
                    <a:pt x="16" y="74"/>
                  </a:lnTo>
                  <a:lnTo>
                    <a:pt x="10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10" y="62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20" y="62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20" y="72"/>
                  </a:lnTo>
                  <a:lnTo>
                    <a:pt x="16" y="74"/>
                  </a:lnTo>
                  <a:lnTo>
                    <a:pt x="16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 dirty="0">
                <a:latin typeface="微软雅黑 Light" panose="020B0502040204020203" pitchFamily="34" charset="-122"/>
                <a:ea typeface="微软雅黑 Light" panose="020B0502040204020203" pitchFamily="34" charset="-122"/>
                <a:cs typeface="思源黑体 CN Regular" panose="020B0500000000000000" charset="-122"/>
                <a:sym typeface="微软雅黑 Light" panose="020B0502040204020203" pitchFamily="34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onal Stripe 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740699" y="-1"/>
            <a:ext cx="5985569" cy="5985569"/>
          </a:xfrm>
          <a:prstGeom prst="diagStripe">
            <a:avLst/>
          </a:prstGeom>
          <a:solidFill>
            <a:schemeClr val="tx1">
              <a:alpha val="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solidFill>
                <a:schemeClr val="tx1"/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grpSp>
        <p:nvGrpSpPr>
          <p:cNvPr id="2" name="Group 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 flipH="1">
            <a:off x="6505148" y="1594635"/>
            <a:ext cx="5686852" cy="3941701"/>
            <a:chOff x="0" y="2235623"/>
            <a:chExt cx="5686852" cy="3941701"/>
          </a:xfrm>
        </p:grpSpPr>
        <p:grpSp>
          <p:nvGrpSpPr>
            <p:cNvPr id="25" name="Group 24"/>
            <p:cNvGrpSpPr/>
            <p:nvPr/>
          </p:nvGrpSpPr>
          <p:grpSpPr>
            <a:xfrm>
              <a:off x="0" y="2235623"/>
              <a:ext cx="4586514" cy="3941701"/>
              <a:chOff x="0" y="1721931"/>
              <a:chExt cx="4781022" cy="4108863"/>
            </a:xfrm>
          </p:grpSpPr>
          <p:sp>
            <p:nvSpPr>
              <p:cNvPr id="14" name="Freeform 5"/>
              <p:cNvSpPr>
                <a:spLocks noEditPoints="1"/>
              </p:cNvSpPr>
              <p:nvPr/>
            </p:nvSpPr>
            <p:spPr bwMode="auto">
              <a:xfrm rot="5400000">
                <a:off x="1338760" y="383171"/>
                <a:ext cx="2103501" cy="4781022"/>
              </a:xfrm>
              <a:custGeom>
                <a:avLst/>
                <a:gdLst>
                  <a:gd name="T0" fmla="*/ 61 w 1007"/>
                  <a:gd name="T1" fmla="*/ 146 h 2288"/>
                  <a:gd name="T2" fmla="*/ 147 w 1007"/>
                  <a:gd name="T3" fmla="*/ 60 h 2288"/>
                  <a:gd name="T4" fmla="*/ 233 w 1007"/>
                  <a:gd name="T5" fmla="*/ 146 h 2288"/>
                  <a:gd name="T6" fmla="*/ 147 w 1007"/>
                  <a:gd name="T7" fmla="*/ 233 h 2288"/>
                  <a:gd name="T8" fmla="*/ 61 w 1007"/>
                  <a:gd name="T9" fmla="*/ 146 h 2288"/>
                  <a:gd name="T10" fmla="*/ 0 w 1007"/>
                  <a:gd name="T11" fmla="*/ 146 h 2288"/>
                  <a:gd name="T12" fmla="*/ 147 w 1007"/>
                  <a:gd name="T13" fmla="*/ 293 h 2288"/>
                  <a:gd name="T14" fmla="*/ 291 w 1007"/>
                  <a:gd name="T15" fmla="*/ 171 h 2288"/>
                  <a:gd name="T16" fmla="*/ 728 w 1007"/>
                  <a:gd name="T17" fmla="*/ 171 h 2288"/>
                  <a:gd name="T18" fmla="*/ 957 w 1007"/>
                  <a:gd name="T19" fmla="*/ 351 h 2288"/>
                  <a:gd name="T20" fmla="*/ 957 w 1007"/>
                  <a:gd name="T21" fmla="*/ 2288 h 2288"/>
                  <a:gd name="T22" fmla="*/ 1007 w 1007"/>
                  <a:gd name="T23" fmla="*/ 2288 h 2288"/>
                  <a:gd name="T24" fmla="*/ 1007 w 1007"/>
                  <a:gd name="T25" fmla="*/ 351 h 2288"/>
                  <a:gd name="T26" fmla="*/ 914 w 1007"/>
                  <a:gd name="T27" fmla="*/ 170 h 2288"/>
                  <a:gd name="T28" fmla="*/ 728 w 1007"/>
                  <a:gd name="T29" fmla="*/ 122 h 2288"/>
                  <a:gd name="T30" fmla="*/ 291 w 1007"/>
                  <a:gd name="T31" fmla="*/ 122 h 2288"/>
                  <a:gd name="T32" fmla="*/ 147 w 1007"/>
                  <a:gd name="T33" fmla="*/ 0 h 2288"/>
                  <a:gd name="T34" fmla="*/ 0 w 1007"/>
                  <a:gd name="T35" fmla="*/ 146 h 2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04" h="2288">
                    <a:moveTo>
                      <a:pt x="61" y="146"/>
                    </a:moveTo>
                    <a:cubicBezTo>
                      <a:pt x="61" y="99"/>
                      <a:pt x="99" y="60"/>
                      <a:pt x="147" y="60"/>
                    </a:cubicBezTo>
                    <a:cubicBezTo>
                      <a:pt x="194" y="60"/>
                      <a:pt x="233" y="99"/>
                      <a:pt x="233" y="146"/>
                    </a:cubicBezTo>
                    <a:cubicBezTo>
                      <a:pt x="233" y="194"/>
                      <a:pt x="194" y="233"/>
                      <a:pt x="147" y="233"/>
                    </a:cubicBezTo>
                    <a:cubicBezTo>
                      <a:pt x="99" y="233"/>
                      <a:pt x="61" y="194"/>
                      <a:pt x="61" y="146"/>
                    </a:cubicBezTo>
                    <a:moveTo>
                      <a:pt x="0" y="146"/>
                    </a:moveTo>
                    <a:cubicBezTo>
                      <a:pt x="0" y="227"/>
                      <a:pt x="66" y="293"/>
                      <a:pt x="147" y="293"/>
                    </a:cubicBezTo>
                    <a:cubicBezTo>
                      <a:pt x="219" y="293"/>
                      <a:pt x="279" y="240"/>
                      <a:pt x="291" y="171"/>
                    </a:cubicBezTo>
                    <a:cubicBezTo>
                      <a:pt x="728" y="171"/>
                      <a:pt x="728" y="171"/>
                      <a:pt x="728" y="171"/>
                    </a:cubicBezTo>
                    <a:cubicBezTo>
                      <a:pt x="797" y="171"/>
                      <a:pt x="957" y="189"/>
                      <a:pt x="957" y="351"/>
                    </a:cubicBezTo>
                    <a:cubicBezTo>
                      <a:pt x="957" y="2288"/>
                      <a:pt x="957" y="2288"/>
                      <a:pt x="957" y="2288"/>
                    </a:cubicBezTo>
                    <a:cubicBezTo>
                      <a:pt x="1007" y="2288"/>
                      <a:pt x="1007" y="2288"/>
                      <a:pt x="1007" y="2288"/>
                    </a:cubicBezTo>
                    <a:cubicBezTo>
                      <a:pt x="1007" y="351"/>
                      <a:pt x="1007" y="351"/>
                      <a:pt x="1007" y="351"/>
                    </a:cubicBezTo>
                    <a:cubicBezTo>
                      <a:pt x="1007" y="272"/>
                      <a:pt x="975" y="210"/>
                      <a:pt x="914" y="170"/>
                    </a:cubicBezTo>
                    <a:cubicBezTo>
                      <a:pt x="854" y="130"/>
                      <a:pt x="780" y="122"/>
                      <a:pt x="728" y="122"/>
                    </a:cubicBezTo>
                    <a:cubicBezTo>
                      <a:pt x="291" y="122"/>
                      <a:pt x="291" y="122"/>
                      <a:pt x="291" y="122"/>
                    </a:cubicBezTo>
                    <a:cubicBezTo>
                      <a:pt x="279" y="53"/>
                      <a:pt x="219" y="0"/>
                      <a:pt x="147" y="0"/>
                    </a:cubicBezTo>
                    <a:cubicBezTo>
                      <a:pt x="66" y="0"/>
                      <a:pt x="0" y="66"/>
                      <a:pt x="0" y="146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5" name="Freeform 7"/>
              <p:cNvSpPr>
                <a:spLocks noEditPoints="1"/>
              </p:cNvSpPr>
              <p:nvPr/>
            </p:nvSpPr>
            <p:spPr bwMode="auto">
              <a:xfrm rot="5400000">
                <a:off x="647160" y="1085881"/>
                <a:ext cx="1905372" cy="3177472"/>
              </a:xfrm>
              <a:custGeom>
                <a:avLst/>
                <a:gdLst>
                  <a:gd name="T0" fmla="*/ 61 w 912"/>
                  <a:gd name="T1" fmla="*/ 146 h 1520"/>
                  <a:gd name="T2" fmla="*/ 147 w 912"/>
                  <a:gd name="T3" fmla="*/ 60 h 1520"/>
                  <a:gd name="T4" fmla="*/ 233 w 912"/>
                  <a:gd name="T5" fmla="*/ 146 h 1520"/>
                  <a:gd name="T6" fmla="*/ 147 w 912"/>
                  <a:gd name="T7" fmla="*/ 232 h 1520"/>
                  <a:gd name="T8" fmla="*/ 61 w 912"/>
                  <a:gd name="T9" fmla="*/ 146 h 1520"/>
                  <a:gd name="T10" fmla="*/ 0 w 912"/>
                  <a:gd name="T11" fmla="*/ 146 h 1520"/>
                  <a:gd name="T12" fmla="*/ 147 w 912"/>
                  <a:gd name="T13" fmla="*/ 292 h 1520"/>
                  <a:gd name="T14" fmla="*/ 290 w 912"/>
                  <a:gd name="T15" fmla="*/ 174 h 1520"/>
                  <a:gd name="T16" fmla="*/ 673 w 912"/>
                  <a:gd name="T17" fmla="*/ 174 h 1520"/>
                  <a:gd name="T18" fmla="*/ 862 w 912"/>
                  <a:gd name="T19" fmla="*/ 317 h 1520"/>
                  <a:gd name="T20" fmla="*/ 862 w 912"/>
                  <a:gd name="T21" fmla="*/ 1520 h 1520"/>
                  <a:gd name="T22" fmla="*/ 912 w 912"/>
                  <a:gd name="T23" fmla="*/ 1520 h 1520"/>
                  <a:gd name="T24" fmla="*/ 912 w 912"/>
                  <a:gd name="T25" fmla="*/ 317 h 1520"/>
                  <a:gd name="T26" fmla="*/ 673 w 912"/>
                  <a:gd name="T27" fmla="*/ 125 h 1520"/>
                  <a:gd name="T28" fmla="*/ 292 w 912"/>
                  <a:gd name="T29" fmla="*/ 125 h 1520"/>
                  <a:gd name="T30" fmla="*/ 147 w 912"/>
                  <a:gd name="T31" fmla="*/ 0 h 1520"/>
                  <a:gd name="T32" fmla="*/ 0 w 912"/>
                  <a:gd name="T33" fmla="*/ 146 h 15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12" h="1520">
                    <a:moveTo>
                      <a:pt x="61" y="146"/>
                    </a:moveTo>
                    <a:cubicBezTo>
                      <a:pt x="61" y="99"/>
                      <a:pt x="99" y="60"/>
                      <a:pt x="147" y="60"/>
                    </a:cubicBezTo>
                    <a:cubicBezTo>
                      <a:pt x="194" y="60"/>
                      <a:pt x="233" y="99"/>
                      <a:pt x="233" y="146"/>
                    </a:cubicBezTo>
                    <a:cubicBezTo>
                      <a:pt x="233" y="194"/>
                      <a:pt x="194" y="232"/>
                      <a:pt x="147" y="232"/>
                    </a:cubicBezTo>
                    <a:cubicBezTo>
                      <a:pt x="99" y="232"/>
                      <a:pt x="61" y="194"/>
                      <a:pt x="61" y="146"/>
                    </a:cubicBezTo>
                    <a:moveTo>
                      <a:pt x="0" y="146"/>
                    </a:moveTo>
                    <a:cubicBezTo>
                      <a:pt x="0" y="227"/>
                      <a:pt x="66" y="292"/>
                      <a:pt x="147" y="292"/>
                    </a:cubicBezTo>
                    <a:cubicBezTo>
                      <a:pt x="218" y="292"/>
                      <a:pt x="277" y="241"/>
                      <a:pt x="290" y="174"/>
                    </a:cubicBezTo>
                    <a:cubicBezTo>
                      <a:pt x="673" y="174"/>
                      <a:pt x="673" y="174"/>
                      <a:pt x="673" y="174"/>
                    </a:cubicBezTo>
                    <a:cubicBezTo>
                      <a:pt x="844" y="174"/>
                      <a:pt x="862" y="274"/>
                      <a:pt x="862" y="317"/>
                    </a:cubicBezTo>
                    <a:cubicBezTo>
                      <a:pt x="862" y="1520"/>
                      <a:pt x="862" y="1520"/>
                      <a:pt x="862" y="1520"/>
                    </a:cubicBezTo>
                    <a:cubicBezTo>
                      <a:pt x="912" y="1520"/>
                      <a:pt x="912" y="1520"/>
                      <a:pt x="912" y="1520"/>
                    </a:cubicBezTo>
                    <a:cubicBezTo>
                      <a:pt x="912" y="317"/>
                      <a:pt x="912" y="317"/>
                      <a:pt x="912" y="317"/>
                    </a:cubicBezTo>
                    <a:cubicBezTo>
                      <a:pt x="912" y="199"/>
                      <a:pt x="820" y="125"/>
                      <a:pt x="673" y="125"/>
                    </a:cubicBezTo>
                    <a:cubicBezTo>
                      <a:pt x="292" y="125"/>
                      <a:pt x="292" y="125"/>
                      <a:pt x="292" y="125"/>
                    </a:cubicBezTo>
                    <a:cubicBezTo>
                      <a:pt x="281" y="54"/>
                      <a:pt x="220" y="0"/>
                      <a:pt x="147" y="0"/>
                    </a:cubicBezTo>
                    <a:cubicBezTo>
                      <a:pt x="66" y="0"/>
                      <a:pt x="0" y="65"/>
                      <a:pt x="0" y="146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6" name="Freeform 9"/>
              <p:cNvSpPr>
                <a:spLocks noEditPoints="1"/>
              </p:cNvSpPr>
              <p:nvPr/>
            </p:nvSpPr>
            <p:spPr bwMode="auto">
              <a:xfrm rot="5400000">
                <a:off x="-45366" y="1772852"/>
                <a:ext cx="1718353" cy="1616511"/>
              </a:xfrm>
              <a:custGeom>
                <a:avLst/>
                <a:gdLst>
                  <a:gd name="T0" fmla="*/ 61 w 823"/>
                  <a:gd name="T1" fmla="*/ 147 h 774"/>
                  <a:gd name="T2" fmla="*/ 147 w 823"/>
                  <a:gd name="T3" fmla="*/ 60 h 774"/>
                  <a:gd name="T4" fmla="*/ 233 w 823"/>
                  <a:gd name="T5" fmla="*/ 147 h 774"/>
                  <a:gd name="T6" fmla="*/ 147 w 823"/>
                  <a:gd name="T7" fmla="*/ 233 h 774"/>
                  <a:gd name="T8" fmla="*/ 61 w 823"/>
                  <a:gd name="T9" fmla="*/ 147 h 774"/>
                  <a:gd name="T10" fmla="*/ 0 w 823"/>
                  <a:gd name="T11" fmla="*/ 147 h 774"/>
                  <a:gd name="T12" fmla="*/ 147 w 823"/>
                  <a:gd name="T13" fmla="*/ 293 h 774"/>
                  <a:gd name="T14" fmla="*/ 289 w 823"/>
                  <a:gd name="T15" fmla="*/ 180 h 774"/>
                  <a:gd name="T16" fmla="*/ 581 w 823"/>
                  <a:gd name="T17" fmla="*/ 180 h 774"/>
                  <a:gd name="T18" fmla="*/ 774 w 823"/>
                  <a:gd name="T19" fmla="*/ 330 h 774"/>
                  <a:gd name="T20" fmla="*/ 774 w 823"/>
                  <a:gd name="T21" fmla="*/ 774 h 774"/>
                  <a:gd name="T22" fmla="*/ 823 w 823"/>
                  <a:gd name="T23" fmla="*/ 774 h 774"/>
                  <a:gd name="T24" fmla="*/ 823 w 823"/>
                  <a:gd name="T25" fmla="*/ 330 h 774"/>
                  <a:gd name="T26" fmla="*/ 778 w 823"/>
                  <a:gd name="T27" fmla="*/ 203 h 774"/>
                  <a:gd name="T28" fmla="*/ 581 w 823"/>
                  <a:gd name="T29" fmla="*/ 131 h 774"/>
                  <a:gd name="T30" fmla="*/ 292 w 823"/>
                  <a:gd name="T31" fmla="*/ 131 h 774"/>
                  <a:gd name="T32" fmla="*/ 147 w 823"/>
                  <a:gd name="T33" fmla="*/ 0 h 774"/>
                  <a:gd name="T34" fmla="*/ 0 w 823"/>
                  <a:gd name="T35" fmla="*/ 147 h 7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23" h="774">
                    <a:moveTo>
                      <a:pt x="61" y="147"/>
                    </a:moveTo>
                    <a:cubicBezTo>
                      <a:pt x="61" y="99"/>
                      <a:pt x="99" y="60"/>
                      <a:pt x="147" y="60"/>
                    </a:cubicBezTo>
                    <a:cubicBezTo>
                      <a:pt x="194" y="60"/>
                      <a:pt x="233" y="99"/>
                      <a:pt x="233" y="147"/>
                    </a:cubicBezTo>
                    <a:cubicBezTo>
                      <a:pt x="233" y="194"/>
                      <a:pt x="194" y="233"/>
                      <a:pt x="147" y="233"/>
                    </a:cubicBezTo>
                    <a:cubicBezTo>
                      <a:pt x="99" y="233"/>
                      <a:pt x="61" y="194"/>
                      <a:pt x="61" y="147"/>
                    </a:cubicBezTo>
                    <a:moveTo>
                      <a:pt x="0" y="147"/>
                    </a:moveTo>
                    <a:cubicBezTo>
                      <a:pt x="0" y="227"/>
                      <a:pt x="66" y="293"/>
                      <a:pt x="147" y="293"/>
                    </a:cubicBezTo>
                    <a:cubicBezTo>
                      <a:pt x="216" y="293"/>
                      <a:pt x="274" y="245"/>
                      <a:pt x="289" y="180"/>
                    </a:cubicBezTo>
                    <a:cubicBezTo>
                      <a:pt x="581" y="180"/>
                      <a:pt x="581" y="180"/>
                      <a:pt x="581" y="180"/>
                    </a:cubicBezTo>
                    <a:cubicBezTo>
                      <a:pt x="653" y="180"/>
                      <a:pt x="774" y="200"/>
                      <a:pt x="774" y="330"/>
                    </a:cubicBezTo>
                    <a:cubicBezTo>
                      <a:pt x="774" y="774"/>
                      <a:pt x="774" y="774"/>
                      <a:pt x="774" y="774"/>
                    </a:cubicBezTo>
                    <a:cubicBezTo>
                      <a:pt x="823" y="774"/>
                      <a:pt x="823" y="774"/>
                      <a:pt x="823" y="774"/>
                    </a:cubicBezTo>
                    <a:cubicBezTo>
                      <a:pt x="823" y="330"/>
                      <a:pt x="823" y="330"/>
                      <a:pt x="823" y="330"/>
                    </a:cubicBezTo>
                    <a:cubicBezTo>
                      <a:pt x="823" y="295"/>
                      <a:pt x="815" y="245"/>
                      <a:pt x="778" y="203"/>
                    </a:cubicBezTo>
                    <a:cubicBezTo>
                      <a:pt x="737" y="155"/>
                      <a:pt x="671" y="131"/>
                      <a:pt x="581" y="131"/>
                    </a:cubicBezTo>
                    <a:cubicBezTo>
                      <a:pt x="292" y="131"/>
                      <a:pt x="292" y="131"/>
                      <a:pt x="292" y="131"/>
                    </a:cubicBezTo>
                    <a:cubicBezTo>
                      <a:pt x="285" y="58"/>
                      <a:pt x="222" y="0"/>
                      <a:pt x="147" y="0"/>
                    </a:cubicBezTo>
                    <a:cubicBezTo>
                      <a:pt x="66" y="0"/>
                      <a:pt x="0" y="66"/>
                      <a:pt x="0" y="147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7" name="Freeform 11"/>
              <p:cNvSpPr>
                <a:spLocks noEditPoints="1"/>
              </p:cNvSpPr>
              <p:nvPr/>
            </p:nvSpPr>
            <p:spPr bwMode="auto">
              <a:xfrm rot="5400000">
                <a:off x="1023050" y="2893114"/>
                <a:ext cx="1925741" cy="3949620"/>
              </a:xfrm>
              <a:custGeom>
                <a:avLst/>
                <a:gdLst>
                  <a:gd name="T0" fmla="*/ 689 w 921"/>
                  <a:gd name="T1" fmla="*/ 146 h 1890"/>
                  <a:gd name="T2" fmla="*/ 775 w 921"/>
                  <a:gd name="T3" fmla="*/ 60 h 1890"/>
                  <a:gd name="T4" fmla="*/ 861 w 921"/>
                  <a:gd name="T5" fmla="*/ 146 h 1890"/>
                  <a:gd name="T6" fmla="*/ 775 w 921"/>
                  <a:gd name="T7" fmla="*/ 232 h 1890"/>
                  <a:gd name="T8" fmla="*/ 689 w 921"/>
                  <a:gd name="T9" fmla="*/ 146 h 1890"/>
                  <a:gd name="T10" fmla="*/ 632 w 921"/>
                  <a:gd name="T11" fmla="*/ 115 h 1890"/>
                  <a:gd name="T12" fmla="*/ 252 w 921"/>
                  <a:gd name="T13" fmla="*/ 115 h 1890"/>
                  <a:gd name="T14" fmla="*/ 7 w 921"/>
                  <a:gd name="T15" fmla="*/ 294 h 1890"/>
                  <a:gd name="T16" fmla="*/ 7 w 921"/>
                  <a:gd name="T17" fmla="*/ 1890 h 1890"/>
                  <a:gd name="T18" fmla="*/ 56 w 921"/>
                  <a:gd name="T19" fmla="*/ 1890 h 1890"/>
                  <a:gd name="T20" fmla="*/ 56 w 921"/>
                  <a:gd name="T21" fmla="*/ 298 h 1890"/>
                  <a:gd name="T22" fmla="*/ 252 w 921"/>
                  <a:gd name="T23" fmla="*/ 165 h 1890"/>
                  <a:gd name="T24" fmla="*/ 630 w 921"/>
                  <a:gd name="T25" fmla="*/ 165 h 1890"/>
                  <a:gd name="T26" fmla="*/ 775 w 921"/>
                  <a:gd name="T27" fmla="*/ 292 h 1890"/>
                  <a:gd name="T28" fmla="*/ 921 w 921"/>
                  <a:gd name="T29" fmla="*/ 146 h 1890"/>
                  <a:gd name="T30" fmla="*/ 775 w 921"/>
                  <a:gd name="T31" fmla="*/ 0 h 1890"/>
                  <a:gd name="T32" fmla="*/ 632 w 921"/>
                  <a:gd name="T33" fmla="*/ 115 h 18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21" h="1889">
                    <a:moveTo>
                      <a:pt x="689" y="146"/>
                    </a:moveTo>
                    <a:cubicBezTo>
                      <a:pt x="689" y="99"/>
                      <a:pt x="728" y="60"/>
                      <a:pt x="775" y="60"/>
                    </a:cubicBezTo>
                    <a:cubicBezTo>
                      <a:pt x="823" y="60"/>
                      <a:pt x="861" y="99"/>
                      <a:pt x="861" y="146"/>
                    </a:cubicBezTo>
                    <a:cubicBezTo>
                      <a:pt x="861" y="194"/>
                      <a:pt x="823" y="232"/>
                      <a:pt x="775" y="232"/>
                    </a:cubicBezTo>
                    <a:cubicBezTo>
                      <a:pt x="728" y="232"/>
                      <a:pt x="689" y="194"/>
                      <a:pt x="689" y="146"/>
                    </a:cubicBezTo>
                    <a:moveTo>
                      <a:pt x="632" y="115"/>
                    </a:moveTo>
                    <a:cubicBezTo>
                      <a:pt x="252" y="115"/>
                      <a:pt x="252" y="115"/>
                      <a:pt x="252" y="115"/>
                    </a:cubicBezTo>
                    <a:cubicBezTo>
                      <a:pt x="87" y="115"/>
                      <a:pt x="16" y="167"/>
                      <a:pt x="7" y="294"/>
                    </a:cubicBezTo>
                    <a:cubicBezTo>
                      <a:pt x="0" y="394"/>
                      <a:pt x="7" y="1829"/>
                      <a:pt x="7" y="1890"/>
                    </a:cubicBezTo>
                    <a:cubicBezTo>
                      <a:pt x="56" y="1890"/>
                      <a:pt x="56" y="1890"/>
                      <a:pt x="56" y="1890"/>
                    </a:cubicBezTo>
                    <a:cubicBezTo>
                      <a:pt x="56" y="1875"/>
                      <a:pt x="50" y="395"/>
                      <a:pt x="56" y="298"/>
                    </a:cubicBezTo>
                    <a:cubicBezTo>
                      <a:pt x="61" y="227"/>
                      <a:pt x="80" y="165"/>
                      <a:pt x="252" y="165"/>
                    </a:cubicBezTo>
                    <a:cubicBezTo>
                      <a:pt x="630" y="165"/>
                      <a:pt x="630" y="165"/>
                      <a:pt x="630" y="165"/>
                    </a:cubicBezTo>
                    <a:cubicBezTo>
                      <a:pt x="639" y="236"/>
                      <a:pt x="701" y="292"/>
                      <a:pt x="775" y="292"/>
                    </a:cubicBezTo>
                    <a:cubicBezTo>
                      <a:pt x="856" y="292"/>
                      <a:pt x="921" y="227"/>
                      <a:pt x="921" y="146"/>
                    </a:cubicBezTo>
                    <a:cubicBezTo>
                      <a:pt x="921" y="65"/>
                      <a:pt x="856" y="0"/>
                      <a:pt x="775" y="0"/>
                    </a:cubicBezTo>
                    <a:cubicBezTo>
                      <a:pt x="705" y="0"/>
                      <a:pt x="646" y="49"/>
                      <a:pt x="632" y="115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8" name="Freeform 13"/>
              <p:cNvSpPr>
                <a:spLocks noEditPoints="1"/>
              </p:cNvSpPr>
              <p:nvPr/>
            </p:nvSpPr>
            <p:spPr bwMode="auto">
              <a:xfrm rot="5400000">
                <a:off x="345337" y="3772660"/>
                <a:ext cx="1718353" cy="2371994"/>
              </a:xfrm>
              <a:custGeom>
                <a:avLst/>
                <a:gdLst>
                  <a:gd name="T0" fmla="*/ 590 w 822"/>
                  <a:gd name="T1" fmla="*/ 147 h 1135"/>
                  <a:gd name="T2" fmla="*/ 676 w 822"/>
                  <a:gd name="T3" fmla="*/ 60 h 1135"/>
                  <a:gd name="T4" fmla="*/ 762 w 822"/>
                  <a:gd name="T5" fmla="*/ 147 h 1135"/>
                  <a:gd name="T6" fmla="*/ 676 w 822"/>
                  <a:gd name="T7" fmla="*/ 233 h 1135"/>
                  <a:gd name="T8" fmla="*/ 590 w 822"/>
                  <a:gd name="T9" fmla="*/ 147 h 1135"/>
                  <a:gd name="T10" fmla="*/ 532 w 822"/>
                  <a:gd name="T11" fmla="*/ 122 h 1135"/>
                  <a:gd name="T12" fmla="*/ 202 w 822"/>
                  <a:gd name="T13" fmla="*/ 119 h 1135"/>
                  <a:gd name="T14" fmla="*/ 0 w 822"/>
                  <a:gd name="T15" fmla="*/ 333 h 1135"/>
                  <a:gd name="T16" fmla="*/ 0 w 822"/>
                  <a:gd name="T17" fmla="*/ 1135 h 1135"/>
                  <a:gd name="T18" fmla="*/ 49 w 822"/>
                  <a:gd name="T19" fmla="*/ 1135 h 1135"/>
                  <a:gd name="T20" fmla="*/ 49 w 822"/>
                  <a:gd name="T21" fmla="*/ 333 h 1135"/>
                  <a:gd name="T22" fmla="*/ 202 w 822"/>
                  <a:gd name="T23" fmla="*/ 168 h 1135"/>
                  <a:gd name="T24" fmla="*/ 532 w 822"/>
                  <a:gd name="T25" fmla="*/ 171 h 1135"/>
                  <a:gd name="T26" fmla="*/ 676 w 822"/>
                  <a:gd name="T27" fmla="*/ 293 h 1135"/>
                  <a:gd name="T28" fmla="*/ 822 w 822"/>
                  <a:gd name="T29" fmla="*/ 147 h 1135"/>
                  <a:gd name="T30" fmla="*/ 676 w 822"/>
                  <a:gd name="T31" fmla="*/ 0 h 1135"/>
                  <a:gd name="T32" fmla="*/ 532 w 822"/>
                  <a:gd name="T33" fmla="*/ 122 h 1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2" h="1135">
                    <a:moveTo>
                      <a:pt x="590" y="147"/>
                    </a:moveTo>
                    <a:cubicBezTo>
                      <a:pt x="590" y="99"/>
                      <a:pt x="628" y="60"/>
                      <a:pt x="676" y="60"/>
                    </a:cubicBezTo>
                    <a:cubicBezTo>
                      <a:pt x="723" y="60"/>
                      <a:pt x="762" y="99"/>
                      <a:pt x="762" y="147"/>
                    </a:cubicBezTo>
                    <a:cubicBezTo>
                      <a:pt x="762" y="194"/>
                      <a:pt x="723" y="233"/>
                      <a:pt x="676" y="233"/>
                    </a:cubicBezTo>
                    <a:cubicBezTo>
                      <a:pt x="628" y="233"/>
                      <a:pt x="590" y="194"/>
                      <a:pt x="590" y="147"/>
                    </a:cubicBezTo>
                    <a:moveTo>
                      <a:pt x="532" y="122"/>
                    </a:moveTo>
                    <a:cubicBezTo>
                      <a:pt x="462" y="121"/>
                      <a:pt x="282" y="119"/>
                      <a:pt x="202" y="119"/>
                    </a:cubicBezTo>
                    <a:cubicBezTo>
                      <a:pt x="90" y="119"/>
                      <a:pt x="0" y="236"/>
                      <a:pt x="0" y="333"/>
                    </a:cubicBezTo>
                    <a:cubicBezTo>
                      <a:pt x="0" y="1135"/>
                      <a:pt x="0" y="1135"/>
                      <a:pt x="0" y="1135"/>
                    </a:cubicBezTo>
                    <a:cubicBezTo>
                      <a:pt x="49" y="1135"/>
                      <a:pt x="49" y="1135"/>
                      <a:pt x="49" y="1135"/>
                    </a:cubicBezTo>
                    <a:cubicBezTo>
                      <a:pt x="49" y="333"/>
                      <a:pt x="49" y="333"/>
                      <a:pt x="49" y="333"/>
                    </a:cubicBezTo>
                    <a:cubicBezTo>
                      <a:pt x="49" y="268"/>
                      <a:pt x="115" y="168"/>
                      <a:pt x="202" y="168"/>
                    </a:cubicBezTo>
                    <a:cubicBezTo>
                      <a:pt x="282" y="168"/>
                      <a:pt x="462" y="170"/>
                      <a:pt x="532" y="171"/>
                    </a:cubicBezTo>
                    <a:cubicBezTo>
                      <a:pt x="543" y="240"/>
                      <a:pt x="604" y="293"/>
                      <a:pt x="676" y="293"/>
                    </a:cubicBezTo>
                    <a:cubicBezTo>
                      <a:pt x="757" y="293"/>
                      <a:pt x="822" y="227"/>
                      <a:pt x="822" y="147"/>
                    </a:cubicBezTo>
                    <a:cubicBezTo>
                      <a:pt x="822" y="66"/>
                      <a:pt x="757" y="0"/>
                      <a:pt x="676" y="0"/>
                    </a:cubicBezTo>
                    <a:cubicBezTo>
                      <a:pt x="604" y="0"/>
                      <a:pt x="544" y="53"/>
                      <a:pt x="532" y="122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1158318" y="1892346"/>
                <a:ext cx="369621" cy="28874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dirty="0">
                    <a:solidFill>
                      <a:schemeClr val="accent1"/>
                    </a:solidFill>
                    <a:latin typeface="方正综艺简体" panose="03000509000000000000" pitchFamily="65" charset="-122"/>
                    <a:cs typeface="思源黑体 CN Regular" panose="020B0500000000000000" charset="-122"/>
                  </a:rPr>
                  <a:t>01</a:t>
                </a:r>
                <a:endParaRPr lang="id-ID" sz="1200" dirty="0">
                  <a:solidFill>
                    <a:schemeClr val="accent1"/>
                  </a:solidFill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1" name="TextBox 20"/>
              <p:cNvSpPr txBox="1"/>
              <p:nvPr/>
            </p:nvSpPr>
            <p:spPr>
              <a:xfrm>
                <a:off x="2728447" y="1892346"/>
                <a:ext cx="369621" cy="28874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dirty="0">
                    <a:solidFill>
                      <a:schemeClr val="accent2"/>
                    </a:solidFill>
                    <a:latin typeface="方正综艺简体" panose="03000509000000000000" pitchFamily="65" charset="-122"/>
                    <a:cs typeface="思源黑体 CN Regular" panose="020B0500000000000000" charset="-122"/>
                  </a:rPr>
                  <a:t>02</a:t>
                </a:r>
                <a:endParaRPr lang="id-ID" sz="1200" dirty="0">
                  <a:solidFill>
                    <a:schemeClr val="accent2"/>
                  </a:solidFill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>
                <a:off x="4309554" y="1892346"/>
                <a:ext cx="369621" cy="28874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dirty="0">
                    <a:solidFill>
                      <a:schemeClr val="accent3"/>
                    </a:solidFill>
                    <a:latin typeface="方正综艺简体" panose="03000509000000000000" pitchFamily="65" charset="-122"/>
                    <a:cs typeface="思源黑体 CN Regular" panose="020B0500000000000000" charset="-122"/>
                  </a:rPr>
                  <a:t>03</a:t>
                </a:r>
                <a:endParaRPr lang="id-ID" sz="1200" dirty="0">
                  <a:solidFill>
                    <a:schemeClr val="accent3"/>
                  </a:solidFill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3" name="TextBox 22"/>
              <p:cNvSpPr txBox="1"/>
              <p:nvPr/>
            </p:nvSpPr>
            <p:spPr>
              <a:xfrm>
                <a:off x="3492785" y="5385640"/>
                <a:ext cx="369621" cy="28874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dirty="0">
                    <a:solidFill>
                      <a:schemeClr val="accent5"/>
                    </a:solidFill>
                    <a:latin typeface="方正综艺简体" panose="03000509000000000000" pitchFamily="65" charset="-122"/>
                    <a:cs typeface="思源黑体 CN Regular" panose="020B0500000000000000" charset="-122"/>
                  </a:rPr>
                  <a:t>05</a:t>
                </a:r>
                <a:endParaRPr lang="id-ID" sz="1200" dirty="0">
                  <a:solidFill>
                    <a:schemeClr val="accent5"/>
                  </a:solidFill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>
                <a:off x="1913423" y="5385640"/>
                <a:ext cx="369621" cy="28874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dirty="0">
                    <a:solidFill>
                      <a:schemeClr val="accent4"/>
                    </a:solidFill>
                    <a:latin typeface="方正综艺简体" panose="03000509000000000000" pitchFamily="65" charset="-122"/>
                    <a:cs typeface="思源黑体 CN Regular" panose="020B0500000000000000" charset="-122"/>
                  </a:rPr>
                  <a:t>04</a:t>
                </a:r>
                <a:endParaRPr lang="id-ID" sz="1200" dirty="0">
                  <a:solidFill>
                    <a:schemeClr val="accent4"/>
                  </a:solidFill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</p:grpSp>
        <p:grpSp>
          <p:nvGrpSpPr>
            <p:cNvPr id="28" name="Group 27"/>
            <p:cNvGrpSpPr/>
            <p:nvPr/>
          </p:nvGrpSpPr>
          <p:grpSpPr>
            <a:xfrm>
              <a:off x="1318072" y="2891936"/>
              <a:ext cx="1328516" cy="920741"/>
              <a:chOff x="5959161" y="2389999"/>
              <a:chExt cx="1328516" cy="920741"/>
            </a:xfrm>
          </p:grpSpPr>
          <p:sp>
            <p:nvSpPr>
              <p:cNvPr id="29" name="TextBox 28"/>
              <p:cNvSpPr txBox="1"/>
              <p:nvPr/>
            </p:nvSpPr>
            <p:spPr>
              <a:xfrm flipH="1">
                <a:off x="5959161" y="2389999"/>
                <a:ext cx="1328516" cy="367359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algn="ctr"/>
                <a:r>
                  <a:rPr lang="en-US" sz="1400" dirty="0">
                    <a:solidFill>
                      <a:schemeClr val="accent1"/>
                    </a:solidFill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rPr>
                  <a:t>Option One</a:t>
                </a:r>
                <a:endParaRPr lang="id-ID" sz="1400" dirty="0">
                  <a:solidFill>
                    <a:schemeClr val="accent1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 flipH="1">
                <a:off x="5959162" y="2664409"/>
                <a:ext cx="1328514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>
                  <a:defRPr sz="1200">
                    <a:solidFill>
                      <a:schemeClr val="tx1">
                        <a:lumMod val="50000"/>
                        <a:lumOff val="50000"/>
                      </a:schemeClr>
                    </a:solidFill>
                  </a:defRPr>
                </a:lvl1pPr>
              </a:lstStyle>
              <a:p>
                <a:pPr algn="ctr"/>
                <a:r>
                  <a:rPr lang="id-ID" dirty="0">
                    <a:latin typeface="方正综艺简体" panose="03000509000000000000" pitchFamily="65" charset="-122"/>
                    <a:cs typeface="思源黑体 CN Regular" panose="020B0500000000000000" charset="-122"/>
                  </a:rPr>
                  <a:t>Lorem ipsum dolor sit amet put</a:t>
                </a:r>
                <a:endParaRPr lang="en-US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</p:grpSp>
        <p:grpSp>
          <p:nvGrpSpPr>
            <p:cNvPr id="31" name="Group 30"/>
            <p:cNvGrpSpPr/>
            <p:nvPr/>
          </p:nvGrpSpPr>
          <p:grpSpPr>
            <a:xfrm>
              <a:off x="2859825" y="2891936"/>
              <a:ext cx="1328516" cy="920741"/>
              <a:chOff x="5959161" y="2389999"/>
              <a:chExt cx="1328516" cy="920741"/>
            </a:xfrm>
          </p:grpSpPr>
          <p:sp>
            <p:nvSpPr>
              <p:cNvPr id="32" name="TextBox 31"/>
              <p:cNvSpPr txBox="1"/>
              <p:nvPr/>
            </p:nvSpPr>
            <p:spPr>
              <a:xfrm flipH="1">
                <a:off x="5959161" y="2389999"/>
                <a:ext cx="1328516" cy="367359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algn="ctr"/>
                <a:r>
                  <a:rPr lang="en-US" sz="1400" dirty="0">
                    <a:solidFill>
                      <a:schemeClr val="accent2"/>
                    </a:solidFill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rPr>
                  <a:t>Option Two</a:t>
                </a:r>
                <a:endParaRPr lang="id-ID" sz="1400" dirty="0">
                  <a:solidFill>
                    <a:schemeClr val="accent2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 flipH="1">
                <a:off x="5959162" y="2664409"/>
                <a:ext cx="1328514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>
                  <a:defRPr sz="1200">
                    <a:solidFill>
                      <a:schemeClr val="tx1">
                        <a:lumMod val="50000"/>
                        <a:lumOff val="50000"/>
                      </a:schemeClr>
                    </a:solidFill>
                  </a:defRPr>
                </a:lvl1pPr>
              </a:lstStyle>
              <a:p>
                <a:pPr algn="ctr"/>
                <a:r>
                  <a:rPr lang="id-ID" dirty="0">
                    <a:latin typeface="方正综艺简体" panose="03000509000000000000" pitchFamily="65" charset="-122"/>
                    <a:cs typeface="思源黑体 CN Regular" panose="020B0500000000000000" charset="-122"/>
                  </a:rPr>
                  <a:t>Lorem ipsum dolor sit amet put</a:t>
                </a:r>
                <a:endParaRPr lang="en-US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</p:grpSp>
        <p:grpSp>
          <p:nvGrpSpPr>
            <p:cNvPr id="34" name="Group 33"/>
            <p:cNvGrpSpPr/>
            <p:nvPr/>
          </p:nvGrpSpPr>
          <p:grpSpPr>
            <a:xfrm>
              <a:off x="4358336" y="2891936"/>
              <a:ext cx="1328516" cy="920741"/>
              <a:chOff x="5959161" y="2389999"/>
              <a:chExt cx="1328516" cy="920741"/>
            </a:xfrm>
          </p:grpSpPr>
          <p:sp>
            <p:nvSpPr>
              <p:cNvPr id="35" name="TextBox 34"/>
              <p:cNvSpPr txBox="1"/>
              <p:nvPr/>
            </p:nvSpPr>
            <p:spPr>
              <a:xfrm flipH="1">
                <a:off x="5959161" y="2389999"/>
                <a:ext cx="1328516" cy="367359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algn="ctr"/>
                <a:r>
                  <a:rPr lang="en-US" sz="1400" dirty="0">
                    <a:solidFill>
                      <a:schemeClr val="accent3"/>
                    </a:solidFill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rPr>
                  <a:t>Option Three</a:t>
                </a:r>
                <a:endParaRPr lang="id-ID" sz="1400" dirty="0">
                  <a:solidFill>
                    <a:schemeClr val="accent3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6" name="TextBox 35"/>
              <p:cNvSpPr txBox="1"/>
              <p:nvPr/>
            </p:nvSpPr>
            <p:spPr>
              <a:xfrm flipH="1">
                <a:off x="5959162" y="2664409"/>
                <a:ext cx="1328514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>
                  <a:defRPr sz="1200">
                    <a:solidFill>
                      <a:schemeClr val="tx1">
                        <a:lumMod val="50000"/>
                        <a:lumOff val="50000"/>
                      </a:schemeClr>
                    </a:solidFill>
                  </a:defRPr>
                </a:lvl1pPr>
              </a:lstStyle>
              <a:p>
                <a:pPr algn="ctr"/>
                <a:r>
                  <a:rPr lang="id-ID" dirty="0">
                    <a:latin typeface="方正综艺简体" panose="03000509000000000000" pitchFamily="65" charset="-122"/>
                    <a:cs typeface="思源黑体 CN Regular" panose="020B0500000000000000" charset="-122"/>
                  </a:rPr>
                  <a:t>Lorem ipsum dolor sit amet put</a:t>
                </a:r>
                <a:endParaRPr lang="en-US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</p:grpSp>
        <p:grpSp>
          <p:nvGrpSpPr>
            <p:cNvPr id="37" name="Group 36"/>
            <p:cNvGrpSpPr/>
            <p:nvPr/>
          </p:nvGrpSpPr>
          <p:grpSpPr>
            <a:xfrm>
              <a:off x="3629074" y="4799421"/>
              <a:ext cx="1328516" cy="920741"/>
              <a:chOff x="5959161" y="2389999"/>
              <a:chExt cx="1328516" cy="920741"/>
            </a:xfrm>
          </p:grpSpPr>
          <p:sp>
            <p:nvSpPr>
              <p:cNvPr id="38" name="TextBox 37"/>
              <p:cNvSpPr txBox="1"/>
              <p:nvPr/>
            </p:nvSpPr>
            <p:spPr>
              <a:xfrm flipH="1">
                <a:off x="5959161" y="2389999"/>
                <a:ext cx="1328516" cy="367359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algn="ctr"/>
                <a:r>
                  <a:rPr lang="en-US" sz="1400" dirty="0">
                    <a:solidFill>
                      <a:schemeClr val="accent5"/>
                    </a:solidFill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rPr>
                  <a:t>Option Five</a:t>
                </a:r>
                <a:endParaRPr lang="id-ID" sz="1400" dirty="0">
                  <a:solidFill>
                    <a:schemeClr val="accent5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9" name="TextBox 38"/>
              <p:cNvSpPr txBox="1"/>
              <p:nvPr/>
            </p:nvSpPr>
            <p:spPr>
              <a:xfrm flipH="1">
                <a:off x="5959162" y="2664409"/>
                <a:ext cx="1328514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>
                  <a:defRPr sz="1200">
                    <a:solidFill>
                      <a:schemeClr val="tx1">
                        <a:lumMod val="50000"/>
                        <a:lumOff val="50000"/>
                      </a:schemeClr>
                    </a:solidFill>
                  </a:defRPr>
                </a:lvl1pPr>
              </a:lstStyle>
              <a:p>
                <a:pPr algn="ctr"/>
                <a:r>
                  <a:rPr lang="id-ID" dirty="0">
                    <a:latin typeface="方正综艺简体" panose="03000509000000000000" pitchFamily="65" charset="-122"/>
                    <a:cs typeface="思源黑体 CN Regular" panose="020B0500000000000000" charset="-122"/>
                  </a:rPr>
                  <a:t>Lorem ipsum dolor sit amet put</a:t>
                </a:r>
                <a:endParaRPr lang="en-US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</p:grpSp>
        <p:grpSp>
          <p:nvGrpSpPr>
            <p:cNvPr id="40" name="Group 39"/>
            <p:cNvGrpSpPr/>
            <p:nvPr/>
          </p:nvGrpSpPr>
          <p:grpSpPr>
            <a:xfrm>
              <a:off x="2096417" y="4799421"/>
              <a:ext cx="1328516" cy="920741"/>
              <a:chOff x="5959161" y="2389999"/>
              <a:chExt cx="1328516" cy="920741"/>
            </a:xfrm>
          </p:grpSpPr>
          <p:sp>
            <p:nvSpPr>
              <p:cNvPr id="41" name="TextBox 40"/>
              <p:cNvSpPr txBox="1"/>
              <p:nvPr/>
            </p:nvSpPr>
            <p:spPr>
              <a:xfrm flipH="1">
                <a:off x="5959161" y="2389999"/>
                <a:ext cx="1328516" cy="367359"/>
              </a:xfrm>
              <a:prstGeom prst="rect">
                <a:avLst/>
              </a:prstGeom>
              <a:noFill/>
            </p:spPr>
            <p:txBody>
              <a:bodyPr wrap="none" rtlCol="0">
                <a:noAutofit/>
              </a:bodyPr>
              <a:lstStyle/>
              <a:p>
                <a:pPr algn="ctr"/>
                <a:r>
                  <a:rPr lang="en-US" sz="1400" dirty="0">
                    <a:solidFill>
                      <a:schemeClr val="accent4"/>
                    </a:solidFill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rPr>
                  <a:t>Option Four</a:t>
                </a:r>
                <a:endParaRPr lang="id-ID" sz="1400" dirty="0">
                  <a:solidFill>
                    <a:schemeClr val="accent4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42" name="TextBox 41"/>
              <p:cNvSpPr txBox="1"/>
              <p:nvPr/>
            </p:nvSpPr>
            <p:spPr>
              <a:xfrm flipH="1">
                <a:off x="5959162" y="2664409"/>
                <a:ext cx="1328514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>
                  <a:defRPr sz="1200">
                    <a:solidFill>
                      <a:schemeClr val="tx1">
                        <a:lumMod val="50000"/>
                        <a:lumOff val="50000"/>
                      </a:schemeClr>
                    </a:solidFill>
                  </a:defRPr>
                </a:lvl1pPr>
              </a:lstStyle>
              <a:p>
                <a:pPr algn="ctr"/>
                <a:r>
                  <a:rPr lang="id-ID" dirty="0">
                    <a:latin typeface="方正综艺简体" panose="03000509000000000000" pitchFamily="65" charset="-122"/>
                    <a:cs typeface="思源黑体 CN Regular" panose="020B0500000000000000" charset="-122"/>
                  </a:rPr>
                  <a:t>Lorem ipsum dolor sit amet put</a:t>
                </a:r>
                <a:endParaRPr lang="en-US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</p:grpSp>
      </p:grpSp>
      <p:sp>
        <p:nvSpPr>
          <p:cNvPr id="48" name="Rectangle 4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15448" y="3081866"/>
            <a:ext cx="45719" cy="8614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49" name="TextBox 4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748564" y="1682224"/>
            <a:ext cx="4758034" cy="11757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80000"/>
              </a:lnSpc>
            </a:pPr>
            <a:r>
              <a:rPr lang="id-ID" sz="4400" dirty="0">
                <a:gradFill>
                  <a:gsLst>
                    <a:gs pos="0">
                      <a:schemeClr val="accent5"/>
                    </a:gs>
                    <a:gs pos="100000">
                      <a:schemeClr val="accent2"/>
                    </a:gs>
                  </a:gsLst>
                  <a:lin ang="8100000" scaled="1"/>
                </a:gradFill>
                <a:latin typeface="方正综艺简体" panose="03000509000000000000" pitchFamily="65" charset="-122"/>
                <a:cs typeface="思源黑体 CN Regular" panose="020B0500000000000000" charset="-122"/>
              </a:rPr>
              <a:t>Creative</a:t>
            </a:r>
            <a:r>
              <a:rPr lang="id-ID" sz="4400" dirty="0">
                <a:solidFill>
                  <a:schemeClr val="accent1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 </a:t>
            </a:r>
          </a:p>
          <a:p>
            <a:pPr>
              <a:lnSpc>
                <a:spcPct val="80000"/>
              </a:lnSpc>
            </a:pPr>
            <a:r>
              <a:rPr lang="id-ID" sz="4400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Infographic Slide</a:t>
            </a:r>
          </a:p>
        </p:txBody>
      </p:sp>
      <p:sp>
        <p:nvSpPr>
          <p:cNvPr id="47" name="TextBox 1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 flipH="1">
            <a:off x="1150844" y="3100685"/>
            <a:ext cx="4411756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5000"/>
              </a:lnSpc>
            </a:pPr>
            <a:r>
              <a:rPr lang="en-US" sz="1200" dirty="0">
                <a:solidFill>
                  <a:schemeClr val="tx2"/>
                </a:solidFill>
                <a:latin typeface="方正综艺简体" panose="03000509000000000000" pitchFamily="65" charset="-122"/>
                <a:cs typeface="+mn-ea"/>
                <a:sym typeface="+mn-lt"/>
              </a:rPr>
              <a:t>This is a sample text. insert your desired text here. Again. this is a dummy text. enter your own text here. This is a sample text. insert your desired text here. Again. this is a dummy text. enter your own text here. .</a:t>
            </a:r>
          </a:p>
        </p:txBody>
      </p:sp>
      <p:grpSp>
        <p:nvGrpSpPr>
          <p:cNvPr id="50" name="组合 4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893884" y="4231415"/>
            <a:ext cx="1043354" cy="151549"/>
            <a:chOff x="1160584" y="2878015"/>
            <a:chExt cx="2098430" cy="304800"/>
          </a:xfrm>
        </p:grpSpPr>
        <p:sp>
          <p:nvSpPr>
            <p:cNvPr id="51" name="五角星 50"/>
            <p:cNvSpPr/>
            <p:nvPr/>
          </p:nvSpPr>
          <p:spPr>
            <a:xfrm>
              <a:off x="1160584" y="2878015"/>
              <a:ext cx="304800" cy="304800"/>
            </a:xfrm>
            <a:prstGeom prst="star5">
              <a:avLst>
                <a:gd name="adj" fmla="val 26056"/>
                <a:gd name="hf" fmla="val 105146"/>
                <a:gd name="vf" fmla="val 110557"/>
              </a:avLst>
            </a:prstGeom>
            <a:solidFill>
              <a:srgbClr val="01B7F9"/>
            </a:solidFill>
            <a:ln w="22225">
              <a:solidFill>
                <a:srgbClr val="01B7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2"/>
                </a:solidFill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52" name="五角星 51"/>
            <p:cNvSpPr/>
            <p:nvPr/>
          </p:nvSpPr>
          <p:spPr>
            <a:xfrm>
              <a:off x="1608991" y="2878015"/>
              <a:ext cx="304800" cy="304800"/>
            </a:xfrm>
            <a:prstGeom prst="star5">
              <a:avLst>
                <a:gd name="adj" fmla="val 26056"/>
                <a:gd name="hf" fmla="val 105146"/>
                <a:gd name="vf" fmla="val 110557"/>
              </a:avLst>
            </a:prstGeom>
            <a:solidFill>
              <a:srgbClr val="01B7F9"/>
            </a:solidFill>
            <a:ln w="22225">
              <a:solidFill>
                <a:srgbClr val="01B7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2"/>
                </a:solidFill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53" name="五角星 52"/>
            <p:cNvSpPr/>
            <p:nvPr/>
          </p:nvSpPr>
          <p:spPr>
            <a:xfrm>
              <a:off x="2057398" y="2878015"/>
              <a:ext cx="304800" cy="304800"/>
            </a:xfrm>
            <a:prstGeom prst="star5">
              <a:avLst>
                <a:gd name="adj" fmla="val 26056"/>
                <a:gd name="hf" fmla="val 105146"/>
                <a:gd name="vf" fmla="val 110557"/>
              </a:avLst>
            </a:prstGeom>
            <a:solidFill>
              <a:srgbClr val="01B7F9"/>
            </a:solidFill>
            <a:ln w="22225">
              <a:solidFill>
                <a:srgbClr val="01B7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2"/>
                </a:solidFill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54" name="五角星 53"/>
            <p:cNvSpPr/>
            <p:nvPr/>
          </p:nvSpPr>
          <p:spPr>
            <a:xfrm>
              <a:off x="2505806" y="2878015"/>
              <a:ext cx="304800" cy="304800"/>
            </a:xfrm>
            <a:prstGeom prst="star5">
              <a:avLst>
                <a:gd name="adj" fmla="val 26056"/>
                <a:gd name="hf" fmla="val 105146"/>
                <a:gd name="vf" fmla="val 110557"/>
              </a:avLst>
            </a:prstGeom>
            <a:noFill/>
            <a:ln w="22225">
              <a:solidFill>
                <a:srgbClr val="01B7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2"/>
                </a:solidFill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55" name="五角星 54"/>
            <p:cNvSpPr/>
            <p:nvPr/>
          </p:nvSpPr>
          <p:spPr>
            <a:xfrm>
              <a:off x="2954214" y="2878015"/>
              <a:ext cx="304800" cy="304800"/>
            </a:xfrm>
            <a:prstGeom prst="star5">
              <a:avLst>
                <a:gd name="adj" fmla="val 26056"/>
                <a:gd name="hf" fmla="val 105146"/>
                <a:gd name="vf" fmla="val 110557"/>
              </a:avLst>
            </a:prstGeom>
            <a:noFill/>
            <a:ln w="22225">
              <a:solidFill>
                <a:srgbClr val="01B7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2"/>
                </a:solidFill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</p:grpSp>
      <p:grpSp>
        <p:nvGrpSpPr>
          <p:cNvPr id="56" name="Group 4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1670711" y="4744484"/>
            <a:ext cx="2539273" cy="697899"/>
            <a:chOff x="145142" y="4099666"/>
            <a:chExt cx="2539273" cy="697899"/>
          </a:xfrm>
        </p:grpSpPr>
        <p:sp>
          <p:nvSpPr>
            <p:cNvPr id="57" name="TextBox 45"/>
            <p:cNvSpPr txBox="1"/>
            <p:nvPr/>
          </p:nvSpPr>
          <p:spPr>
            <a:xfrm>
              <a:off x="145143" y="4317434"/>
              <a:ext cx="2394128" cy="4801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id-ID" sz="1050" b="1" dirty="0">
                  <a:solidFill>
                    <a:schemeClr val="tx2">
                      <a:lumMod val="50000"/>
                    </a:schemeClr>
                  </a:solidFill>
                  <a:latin typeface="方正综艺简体" panose="03000509000000000000" pitchFamily="65" charset="-122"/>
                  <a:cs typeface="+mn-ea"/>
                  <a:sym typeface="+mn-lt"/>
                </a:rPr>
                <a:t>lorem ipsum</a:t>
              </a:r>
              <a:r>
                <a:rPr lang="id-ID" sz="1050" dirty="0">
                  <a:solidFill>
                    <a:schemeClr val="tx2">
                      <a:lumMod val="50000"/>
                    </a:schemeClr>
                  </a:solidFill>
                  <a:latin typeface="方正综艺简体" panose="03000509000000000000" pitchFamily="65" charset="-122"/>
                  <a:cs typeface="+mn-ea"/>
                  <a:sym typeface="+mn-lt"/>
                </a:rPr>
                <a:t>, quia dolor sit, amet, consectetur, adipiscivelit, se</a:t>
              </a:r>
            </a:p>
          </p:txBody>
        </p:sp>
        <p:sp>
          <p:nvSpPr>
            <p:cNvPr id="58" name="TextBox 46"/>
            <p:cNvSpPr txBox="1"/>
            <p:nvPr/>
          </p:nvSpPr>
          <p:spPr>
            <a:xfrm>
              <a:off x="145142" y="4099666"/>
              <a:ext cx="253927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>
                  <a:solidFill>
                    <a:schemeClr val="tx2">
                      <a:lumMod val="50000"/>
                    </a:schemeClr>
                  </a:solidFill>
                  <a:latin typeface="方正综艺简体" panose="03000509000000000000" pitchFamily="65" charset="-122"/>
                  <a:cs typeface="+mn-ea"/>
                  <a:sym typeface="+mn-lt"/>
                </a:rPr>
                <a:t>WORLD CLASS STYLE</a:t>
              </a:r>
              <a:endParaRPr lang="id-ID" sz="1200" b="1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cs typeface="+mn-ea"/>
                <a:sym typeface="+mn-lt"/>
              </a:endParaRPr>
            </a:p>
          </p:txBody>
        </p:sp>
      </p:grpSp>
      <p:sp>
        <p:nvSpPr>
          <p:cNvPr id="59" name="AutoShape 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 bwMode="auto">
          <a:xfrm>
            <a:off x="996028" y="4808833"/>
            <a:ext cx="536529" cy="538424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7428" y="17466"/>
                </a:moveTo>
                <a:cubicBezTo>
                  <a:pt x="16669" y="16923"/>
                  <a:pt x="15846" y="16465"/>
                  <a:pt x="14963" y="16121"/>
                </a:cubicBezTo>
                <a:cubicBezTo>
                  <a:pt x="15595" y="14609"/>
                  <a:pt x="15967" y="12928"/>
                  <a:pt x="16010" y="11148"/>
                </a:cubicBezTo>
                <a:lnTo>
                  <a:pt x="20188" y="11148"/>
                </a:lnTo>
                <a:cubicBezTo>
                  <a:pt x="20097" y="13612"/>
                  <a:pt x="19065" y="15838"/>
                  <a:pt x="17428" y="17466"/>
                </a:cubicBezTo>
                <a:moveTo>
                  <a:pt x="1411" y="11148"/>
                </a:moveTo>
                <a:lnTo>
                  <a:pt x="5589" y="11148"/>
                </a:lnTo>
                <a:cubicBezTo>
                  <a:pt x="5632" y="12928"/>
                  <a:pt x="6004" y="14609"/>
                  <a:pt x="6636" y="16121"/>
                </a:cubicBezTo>
                <a:cubicBezTo>
                  <a:pt x="5753" y="16465"/>
                  <a:pt x="4931" y="16923"/>
                  <a:pt x="4171" y="17466"/>
                </a:cubicBezTo>
                <a:cubicBezTo>
                  <a:pt x="2534" y="15838"/>
                  <a:pt x="1502" y="13612"/>
                  <a:pt x="1411" y="11148"/>
                </a:cubicBezTo>
                <a:moveTo>
                  <a:pt x="3785" y="4553"/>
                </a:moveTo>
                <a:cubicBezTo>
                  <a:pt x="4579" y="5170"/>
                  <a:pt x="5448" y="5691"/>
                  <a:pt x="6388" y="6084"/>
                </a:cubicBezTo>
                <a:cubicBezTo>
                  <a:pt x="5901" y="7433"/>
                  <a:pt x="5627" y="8908"/>
                  <a:pt x="5589" y="10451"/>
                </a:cubicBezTo>
                <a:lnTo>
                  <a:pt x="1411" y="10451"/>
                </a:lnTo>
                <a:cubicBezTo>
                  <a:pt x="1494" y="8190"/>
                  <a:pt x="2376" y="6135"/>
                  <a:pt x="3785" y="4553"/>
                </a:cubicBezTo>
                <a:moveTo>
                  <a:pt x="11148" y="10451"/>
                </a:moveTo>
                <a:lnTo>
                  <a:pt x="11148" y="6950"/>
                </a:lnTo>
                <a:cubicBezTo>
                  <a:pt x="12339" y="6913"/>
                  <a:pt x="13484" y="6696"/>
                  <a:pt x="14558" y="6324"/>
                </a:cubicBezTo>
                <a:cubicBezTo>
                  <a:pt x="15018" y="7598"/>
                  <a:pt x="15276" y="8992"/>
                  <a:pt x="15314" y="10451"/>
                </a:cubicBezTo>
                <a:cubicBezTo>
                  <a:pt x="15314" y="10451"/>
                  <a:pt x="11148" y="10451"/>
                  <a:pt x="11148" y="10451"/>
                </a:cubicBezTo>
                <a:close/>
                <a:moveTo>
                  <a:pt x="14311" y="15882"/>
                </a:moveTo>
                <a:cubicBezTo>
                  <a:pt x="13309" y="15559"/>
                  <a:pt x="12247" y="15380"/>
                  <a:pt x="11148" y="15346"/>
                </a:cubicBezTo>
                <a:lnTo>
                  <a:pt x="11148" y="11148"/>
                </a:lnTo>
                <a:lnTo>
                  <a:pt x="15314" y="11148"/>
                </a:lnTo>
                <a:cubicBezTo>
                  <a:pt x="15270" y="12844"/>
                  <a:pt x="14914" y="14445"/>
                  <a:pt x="14311" y="15882"/>
                </a:cubicBezTo>
                <a:moveTo>
                  <a:pt x="14683" y="16757"/>
                </a:moveTo>
                <a:cubicBezTo>
                  <a:pt x="15476" y="17063"/>
                  <a:pt x="16218" y="17466"/>
                  <a:pt x="16904" y="17941"/>
                </a:cubicBezTo>
                <a:cubicBezTo>
                  <a:pt x="15632" y="19031"/>
                  <a:pt x="14067" y="19781"/>
                  <a:pt x="12344" y="20068"/>
                </a:cubicBezTo>
                <a:cubicBezTo>
                  <a:pt x="13280" y="19136"/>
                  <a:pt x="14076" y="18017"/>
                  <a:pt x="14683" y="16757"/>
                </a:cubicBezTo>
                <a:moveTo>
                  <a:pt x="11148" y="20188"/>
                </a:moveTo>
                <a:lnTo>
                  <a:pt x="11148" y="16043"/>
                </a:lnTo>
                <a:cubicBezTo>
                  <a:pt x="12146" y="16075"/>
                  <a:pt x="13113" y="16231"/>
                  <a:pt x="14025" y="16516"/>
                </a:cubicBezTo>
                <a:cubicBezTo>
                  <a:pt x="13314" y="17970"/>
                  <a:pt x="12343" y="19223"/>
                  <a:pt x="11185" y="20186"/>
                </a:cubicBezTo>
                <a:cubicBezTo>
                  <a:pt x="11185" y="20186"/>
                  <a:pt x="11148" y="20188"/>
                  <a:pt x="11148" y="20188"/>
                </a:cubicBezTo>
                <a:close/>
                <a:moveTo>
                  <a:pt x="9255" y="20068"/>
                </a:moveTo>
                <a:cubicBezTo>
                  <a:pt x="7532" y="19781"/>
                  <a:pt x="5967" y="19031"/>
                  <a:pt x="4695" y="17941"/>
                </a:cubicBezTo>
                <a:cubicBezTo>
                  <a:pt x="5381" y="17466"/>
                  <a:pt x="6123" y="17063"/>
                  <a:pt x="6916" y="16757"/>
                </a:cubicBezTo>
                <a:cubicBezTo>
                  <a:pt x="7523" y="18017"/>
                  <a:pt x="8319" y="19136"/>
                  <a:pt x="9255" y="20068"/>
                </a:cubicBezTo>
                <a:moveTo>
                  <a:pt x="10451" y="11148"/>
                </a:moveTo>
                <a:lnTo>
                  <a:pt x="10451" y="15346"/>
                </a:lnTo>
                <a:cubicBezTo>
                  <a:pt x="9352" y="15380"/>
                  <a:pt x="8290" y="15559"/>
                  <a:pt x="7288" y="15882"/>
                </a:cubicBezTo>
                <a:cubicBezTo>
                  <a:pt x="6685" y="14445"/>
                  <a:pt x="6329" y="12844"/>
                  <a:pt x="6285" y="11148"/>
                </a:cubicBezTo>
                <a:cubicBezTo>
                  <a:pt x="6285" y="11148"/>
                  <a:pt x="10451" y="11148"/>
                  <a:pt x="10451" y="11148"/>
                </a:cubicBezTo>
                <a:close/>
                <a:moveTo>
                  <a:pt x="7041" y="6324"/>
                </a:moveTo>
                <a:cubicBezTo>
                  <a:pt x="8115" y="6696"/>
                  <a:pt x="9260" y="6913"/>
                  <a:pt x="10451" y="6950"/>
                </a:cubicBezTo>
                <a:lnTo>
                  <a:pt x="10451" y="10451"/>
                </a:lnTo>
                <a:lnTo>
                  <a:pt x="6285" y="10451"/>
                </a:lnTo>
                <a:cubicBezTo>
                  <a:pt x="6324" y="8992"/>
                  <a:pt x="6581" y="7598"/>
                  <a:pt x="7041" y="6324"/>
                </a:cubicBezTo>
                <a:moveTo>
                  <a:pt x="6651" y="5442"/>
                </a:moveTo>
                <a:cubicBezTo>
                  <a:pt x="5790" y="5084"/>
                  <a:pt x="4993" y="4609"/>
                  <a:pt x="4263" y="4050"/>
                </a:cubicBezTo>
                <a:cubicBezTo>
                  <a:pt x="5606" y="2749"/>
                  <a:pt x="7332" y="1851"/>
                  <a:pt x="9255" y="1531"/>
                </a:cubicBezTo>
                <a:cubicBezTo>
                  <a:pt x="8175" y="2610"/>
                  <a:pt x="7286" y="3939"/>
                  <a:pt x="6651" y="5442"/>
                </a:cubicBezTo>
                <a:moveTo>
                  <a:pt x="10451" y="1411"/>
                </a:moveTo>
                <a:lnTo>
                  <a:pt x="10451" y="6253"/>
                </a:lnTo>
                <a:cubicBezTo>
                  <a:pt x="9352" y="6217"/>
                  <a:pt x="8296" y="6021"/>
                  <a:pt x="7303" y="5681"/>
                </a:cubicBezTo>
                <a:cubicBezTo>
                  <a:pt x="8029" y="3972"/>
                  <a:pt x="9101" y="2507"/>
                  <a:pt x="10415" y="1413"/>
                </a:cubicBezTo>
                <a:cubicBezTo>
                  <a:pt x="10427" y="1412"/>
                  <a:pt x="10439" y="1411"/>
                  <a:pt x="10451" y="1411"/>
                </a:cubicBezTo>
                <a:moveTo>
                  <a:pt x="12344" y="1531"/>
                </a:moveTo>
                <a:cubicBezTo>
                  <a:pt x="14267" y="1851"/>
                  <a:pt x="15993" y="2749"/>
                  <a:pt x="17336" y="4050"/>
                </a:cubicBezTo>
                <a:cubicBezTo>
                  <a:pt x="16606" y="4609"/>
                  <a:pt x="15809" y="5084"/>
                  <a:pt x="14948" y="5442"/>
                </a:cubicBezTo>
                <a:cubicBezTo>
                  <a:pt x="14313" y="3939"/>
                  <a:pt x="13424" y="2610"/>
                  <a:pt x="12344" y="1531"/>
                </a:cubicBezTo>
                <a:moveTo>
                  <a:pt x="11184" y="1413"/>
                </a:moveTo>
                <a:cubicBezTo>
                  <a:pt x="12498" y="2507"/>
                  <a:pt x="13570" y="3972"/>
                  <a:pt x="14296" y="5681"/>
                </a:cubicBezTo>
                <a:cubicBezTo>
                  <a:pt x="13303" y="6021"/>
                  <a:pt x="12247" y="6217"/>
                  <a:pt x="11148" y="6253"/>
                </a:cubicBezTo>
                <a:lnTo>
                  <a:pt x="11148" y="1411"/>
                </a:lnTo>
                <a:cubicBezTo>
                  <a:pt x="11160" y="1411"/>
                  <a:pt x="11172" y="1412"/>
                  <a:pt x="11184" y="1413"/>
                </a:cubicBezTo>
                <a:moveTo>
                  <a:pt x="10414" y="20186"/>
                </a:moveTo>
                <a:cubicBezTo>
                  <a:pt x="9256" y="19223"/>
                  <a:pt x="8285" y="17970"/>
                  <a:pt x="7574" y="16516"/>
                </a:cubicBezTo>
                <a:cubicBezTo>
                  <a:pt x="8486" y="16231"/>
                  <a:pt x="9453" y="16075"/>
                  <a:pt x="10451" y="16043"/>
                </a:cubicBezTo>
                <a:lnTo>
                  <a:pt x="10451" y="20188"/>
                </a:lnTo>
                <a:cubicBezTo>
                  <a:pt x="10451" y="20188"/>
                  <a:pt x="10414" y="20186"/>
                  <a:pt x="10414" y="20186"/>
                </a:cubicBezTo>
                <a:close/>
                <a:moveTo>
                  <a:pt x="20188" y="10451"/>
                </a:moveTo>
                <a:lnTo>
                  <a:pt x="16010" y="10451"/>
                </a:lnTo>
                <a:cubicBezTo>
                  <a:pt x="15972" y="8908"/>
                  <a:pt x="15698" y="7433"/>
                  <a:pt x="15211" y="6084"/>
                </a:cubicBezTo>
                <a:cubicBezTo>
                  <a:pt x="16151" y="5691"/>
                  <a:pt x="17020" y="5170"/>
                  <a:pt x="17814" y="4553"/>
                </a:cubicBezTo>
                <a:cubicBezTo>
                  <a:pt x="19223" y="6135"/>
                  <a:pt x="20105" y="8190"/>
                  <a:pt x="20188" y="10451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lIns="19050" tIns="19050" rIns="19050" bIns="19050" anchor="ctr"/>
          <a:lstStyle/>
          <a:p>
            <a:pPr algn="ctr" defTabSz="228600" fontAlgn="base" hangingPunct="0">
              <a:spcBef>
                <a:spcPct val="0"/>
              </a:spcBef>
              <a:spcAft>
                <a:spcPct val="0"/>
              </a:spcAft>
            </a:pPr>
            <a:endParaRPr lang="en-US" sz="1500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方正综艺简体" panose="03000509000000000000" pitchFamily="65" charset="-122"/>
              <a:cs typeface="+mn-ea"/>
              <a:sym typeface="+mn-lt"/>
            </a:endParaRPr>
          </a:p>
        </p:txBody>
      </p:sp>
    </p:spTree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34" t="17210" r="6687" b="31157"/>
          <a:stretch>
            <a:fillRect/>
          </a:stretch>
        </p:blipFill>
        <p:spPr>
          <a:xfrm>
            <a:off x="-23446" y="-93784"/>
            <a:ext cx="12215446" cy="6963507"/>
          </a:xfrm>
          <a:prstGeom prst="rect">
            <a:avLst/>
          </a:prstGeom>
        </p:spPr>
      </p:pic>
      <p:pic>
        <p:nvPicPr>
          <p:cNvPr id="5" name="图片 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8643" y="281354"/>
            <a:ext cx="7172695" cy="6142892"/>
          </a:xfrm>
          <a:prstGeom prst="rect">
            <a:avLst/>
          </a:prstGeom>
        </p:spPr>
      </p:pic>
      <p:sp>
        <p:nvSpPr>
          <p:cNvPr id="6" name="文本框 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8135816" y="867508"/>
            <a:ext cx="300274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0" dirty="0">
                <a:solidFill>
                  <a:schemeClr val="bg1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CONTENTS</a:t>
            </a:r>
            <a:endParaRPr lang="zh-CN" altLang="en-US" sz="4000" dirty="0">
              <a:solidFill>
                <a:schemeClr val="bg1"/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grpSp>
        <p:nvGrpSpPr>
          <p:cNvPr id="23" name="组合 2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9403782" y="2397668"/>
            <a:ext cx="889079" cy="1031332"/>
            <a:chOff x="9403782" y="2397668"/>
            <a:chExt cx="889079" cy="1031332"/>
          </a:xfrm>
        </p:grpSpPr>
        <p:sp>
          <p:nvSpPr>
            <p:cNvPr id="9" name="六边形 8"/>
            <p:cNvSpPr/>
            <p:nvPr/>
          </p:nvSpPr>
          <p:spPr>
            <a:xfrm rot="5400000">
              <a:off x="9332656" y="2468794"/>
              <a:ext cx="1031332" cy="889079"/>
            </a:xfrm>
            <a:prstGeom prst="hexagon">
              <a:avLst>
                <a:gd name="adj" fmla="val 28846"/>
                <a:gd name="vf" fmla="val 115470"/>
              </a:avLst>
            </a:prstGeom>
            <a:solidFill>
              <a:schemeClr val="bg1"/>
            </a:solidFill>
            <a:ln>
              <a:noFill/>
            </a:ln>
            <a:effectLst>
              <a:innerShdw blurRad="1016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47312" y="2461846"/>
              <a:ext cx="651765" cy="738555"/>
            </a:xfrm>
            <a:prstGeom prst="rect">
              <a:avLst/>
            </a:prstGeom>
          </p:spPr>
        </p:pic>
      </p:grpSp>
      <p:pic>
        <p:nvPicPr>
          <p:cNvPr id="10" name="图片 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63544" y="325763"/>
            <a:ext cx="9162626" cy="6089552"/>
          </a:xfrm>
          <a:prstGeom prst="rect">
            <a:avLst/>
          </a:prstGeom>
        </p:spPr>
      </p:pic>
      <p:grpSp>
        <p:nvGrpSpPr>
          <p:cNvPr id="22" name="组合 2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7487058" y="2397668"/>
            <a:ext cx="889079" cy="1031332"/>
            <a:chOff x="7422582" y="2397668"/>
            <a:chExt cx="889079" cy="1031332"/>
          </a:xfrm>
        </p:grpSpPr>
        <p:sp>
          <p:nvSpPr>
            <p:cNvPr id="11" name="六边形 10"/>
            <p:cNvSpPr/>
            <p:nvPr/>
          </p:nvSpPr>
          <p:spPr>
            <a:xfrm rot="5400000">
              <a:off x="7351456" y="2468794"/>
              <a:ext cx="1031332" cy="889079"/>
            </a:xfrm>
            <a:prstGeom prst="hexagon">
              <a:avLst>
                <a:gd name="adj" fmla="val 28846"/>
                <a:gd name="vf" fmla="val 115470"/>
              </a:avLst>
            </a:prstGeom>
            <a:solidFill>
              <a:schemeClr val="bg1"/>
            </a:solidFill>
            <a:ln>
              <a:noFill/>
            </a:ln>
            <a:effectLst>
              <a:innerShdw blurRad="1016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pic>
          <p:nvPicPr>
            <p:cNvPr id="12" name="图片 11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6778"/>
            <a:stretch>
              <a:fillRect/>
            </a:stretch>
          </p:blipFill>
          <p:spPr>
            <a:xfrm>
              <a:off x="7542666" y="2485292"/>
              <a:ext cx="651765" cy="738555"/>
            </a:xfrm>
            <a:prstGeom prst="rect">
              <a:avLst/>
            </a:prstGeom>
          </p:spPr>
        </p:pic>
      </p:grpSp>
      <p:grpSp>
        <p:nvGrpSpPr>
          <p:cNvPr id="21" name="组合 2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5570335" y="2397668"/>
            <a:ext cx="889079" cy="1031332"/>
            <a:chOff x="5663100" y="2397668"/>
            <a:chExt cx="889079" cy="1031332"/>
          </a:xfrm>
        </p:grpSpPr>
        <p:sp>
          <p:nvSpPr>
            <p:cNvPr id="13" name="六边形 12"/>
            <p:cNvSpPr/>
            <p:nvPr/>
          </p:nvSpPr>
          <p:spPr>
            <a:xfrm rot="5400000">
              <a:off x="5591974" y="2468794"/>
              <a:ext cx="1031332" cy="889079"/>
            </a:xfrm>
            <a:prstGeom prst="hexagon">
              <a:avLst>
                <a:gd name="adj" fmla="val 28846"/>
                <a:gd name="vf" fmla="val 115470"/>
              </a:avLst>
            </a:prstGeom>
            <a:solidFill>
              <a:schemeClr val="bg1"/>
            </a:solidFill>
            <a:ln>
              <a:noFill/>
            </a:ln>
            <a:effectLst>
              <a:innerShdw blurRad="1016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pic>
          <p:nvPicPr>
            <p:cNvPr id="14" name="图片 13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3278"/>
            <a:stretch>
              <a:fillRect/>
            </a:stretch>
          </p:blipFill>
          <p:spPr>
            <a:xfrm>
              <a:off x="5806630" y="2485292"/>
              <a:ext cx="651765" cy="738555"/>
            </a:xfrm>
            <a:prstGeom prst="rect">
              <a:avLst/>
            </a:prstGeom>
          </p:spPr>
        </p:pic>
      </p:grpSp>
      <p:grpSp>
        <p:nvGrpSpPr>
          <p:cNvPr id="20" name="组合 1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3653612" y="2397668"/>
            <a:ext cx="889079" cy="1031332"/>
            <a:chOff x="3788428" y="2397668"/>
            <a:chExt cx="889079" cy="1031332"/>
          </a:xfrm>
        </p:grpSpPr>
        <p:sp>
          <p:nvSpPr>
            <p:cNvPr id="15" name="六边形 14"/>
            <p:cNvSpPr/>
            <p:nvPr/>
          </p:nvSpPr>
          <p:spPr>
            <a:xfrm rot="5400000">
              <a:off x="3717302" y="2468794"/>
              <a:ext cx="1031332" cy="889079"/>
            </a:xfrm>
            <a:prstGeom prst="hexagon">
              <a:avLst>
                <a:gd name="adj" fmla="val 28846"/>
                <a:gd name="vf" fmla="val 115470"/>
              </a:avLst>
            </a:prstGeom>
            <a:solidFill>
              <a:schemeClr val="bg1"/>
            </a:solidFill>
            <a:ln>
              <a:noFill/>
            </a:ln>
            <a:effectLst>
              <a:innerShdw blurRad="1016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pic>
          <p:nvPicPr>
            <p:cNvPr id="16" name="图片 15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85066" y="2532184"/>
              <a:ext cx="651765" cy="738555"/>
            </a:xfrm>
            <a:prstGeom prst="rect">
              <a:avLst/>
            </a:prstGeom>
          </p:spPr>
        </p:pic>
      </p:grpSp>
      <p:grpSp>
        <p:nvGrpSpPr>
          <p:cNvPr id="19" name="组合 1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1736889" y="2397668"/>
            <a:ext cx="889079" cy="1031332"/>
            <a:chOff x="1736889" y="2397668"/>
            <a:chExt cx="889079" cy="1031332"/>
          </a:xfrm>
        </p:grpSpPr>
        <p:sp>
          <p:nvSpPr>
            <p:cNvPr id="17" name="六边形 16"/>
            <p:cNvSpPr/>
            <p:nvPr/>
          </p:nvSpPr>
          <p:spPr>
            <a:xfrm rot="5400000">
              <a:off x="1665763" y="2468794"/>
              <a:ext cx="1031332" cy="889079"/>
            </a:xfrm>
            <a:prstGeom prst="hexagon">
              <a:avLst>
                <a:gd name="adj" fmla="val 28846"/>
                <a:gd name="vf" fmla="val 115470"/>
              </a:avLst>
            </a:prstGeom>
            <a:solidFill>
              <a:schemeClr val="bg1"/>
            </a:solidFill>
            <a:ln>
              <a:noFill/>
            </a:ln>
            <a:effectLst>
              <a:innerShdw blurRad="1016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pic>
          <p:nvPicPr>
            <p:cNvPr id="18" name="图片 17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13734"/>
            <a:stretch>
              <a:fillRect/>
            </a:stretch>
          </p:blipFill>
          <p:spPr>
            <a:xfrm>
              <a:off x="1880419" y="2579076"/>
              <a:ext cx="651765" cy="738555"/>
            </a:xfrm>
            <a:prstGeom prst="rect">
              <a:avLst/>
            </a:prstGeom>
          </p:spPr>
        </p:pic>
      </p:grpSp>
      <p:sp>
        <p:nvSpPr>
          <p:cNvPr id="24" name="文本框 2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1555261" y="3610708"/>
            <a:ext cx="13516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PART ONE</a:t>
            </a:r>
            <a:endParaRPr lang="zh-CN" altLang="en-US" dirty="0">
              <a:solidFill>
                <a:schemeClr val="bg1"/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27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1509486" y="4027437"/>
            <a:ext cx="1509485" cy="797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200">
                <a:solidFill>
                  <a:schemeClr val="bg1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</a:t>
            </a:r>
          </a:p>
        </p:txBody>
      </p:sp>
      <p:sp>
        <p:nvSpPr>
          <p:cNvPr id="28" name="文本框 2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3420347" y="3646994"/>
            <a:ext cx="14029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PART TWO</a:t>
            </a:r>
            <a:endParaRPr lang="zh-CN" altLang="en-US" dirty="0">
              <a:solidFill>
                <a:schemeClr val="bg1"/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1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3258457" y="3976637"/>
            <a:ext cx="1509485" cy="797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200" dirty="0">
                <a:solidFill>
                  <a:schemeClr val="bg1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</a:t>
            </a:r>
          </a:p>
        </p:txBody>
      </p:sp>
      <p:sp>
        <p:nvSpPr>
          <p:cNvPr id="32" name="文本框 3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5375927" y="3654251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PART THREE</a:t>
            </a:r>
            <a:endParaRPr lang="zh-CN" altLang="en-US" dirty="0">
              <a:solidFill>
                <a:schemeClr val="bg1"/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3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5321438" y="3983894"/>
            <a:ext cx="1509485" cy="797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200">
                <a:solidFill>
                  <a:schemeClr val="bg1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</a:t>
            </a:r>
          </a:p>
        </p:txBody>
      </p:sp>
      <p:sp>
        <p:nvSpPr>
          <p:cNvPr id="34" name="文本框 3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7197470" y="3661508"/>
            <a:ext cx="1492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PART FOUR</a:t>
            </a:r>
          </a:p>
        </p:txBody>
      </p:sp>
      <p:sp>
        <p:nvSpPr>
          <p:cNvPr id="35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7142981" y="3991151"/>
            <a:ext cx="1509485" cy="797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200">
                <a:solidFill>
                  <a:schemeClr val="bg1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</a:t>
            </a:r>
          </a:p>
        </p:txBody>
      </p:sp>
      <p:sp>
        <p:nvSpPr>
          <p:cNvPr id="36" name="文本框 3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9178670" y="3610708"/>
            <a:ext cx="13516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PART FIVE</a:t>
            </a:r>
          </a:p>
        </p:txBody>
      </p:sp>
      <p:sp>
        <p:nvSpPr>
          <p:cNvPr id="37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9124181" y="3940351"/>
            <a:ext cx="1509485" cy="797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200">
                <a:solidFill>
                  <a:schemeClr val="bg1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</a:t>
            </a:r>
          </a:p>
        </p:txBody>
      </p:sp>
    </p:spTree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Picture 1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20703025">
            <a:off x="8185945" y="5155024"/>
            <a:ext cx="1641080" cy="1395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等腰三角形 6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rot="16200000">
            <a:off x="7968480" y="679938"/>
            <a:ext cx="367167" cy="316523"/>
          </a:xfrm>
          <a:prstGeom prst="triangle">
            <a:avLst/>
          </a:prstGeom>
          <a:noFill/>
          <a:ln w="47625">
            <a:solidFill>
              <a:srgbClr val="01B7F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2">
                  <a:lumMod val="50000"/>
                </a:schemeClr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62" name="矩形 6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rot="2265543">
            <a:off x="269631" y="3077308"/>
            <a:ext cx="351692" cy="351692"/>
          </a:xfrm>
          <a:prstGeom prst="rect">
            <a:avLst/>
          </a:prstGeom>
          <a:noFill/>
          <a:ln w="47625">
            <a:solidFill>
              <a:srgbClr val="01B7F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64" name="椭圆 6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1413564" y="5246508"/>
            <a:ext cx="445477" cy="445477"/>
          </a:xfrm>
          <a:prstGeom prst="ellipse">
            <a:avLst/>
          </a:prstGeom>
          <a:noFill/>
          <a:ln w="47625">
            <a:solidFill>
              <a:srgbClr val="01B7F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65" name="矩形 6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rot="2265543">
            <a:off x="11368143" y="250041"/>
            <a:ext cx="172753" cy="172753"/>
          </a:xfrm>
          <a:prstGeom prst="rect">
            <a:avLst/>
          </a:prstGeom>
          <a:solidFill>
            <a:srgbClr val="01B7F9"/>
          </a:solidFill>
          <a:ln w="47625">
            <a:solidFill>
              <a:srgbClr val="01B7F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2">
                  <a:lumMod val="50000"/>
                </a:schemeClr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pic>
        <p:nvPicPr>
          <p:cNvPr id="66" name="Picture 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734953">
            <a:off x="3136590" y="189187"/>
            <a:ext cx="1480702" cy="14028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矩形 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0" y="1295400"/>
            <a:ext cx="12192000" cy="4152900"/>
          </a:xfrm>
          <a:prstGeom prst="rect">
            <a:avLst/>
          </a:prstGeom>
          <a:solidFill>
            <a:schemeClr val="bg1">
              <a:alpha val="60000"/>
            </a:schemeClr>
          </a:solidFill>
          <a:ln w="3175">
            <a:solidFill>
              <a:schemeClr val="bg1">
                <a:alpha val="76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47" name="Shape 34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44500" y="3669537"/>
            <a:ext cx="1873250" cy="420628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 algn="l">
              <a:defRPr sz="1900">
                <a:solidFill>
                  <a:srgbClr val="444444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Vestibulum id ligula et porta </a:t>
            </a:r>
            <a:r>
              <a:rPr sz="12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felis</a:t>
            </a:r>
            <a:r>
              <a:rPr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 </a:t>
            </a:r>
            <a:r>
              <a:rPr sz="12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euismolore</a:t>
            </a:r>
            <a:r>
              <a:rPr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. </a:t>
            </a:r>
          </a:p>
        </p:txBody>
      </p:sp>
      <p:sp>
        <p:nvSpPr>
          <p:cNvPr id="348" name="Shape 34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50850" y="3444370"/>
            <a:ext cx="1485900" cy="235962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 algn="l">
              <a:defRPr sz="2500" b="1">
                <a:solidFill>
                  <a:srgbClr val="5B62CF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1200" b="0" dirty="0">
                <a:solidFill>
                  <a:schemeClr val="accent4">
                    <a:lumMod val="7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Add text here</a:t>
            </a:r>
          </a:p>
        </p:txBody>
      </p:sp>
      <p:sp>
        <p:nvSpPr>
          <p:cNvPr id="352" name="Shape 35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flipV="1">
            <a:off x="-266700" y="4711308"/>
            <a:ext cx="12558008" cy="393"/>
          </a:xfrm>
          <a:prstGeom prst="line">
            <a:avLst/>
          </a:prstGeom>
          <a:solidFill>
            <a:srgbClr val="42A3E8"/>
          </a:solidFill>
          <a:ln w="25400">
            <a:solidFill>
              <a:schemeClr val="tx1">
                <a:lumMod val="50000"/>
                <a:lumOff val="50000"/>
              </a:schemeClr>
            </a:solidFill>
            <a:miter lim="400000"/>
          </a:ln>
        </p:spPr>
        <p:txBody>
          <a:bodyPr lIns="0" tIns="0" rIns="0" bIns="0" anchor="ctr"/>
          <a:lstStyle/>
          <a:p>
            <a:pPr defTabSz="2286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1000">
              <a:latin typeface="等线" panose="02010600030101010101" charset="-122"/>
              <a:ea typeface="等线" panose="02010600030101010101" charset="-122"/>
              <a:cs typeface="等线" panose="02010600030101010101" charset="-122"/>
              <a:sym typeface="等线" panose="02010600030101010101" charset="-122"/>
            </a:endParaRPr>
          </a:p>
        </p:txBody>
      </p:sp>
      <p:sp>
        <p:nvSpPr>
          <p:cNvPr id="353" name="Shape 35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393700" y="4660900"/>
            <a:ext cx="95250" cy="95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chemeClr val="accent4">
              <a:lumMod val="75000"/>
            </a:schemeClr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3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54" name="Shape 35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266950" y="4660900"/>
            <a:ext cx="95250" cy="95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chemeClr val="accent4">
              <a:lumMod val="75000"/>
            </a:schemeClr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3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55" name="Shape 35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191000" y="4660900"/>
            <a:ext cx="95250" cy="95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chemeClr val="accent2"/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3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56" name="Shape 35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127750" y="4660900"/>
            <a:ext cx="95250" cy="95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chemeClr val="accent2"/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3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57" name="Shape 35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045450" y="4660900"/>
            <a:ext cx="95250" cy="95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chemeClr val="accent2"/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3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58" name="Shape 35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944100" y="4660900"/>
            <a:ext cx="95250" cy="95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chemeClr val="accent1"/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3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59" name="Shape 35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1817350" y="4660900"/>
            <a:ext cx="95250" cy="95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chemeClr val="accent1"/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3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60" name="Shape 36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50850" y="4140200"/>
            <a:ext cx="1860550" cy="10795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3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61" name="Shape 36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324100" y="3848100"/>
            <a:ext cx="1911350" cy="95250"/>
          </a:xfrm>
          <a:prstGeom prst="rect">
            <a:avLst/>
          </a:prstGeom>
          <a:solidFill>
            <a:schemeClr val="accent4">
              <a:lumMod val="75000"/>
            </a:schemeClr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3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62" name="Shape 36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248150" y="3524250"/>
            <a:ext cx="1911350" cy="95250"/>
          </a:xfrm>
          <a:prstGeom prst="rect">
            <a:avLst/>
          </a:prstGeom>
          <a:solidFill>
            <a:schemeClr val="accent6"/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3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63" name="Shape 36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121400" y="3232150"/>
            <a:ext cx="1911350" cy="95250"/>
          </a:xfrm>
          <a:prstGeom prst="rect">
            <a:avLst/>
          </a:prstGeom>
          <a:solidFill>
            <a:schemeClr val="accent2"/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3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64" name="Shape 36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045450" y="2908300"/>
            <a:ext cx="1911350" cy="95250"/>
          </a:xfrm>
          <a:prstGeom prst="rect">
            <a:avLst/>
          </a:prstGeom>
          <a:solidFill>
            <a:schemeClr val="accent1"/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3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65" name="Shape 36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918700" y="2616200"/>
            <a:ext cx="1911350" cy="9525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3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grpSp>
        <p:nvGrpSpPr>
          <p:cNvPr id="369" name="Group 36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464741" y="3096554"/>
            <a:ext cx="298451" cy="298451"/>
            <a:chOff x="0" y="0"/>
            <a:chExt cx="596900" cy="596900"/>
          </a:xfrm>
          <a:solidFill>
            <a:schemeClr val="accent4">
              <a:lumMod val="75000"/>
            </a:schemeClr>
          </a:solidFill>
        </p:grpSpPr>
        <p:sp>
          <p:nvSpPr>
            <p:cNvPr id="366" name="Shape 366"/>
            <p:cNvSpPr/>
            <p:nvPr/>
          </p:nvSpPr>
          <p:spPr>
            <a:xfrm>
              <a:off x="0" y="0"/>
              <a:ext cx="596901" cy="5969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80" y="12133"/>
                  </a:moveTo>
                  <a:cubicBezTo>
                    <a:pt x="17711" y="12226"/>
                    <a:pt x="17327" y="12561"/>
                    <a:pt x="17170" y="13013"/>
                  </a:cubicBezTo>
                  <a:cubicBezTo>
                    <a:pt x="17083" y="13262"/>
                    <a:pt x="16982" y="13503"/>
                    <a:pt x="16869" y="13738"/>
                  </a:cubicBezTo>
                  <a:cubicBezTo>
                    <a:pt x="16659" y="14169"/>
                    <a:pt x="16694" y="14678"/>
                    <a:pt x="16959" y="15075"/>
                  </a:cubicBezTo>
                  <a:lnTo>
                    <a:pt x="18131" y="16833"/>
                  </a:lnTo>
                  <a:lnTo>
                    <a:pt x="16833" y="18132"/>
                  </a:lnTo>
                  <a:lnTo>
                    <a:pt x="15076" y="16960"/>
                  </a:lnTo>
                  <a:cubicBezTo>
                    <a:pt x="14850" y="16810"/>
                    <a:pt x="14589" y="16733"/>
                    <a:pt x="14327" y="16733"/>
                  </a:cubicBezTo>
                  <a:cubicBezTo>
                    <a:pt x="14126" y="16733"/>
                    <a:pt x="13925" y="16778"/>
                    <a:pt x="13739" y="16868"/>
                  </a:cubicBezTo>
                  <a:cubicBezTo>
                    <a:pt x="13504" y="16982"/>
                    <a:pt x="13263" y="17084"/>
                    <a:pt x="13012" y="17171"/>
                  </a:cubicBezTo>
                  <a:cubicBezTo>
                    <a:pt x="12562" y="17327"/>
                    <a:pt x="12227" y="17712"/>
                    <a:pt x="12133" y="18181"/>
                  </a:cubicBezTo>
                  <a:lnTo>
                    <a:pt x="11718" y="20250"/>
                  </a:lnTo>
                  <a:lnTo>
                    <a:pt x="9881" y="20250"/>
                  </a:lnTo>
                  <a:lnTo>
                    <a:pt x="9468" y="18181"/>
                  </a:lnTo>
                  <a:cubicBezTo>
                    <a:pt x="9374" y="17712"/>
                    <a:pt x="9039" y="17327"/>
                    <a:pt x="8588" y="17171"/>
                  </a:cubicBezTo>
                  <a:cubicBezTo>
                    <a:pt x="8339" y="17084"/>
                    <a:pt x="8096" y="16983"/>
                    <a:pt x="7862" y="16869"/>
                  </a:cubicBezTo>
                  <a:cubicBezTo>
                    <a:pt x="7675" y="16778"/>
                    <a:pt x="7474" y="16733"/>
                    <a:pt x="7274" y="16733"/>
                  </a:cubicBezTo>
                  <a:cubicBezTo>
                    <a:pt x="7011" y="16733"/>
                    <a:pt x="6750" y="16810"/>
                    <a:pt x="6525" y="16960"/>
                  </a:cubicBezTo>
                  <a:lnTo>
                    <a:pt x="4767" y="18132"/>
                  </a:lnTo>
                  <a:lnTo>
                    <a:pt x="3468" y="16833"/>
                  </a:lnTo>
                  <a:lnTo>
                    <a:pt x="4640" y="15075"/>
                  </a:lnTo>
                  <a:cubicBezTo>
                    <a:pt x="4905" y="14678"/>
                    <a:pt x="4940" y="14170"/>
                    <a:pt x="4732" y="13739"/>
                  </a:cubicBezTo>
                  <a:cubicBezTo>
                    <a:pt x="4619" y="13505"/>
                    <a:pt x="4517" y="13263"/>
                    <a:pt x="4430" y="13014"/>
                  </a:cubicBezTo>
                  <a:cubicBezTo>
                    <a:pt x="4273" y="12562"/>
                    <a:pt x="3888" y="12227"/>
                    <a:pt x="3420" y="12133"/>
                  </a:cubicBezTo>
                  <a:lnTo>
                    <a:pt x="1351" y="11719"/>
                  </a:lnTo>
                  <a:lnTo>
                    <a:pt x="1350" y="9882"/>
                  </a:lnTo>
                  <a:lnTo>
                    <a:pt x="3420" y="9468"/>
                  </a:lnTo>
                  <a:cubicBezTo>
                    <a:pt x="3888" y="9375"/>
                    <a:pt x="4273" y="9040"/>
                    <a:pt x="4430" y="8588"/>
                  </a:cubicBezTo>
                  <a:cubicBezTo>
                    <a:pt x="4517" y="8339"/>
                    <a:pt x="4617" y="8097"/>
                    <a:pt x="4731" y="7862"/>
                  </a:cubicBezTo>
                  <a:cubicBezTo>
                    <a:pt x="4940" y="7432"/>
                    <a:pt x="4905" y="6923"/>
                    <a:pt x="4640" y="6525"/>
                  </a:cubicBezTo>
                  <a:lnTo>
                    <a:pt x="3468" y="4768"/>
                  </a:lnTo>
                  <a:lnTo>
                    <a:pt x="4767" y="3469"/>
                  </a:lnTo>
                  <a:lnTo>
                    <a:pt x="6525" y="4640"/>
                  </a:lnTo>
                  <a:cubicBezTo>
                    <a:pt x="6750" y="4791"/>
                    <a:pt x="7011" y="4867"/>
                    <a:pt x="7274" y="4867"/>
                  </a:cubicBezTo>
                  <a:cubicBezTo>
                    <a:pt x="7474" y="4867"/>
                    <a:pt x="7675" y="4822"/>
                    <a:pt x="7862" y="4733"/>
                  </a:cubicBezTo>
                  <a:cubicBezTo>
                    <a:pt x="8095" y="4619"/>
                    <a:pt x="8338" y="4517"/>
                    <a:pt x="8587" y="4430"/>
                  </a:cubicBezTo>
                  <a:cubicBezTo>
                    <a:pt x="9039" y="4273"/>
                    <a:pt x="9374" y="3889"/>
                    <a:pt x="9468" y="3420"/>
                  </a:cubicBezTo>
                  <a:lnTo>
                    <a:pt x="9881" y="1351"/>
                  </a:lnTo>
                  <a:lnTo>
                    <a:pt x="11718" y="1350"/>
                  </a:lnTo>
                  <a:lnTo>
                    <a:pt x="12132" y="3420"/>
                  </a:lnTo>
                  <a:cubicBezTo>
                    <a:pt x="12225" y="3889"/>
                    <a:pt x="12560" y="4273"/>
                    <a:pt x="13012" y="4430"/>
                  </a:cubicBezTo>
                  <a:cubicBezTo>
                    <a:pt x="13262" y="4517"/>
                    <a:pt x="13503" y="4618"/>
                    <a:pt x="13737" y="4732"/>
                  </a:cubicBezTo>
                  <a:cubicBezTo>
                    <a:pt x="13925" y="4822"/>
                    <a:pt x="14125" y="4867"/>
                    <a:pt x="14327" y="4867"/>
                  </a:cubicBezTo>
                  <a:cubicBezTo>
                    <a:pt x="14589" y="4867"/>
                    <a:pt x="14850" y="4791"/>
                    <a:pt x="15076" y="4640"/>
                  </a:cubicBezTo>
                  <a:lnTo>
                    <a:pt x="16833" y="3469"/>
                  </a:lnTo>
                  <a:lnTo>
                    <a:pt x="18131" y="4768"/>
                  </a:lnTo>
                  <a:lnTo>
                    <a:pt x="16959" y="6525"/>
                  </a:lnTo>
                  <a:cubicBezTo>
                    <a:pt x="16694" y="6923"/>
                    <a:pt x="16660" y="7431"/>
                    <a:pt x="16867" y="7862"/>
                  </a:cubicBezTo>
                  <a:cubicBezTo>
                    <a:pt x="16981" y="8096"/>
                    <a:pt x="17083" y="8338"/>
                    <a:pt x="17170" y="8587"/>
                  </a:cubicBezTo>
                  <a:cubicBezTo>
                    <a:pt x="17327" y="9039"/>
                    <a:pt x="17711" y="9374"/>
                    <a:pt x="18180" y="9467"/>
                  </a:cubicBezTo>
                  <a:lnTo>
                    <a:pt x="20249" y="9882"/>
                  </a:lnTo>
                  <a:lnTo>
                    <a:pt x="20250" y="11719"/>
                  </a:lnTo>
                  <a:cubicBezTo>
                    <a:pt x="20250" y="11719"/>
                    <a:pt x="18180" y="12133"/>
                    <a:pt x="18180" y="12133"/>
                  </a:cubicBezTo>
                  <a:close/>
                  <a:moveTo>
                    <a:pt x="20514" y="8558"/>
                  </a:moveTo>
                  <a:lnTo>
                    <a:pt x="18445" y="8144"/>
                  </a:lnTo>
                  <a:cubicBezTo>
                    <a:pt x="18341" y="7844"/>
                    <a:pt x="18218" y="7555"/>
                    <a:pt x="18083" y="7274"/>
                  </a:cubicBezTo>
                  <a:lnTo>
                    <a:pt x="19255" y="5516"/>
                  </a:lnTo>
                  <a:cubicBezTo>
                    <a:pt x="19612" y="4981"/>
                    <a:pt x="19541" y="4268"/>
                    <a:pt x="19086" y="3813"/>
                  </a:cubicBezTo>
                  <a:lnTo>
                    <a:pt x="17787" y="2514"/>
                  </a:lnTo>
                  <a:cubicBezTo>
                    <a:pt x="17526" y="2253"/>
                    <a:pt x="17182" y="2119"/>
                    <a:pt x="16832" y="2119"/>
                  </a:cubicBezTo>
                  <a:cubicBezTo>
                    <a:pt x="16573" y="2119"/>
                    <a:pt x="16312" y="2193"/>
                    <a:pt x="16085" y="2346"/>
                  </a:cubicBezTo>
                  <a:lnTo>
                    <a:pt x="14327" y="3517"/>
                  </a:lnTo>
                  <a:cubicBezTo>
                    <a:pt x="14045" y="3381"/>
                    <a:pt x="13755" y="3259"/>
                    <a:pt x="13455" y="3155"/>
                  </a:cubicBezTo>
                  <a:lnTo>
                    <a:pt x="13041" y="1086"/>
                  </a:lnTo>
                  <a:cubicBezTo>
                    <a:pt x="12916" y="455"/>
                    <a:pt x="12361" y="0"/>
                    <a:pt x="11718" y="0"/>
                  </a:cubicBezTo>
                  <a:lnTo>
                    <a:pt x="9881" y="0"/>
                  </a:lnTo>
                  <a:cubicBezTo>
                    <a:pt x="9238" y="0"/>
                    <a:pt x="8684" y="455"/>
                    <a:pt x="8558" y="1086"/>
                  </a:cubicBezTo>
                  <a:lnTo>
                    <a:pt x="8144" y="3155"/>
                  </a:lnTo>
                  <a:cubicBezTo>
                    <a:pt x="7844" y="3259"/>
                    <a:pt x="7555" y="3381"/>
                    <a:pt x="7274" y="3517"/>
                  </a:cubicBezTo>
                  <a:lnTo>
                    <a:pt x="5516" y="2346"/>
                  </a:lnTo>
                  <a:cubicBezTo>
                    <a:pt x="5287" y="2193"/>
                    <a:pt x="5027" y="2119"/>
                    <a:pt x="4768" y="2119"/>
                  </a:cubicBezTo>
                  <a:cubicBezTo>
                    <a:pt x="4419" y="2119"/>
                    <a:pt x="4074" y="2253"/>
                    <a:pt x="3813" y="2514"/>
                  </a:cubicBezTo>
                  <a:lnTo>
                    <a:pt x="2514" y="3813"/>
                  </a:lnTo>
                  <a:cubicBezTo>
                    <a:pt x="2059" y="4268"/>
                    <a:pt x="1988" y="4981"/>
                    <a:pt x="2345" y="5516"/>
                  </a:cubicBezTo>
                  <a:lnTo>
                    <a:pt x="3517" y="7274"/>
                  </a:lnTo>
                  <a:cubicBezTo>
                    <a:pt x="3380" y="7555"/>
                    <a:pt x="3259" y="7845"/>
                    <a:pt x="3155" y="8144"/>
                  </a:cubicBezTo>
                  <a:lnTo>
                    <a:pt x="1086" y="8558"/>
                  </a:lnTo>
                  <a:cubicBezTo>
                    <a:pt x="454" y="8685"/>
                    <a:pt x="0" y="9239"/>
                    <a:pt x="0" y="9882"/>
                  </a:cubicBezTo>
                  <a:lnTo>
                    <a:pt x="0" y="11719"/>
                  </a:lnTo>
                  <a:cubicBezTo>
                    <a:pt x="0" y="12362"/>
                    <a:pt x="454" y="12916"/>
                    <a:pt x="1086" y="13043"/>
                  </a:cubicBezTo>
                  <a:lnTo>
                    <a:pt x="3155" y="13457"/>
                  </a:lnTo>
                  <a:cubicBezTo>
                    <a:pt x="3259" y="13756"/>
                    <a:pt x="3381" y="14046"/>
                    <a:pt x="3517" y="14327"/>
                  </a:cubicBezTo>
                  <a:lnTo>
                    <a:pt x="2345" y="16084"/>
                  </a:lnTo>
                  <a:cubicBezTo>
                    <a:pt x="1988" y="16619"/>
                    <a:pt x="2059" y="17333"/>
                    <a:pt x="2514" y="17788"/>
                  </a:cubicBezTo>
                  <a:lnTo>
                    <a:pt x="3813" y="19086"/>
                  </a:lnTo>
                  <a:cubicBezTo>
                    <a:pt x="4074" y="19347"/>
                    <a:pt x="4419" y="19482"/>
                    <a:pt x="4768" y="19482"/>
                  </a:cubicBezTo>
                  <a:cubicBezTo>
                    <a:pt x="5027" y="19482"/>
                    <a:pt x="5288" y="19407"/>
                    <a:pt x="5516" y="19255"/>
                  </a:cubicBezTo>
                  <a:lnTo>
                    <a:pt x="7274" y="18083"/>
                  </a:lnTo>
                  <a:cubicBezTo>
                    <a:pt x="7555" y="18220"/>
                    <a:pt x="7844" y="18341"/>
                    <a:pt x="8144" y="18446"/>
                  </a:cubicBezTo>
                  <a:lnTo>
                    <a:pt x="8558" y="20515"/>
                  </a:lnTo>
                  <a:cubicBezTo>
                    <a:pt x="8684" y="21147"/>
                    <a:pt x="9238" y="21600"/>
                    <a:pt x="9881" y="21600"/>
                  </a:cubicBezTo>
                  <a:lnTo>
                    <a:pt x="11718" y="21600"/>
                  </a:lnTo>
                  <a:cubicBezTo>
                    <a:pt x="12361" y="21600"/>
                    <a:pt x="12916" y="21147"/>
                    <a:pt x="13041" y="20515"/>
                  </a:cubicBezTo>
                  <a:lnTo>
                    <a:pt x="13457" y="18446"/>
                  </a:lnTo>
                  <a:cubicBezTo>
                    <a:pt x="13756" y="18341"/>
                    <a:pt x="14046" y="18220"/>
                    <a:pt x="14327" y="18083"/>
                  </a:cubicBezTo>
                  <a:lnTo>
                    <a:pt x="16085" y="19255"/>
                  </a:lnTo>
                  <a:cubicBezTo>
                    <a:pt x="16312" y="19407"/>
                    <a:pt x="16573" y="19482"/>
                    <a:pt x="16832" y="19482"/>
                  </a:cubicBezTo>
                  <a:cubicBezTo>
                    <a:pt x="17182" y="19482"/>
                    <a:pt x="17526" y="19347"/>
                    <a:pt x="17787" y="19086"/>
                  </a:cubicBezTo>
                  <a:lnTo>
                    <a:pt x="19086" y="17788"/>
                  </a:lnTo>
                  <a:cubicBezTo>
                    <a:pt x="19541" y="17333"/>
                    <a:pt x="19612" y="16619"/>
                    <a:pt x="19255" y="16084"/>
                  </a:cubicBezTo>
                  <a:lnTo>
                    <a:pt x="18083" y="14327"/>
                  </a:lnTo>
                  <a:cubicBezTo>
                    <a:pt x="18220" y="14045"/>
                    <a:pt x="18341" y="13755"/>
                    <a:pt x="18445" y="13456"/>
                  </a:cubicBezTo>
                  <a:lnTo>
                    <a:pt x="20514" y="13043"/>
                  </a:lnTo>
                  <a:cubicBezTo>
                    <a:pt x="21145" y="12916"/>
                    <a:pt x="21600" y="12362"/>
                    <a:pt x="21600" y="11719"/>
                  </a:cubicBezTo>
                  <a:lnTo>
                    <a:pt x="21600" y="9882"/>
                  </a:lnTo>
                  <a:cubicBezTo>
                    <a:pt x="21600" y="9239"/>
                    <a:pt x="21145" y="8685"/>
                    <a:pt x="20514" y="8558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2286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6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367" name="Shape 367"/>
            <p:cNvSpPr/>
            <p:nvPr/>
          </p:nvSpPr>
          <p:spPr>
            <a:xfrm>
              <a:off x="167872" y="167878"/>
              <a:ext cx="261137" cy="2611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250"/>
                  </a:moveTo>
                  <a:cubicBezTo>
                    <a:pt x="5581" y="20250"/>
                    <a:pt x="1350" y="16018"/>
                    <a:pt x="1350" y="10800"/>
                  </a:cubicBezTo>
                  <a:cubicBezTo>
                    <a:pt x="1350" y="5582"/>
                    <a:pt x="5581" y="1350"/>
                    <a:pt x="10800" y="1350"/>
                  </a:cubicBezTo>
                  <a:cubicBezTo>
                    <a:pt x="16016" y="1350"/>
                    <a:pt x="20250" y="5582"/>
                    <a:pt x="20250" y="10800"/>
                  </a:cubicBezTo>
                  <a:cubicBezTo>
                    <a:pt x="20250" y="16018"/>
                    <a:pt x="16016" y="20250"/>
                    <a:pt x="10800" y="20250"/>
                  </a:cubicBezTo>
                  <a:moveTo>
                    <a:pt x="10800" y="0"/>
                  </a:moveTo>
                  <a:cubicBezTo>
                    <a:pt x="4836" y="0"/>
                    <a:pt x="0" y="4836"/>
                    <a:pt x="0" y="10800"/>
                  </a:cubicBezTo>
                  <a:cubicBezTo>
                    <a:pt x="0" y="16764"/>
                    <a:pt x="4836" y="21600"/>
                    <a:pt x="10800" y="21600"/>
                  </a:cubicBezTo>
                  <a:cubicBezTo>
                    <a:pt x="16763" y="21600"/>
                    <a:pt x="21600" y="16764"/>
                    <a:pt x="21600" y="10800"/>
                  </a:cubicBezTo>
                  <a:cubicBezTo>
                    <a:pt x="21600" y="4836"/>
                    <a:pt x="16763" y="0"/>
                    <a:pt x="10800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2286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6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368" name="Shape 368"/>
            <p:cNvSpPr/>
            <p:nvPr/>
          </p:nvSpPr>
          <p:spPr>
            <a:xfrm>
              <a:off x="223830" y="223837"/>
              <a:ext cx="149221" cy="1492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8900"/>
                  </a:moveTo>
                  <a:cubicBezTo>
                    <a:pt x="6328" y="18900"/>
                    <a:pt x="2700" y="15272"/>
                    <a:pt x="2700" y="10800"/>
                  </a:cubicBezTo>
                  <a:cubicBezTo>
                    <a:pt x="2700" y="6329"/>
                    <a:pt x="6328" y="2700"/>
                    <a:pt x="10800" y="2700"/>
                  </a:cubicBezTo>
                  <a:cubicBezTo>
                    <a:pt x="15272" y="2700"/>
                    <a:pt x="18900" y="6329"/>
                    <a:pt x="18900" y="10800"/>
                  </a:cubicBezTo>
                  <a:cubicBezTo>
                    <a:pt x="18900" y="15272"/>
                    <a:pt x="15272" y="18900"/>
                    <a:pt x="10800" y="18900"/>
                  </a:cubicBezTo>
                  <a:moveTo>
                    <a:pt x="10800" y="0"/>
                  </a:moveTo>
                  <a:cubicBezTo>
                    <a:pt x="4830" y="0"/>
                    <a:pt x="0" y="4833"/>
                    <a:pt x="0" y="10800"/>
                  </a:cubicBezTo>
                  <a:cubicBezTo>
                    <a:pt x="0" y="16767"/>
                    <a:pt x="4830" y="21600"/>
                    <a:pt x="10800" y="21600"/>
                  </a:cubicBezTo>
                  <a:cubicBezTo>
                    <a:pt x="16764" y="21600"/>
                    <a:pt x="21600" y="16767"/>
                    <a:pt x="21600" y="10800"/>
                  </a:cubicBezTo>
                  <a:cubicBezTo>
                    <a:pt x="21600" y="4833"/>
                    <a:pt x="16764" y="0"/>
                    <a:pt x="10800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2286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6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</p:grpSp>
      <p:sp>
        <p:nvSpPr>
          <p:cNvPr id="370" name="Shape 37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882113" y="1587128"/>
            <a:ext cx="285751" cy="2857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875" y="17550"/>
                </a:moveTo>
                <a:cubicBezTo>
                  <a:pt x="15513" y="17550"/>
                  <a:pt x="14344" y="15612"/>
                  <a:pt x="13810" y="12825"/>
                </a:cubicBezTo>
                <a:lnTo>
                  <a:pt x="15525" y="12825"/>
                </a:lnTo>
                <a:cubicBezTo>
                  <a:pt x="17038" y="12825"/>
                  <a:pt x="18225" y="11343"/>
                  <a:pt x="18225" y="9450"/>
                </a:cubicBezTo>
                <a:cubicBezTo>
                  <a:pt x="18225" y="7558"/>
                  <a:pt x="17038" y="6075"/>
                  <a:pt x="15525" y="6075"/>
                </a:cubicBezTo>
                <a:lnTo>
                  <a:pt x="13810" y="6075"/>
                </a:lnTo>
                <a:cubicBezTo>
                  <a:pt x="14344" y="3289"/>
                  <a:pt x="15513" y="1350"/>
                  <a:pt x="16875" y="1350"/>
                </a:cubicBezTo>
                <a:cubicBezTo>
                  <a:pt x="18739" y="1350"/>
                  <a:pt x="20250" y="4977"/>
                  <a:pt x="20250" y="9450"/>
                </a:cubicBezTo>
                <a:cubicBezTo>
                  <a:pt x="20250" y="13923"/>
                  <a:pt x="18739" y="17550"/>
                  <a:pt x="16875" y="17550"/>
                </a:cubicBezTo>
                <a:moveTo>
                  <a:pt x="8927" y="11483"/>
                </a:moveTo>
                <a:lnTo>
                  <a:pt x="8775" y="11483"/>
                </a:lnTo>
                <a:lnTo>
                  <a:pt x="8775" y="11475"/>
                </a:lnTo>
                <a:cubicBezTo>
                  <a:pt x="8029" y="11475"/>
                  <a:pt x="7425" y="10569"/>
                  <a:pt x="7425" y="9450"/>
                </a:cubicBezTo>
                <a:cubicBezTo>
                  <a:pt x="7425" y="8332"/>
                  <a:pt x="8029" y="7425"/>
                  <a:pt x="8775" y="7425"/>
                </a:cubicBezTo>
                <a:lnTo>
                  <a:pt x="8927" y="7425"/>
                </a:lnTo>
                <a:cubicBezTo>
                  <a:pt x="10200" y="7425"/>
                  <a:pt x="11392" y="6924"/>
                  <a:pt x="12441" y="6063"/>
                </a:cubicBezTo>
                <a:cubicBezTo>
                  <a:pt x="12249" y="7149"/>
                  <a:pt x="12150" y="8300"/>
                  <a:pt x="12150" y="9450"/>
                </a:cubicBezTo>
                <a:cubicBezTo>
                  <a:pt x="12150" y="10604"/>
                  <a:pt x="12249" y="11758"/>
                  <a:pt x="12443" y="12846"/>
                </a:cubicBezTo>
                <a:cubicBezTo>
                  <a:pt x="11393" y="11984"/>
                  <a:pt x="10200" y="11483"/>
                  <a:pt x="8927" y="11483"/>
                </a:cubicBezTo>
                <a:moveTo>
                  <a:pt x="8096" y="20250"/>
                </a:moveTo>
                <a:lnTo>
                  <a:pt x="5396" y="20250"/>
                </a:lnTo>
                <a:lnTo>
                  <a:pt x="5396" y="14175"/>
                </a:lnTo>
                <a:cubicBezTo>
                  <a:pt x="5396" y="13683"/>
                  <a:pt x="5264" y="13223"/>
                  <a:pt x="5033" y="12825"/>
                </a:cubicBezTo>
                <a:lnTo>
                  <a:pt x="5505" y="12825"/>
                </a:lnTo>
                <a:lnTo>
                  <a:pt x="5505" y="12833"/>
                </a:lnTo>
                <a:lnTo>
                  <a:pt x="7536" y="12833"/>
                </a:lnTo>
                <a:cubicBezTo>
                  <a:pt x="7463" y="13042"/>
                  <a:pt x="7421" y="13265"/>
                  <a:pt x="7421" y="13500"/>
                </a:cubicBezTo>
                <a:lnTo>
                  <a:pt x="7421" y="18225"/>
                </a:lnTo>
                <a:cubicBezTo>
                  <a:pt x="7421" y="18875"/>
                  <a:pt x="7785" y="19307"/>
                  <a:pt x="8001" y="19566"/>
                </a:cubicBezTo>
                <a:cubicBezTo>
                  <a:pt x="8031" y="19601"/>
                  <a:pt x="8066" y="19638"/>
                  <a:pt x="8096" y="19678"/>
                </a:cubicBezTo>
                <a:cubicBezTo>
                  <a:pt x="8096" y="19678"/>
                  <a:pt x="8096" y="20250"/>
                  <a:pt x="8096" y="20250"/>
                </a:cubicBezTo>
                <a:close/>
                <a:moveTo>
                  <a:pt x="1350" y="9450"/>
                </a:moveTo>
                <a:cubicBezTo>
                  <a:pt x="1350" y="8332"/>
                  <a:pt x="1954" y="7425"/>
                  <a:pt x="2700" y="7425"/>
                </a:cubicBezTo>
                <a:lnTo>
                  <a:pt x="7434" y="7425"/>
                </a:lnTo>
                <a:cubicBezTo>
                  <a:pt x="7015" y="7917"/>
                  <a:pt x="6750" y="8631"/>
                  <a:pt x="6750" y="9450"/>
                </a:cubicBezTo>
                <a:cubicBezTo>
                  <a:pt x="6750" y="10270"/>
                  <a:pt x="7015" y="10985"/>
                  <a:pt x="7434" y="11475"/>
                </a:cubicBezTo>
                <a:lnTo>
                  <a:pt x="2700" y="11475"/>
                </a:lnTo>
                <a:cubicBezTo>
                  <a:pt x="1954" y="11475"/>
                  <a:pt x="1350" y="10569"/>
                  <a:pt x="1350" y="9450"/>
                </a:cubicBezTo>
                <a:moveTo>
                  <a:pt x="13500" y="9450"/>
                </a:moveTo>
                <a:cubicBezTo>
                  <a:pt x="13500" y="8750"/>
                  <a:pt x="13541" y="8074"/>
                  <a:pt x="13611" y="7425"/>
                </a:cubicBezTo>
                <a:lnTo>
                  <a:pt x="15525" y="7425"/>
                </a:lnTo>
                <a:cubicBezTo>
                  <a:pt x="16270" y="7425"/>
                  <a:pt x="16875" y="8332"/>
                  <a:pt x="16875" y="9450"/>
                </a:cubicBezTo>
                <a:cubicBezTo>
                  <a:pt x="16875" y="10569"/>
                  <a:pt x="16270" y="11475"/>
                  <a:pt x="15525" y="11475"/>
                </a:cubicBezTo>
                <a:lnTo>
                  <a:pt x="13611" y="11475"/>
                </a:lnTo>
                <a:cubicBezTo>
                  <a:pt x="13541" y="10826"/>
                  <a:pt x="13500" y="10151"/>
                  <a:pt x="13500" y="9450"/>
                </a:cubicBezTo>
                <a:moveTo>
                  <a:pt x="16875" y="0"/>
                </a:moveTo>
                <a:cubicBezTo>
                  <a:pt x="15489" y="0"/>
                  <a:pt x="14400" y="952"/>
                  <a:pt x="13619" y="2421"/>
                </a:cubicBezTo>
                <a:lnTo>
                  <a:pt x="13604" y="2413"/>
                </a:lnTo>
                <a:cubicBezTo>
                  <a:pt x="12469" y="4635"/>
                  <a:pt x="10779" y="6075"/>
                  <a:pt x="8927" y="6075"/>
                </a:cubicBezTo>
                <a:lnTo>
                  <a:pt x="8479" y="6075"/>
                </a:lnTo>
                <a:lnTo>
                  <a:pt x="5505" y="6075"/>
                </a:lnTo>
                <a:lnTo>
                  <a:pt x="2700" y="6075"/>
                </a:lnTo>
                <a:cubicBezTo>
                  <a:pt x="1185" y="6075"/>
                  <a:pt x="0" y="7558"/>
                  <a:pt x="0" y="9450"/>
                </a:cubicBezTo>
                <a:cubicBezTo>
                  <a:pt x="0" y="11343"/>
                  <a:pt x="1185" y="12825"/>
                  <a:pt x="2700" y="12825"/>
                </a:cubicBezTo>
                <a:cubicBezTo>
                  <a:pt x="3444" y="12828"/>
                  <a:pt x="4046" y="13430"/>
                  <a:pt x="4046" y="14175"/>
                </a:cubicBezTo>
                <a:lnTo>
                  <a:pt x="4046" y="20250"/>
                </a:lnTo>
                <a:cubicBezTo>
                  <a:pt x="4046" y="20996"/>
                  <a:pt x="4651" y="21600"/>
                  <a:pt x="5396" y="21600"/>
                </a:cubicBezTo>
                <a:lnTo>
                  <a:pt x="8096" y="21600"/>
                </a:lnTo>
                <a:cubicBezTo>
                  <a:pt x="8842" y="21600"/>
                  <a:pt x="9446" y="20996"/>
                  <a:pt x="9446" y="20250"/>
                </a:cubicBezTo>
                <a:lnTo>
                  <a:pt x="9446" y="19575"/>
                </a:lnTo>
                <a:cubicBezTo>
                  <a:pt x="9446" y="18900"/>
                  <a:pt x="8771" y="18598"/>
                  <a:pt x="8771" y="18225"/>
                </a:cubicBezTo>
                <a:lnTo>
                  <a:pt x="8771" y="13500"/>
                </a:lnTo>
                <a:cubicBezTo>
                  <a:pt x="8771" y="13484"/>
                  <a:pt x="8782" y="13474"/>
                  <a:pt x="8783" y="13458"/>
                </a:cubicBezTo>
                <a:cubicBezTo>
                  <a:pt x="8789" y="13362"/>
                  <a:pt x="8816" y="13272"/>
                  <a:pt x="8859" y="13191"/>
                </a:cubicBezTo>
                <a:cubicBezTo>
                  <a:pt x="8871" y="13169"/>
                  <a:pt x="8884" y="13152"/>
                  <a:pt x="8899" y="13132"/>
                </a:cubicBezTo>
                <a:cubicBezTo>
                  <a:pt x="8953" y="13052"/>
                  <a:pt x="9020" y="12986"/>
                  <a:pt x="9103" y="12934"/>
                </a:cubicBezTo>
                <a:cubicBezTo>
                  <a:pt x="9107" y="12932"/>
                  <a:pt x="9109" y="12928"/>
                  <a:pt x="9112" y="12925"/>
                </a:cubicBezTo>
                <a:cubicBezTo>
                  <a:pt x="9115" y="12925"/>
                  <a:pt x="9118" y="12923"/>
                  <a:pt x="9120" y="12923"/>
                </a:cubicBezTo>
                <a:cubicBezTo>
                  <a:pt x="9174" y="12892"/>
                  <a:pt x="9238" y="12886"/>
                  <a:pt x="9300" y="12869"/>
                </a:cubicBezTo>
                <a:cubicBezTo>
                  <a:pt x="11003" y="13049"/>
                  <a:pt x="12545" y="14424"/>
                  <a:pt x="13604" y="16496"/>
                </a:cubicBezTo>
                <a:lnTo>
                  <a:pt x="13621" y="16487"/>
                </a:lnTo>
                <a:cubicBezTo>
                  <a:pt x="14404" y="17951"/>
                  <a:pt x="15491" y="18900"/>
                  <a:pt x="16875" y="18900"/>
                </a:cubicBezTo>
                <a:cubicBezTo>
                  <a:pt x="19977" y="18900"/>
                  <a:pt x="21600" y="14146"/>
                  <a:pt x="21600" y="9450"/>
                </a:cubicBezTo>
                <a:cubicBezTo>
                  <a:pt x="21600" y="4754"/>
                  <a:pt x="19977" y="0"/>
                  <a:pt x="16875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defTabSz="22860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3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71" name="Shape 37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036069" y="1855786"/>
            <a:ext cx="285751" cy="2857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3" h="21600" extrusionOk="0">
                <a:moveTo>
                  <a:pt x="16976" y="19986"/>
                </a:moveTo>
                <a:lnTo>
                  <a:pt x="11226" y="17680"/>
                </a:lnTo>
                <a:cubicBezTo>
                  <a:pt x="11089" y="17626"/>
                  <a:pt x="10947" y="17608"/>
                  <a:pt x="10806" y="17600"/>
                </a:cubicBezTo>
                <a:lnTo>
                  <a:pt x="19660" y="3838"/>
                </a:lnTo>
                <a:cubicBezTo>
                  <a:pt x="19660" y="3838"/>
                  <a:pt x="16976" y="19986"/>
                  <a:pt x="16976" y="19986"/>
                </a:cubicBezTo>
                <a:close/>
                <a:moveTo>
                  <a:pt x="6859" y="16245"/>
                </a:moveTo>
                <a:cubicBezTo>
                  <a:pt x="6858" y="16242"/>
                  <a:pt x="6856" y="16241"/>
                  <a:pt x="6854" y="16238"/>
                </a:cubicBezTo>
                <a:lnTo>
                  <a:pt x="19607" y="2552"/>
                </a:lnTo>
                <a:lnTo>
                  <a:pt x="8735" y="19537"/>
                </a:lnTo>
                <a:cubicBezTo>
                  <a:pt x="8735" y="19537"/>
                  <a:pt x="6859" y="16245"/>
                  <a:pt x="6859" y="16245"/>
                </a:cubicBezTo>
                <a:close/>
                <a:moveTo>
                  <a:pt x="2111" y="14025"/>
                </a:moveTo>
                <a:lnTo>
                  <a:pt x="17713" y="3595"/>
                </a:lnTo>
                <a:lnTo>
                  <a:pt x="6369" y="15770"/>
                </a:lnTo>
                <a:cubicBezTo>
                  <a:pt x="6309" y="15735"/>
                  <a:pt x="6256" y="15687"/>
                  <a:pt x="6191" y="15661"/>
                </a:cubicBezTo>
                <a:cubicBezTo>
                  <a:pt x="6191" y="15661"/>
                  <a:pt x="2111" y="14025"/>
                  <a:pt x="2111" y="14025"/>
                </a:cubicBezTo>
                <a:close/>
                <a:moveTo>
                  <a:pt x="21234" y="108"/>
                </a:moveTo>
                <a:cubicBezTo>
                  <a:pt x="21123" y="36"/>
                  <a:pt x="20996" y="0"/>
                  <a:pt x="20869" y="0"/>
                </a:cubicBezTo>
                <a:cubicBezTo>
                  <a:pt x="20739" y="0"/>
                  <a:pt x="20609" y="37"/>
                  <a:pt x="20496" y="113"/>
                </a:cubicBezTo>
                <a:lnTo>
                  <a:pt x="299" y="13613"/>
                </a:lnTo>
                <a:cubicBezTo>
                  <a:pt x="91" y="13752"/>
                  <a:pt x="-23" y="13996"/>
                  <a:pt x="3" y="14245"/>
                </a:cubicBezTo>
                <a:cubicBezTo>
                  <a:pt x="29" y="14494"/>
                  <a:pt x="190" y="14709"/>
                  <a:pt x="423" y="14801"/>
                </a:cubicBezTo>
                <a:lnTo>
                  <a:pt x="5690" y="16915"/>
                </a:lnTo>
                <a:lnTo>
                  <a:pt x="8167" y="21260"/>
                </a:lnTo>
                <a:cubicBezTo>
                  <a:pt x="8285" y="21468"/>
                  <a:pt x="8505" y="21597"/>
                  <a:pt x="8744" y="21600"/>
                </a:cubicBezTo>
                <a:lnTo>
                  <a:pt x="8751" y="21600"/>
                </a:lnTo>
                <a:cubicBezTo>
                  <a:pt x="8987" y="21600"/>
                  <a:pt x="9207" y="21475"/>
                  <a:pt x="9329" y="21272"/>
                </a:cubicBezTo>
                <a:lnTo>
                  <a:pt x="10727" y="18934"/>
                </a:lnTo>
                <a:lnTo>
                  <a:pt x="17253" y="21551"/>
                </a:lnTo>
                <a:cubicBezTo>
                  <a:pt x="17333" y="21584"/>
                  <a:pt x="17418" y="21600"/>
                  <a:pt x="17503" y="21600"/>
                </a:cubicBezTo>
                <a:cubicBezTo>
                  <a:pt x="17617" y="21600"/>
                  <a:pt x="17731" y="21571"/>
                  <a:pt x="17833" y="21513"/>
                </a:cubicBezTo>
                <a:cubicBezTo>
                  <a:pt x="18010" y="21413"/>
                  <a:pt x="18134" y="21238"/>
                  <a:pt x="18167" y="21036"/>
                </a:cubicBezTo>
                <a:lnTo>
                  <a:pt x="21533" y="786"/>
                </a:lnTo>
                <a:cubicBezTo>
                  <a:pt x="21577" y="521"/>
                  <a:pt x="21460" y="254"/>
                  <a:pt x="21234" y="108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defTabSz="22860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3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grpSp>
        <p:nvGrpSpPr>
          <p:cNvPr id="374" name="Group 37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4232658" y="2499113"/>
            <a:ext cx="279401" cy="266701"/>
            <a:chOff x="0" y="0"/>
            <a:chExt cx="558800" cy="533400"/>
          </a:xfrm>
          <a:solidFill>
            <a:schemeClr val="accent2"/>
          </a:solidFill>
        </p:grpSpPr>
        <p:sp>
          <p:nvSpPr>
            <p:cNvPr id="372" name="Shape 372"/>
            <p:cNvSpPr/>
            <p:nvPr/>
          </p:nvSpPr>
          <p:spPr>
            <a:xfrm>
              <a:off x="69850" y="71128"/>
              <a:ext cx="419101" cy="2845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700" y="20255"/>
                  </a:moveTo>
                  <a:lnTo>
                    <a:pt x="900" y="20255"/>
                  </a:lnTo>
                  <a:lnTo>
                    <a:pt x="900" y="1350"/>
                  </a:lnTo>
                  <a:lnTo>
                    <a:pt x="20700" y="1350"/>
                  </a:lnTo>
                  <a:cubicBezTo>
                    <a:pt x="20700" y="1350"/>
                    <a:pt x="20700" y="20255"/>
                    <a:pt x="20700" y="20255"/>
                  </a:cubicBezTo>
                  <a:close/>
                  <a:moveTo>
                    <a:pt x="20700" y="0"/>
                  </a:moveTo>
                  <a:lnTo>
                    <a:pt x="900" y="5"/>
                  </a:lnTo>
                  <a:cubicBezTo>
                    <a:pt x="403" y="5"/>
                    <a:pt x="0" y="603"/>
                    <a:pt x="0" y="1350"/>
                  </a:cubicBezTo>
                  <a:lnTo>
                    <a:pt x="0" y="20250"/>
                  </a:lnTo>
                  <a:cubicBezTo>
                    <a:pt x="0" y="20996"/>
                    <a:pt x="403" y="21600"/>
                    <a:pt x="900" y="21600"/>
                  </a:cubicBezTo>
                  <a:lnTo>
                    <a:pt x="20700" y="21600"/>
                  </a:lnTo>
                  <a:cubicBezTo>
                    <a:pt x="21197" y="21600"/>
                    <a:pt x="21600" y="20996"/>
                    <a:pt x="21600" y="20250"/>
                  </a:cubicBezTo>
                  <a:lnTo>
                    <a:pt x="21600" y="1350"/>
                  </a:lnTo>
                  <a:cubicBezTo>
                    <a:pt x="21600" y="603"/>
                    <a:pt x="21197" y="0"/>
                    <a:pt x="20700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2286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6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373" name="Shape 373"/>
            <p:cNvSpPr/>
            <p:nvPr/>
          </p:nvSpPr>
          <p:spPr>
            <a:xfrm>
              <a:off x="0" y="0"/>
              <a:ext cx="558801" cy="5334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50" y="16562"/>
                  </a:moveTo>
                  <a:cubicBezTo>
                    <a:pt x="20250" y="16959"/>
                    <a:pt x="19947" y="17282"/>
                    <a:pt x="19575" y="17282"/>
                  </a:cubicBezTo>
                  <a:lnTo>
                    <a:pt x="13500" y="17282"/>
                  </a:lnTo>
                  <a:lnTo>
                    <a:pt x="8100" y="17282"/>
                  </a:lnTo>
                  <a:lnTo>
                    <a:pt x="2025" y="17282"/>
                  </a:lnTo>
                  <a:cubicBezTo>
                    <a:pt x="1652" y="17282"/>
                    <a:pt x="1350" y="16959"/>
                    <a:pt x="1350" y="16562"/>
                  </a:cubicBezTo>
                  <a:lnTo>
                    <a:pt x="1350" y="2160"/>
                  </a:lnTo>
                  <a:cubicBezTo>
                    <a:pt x="1350" y="1763"/>
                    <a:pt x="1652" y="1440"/>
                    <a:pt x="2025" y="1440"/>
                  </a:cubicBezTo>
                  <a:lnTo>
                    <a:pt x="19575" y="1440"/>
                  </a:lnTo>
                  <a:cubicBezTo>
                    <a:pt x="19947" y="1440"/>
                    <a:pt x="20250" y="1763"/>
                    <a:pt x="20250" y="2160"/>
                  </a:cubicBezTo>
                  <a:cubicBezTo>
                    <a:pt x="20250" y="2160"/>
                    <a:pt x="20250" y="16562"/>
                    <a:pt x="20250" y="16562"/>
                  </a:cubicBezTo>
                  <a:close/>
                  <a:moveTo>
                    <a:pt x="19575" y="0"/>
                  </a:moveTo>
                  <a:lnTo>
                    <a:pt x="2025" y="0"/>
                  </a:lnTo>
                  <a:cubicBezTo>
                    <a:pt x="906" y="0"/>
                    <a:pt x="0" y="967"/>
                    <a:pt x="0" y="2160"/>
                  </a:cubicBezTo>
                  <a:lnTo>
                    <a:pt x="0" y="16562"/>
                  </a:lnTo>
                  <a:cubicBezTo>
                    <a:pt x="0" y="17753"/>
                    <a:pt x="903" y="18718"/>
                    <a:pt x="2018" y="18722"/>
                  </a:cubicBezTo>
                  <a:lnTo>
                    <a:pt x="8775" y="18722"/>
                  </a:lnTo>
                  <a:lnTo>
                    <a:pt x="8775" y="19597"/>
                  </a:lnTo>
                  <a:lnTo>
                    <a:pt x="4562" y="20181"/>
                  </a:lnTo>
                  <a:cubicBezTo>
                    <a:pt x="4261" y="20262"/>
                    <a:pt x="4050" y="20549"/>
                    <a:pt x="4050" y="20880"/>
                  </a:cubicBezTo>
                  <a:cubicBezTo>
                    <a:pt x="4050" y="21278"/>
                    <a:pt x="4352" y="21600"/>
                    <a:pt x="4725" y="21600"/>
                  </a:cubicBezTo>
                  <a:lnTo>
                    <a:pt x="16875" y="21600"/>
                  </a:lnTo>
                  <a:cubicBezTo>
                    <a:pt x="17248" y="21600"/>
                    <a:pt x="17550" y="21278"/>
                    <a:pt x="17550" y="20880"/>
                  </a:cubicBezTo>
                  <a:cubicBezTo>
                    <a:pt x="17550" y="20549"/>
                    <a:pt x="17339" y="20262"/>
                    <a:pt x="17038" y="20181"/>
                  </a:cubicBezTo>
                  <a:lnTo>
                    <a:pt x="12825" y="19597"/>
                  </a:lnTo>
                  <a:lnTo>
                    <a:pt x="12825" y="18722"/>
                  </a:lnTo>
                  <a:lnTo>
                    <a:pt x="19582" y="18722"/>
                  </a:lnTo>
                  <a:cubicBezTo>
                    <a:pt x="20697" y="18718"/>
                    <a:pt x="21600" y="17753"/>
                    <a:pt x="21600" y="16562"/>
                  </a:cubicBezTo>
                  <a:lnTo>
                    <a:pt x="21600" y="2160"/>
                  </a:lnTo>
                  <a:cubicBezTo>
                    <a:pt x="21600" y="967"/>
                    <a:pt x="20693" y="0"/>
                    <a:pt x="19575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2286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6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</p:grpSp>
      <p:grpSp>
        <p:nvGrpSpPr>
          <p:cNvPr id="379" name="Group 37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6124431" y="2199034"/>
            <a:ext cx="298451" cy="254001"/>
            <a:chOff x="0" y="0"/>
            <a:chExt cx="596900" cy="508000"/>
          </a:xfrm>
          <a:solidFill>
            <a:schemeClr val="accent2"/>
          </a:solidFill>
        </p:grpSpPr>
        <p:sp>
          <p:nvSpPr>
            <p:cNvPr id="375" name="Shape 375"/>
            <p:cNvSpPr/>
            <p:nvPr/>
          </p:nvSpPr>
          <p:spPr>
            <a:xfrm>
              <a:off x="223835" y="206970"/>
              <a:ext cx="83940" cy="846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200" y="0"/>
                  </a:moveTo>
                  <a:cubicBezTo>
                    <a:pt x="8597" y="0"/>
                    <a:pt x="0" y="8597"/>
                    <a:pt x="0" y="19195"/>
                  </a:cubicBezTo>
                  <a:lnTo>
                    <a:pt x="0" y="19200"/>
                  </a:lnTo>
                  <a:cubicBezTo>
                    <a:pt x="0" y="20524"/>
                    <a:pt x="1069" y="21600"/>
                    <a:pt x="2400" y="21600"/>
                  </a:cubicBezTo>
                  <a:cubicBezTo>
                    <a:pt x="3722" y="21600"/>
                    <a:pt x="4800" y="20524"/>
                    <a:pt x="4800" y="19200"/>
                  </a:cubicBezTo>
                  <a:lnTo>
                    <a:pt x="4800" y="19195"/>
                  </a:lnTo>
                  <a:cubicBezTo>
                    <a:pt x="4800" y="11248"/>
                    <a:pt x="11241" y="4800"/>
                    <a:pt x="19200" y="4800"/>
                  </a:cubicBezTo>
                  <a:cubicBezTo>
                    <a:pt x="20522" y="4800"/>
                    <a:pt x="21600" y="3724"/>
                    <a:pt x="21600" y="2400"/>
                  </a:cubicBezTo>
                  <a:cubicBezTo>
                    <a:pt x="21600" y="1076"/>
                    <a:pt x="20522" y="0"/>
                    <a:pt x="19200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2286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6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grpSp>
          <p:nvGrpSpPr>
            <p:cNvPr id="378" name="Group 378"/>
            <p:cNvGrpSpPr/>
            <p:nvPr/>
          </p:nvGrpSpPr>
          <p:grpSpPr>
            <a:xfrm>
              <a:off x="0" y="0"/>
              <a:ext cx="596901" cy="508001"/>
              <a:chOff x="0" y="0"/>
              <a:chExt cx="596900" cy="508000"/>
            </a:xfrm>
            <a:grpFill/>
          </p:grpSpPr>
          <p:sp>
            <p:nvSpPr>
              <p:cNvPr id="376" name="Shape 376"/>
              <p:cNvSpPr/>
              <p:nvPr/>
            </p:nvSpPr>
            <p:spPr>
              <a:xfrm>
                <a:off x="149226" y="131708"/>
                <a:ext cx="298451" cy="30105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949" y="16070"/>
                    </a:moveTo>
                    <a:cubicBezTo>
                      <a:pt x="14038" y="19468"/>
                      <a:pt x="8925" y="19860"/>
                      <a:pt x="5529" y="16949"/>
                    </a:cubicBezTo>
                    <a:cubicBezTo>
                      <a:pt x="2130" y="14039"/>
                      <a:pt x="1740" y="8925"/>
                      <a:pt x="4651" y="5528"/>
                    </a:cubicBezTo>
                    <a:cubicBezTo>
                      <a:pt x="7559" y="2131"/>
                      <a:pt x="12675" y="1740"/>
                      <a:pt x="16071" y="4651"/>
                    </a:cubicBezTo>
                    <a:cubicBezTo>
                      <a:pt x="19467" y="7560"/>
                      <a:pt x="19860" y="12673"/>
                      <a:pt x="16949" y="16070"/>
                    </a:cubicBezTo>
                    <a:moveTo>
                      <a:pt x="10800" y="0"/>
                    </a:moveTo>
                    <a:cubicBezTo>
                      <a:pt x="4833" y="0"/>
                      <a:pt x="0" y="4834"/>
                      <a:pt x="0" y="10800"/>
                    </a:cubicBezTo>
                    <a:cubicBezTo>
                      <a:pt x="0" y="16766"/>
                      <a:pt x="4833" y="21600"/>
                      <a:pt x="10800" y="21600"/>
                    </a:cubicBezTo>
                    <a:cubicBezTo>
                      <a:pt x="16764" y="21600"/>
                      <a:pt x="21600" y="16766"/>
                      <a:pt x="21600" y="10800"/>
                    </a:cubicBezTo>
                    <a:cubicBezTo>
                      <a:pt x="21600" y="4834"/>
                      <a:pt x="16764" y="0"/>
                      <a:pt x="10800" y="0"/>
                    </a:cubicBezTo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19050" tIns="19050" rIns="19050" bIns="19050" numCol="1" anchor="ctr">
                <a:noAutofit/>
              </a:bodyPr>
              <a:lstStyle/>
              <a:p>
                <a:pPr defTabSz="2286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defRPr>
                </a:pPr>
                <a:endParaRPr sz="3600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77" name="Shape 377"/>
              <p:cNvSpPr/>
              <p:nvPr/>
            </p:nvSpPr>
            <p:spPr>
              <a:xfrm>
                <a:off x="0" y="0"/>
                <a:ext cx="596901" cy="50800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250" y="19200"/>
                    </a:moveTo>
                    <a:cubicBezTo>
                      <a:pt x="20250" y="19642"/>
                      <a:pt x="19948" y="20000"/>
                      <a:pt x="19575" y="20000"/>
                    </a:cubicBezTo>
                    <a:lnTo>
                      <a:pt x="2025" y="20000"/>
                    </a:lnTo>
                    <a:cubicBezTo>
                      <a:pt x="1652" y="20000"/>
                      <a:pt x="1350" y="19642"/>
                      <a:pt x="1350" y="19200"/>
                    </a:cubicBezTo>
                    <a:lnTo>
                      <a:pt x="1350" y="7200"/>
                    </a:lnTo>
                    <a:cubicBezTo>
                      <a:pt x="1350" y="6809"/>
                      <a:pt x="1589" y="6475"/>
                      <a:pt x="1914" y="6412"/>
                    </a:cubicBezTo>
                    <a:lnTo>
                      <a:pt x="5589" y="5685"/>
                    </a:lnTo>
                    <a:lnTo>
                      <a:pt x="6797" y="2103"/>
                    </a:lnTo>
                    <a:cubicBezTo>
                      <a:pt x="6900" y="1799"/>
                      <a:pt x="7148" y="1600"/>
                      <a:pt x="7425" y="1600"/>
                    </a:cubicBezTo>
                    <a:lnTo>
                      <a:pt x="14175" y="1600"/>
                    </a:lnTo>
                    <a:cubicBezTo>
                      <a:pt x="14450" y="1600"/>
                      <a:pt x="14698" y="1799"/>
                      <a:pt x="14801" y="2103"/>
                    </a:cubicBezTo>
                    <a:lnTo>
                      <a:pt x="16010" y="5685"/>
                    </a:lnTo>
                    <a:lnTo>
                      <a:pt x="19686" y="6412"/>
                    </a:lnTo>
                    <a:cubicBezTo>
                      <a:pt x="20011" y="6475"/>
                      <a:pt x="20250" y="6809"/>
                      <a:pt x="20250" y="7200"/>
                    </a:cubicBezTo>
                    <a:cubicBezTo>
                      <a:pt x="20250" y="7200"/>
                      <a:pt x="20250" y="19200"/>
                      <a:pt x="20250" y="19200"/>
                    </a:cubicBezTo>
                    <a:close/>
                    <a:moveTo>
                      <a:pt x="19907" y="4833"/>
                    </a:moveTo>
                    <a:lnTo>
                      <a:pt x="16982" y="4254"/>
                    </a:lnTo>
                    <a:lnTo>
                      <a:pt x="16055" y="1508"/>
                    </a:lnTo>
                    <a:cubicBezTo>
                      <a:pt x="15745" y="591"/>
                      <a:pt x="15007" y="0"/>
                      <a:pt x="14175" y="0"/>
                    </a:cubicBezTo>
                    <a:lnTo>
                      <a:pt x="7425" y="0"/>
                    </a:lnTo>
                    <a:cubicBezTo>
                      <a:pt x="6593" y="0"/>
                      <a:pt x="5855" y="591"/>
                      <a:pt x="5544" y="1509"/>
                    </a:cubicBezTo>
                    <a:lnTo>
                      <a:pt x="4618" y="4254"/>
                    </a:lnTo>
                    <a:lnTo>
                      <a:pt x="1693" y="4833"/>
                    </a:lnTo>
                    <a:cubicBezTo>
                      <a:pt x="712" y="5026"/>
                      <a:pt x="0" y="6021"/>
                      <a:pt x="0" y="7200"/>
                    </a:cubicBezTo>
                    <a:lnTo>
                      <a:pt x="0" y="19200"/>
                    </a:lnTo>
                    <a:cubicBezTo>
                      <a:pt x="0" y="20523"/>
                      <a:pt x="908" y="21600"/>
                      <a:pt x="2025" y="21600"/>
                    </a:cubicBezTo>
                    <a:lnTo>
                      <a:pt x="19575" y="21600"/>
                    </a:lnTo>
                    <a:cubicBezTo>
                      <a:pt x="20692" y="21600"/>
                      <a:pt x="21600" y="20523"/>
                      <a:pt x="21600" y="19200"/>
                    </a:cubicBezTo>
                    <a:lnTo>
                      <a:pt x="21600" y="7200"/>
                    </a:lnTo>
                    <a:cubicBezTo>
                      <a:pt x="21600" y="6021"/>
                      <a:pt x="20888" y="5026"/>
                      <a:pt x="19907" y="4833"/>
                    </a:cubicBezTo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19050" tIns="19050" rIns="19050" bIns="19050" numCol="1" anchor="ctr">
                <a:noAutofit/>
              </a:bodyPr>
              <a:lstStyle/>
              <a:p>
                <a:pPr defTabSz="2286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defRPr>
                </a:pPr>
                <a:endParaRPr sz="3600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</p:grpSp>
      </p:grpSp>
      <p:grpSp>
        <p:nvGrpSpPr>
          <p:cNvPr id="382" name="Group 38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2319784" y="2755127"/>
            <a:ext cx="222251" cy="317501"/>
            <a:chOff x="0" y="0"/>
            <a:chExt cx="444500" cy="635000"/>
          </a:xfrm>
          <a:solidFill>
            <a:schemeClr val="accent4">
              <a:lumMod val="75000"/>
            </a:schemeClr>
          </a:solidFill>
        </p:grpSpPr>
        <p:sp>
          <p:nvSpPr>
            <p:cNvPr id="380" name="Shape 380"/>
            <p:cNvSpPr/>
            <p:nvPr/>
          </p:nvSpPr>
          <p:spPr>
            <a:xfrm>
              <a:off x="0" y="0"/>
              <a:ext cx="444500" cy="635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387" y="14175"/>
                  </a:moveTo>
                  <a:lnTo>
                    <a:pt x="6224" y="14175"/>
                  </a:lnTo>
                  <a:cubicBezTo>
                    <a:pt x="5735" y="13447"/>
                    <a:pt x="5148" y="12717"/>
                    <a:pt x="4569" y="12004"/>
                  </a:cubicBezTo>
                  <a:cubicBezTo>
                    <a:pt x="3288" y="10428"/>
                    <a:pt x="1964" y="8797"/>
                    <a:pt x="1964" y="7425"/>
                  </a:cubicBezTo>
                  <a:cubicBezTo>
                    <a:pt x="1964" y="4075"/>
                    <a:pt x="5927" y="1350"/>
                    <a:pt x="10800" y="1350"/>
                  </a:cubicBezTo>
                  <a:cubicBezTo>
                    <a:pt x="15673" y="1350"/>
                    <a:pt x="19636" y="4075"/>
                    <a:pt x="19636" y="7425"/>
                  </a:cubicBezTo>
                  <a:cubicBezTo>
                    <a:pt x="19636" y="8787"/>
                    <a:pt x="18312" y="10426"/>
                    <a:pt x="17029" y="12012"/>
                  </a:cubicBezTo>
                  <a:cubicBezTo>
                    <a:pt x="16455" y="12723"/>
                    <a:pt x="15873" y="13450"/>
                    <a:pt x="15387" y="14175"/>
                  </a:cubicBezTo>
                  <a:moveTo>
                    <a:pt x="10800" y="20250"/>
                  </a:moveTo>
                  <a:cubicBezTo>
                    <a:pt x="9806" y="20250"/>
                    <a:pt x="9347" y="20172"/>
                    <a:pt x="8839" y="19406"/>
                  </a:cubicBezTo>
                  <a:lnTo>
                    <a:pt x="13000" y="19049"/>
                  </a:lnTo>
                  <a:cubicBezTo>
                    <a:pt x="12398" y="20164"/>
                    <a:pt x="11959" y="20250"/>
                    <a:pt x="10800" y="20250"/>
                  </a:cubicBezTo>
                  <a:moveTo>
                    <a:pt x="7596" y="16813"/>
                  </a:moveTo>
                  <a:cubicBezTo>
                    <a:pt x="7417" y="16407"/>
                    <a:pt x="7216" y="15979"/>
                    <a:pt x="6992" y="15525"/>
                  </a:cubicBezTo>
                  <a:lnTo>
                    <a:pt x="14616" y="15525"/>
                  </a:lnTo>
                  <a:cubicBezTo>
                    <a:pt x="14496" y="15767"/>
                    <a:pt x="14375" y="16010"/>
                    <a:pt x="14271" y="16240"/>
                  </a:cubicBezTo>
                  <a:cubicBezTo>
                    <a:pt x="14271" y="16240"/>
                    <a:pt x="7596" y="16813"/>
                    <a:pt x="7596" y="16813"/>
                  </a:cubicBezTo>
                  <a:close/>
                  <a:moveTo>
                    <a:pt x="13346" y="18344"/>
                  </a:moveTo>
                  <a:lnTo>
                    <a:pt x="8477" y="18762"/>
                  </a:lnTo>
                  <a:cubicBezTo>
                    <a:pt x="8303" y="18416"/>
                    <a:pt x="8116" y="18012"/>
                    <a:pt x="7890" y="17484"/>
                  </a:cubicBezTo>
                  <a:cubicBezTo>
                    <a:pt x="7887" y="17478"/>
                    <a:pt x="7883" y="17470"/>
                    <a:pt x="7881" y="17463"/>
                  </a:cubicBezTo>
                  <a:lnTo>
                    <a:pt x="13957" y="16941"/>
                  </a:lnTo>
                  <a:cubicBezTo>
                    <a:pt x="13871" y="17141"/>
                    <a:pt x="13778" y="17350"/>
                    <a:pt x="13698" y="17537"/>
                  </a:cubicBezTo>
                  <a:cubicBezTo>
                    <a:pt x="13570" y="17841"/>
                    <a:pt x="13454" y="18104"/>
                    <a:pt x="13346" y="18344"/>
                  </a:cubicBezTo>
                  <a:moveTo>
                    <a:pt x="10800" y="0"/>
                  </a:moveTo>
                  <a:cubicBezTo>
                    <a:pt x="4835" y="0"/>
                    <a:pt x="0" y="3324"/>
                    <a:pt x="0" y="7425"/>
                  </a:cubicBezTo>
                  <a:cubicBezTo>
                    <a:pt x="0" y="10146"/>
                    <a:pt x="3621" y="13030"/>
                    <a:pt x="4940" y="15562"/>
                  </a:cubicBezTo>
                  <a:cubicBezTo>
                    <a:pt x="6906" y="19339"/>
                    <a:pt x="6689" y="21600"/>
                    <a:pt x="10800" y="21600"/>
                  </a:cubicBezTo>
                  <a:cubicBezTo>
                    <a:pt x="14973" y="21600"/>
                    <a:pt x="14693" y="19350"/>
                    <a:pt x="16660" y="15578"/>
                  </a:cubicBezTo>
                  <a:cubicBezTo>
                    <a:pt x="17983" y="13040"/>
                    <a:pt x="21600" y="10125"/>
                    <a:pt x="21600" y="7425"/>
                  </a:cubicBezTo>
                  <a:cubicBezTo>
                    <a:pt x="21600" y="3324"/>
                    <a:pt x="16765" y="0"/>
                    <a:pt x="10800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2286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6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381" name="Shape 381"/>
            <p:cNvSpPr/>
            <p:nvPr/>
          </p:nvSpPr>
          <p:spPr>
            <a:xfrm>
              <a:off x="101022" y="99217"/>
              <a:ext cx="131330" cy="1289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938" y="0"/>
                  </a:moveTo>
                  <a:cubicBezTo>
                    <a:pt x="8944" y="0"/>
                    <a:pt x="0" y="8942"/>
                    <a:pt x="0" y="19938"/>
                  </a:cubicBezTo>
                  <a:cubicBezTo>
                    <a:pt x="0" y="20855"/>
                    <a:pt x="743" y="21600"/>
                    <a:pt x="1662" y="21600"/>
                  </a:cubicBezTo>
                  <a:cubicBezTo>
                    <a:pt x="2580" y="21600"/>
                    <a:pt x="3323" y="20855"/>
                    <a:pt x="3323" y="19938"/>
                  </a:cubicBezTo>
                  <a:cubicBezTo>
                    <a:pt x="3323" y="10777"/>
                    <a:pt x="10777" y="3323"/>
                    <a:pt x="19938" y="3323"/>
                  </a:cubicBezTo>
                  <a:cubicBezTo>
                    <a:pt x="20857" y="3323"/>
                    <a:pt x="21600" y="2578"/>
                    <a:pt x="21600" y="1662"/>
                  </a:cubicBezTo>
                  <a:cubicBezTo>
                    <a:pt x="21600" y="745"/>
                    <a:pt x="20857" y="0"/>
                    <a:pt x="19938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2286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6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</p:grpSp>
      <p:sp>
        <p:nvSpPr>
          <p:cNvPr id="383" name="Shape 38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317750" y="3377437"/>
            <a:ext cx="1873250" cy="420628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 algn="l">
              <a:defRPr sz="1900">
                <a:solidFill>
                  <a:srgbClr val="444444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Vestibulum id ligula et porta </a:t>
            </a:r>
            <a:r>
              <a:rPr sz="12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felis</a:t>
            </a:r>
            <a:r>
              <a:rPr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 </a:t>
            </a:r>
            <a:r>
              <a:rPr sz="12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euismolore</a:t>
            </a:r>
            <a:r>
              <a:rPr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. </a:t>
            </a:r>
          </a:p>
        </p:txBody>
      </p:sp>
      <p:sp>
        <p:nvSpPr>
          <p:cNvPr id="384" name="Shape 38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324100" y="3152271"/>
            <a:ext cx="1485900" cy="235962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 algn="l">
              <a:defRPr sz="2500" b="1">
                <a:solidFill>
                  <a:srgbClr val="5B62CF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1200" b="0" dirty="0">
                <a:solidFill>
                  <a:schemeClr val="accent4">
                    <a:lumMod val="7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Add text here</a:t>
            </a:r>
          </a:p>
        </p:txBody>
      </p:sp>
      <p:sp>
        <p:nvSpPr>
          <p:cNvPr id="385" name="Shape 38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235450" y="3059937"/>
            <a:ext cx="1873250" cy="420628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 algn="l">
              <a:defRPr sz="1900">
                <a:solidFill>
                  <a:srgbClr val="444444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Vestibulum id ligula et porta </a:t>
            </a:r>
            <a:r>
              <a:rPr sz="12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felis</a:t>
            </a:r>
            <a:r>
              <a:rPr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 </a:t>
            </a:r>
            <a:r>
              <a:rPr sz="12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euismolore</a:t>
            </a:r>
            <a:r>
              <a:rPr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. </a:t>
            </a:r>
          </a:p>
        </p:txBody>
      </p:sp>
      <p:sp>
        <p:nvSpPr>
          <p:cNvPr id="386" name="Shape 38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241800" y="2834771"/>
            <a:ext cx="1485900" cy="235962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 algn="l">
              <a:defRPr sz="2500" b="1">
                <a:solidFill>
                  <a:srgbClr val="2DCBA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1200" b="0" dirty="0">
                <a:solidFill>
                  <a:schemeClr val="accent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Add text here</a:t>
            </a:r>
          </a:p>
        </p:txBody>
      </p:sp>
      <p:sp>
        <p:nvSpPr>
          <p:cNvPr id="387" name="Shape 38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108700" y="2767837"/>
            <a:ext cx="1873250" cy="420628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 algn="l">
              <a:defRPr sz="1900">
                <a:solidFill>
                  <a:srgbClr val="444444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Vestibulum id ligula et porta </a:t>
            </a:r>
            <a:r>
              <a:rPr sz="12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felis</a:t>
            </a:r>
            <a:r>
              <a:rPr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 </a:t>
            </a:r>
            <a:r>
              <a:rPr sz="12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euismolore</a:t>
            </a:r>
            <a:r>
              <a:rPr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. </a:t>
            </a:r>
          </a:p>
        </p:txBody>
      </p:sp>
      <p:sp>
        <p:nvSpPr>
          <p:cNvPr id="388" name="Shape 38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115050" y="2542671"/>
            <a:ext cx="1485900" cy="235962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 algn="l">
              <a:defRPr sz="2500" b="1">
                <a:solidFill>
                  <a:srgbClr val="2DCBA1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1200" b="0" dirty="0">
                <a:solidFill>
                  <a:schemeClr val="accent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Add text here</a:t>
            </a:r>
          </a:p>
        </p:txBody>
      </p:sp>
      <p:sp>
        <p:nvSpPr>
          <p:cNvPr id="389" name="Shape 38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026400" y="2450337"/>
            <a:ext cx="1873250" cy="420628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 algn="l">
              <a:defRPr sz="1900">
                <a:solidFill>
                  <a:srgbClr val="444444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Vestibulum id ligula et porta </a:t>
            </a:r>
            <a:r>
              <a:rPr sz="12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felis</a:t>
            </a:r>
            <a:r>
              <a:rPr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 </a:t>
            </a:r>
            <a:r>
              <a:rPr sz="12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euismolore</a:t>
            </a:r>
            <a:r>
              <a:rPr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. </a:t>
            </a:r>
          </a:p>
        </p:txBody>
      </p:sp>
      <p:sp>
        <p:nvSpPr>
          <p:cNvPr id="390" name="Shape 39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032750" y="2225171"/>
            <a:ext cx="1485900" cy="235962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 algn="l">
              <a:defRPr sz="2500" b="1">
                <a:solidFill>
                  <a:srgbClr val="42A3E8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1200" b="0" dirty="0">
                <a:solidFill>
                  <a:schemeClr val="accent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Add text here</a:t>
            </a:r>
          </a:p>
        </p:txBody>
      </p:sp>
      <p:sp>
        <p:nvSpPr>
          <p:cNvPr id="391" name="Shape 39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899650" y="2158237"/>
            <a:ext cx="1873250" cy="420628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 algn="l">
              <a:defRPr sz="1900">
                <a:solidFill>
                  <a:srgbClr val="444444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Vestibulum id ligula et porta </a:t>
            </a:r>
            <a:r>
              <a:rPr sz="12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felis</a:t>
            </a:r>
            <a:r>
              <a:rPr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 </a:t>
            </a:r>
            <a:r>
              <a:rPr sz="12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euismolore</a:t>
            </a:r>
            <a:r>
              <a:rPr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. </a:t>
            </a:r>
          </a:p>
        </p:txBody>
      </p:sp>
      <p:sp>
        <p:nvSpPr>
          <p:cNvPr id="392" name="Shape 39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906000" y="1933071"/>
            <a:ext cx="1485900" cy="235962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 algn="l">
              <a:defRPr sz="2500" b="1">
                <a:solidFill>
                  <a:srgbClr val="42A3E8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1200" b="0" dirty="0">
                <a:solidFill>
                  <a:schemeClr val="accent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Add text here</a:t>
            </a:r>
          </a:p>
        </p:txBody>
      </p:sp>
      <p:sp>
        <p:nvSpPr>
          <p:cNvPr id="393" name="Shape 39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28600" y="4892170"/>
            <a:ext cx="1485900" cy="235962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 algn="l">
              <a:defRPr sz="2700">
                <a:solidFill>
                  <a:srgbClr val="7A7A7A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2017</a:t>
            </a:r>
            <a:endParaRPr sz="1200" dirty="0">
              <a:solidFill>
                <a:schemeClr val="tx1">
                  <a:lumMod val="50000"/>
                  <a:lumOff val="50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394" name="Shape 39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101850" y="4892171"/>
            <a:ext cx="1485900" cy="235962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 algn="l">
              <a:defRPr sz="2700">
                <a:solidFill>
                  <a:srgbClr val="7A7A7A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2018</a:t>
            </a:r>
            <a:endParaRPr sz="1200" dirty="0">
              <a:solidFill>
                <a:schemeClr val="tx1">
                  <a:lumMod val="50000"/>
                  <a:lumOff val="50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395" name="Shape 39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019550" y="4892171"/>
            <a:ext cx="1485900" cy="235962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 algn="l">
              <a:defRPr sz="2700">
                <a:solidFill>
                  <a:srgbClr val="7A7A7A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2019</a:t>
            </a:r>
            <a:endParaRPr sz="1200" dirty="0">
              <a:solidFill>
                <a:schemeClr val="tx1">
                  <a:lumMod val="50000"/>
                  <a:lumOff val="50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396" name="Shape 39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949950" y="4892171"/>
            <a:ext cx="1485900" cy="235962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 algn="l">
              <a:defRPr sz="2700">
                <a:solidFill>
                  <a:srgbClr val="7A7A7A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2020</a:t>
            </a:r>
            <a:endParaRPr sz="1200" dirty="0">
              <a:solidFill>
                <a:schemeClr val="tx1">
                  <a:lumMod val="50000"/>
                  <a:lumOff val="50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397" name="Shape 39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880350" y="4892171"/>
            <a:ext cx="1485900" cy="235962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 algn="l">
              <a:defRPr sz="2700">
                <a:solidFill>
                  <a:srgbClr val="7A7A7A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2021</a:t>
            </a:r>
            <a:endParaRPr sz="1200" dirty="0">
              <a:solidFill>
                <a:schemeClr val="tx1">
                  <a:lumMod val="50000"/>
                  <a:lumOff val="50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398" name="Shape 39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798050" y="4892171"/>
            <a:ext cx="1485900" cy="235962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 algn="l">
              <a:defRPr sz="2700">
                <a:solidFill>
                  <a:srgbClr val="7A7A7A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202X</a:t>
            </a:r>
            <a:endParaRPr sz="1200" dirty="0">
              <a:solidFill>
                <a:schemeClr val="tx1">
                  <a:lumMod val="50000"/>
                  <a:lumOff val="50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399" name="Shape 39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1645900" y="4888995"/>
            <a:ext cx="1485900" cy="235962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 algn="l">
              <a:defRPr sz="2700">
                <a:solidFill>
                  <a:srgbClr val="7A7A7A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202X</a:t>
            </a:r>
            <a:endParaRPr sz="1200" dirty="0">
              <a:solidFill>
                <a:schemeClr val="tx1">
                  <a:lumMod val="50000"/>
                  <a:lumOff val="50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400" name="Shape 40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686300" y="4434971"/>
            <a:ext cx="1404231" cy="235962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>
            <a:lvl1pPr algn="l">
              <a:defRPr sz="1900">
                <a:solidFill>
                  <a:srgbClr val="7A7A7A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lorem ipsum dolor</a:t>
            </a:r>
          </a:p>
        </p:txBody>
      </p:sp>
      <p:sp>
        <p:nvSpPr>
          <p:cNvPr id="401" name="Shape 40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50900" y="4434970"/>
            <a:ext cx="1404231" cy="235962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>
            <a:lvl1pPr algn="l">
              <a:defRPr sz="1900">
                <a:solidFill>
                  <a:srgbClr val="7A7A7A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lorem ipsum dolor</a:t>
            </a:r>
          </a:p>
        </p:txBody>
      </p:sp>
      <p:sp>
        <p:nvSpPr>
          <p:cNvPr id="402" name="Shape 40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752127" y="4434971"/>
            <a:ext cx="1404231" cy="235962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>
            <a:lvl1pPr algn="l">
              <a:defRPr sz="1900">
                <a:solidFill>
                  <a:srgbClr val="7A7A7A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lorem ipsum dolor</a:t>
            </a:r>
          </a:p>
        </p:txBody>
      </p:sp>
      <p:sp>
        <p:nvSpPr>
          <p:cNvPr id="403" name="Shape 40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559800" y="4434971"/>
            <a:ext cx="1404231" cy="235962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>
            <a:lvl1pPr algn="l">
              <a:defRPr sz="1900">
                <a:solidFill>
                  <a:srgbClr val="7A7A7A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lorem ipsum dolor</a:t>
            </a:r>
          </a:p>
        </p:txBody>
      </p:sp>
      <p:sp>
        <p:nvSpPr>
          <p:cNvPr id="404" name="Shape 40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623050" y="4434971"/>
            <a:ext cx="1404231" cy="235962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>
            <a:lvl1pPr algn="l">
              <a:defRPr sz="1900">
                <a:solidFill>
                  <a:srgbClr val="7A7A7A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lorem ipsum dolor</a:t>
            </a:r>
          </a:p>
        </p:txBody>
      </p:sp>
      <p:sp>
        <p:nvSpPr>
          <p:cNvPr id="405" name="Shape 40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0458450" y="4434971"/>
            <a:ext cx="1404231" cy="235962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>
            <a:lvl1pPr algn="l">
              <a:defRPr sz="1900">
                <a:solidFill>
                  <a:srgbClr val="7A7A7A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lorem ipsum dolor</a:t>
            </a:r>
          </a:p>
        </p:txBody>
      </p:sp>
      <p:sp>
        <p:nvSpPr>
          <p:cNvPr id="63" name="Shape 34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389632" y="645426"/>
            <a:ext cx="2791718" cy="605294"/>
          </a:xfrm>
          <a:prstGeom prst="rect">
            <a:avLst/>
          </a:prstGeom>
          <a:ln w="12700">
            <a:miter lim="400000"/>
          </a:ln>
        </p:spPr>
        <p:txBody>
          <a:bodyPr wrap="square" lIns="25400" tIns="25400" rIns="25400" bIns="25400" anchor="ctr">
            <a:spAutoFit/>
          </a:bodyPr>
          <a:lstStyle>
            <a:lvl1pPr algn="l">
              <a:defRPr sz="4000" b="1">
                <a:solidFill>
                  <a:srgbClr val="232323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3600" b="0" dirty="0">
                <a:solidFill>
                  <a:schemeClr val="tx2">
                    <a:lumMod val="7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Timeline</a:t>
            </a:r>
          </a:p>
        </p:txBody>
      </p:sp>
      <p:sp>
        <p:nvSpPr>
          <p:cNvPr id="3" name="十字形 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rot="1059131">
            <a:off x="3063354" y="5327194"/>
            <a:ext cx="276465" cy="276465"/>
          </a:xfrm>
          <a:prstGeom prst="plus">
            <a:avLst>
              <a:gd name="adj" fmla="val 40625"/>
            </a:avLst>
          </a:prstGeom>
          <a:gradFill>
            <a:gsLst>
              <a:gs pos="0">
                <a:schemeClr val="accent4"/>
              </a:gs>
              <a:gs pos="100000">
                <a:schemeClr val="accent6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67" name="椭圆 6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68104" y="5936147"/>
            <a:ext cx="445477" cy="445477"/>
          </a:xfrm>
          <a:prstGeom prst="ellipse">
            <a:avLst/>
          </a:prstGeom>
          <a:noFill/>
          <a:ln w="476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552" r="-185"/>
          <a:stretch>
            <a:fillRect/>
          </a:stretch>
        </p:blipFill>
        <p:spPr>
          <a:xfrm>
            <a:off x="4299161" y="-1"/>
            <a:ext cx="8037743" cy="6880485"/>
          </a:xfrm>
          <a:prstGeom prst="rect">
            <a:avLst/>
          </a:prstGeom>
        </p:spPr>
      </p:pic>
      <p:pic>
        <p:nvPicPr>
          <p:cNvPr id="2" name="图片 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10" r="42181"/>
          <a:stretch>
            <a:fillRect/>
          </a:stretch>
        </p:blipFill>
        <p:spPr>
          <a:xfrm>
            <a:off x="5252085" y="-1249680"/>
            <a:ext cx="6607175" cy="8129905"/>
          </a:xfrm>
          <a:prstGeom prst="rect">
            <a:avLst/>
          </a:prstGeom>
        </p:spPr>
      </p:pic>
      <p:sp>
        <p:nvSpPr>
          <p:cNvPr id="4" name="文本框 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725251" y="3387436"/>
            <a:ext cx="4109145" cy="3819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lnSpc>
                <a:spcPct val="150000"/>
              </a:lnSpc>
            </a:pPr>
            <a:r>
              <a:rPr lang="en-US" altLang="zh-CN" sz="1400" spc="-300" dirty="0">
                <a:gradFill flip="none" rotWithShape="1">
                  <a:gsLst>
                    <a:gs pos="0">
                      <a:schemeClr val="accent5">
                        <a:lumMod val="75000"/>
                      </a:schemeClr>
                    </a:gs>
                    <a:gs pos="96403">
                      <a:schemeClr val="accent2"/>
                    </a:gs>
                    <a:gs pos="75000">
                      <a:schemeClr val="accent4"/>
                    </a:gs>
                  </a:gsLst>
                  <a:lin ang="10800000" scaled="1"/>
                </a:gradFill>
                <a:latin typeface="方正综艺简体" panose="03000509000000000000" pitchFamily="65" charset="-122"/>
                <a:ea typeface="思源黑体 CN Medium" panose="020B0600000000000000" pitchFamily="34" charset="-122"/>
                <a:cs typeface="思源黑体 CN Regular" panose="020B0500000000000000" charset="-122"/>
              </a:rPr>
              <a:t>CREATIVE  POWERPOINT  TEMPLATE</a:t>
            </a:r>
          </a:p>
        </p:txBody>
      </p:sp>
      <p:sp>
        <p:nvSpPr>
          <p:cNvPr id="5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725251" y="3766913"/>
            <a:ext cx="4030691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>
                <a:solidFill>
                  <a:schemeClr val="tx2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. This is a sample text. insert your desired text here. Again. this is a dummy text. enter your own text here.”</a:t>
            </a:r>
          </a:p>
        </p:txBody>
      </p:sp>
      <p:sp>
        <p:nvSpPr>
          <p:cNvPr id="6" name="文本框 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594447" y="2540271"/>
            <a:ext cx="609210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600" b="1" dirty="0">
                <a:solidFill>
                  <a:schemeClr val="accent4"/>
                </a:solidFill>
                <a:effectLst>
                  <a:innerShdw blurRad="63500" dist="50800" dir="15600000">
                    <a:schemeClr val="accent5">
                      <a:alpha val="23000"/>
                    </a:schemeClr>
                  </a:innerShdw>
                </a:effectLst>
                <a:latin typeface="方正综艺简体" panose="03000509000000000000" pitchFamily="65" charset="-122"/>
                <a:cs typeface="思源黑体 CN Regular" panose="020B0500000000000000" charset="-122"/>
              </a:rPr>
              <a:t>PART FOUR</a:t>
            </a:r>
            <a:endParaRPr lang="zh-CN" altLang="en-US" sz="6600" b="1" dirty="0">
              <a:solidFill>
                <a:schemeClr val="accent4"/>
              </a:solidFill>
              <a:effectLst>
                <a:innerShdw blurRad="63500" dist="50800" dir="15600000">
                  <a:schemeClr val="accent5">
                    <a:alpha val="23000"/>
                  </a:schemeClr>
                </a:innerShdw>
              </a:effectLst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7" name="Rectangle: Rounded Corners 2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79039" y="5209697"/>
            <a:ext cx="1402161" cy="38237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5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  <a:effectLst>
            <a:outerShdw blurRad="787400" dist="101600" dir="5400000" sx="80000" sy="80000" algn="t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200" dirty="0">
                <a:latin typeface="方正综艺简体" panose="03000509000000000000" pitchFamily="65" charset="-122"/>
                <a:cs typeface="思源黑体 CN Regular" panose="020B0500000000000000" charset="-122"/>
              </a:rPr>
              <a:t>Read Here</a:t>
            </a:r>
          </a:p>
        </p:txBody>
      </p:sp>
      <p:pic>
        <p:nvPicPr>
          <p:cNvPr id="8" name="图片 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3211"/>
          <a:stretch>
            <a:fillRect/>
          </a:stretch>
        </p:blipFill>
        <p:spPr>
          <a:xfrm>
            <a:off x="705391" y="1430726"/>
            <a:ext cx="888459" cy="1006768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 3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4241106" y="813752"/>
            <a:ext cx="2095578" cy="3907643"/>
            <a:chOff x="6770688" y="1302003"/>
            <a:chExt cx="3352925" cy="6252228"/>
          </a:xfrm>
        </p:grpSpPr>
        <p:grpSp>
          <p:nvGrpSpPr>
            <p:cNvPr id="21" name="Group 4"/>
            <p:cNvGrpSpPr>
              <a:grpSpLocks noChangeAspect="1"/>
            </p:cNvGrpSpPr>
            <p:nvPr/>
          </p:nvGrpSpPr>
          <p:grpSpPr>
            <a:xfrm flipH="1" flipV="1">
              <a:off x="6770688" y="1302003"/>
              <a:ext cx="3352925" cy="6252228"/>
              <a:chOff x="2012" y="1"/>
              <a:chExt cx="1737" cy="3239"/>
            </a:xfrm>
          </p:grpSpPr>
          <p:sp>
            <p:nvSpPr>
              <p:cNvPr id="22" name="Freeform 5"/>
              <p:cNvSpPr/>
              <p:nvPr/>
            </p:nvSpPr>
            <p:spPr bwMode="auto">
              <a:xfrm>
                <a:off x="2012" y="2031"/>
                <a:ext cx="1359" cy="1209"/>
              </a:xfrm>
              <a:custGeom>
                <a:avLst/>
                <a:gdLst>
                  <a:gd name="T0" fmla="*/ 1079 w 1359"/>
                  <a:gd name="T1" fmla="*/ 419 h 1209"/>
                  <a:gd name="T2" fmla="*/ 1079 w 1359"/>
                  <a:gd name="T3" fmla="*/ 0 h 1209"/>
                  <a:gd name="T4" fmla="*/ 280 w 1359"/>
                  <a:gd name="T5" fmla="*/ 0 h 1209"/>
                  <a:gd name="T6" fmla="*/ 280 w 1359"/>
                  <a:gd name="T7" fmla="*/ 419 h 1209"/>
                  <a:gd name="T8" fmla="*/ 0 w 1359"/>
                  <a:gd name="T9" fmla="*/ 419 h 1209"/>
                  <a:gd name="T10" fmla="*/ 679 w 1359"/>
                  <a:gd name="T11" fmla="*/ 1209 h 1209"/>
                  <a:gd name="T12" fmla="*/ 1359 w 1359"/>
                  <a:gd name="T13" fmla="*/ 419 h 1209"/>
                  <a:gd name="T14" fmla="*/ 1079 w 1359"/>
                  <a:gd name="T15" fmla="*/ 419 h 1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59" h="1209">
                    <a:moveTo>
                      <a:pt x="1079" y="419"/>
                    </a:moveTo>
                    <a:lnTo>
                      <a:pt x="1079" y="0"/>
                    </a:lnTo>
                    <a:lnTo>
                      <a:pt x="280" y="0"/>
                    </a:lnTo>
                    <a:lnTo>
                      <a:pt x="280" y="419"/>
                    </a:lnTo>
                    <a:lnTo>
                      <a:pt x="0" y="419"/>
                    </a:lnTo>
                    <a:lnTo>
                      <a:pt x="679" y="1209"/>
                    </a:lnTo>
                    <a:lnTo>
                      <a:pt x="1359" y="419"/>
                    </a:lnTo>
                    <a:lnTo>
                      <a:pt x="1079" y="419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/>
                  </a:gs>
                  <a:gs pos="100000">
                    <a:schemeClr val="accent1">
                      <a:lumMod val="75000"/>
                    </a:schemeClr>
                  </a:gs>
                </a:gsLst>
                <a:lin ang="2700000" scaled="0"/>
              </a:gra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3" name="Freeform 6"/>
              <p:cNvSpPr/>
              <p:nvPr/>
            </p:nvSpPr>
            <p:spPr bwMode="auto">
              <a:xfrm>
                <a:off x="2012" y="2221"/>
                <a:ext cx="280" cy="229"/>
              </a:xfrm>
              <a:custGeom>
                <a:avLst/>
                <a:gdLst>
                  <a:gd name="T0" fmla="*/ 0 w 280"/>
                  <a:gd name="T1" fmla="*/ 229 h 229"/>
                  <a:gd name="T2" fmla="*/ 280 w 280"/>
                  <a:gd name="T3" fmla="*/ 0 h 229"/>
                  <a:gd name="T4" fmla="*/ 280 w 280"/>
                  <a:gd name="T5" fmla="*/ 229 h 229"/>
                  <a:gd name="T6" fmla="*/ 0 w 280"/>
                  <a:gd name="T7" fmla="*/ 229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0" h="229">
                    <a:moveTo>
                      <a:pt x="0" y="229"/>
                    </a:moveTo>
                    <a:lnTo>
                      <a:pt x="280" y="0"/>
                    </a:lnTo>
                    <a:lnTo>
                      <a:pt x="280" y="229"/>
                    </a:lnTo>
                    <a:lnTo>
                      <a:pt x="0" y="229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accent1">
                      <a:lumMod val="50000"/>
                    </a:schemeClr>
                  </a:gs>
                </a:gsLst>
                <a:lin ang="2700000" scaled="0"/>
              </a:gra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4" name="Freeform 7"/>
              <p:cNvSpPr/>
              <p:nvPr/>
            </p:nvSpPr>
            <p:spPr bwMode="auto">
              <a:xfrm>
                <a:off x="3091" y="2141"/>
                <a:ext cx="658" cy="309"/>
              </a:xfrm>
              <a:custGeom>
                <a:avLst/>
                <a:gdLst>
                  <a:gd name="T0" fmla="*/ 0 w 658"/>
                  <a:gd name="T1" fmla="*/ 309 h 309"/>
                  <a:gd name="T2" fmla="*/ 280 w 658"/>
                  <a:gd name="T3" fmla="*/ 309 h 309"/>
                  <a:gd name="T4" fmla="*/ 658 w 658"/>
                  <a:gd name="T5" fmla="*/ 0 h 309"/>
                  <a:gd name="T6" fmla="*/ 377 w 658"/>
                  <a:gd name="T7" fmla="*/ 0 h 309"/>
                  <a:gd name="T8" fmla="*/ 0 w 658"/>
                  <a:gd name="T9" fmla="*/ 309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8" h="309">
                    <a:moveTo>
                      <a:pt x="0" y="309"/>
                    </a:moveTo>
                    <a:lnTo>
                      <a:pt x="280" y="309"/>
                    </a:lnTo>
                    <a:lnTo>
                      <a:pt x="658" y="0"/>
                    </a:lnTo>
                    <a:lnTo>
                      <a:pt x="377" y="0"/>
                    </a:lnTo>
                    <a:lnTo>
                      <a:pt x="0" y="309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accent1">
                      <a:lumMod val="50000"/>
                    </a:schemeClr>
                  </a:gs>
                </a:gsLst>
                <a:lin ang="2700000" scaled="0"/>
              </a:gra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5" name="Freeform 8"/>
              <p:cNvSpPr/>
              <p:nvPr/>
            </p:nvSpPr>
            <p:spPr bwMode="auto">
              <a:xfrm>
                <a:off x="3091" y="2141"/>
                <a:ext cx="658" cy="309"/>
              </a:xfrm>
              <a:custGeom>
                <a:avLst/>
                <a:gdLst>
                  <a:gd name="T0" fmla="*/ 0 w 658"/>
                  <a:gd name="T1" fmla="*/ 309 h 309"/>
                  <a:gd name="T2" fmla="*/ 280 w 658"/>
                  <a:gd name="T3" fmla="*/ 309 h 309"/>
                  <a:gd name="T4" fmla="*/ 658 w 658"/>
                  <a:gd name="T5" fmla="*/ 0 h 309"/>
                  <a:gd name="T6" fmla="*/ 377 w 658"/>
                  <a:gd name="T7" fmla="*/ 0 h 309"/>
                  <a:gd name="T8" fmla="*/ 0 w 658"/>
                  <a:gd name="T9" fmla="*/ 309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8" h="309">
                    <a:moveTo>
                      <a:pt x="0" y="309"/>
                    </a:moveTo>
                    <a:lnTo>
                      <a:pt x="280" y="309"/>
                    </a:lnTo>
                    <a:lnTo>
                      <a:pt x="658" y="0"/>
                    </a:lnTo>
                    <a:lnTo>
                      <a:pt x="377" y="0"/>
                    </a:lnTo>
                    <a:lnTo>
                      <a:pt x="0" y="309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6" name="Freeform 9"/>
              <p:cNvSpPr/>
              <p:nvPr/>
            </p:nvSpPr>
            <p:spPr bwMode="auto">
              <a:xfrm>
                <a:off x="2691" y="2141"/>
                <a:ext cx="1058" cy="1099"/>
              </a:xfrm>
              <a:custGeom>
                <a:avLst/>
                <a:gdLst>
                  <a:gd name="T0" fmla="*/ 362 w 1058"/>
                  <a:gd name="T1" fmla="*/ 758 h 1099"/>
                  <a:gd name="T2" fmla="*/ 0 w 1058"/>
                  <a:gd name="T3" fmla="*/ 1099 h 1099"/>
                  <a:gd name="T4" fmla="*/ 680 w 1058"/>
                  <a:gd name="T5" fmla="*/ 309 h 1099"/>
                  <a:gd name="T6" fmla="*/ 1058 w 1058"/>
                  <a:gd name="T7" fmla="*/ 0 h 1099"/>
                  <a:gd name="T8" fmla="*/ 362 w 1058"/>
                  <a:gd name="T9" fmla="*/ 758 h 10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58" h="1099">
                    <a:moveTo>
                      <a:pt x="362" y="758"/>
                    </a:moveTo>
                    <a:lnTo>
                      <a:pt x="0" y="1099"/>
                    </a:lnTo>
                    <a:lnTo>
                      <a:pt x="680" y="309"/>
                    </a:lnTo>
                    <a:lnTo>
                      <a:pt x="1058" y="0"/>
                    </a:lnTo>
                    <a:lnTo>
                      <a:pt x="362" y="758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7" name="Freeform 10"/>
              <p:cNvSpPr/>
              <p:nvPr/>
            </p:nvSpPr>
            <p:spPr bwMode="auto">
              <a:xfrm>
                <a:off x="2691" y="2141"/>
                <a:ext cx="1058" cy="1099"/>
              </a:xfrm>
              <a:custGeom>
                <a:avLst/>
                <a:gdLst>
                  <a:gd name="T0" fmla="*/ 362 w 1058"/>
                  <a:gd name="T1" fmla="*/ 758 h 1099"/>
                  <a:gd name="T2" fmla="*/ 0 w 1058"/>
                  <a:gd name="T3" fmla="*/ 1099 h 1099"/>
                  <a:gd name="T4" fmla="*/ 680 w 1058"/>
                  <a:gd name="T5" fmla="*/ 309 h 1099"/>
                  <a:gd name="T6" fmla="*/ 1058 w 1058"/>
                  <a:gd name="T7" fmla="*/ 0 h 1099"/>
                  <a:gd name="T8" fmla="*/ 362 w 1058"/>
                  <a:gd name="T9" fmla="*/ 758 h 10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58" h="1099">
                    <a:moveTo>
                      <a:pt x="362" y="758"/>
                    </a:moveTo>
                    <a:lnTo>
                      <a:pt x="0" y="1099"/>
                    </a:lnTo>
                    <a:lnTo>
                      <a:pt x="680" y="309"/>
                    </a:lnTo>
                    <a:lnTo>
                      <a:pt x="1058" y="0"/>
                    </a:lnTo>
                    <a:lnTo>
                      <a:pt x="362" y="758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8" name="Freeform 11"/>
              <p:cNvSpPr/>
              <p:nvPr/>
            </p:nvSpPr>
            <p:spPr bwMode="auto">
              <a:xfrm>
                <a:off x="2292" y="1722"/>
                <a:ext cx="1176" cy="309"/>
              </a:xfrm>
              <a:custGeom>
                <a:avLst/>
                <a:gdLst>
                  <a:gd name="T0" fmla="*/ 0 w 1176"/>
                  <a:gd name="T1" fmla="*/ 309 h 309"/>
                  <a:gd name="T2" fmla="*/ 377 w 1176"/>
                  <a:gd name="T3" fmla="*/ 0 h 309"/>
                  <a:gd name="T4" fmla="*/ 1176 w 1176"/>
                  <a:gd name="T5" fmla="*/ 0 h 309"/>
                  <a:gd name="T6" fmla="*/ 799 w 1176"/>
                  <a:gd name="T7" fmla="*/ 309 h 309"/>
                  <a:gd name="T8" fmla="*/ 0 w 1176"/>
                  <a:gd name="T9" fmla="*/ 309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6" h="309">
                    <a:moveTo>
                      <a:pt x="0" y="309"/>
                    </a:moveTo>
                    <a:lnTo>
                      <a:pt x="377" y="0"/>
                    </a:lnTo>
                    <a:lnTo>
                      <a:pt x="1176" y="0"/>
                    </a:lnTo>
                    <a:lnTo>
                      <a:pt x="799" y="309"/>
                    </a:lnTo>
                    <a:lnTo>
                      <a:pt x="0" y="309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2700000" scaled="0"/>
              </a:gra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9" name="Freeform 12"/>
              <p:cNvSpPr/>
              <p:nvPr/>
            </p:nvSpPr>
            <p:spPr bwMode="auto">
              <a:xfrm>
                <a:off x="3091" y="1722"/>
                <a:ext cx="377" cy="728"/>
              </a:xfrm>
              <a:custGeom>
                <a:avLst/>
                <a:gdLst>
                  <a:gd name="T0" fmla="*/ 377 w 377"/>
                  <a:gd name="T1" fmla="*/ 0 h 728"/>
                  <a:gd name="T2" fmla="*/ 0 w 377"/>
                  <a:gd name="T3" fmla="*/ 309 h 728"/>
                  <a:gd name="T4" fmla="*/ 0 w 377"/>
                  <a:gd name="T5" fmla="*/ 728 h 728"/>
                  <a:gd name="T6" fmla="*/ 377 w 377"/>
                  <a:gd name="T7" fmla="*/ 419 h 728"/>
                  <a:gd name="T8" fmla="*/ 377 w 377"/>
                  <a:gd name="T9" fmla="*/ 0 h 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7" h="728">
                    <a:moveTo>
                      <a:pt x="377" y="0"/>
                    </a:moveTo>
                    <a:lnTo>
                      <a:pt x="0" y="309"/>
                    </a:lnTo>
                    <a:lnTo>
                      <a:pt x="0" y="728"/>
                    </a:lnTo>
                    <a:lnTo>
                      <a:pt x="377" y="419"/>
                    </a:lnTo>
                    <a:lnTo>
                      <a:pt x="377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accent1">
                      <a:lumMod val="50000"/>
                    </a:schemeClr>
                  </a:gs>
                </a:gsLst>
                <a:lin ang="2700000" scaled="0"/>
              </a:gra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0" name="Freeform 13"/>
              <p:cNvSpPr/>
              <p:nvPr/>
            </p:nvSpPr>
            <p:spPr bwMode="auto">
              <a:xfrm>
                <a:off x="3091" y="1722"/>
                <a:ext cx="377" cy="728"/>
              </a:xfrm>
              <a:custGeom>
                <a:avLst/>
                <a:gdLst>
                  <a:gd name="T0" fmla="*/ 377 w 377"/>
                  <a:gd name="T1" fmla="*/ 0 h 728"/>
                  <a:gd name="T2" fmla="*/ 0 w 377"/>
                  <a:gd name="T3" fmla="*/ 309 h 728"/>
                  <a:gd name="T4" fmla="*/ 0 w 377"/>
                  <a:gd name="T5" fmla="*/ 728 h 728"/>
                  <a:gd name="T6" fmla="*/ 377 w 377"/>
                  <a:gd name="T7" fmla="*/ 419 h 728"/>
                  <a:gd name="T8" fmla="*/ 377 w 377"/>
                  <a:gd name="T9" fmla="*/ 0 h 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7" h="728">
                    <a:moveTo>
                      <a:pt x="377" y="0"/>
                    </a:moveTo>
                    <a:lnTo>
                      <a:pt x="0" y="309"/>
                    </a:lnTo>
                    <a:lnTo>
                      <a:pt x="0" y="728"/>
                    </a:lnTo>
                    <a:lnTo>
                      <a:pt x="377" y="419"/>
                    </a:lnTo>
                    <a:lnTo>
                      <a:pt x="377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1" name="Freeform 14"/>
              <p:cNvSpPr/>
              <p:nvPr/>
            </p:nvSpPr>
            <p:spPr bwMode="auto">
              <a:xfrm>
                <a:off x="2292" y="1149"/>
                <a:ext cx="1176" cy="309"/>
              </a:xfrm>
              <a:custGeom>
                <a:avLst/>
                <a:gdLst>
                  <a:gd name="T0" fmla="*/ 0 w 1176"/>
                  <a:gd name="T1" fmla="*/ 309 h 309"/>
                  <a:gd name="T2" fmla="*/ 377 w 1176"/>
                  <a:gd name="T3" fmla="*/ 0 h 309"/>
                  <a:gd name="T4" fmla="*/ 1176 w 1176"/>
                  <a:gd name="T5" fmla="*/ 0 h 309"/>
                  <a:gd name="T6" fmla="*/ 799 w 1176"/>
                  <a:gd name="T7" fmla="*/ 309 h 309"/>
                  <a:gd name="T8" fmla="*/ 0 w 1176"/>
                  <a:gd name="T9" fmla="*/ 309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6" h="309">
                    <a:moveTo>
                      <a:pt x="0" y="309"/>
                    </a:moveTo>
                    <a:lnTo>
                      <a:pt x="377" y="0"/>
                    </a:lnTo>
                    <a:lnTo>
                      <a:pt x="1176" y="0"/>
                    </a:lnTo>
                    <a:lnTo>
                      <a:pt x="799" y="309"/>
                    </a:lnTo>
                    <a:lnTo>
                      <a:pt x="0" y="309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2700000" scaled="0"/>
              </a:gra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2" name="Rectangle 15"/>
              <p:cNvSpPr>
                <a:spLocks noChangeArrowheads="1"/>
              </p:cNvSpPr>
              <p:nvPr/>
            </p:nvSpPr>
            <p:spPr bwMode="auto">
              <a:xfrm>
                <a:off x="2292" y="1458"/>
                <a:ext cx="799" cy="418"/>
              </a:xfrm>
              <a:prstGeom prst="rect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1">
                      <a:lumMod val="75000"/>
                    </a:schemeClr>
                  </a:gs>
                </a:gsLst>
                <a:lin ang="2700000" scaled="0"/>
              </a:gra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3" name="Freeform 16"/>
              <p:cNvSpPr/>
              <p:nvPr/>
            </p:nvSpPr>
            <p:spPr bwMode="auto">
              <a:xfrm>
                <a:off x="3091" y="1149"/>
                <a:ext cx="377" cy="727"/>
              </a:xfrm>
              <a:custGeom>
                <a:avLst/>
                <a:gdLst>
                  <a:gd name="T0" fmla="*/ 377 w 377"/>
                  <a:gd name="T1" fmla="*/ 0 h 727"/>
                  <a:gd name="T2" fmla="*/ 0 w 377"/>
                  <a:gd name="T3" fmla="*/ 309 h 727"/>
                  <a:gd name="T4" fmla="*/ 0 w 377"/>
                  <a:gd name="T5" fmla="*/ 727 h 727"/>
                  <a:gd name="T6" fmla="*/ 377 w 377"/>
                  <a:gd name="T7" fmla="*/ 418 h 727"/>
                  <a:gd name="T8" fmla="*/ 377 w 377"/>
                  <a:gd name="T9" fmla="*/ 0 h 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7" h="727">
                    <a:moveTo>
                      <a:pt x="377" y="0"/>
                    </a:moveTo>
                    <a:lnTo>
                      <a:pt x="0" y="309"/>
                    </a:lnTo>
                    <a:lnTo>
                      <a:pt x="0" y="727"/>
                    </a:lnTo>
                    <a:lnTo>
                      <a:pt x="377" y="418"/>
                    </a:lnTo>
                    <a:lnTo>
                      <a:pt x="377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accent1">
                      <a:lumMod val="50000"/>
                    </a:schemeClr>
                  </a:gs>
                </a:gsLst>
                <a:lin ang="2700000" scaled="0"/>
              </a:gra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4" name="Freeform 17"/>
              <p:cNvSpPr/>
              <p:nvPr/>
            </p:nvSpPr>
            <p:spPr bwMode="auto">
              <a:xfrm>
                <a:off x="2292" y="575"/>
                <a:ext cx="1176" cy="309"/>
              </a:xfrm>
              <a:custGeom>
                <a:avLst/>
                <a:gdLst>
                  <a:gd name="T0" fmla="*/ 0 w 1176"/>
                  <a:gd name="T1" fmla="*/ 309 h 309"/>
                  <a:gd name="T2" fmla="*/ 377 w 1176"/>
                  <a:gd name="T3" fmla="*/ 0 h 309"/>
                  <a:gd name="T4" fmla="*/ 1176 w 1176"/>
                  <a:gd name="T5" fmla="*/ 0 h 309"/>
                  <a:gd name="T6" fmla="*/ 799 w 1176"/>
                  <a:gd name="T7" fmla="*/ 309 h 309"/>
                  <a:gd name="T8" fmla="*/ 0 w 1176"/>
                  <a:gd name="T9" fmla="*/ 309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6" h="309">
                    <a:moveTo>
                      <a:pt x="0" y="309"/>
                    </a:moveTo>
                    <a:lnTo>
                      <a:pt x="377" y="0"/>
                    </a:lnTo>
                    <a:lnTo>
                      <a:pt x="1176" y="0"/>
                    </a:lnTo>
                    <a:lnTo>
                      <a:pt x="799" y="309"/>
                    </a:lnTo>
                    <a:lnTo>
                      <a:pt x="0" y="309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2700000" scaled="0"/>
              </a:gra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5" name="Rectangle 18"/>
              <p:cNvSpPr>
                <a:spLocks noChangeArrowheads="1"/>
              </p:cNvSpPr>
              <p:nvPr/>
            </p:nvSpPr>
            <p:spPr bwMode="auto">
              <a:xfrm>
                <a:off x="2292" y="884"/>
                <a:ext cx="799" cy="419"/>
              </a:xfrm>
              <a:prstGeom prst="rect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1">
                      <a:lumMod val="75000"/>
                    </a:schemeClr>
                  </a:gs>
                </a:gsLst>
                <a:lin ang="2700000" scaled="0"/>
              </a:gra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6" name="Freeform 19"/>
              <p:cNvSpPr/>
              <p:nvPr/>
            </p:nvSpPr>
            <p:spPr bwMode="auto">
              <a:xfrm>
                <a:off x="3091" y="575"/>
                <a:ext cx="377" cy="728"/>
              </a:xfrm>
              <a:custGeom>
                <a:avLst/>
                <a:gdLst>
                  <a:gd name="T0" fmla="*/ 377 w 377"/>
                  <a:gd name="T1" fmla="*/ 0 h 728"/>
                  <a:gd name="T2" fmla="*/ 0 w 377"/>
                  <a:gd name="T3" fmla="*/ 309 h 728"/>
                  <a:gd name="T4" fmla="*/ 0 w 377"/>
                  <a:gd name="T5" fmla="*/ 728 h 728"/>
                  <a:gd name="T6" fmla="*/ 377 w 377"/>
                  <a:gd name="T7" fmla="*/ 419 h 728"/>
                  <a:gd name="T8" fmla="*/ 377 w 377"/>
                  <a:gd name="T9" fmla="*/ 0 h 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7" h="728">
                    <a:moveTo>
                      <a:pt x="377" y="0"/>
                    </a:moveTo>
                    <a:lnTo>
                      <a:pt x="0" y="309"/>
                    </a:lnTo>
                    <a:lnTo>
                      <a:pt x="0" y="728"/>
                    </a:lnTo>
                    <a:lnTo>
                      <a:pt x="377" y="419"/>
                    </a:lnTo>
                    <a:lnTo>
                      <a:pt x="377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accent1">
                      <a:lumMod val="50000"/>
                    </a:schemeClr>
                  </a:gs>
                </a:gsLst>
                <a:lin ang="2700000" scaled="0"/>
              </a:gra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7" name="Freeform 20"/>
              <p:cNvSpPr/>
              <p:nvPr/>
            </p:nvSpPr>
            <p:spPr bwMode="auto">
              <a:xfrm>
                <a:off x="2292" y="1"/>
                <a:ext cx="1176" cy="309"/>
              </a:xfrm>
              <a:custGeom>
                <a:avLst/>
                <a:gdLst>
                  <a:gd name="T0" fmla="*/ 0 w 1176"/>
                  <a:gd name="T1" fmla="*/ 309 h 309"/>
                  <a:gd name="T2" fmla="*/ 377 w 1176"/>
                  <a:gd name="T3" fmla="*/ 0 h 309"/>
                  <a:gd name="T4" fmla="*/ 1176 w 1176"/>
                  <a:gd name="T5" fmla="*/ 0 h 309"/>
                  <a:gd name="T6" fmla="*/ 799 w 1176"/>
                  <a:gd name="T7" fmla="*/ 309 h 309"/>
                  <a:gd name="T8" fmla="*/ 0 w 1176"/>
                  <a:gd name="T9" fmla="*/ 309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6" h="309">
                    <a:moveTo>
                      <a:pt x="0" y="309"/>
                    </a:moveTo>
                    <a:lnTo>
                      <a:pt x="377" y="0"/>
                    </a:lnTo>
                    <a:lnTo>
                      <a:pt x="1176" y="0"/>
                    </a:lnTo>
                    <a:lnTo>
                      <a:pt x="799" y="309"/>
                    </a:lnTo>
                    <a:lnTo>
                      <a:pt x="0" y="309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2700000" scaled="0"/>
              </a:gra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8" name="Rectangle 21"/>
              <p:cNvSpPr>
                <a:spLocks noChangeArrowheads="1"/>
              </p:cNvSpPr>
              <p:nvPr/>
            </p:nvSpPr>
            <p:spPr bwMode="auto">
              <a:xfrm>
                <a:off x="2292" y="310"/>
                <a:ext cx="799" cy="418"/>
              </a:xfrm>
              <a:prstGeom prst="rect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1">
                      <a:lumMod val="75000"/>
                    </a:schemeClr>
                  </a:gs>
                </a:gsLst>
                <a:lin ang="2700000" scaled="0"/>
              </a:gra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9" name="Freeform 22"/>
              <p:cNvSpPr/>
              <p:nvPr/>
            </p:nvSpPr>
            <p:spPr bwMode="auto">
              <a:xfrm>
                <a:off x="3091" y="1"/>
                <a:ext cx="377" cy="727"/>
              </a:xfrm>
              <a:custGeom>
                <a:avLst/>
                <a:gdLst>
                  <a:gd name="T0" fmla="*/ 377 w 377"/>
                  <a:gd name="T1" fmla="*/ 0 h 727"/>
                  <a:gd name="T2" fmla="*/ 0 w 377"/>
                  <a:gd name="T3" fmla="*/ 309 h 727"/>
                  <a:gd name="T4" fmla="*/ 0 w 377"/>
                  <a:gd name="T5" fmla="*/ 727 h 727"/>
                  <a:gd name="T6" fmla="*/ 377 w 377"/>
                  <a:gd name="T7" fmla="*/ 418 h 727"/>
                  <a:gd name="T8" fmla="*/ 377 w 377"/>
                  <a:gd name="T9" fmla="*/ 0 h 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7" h="727">
                    <a:moveTo>
                      <a:pt x="377" y="0"/>
                    </a:moveTo>
                    <a:lnTo>
                      <a:pt x="0" y="309"/>
                    </a:lnTo>
                    <a:lnTo>
                      <a:pt x="0" y="727"/>
                    </a:lnTo>
                    <a:lnTo>
                      <a:pt x="377" y="418"/>
                    </a:lnTo>
                    <a:lnTo>
                      <a:pt x="377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accent1">
                      <a:lumMod val="50000"/>
                    </a:schemeClr>
                  </a:gs>
                </a:gsLst>
                <a:lin ang="2700000" scaled="0"/>
              </a:gra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</p:grpSp>
        <p:sp>
          <p:nvSpPr>
            <p:cNvPr id="60" name="TextBox 59"/>
            <p:cNvSpPr txBox="1"/>
            <p:nvPr/>
          </p:nvSpPr>
          <p:spPr>
            <a:xfrm>
              <a:off x="8263190" y="2054094"/>
              <a:ext cx="1198187" cy="11308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2500" spc="188" dirty="0">
                  <a:solidFill>
                    <a:schemeClr val="bg1"/>
                  </a:solidFill>
                  <a:latin typeface="方正综艺简体" panose="03000509000000000000" pitchFamily="65" charset="-122"/>
                  <a:cs typeface="思源黑体 CN Regular" panose="020B0500000000000000" charset="-122"/>
                </a:rPr>
                <a:t>20</a:t>
              </a:r>
            </a:p>
            <a:p>
              <a:pPr algn="ctr">
                <a:lnSpc>
                  <a:spcPct val="80000"/>
                </a:lnSpc>
              </a:pPr>
              <a:r>
                <a:rPr lang="en-US" sz="2500" spc="188" dirty="0">
                  <a:solidFill>
                    <a:schemeClr val="bg1"/>
                  </a:solidFill>
                  <a:latin typeface="方正综艺简体" panose="03000509000000000000" pitchFamily="65" charset="-122"/>
                  <a:cs typeface="思源黑体 CN Regular" panose="020B0500000000000000" charset="-122"/>
                </a:rPr>
                <a:t>XX</a:t>
              </a:r>
            </a:p>
          </p:txBody>
        </p:sp>
      </p:grpSp>
      <p:grpSp>
        <p:nvGrpSpPr>
          <p:cNvPr id="50" name="Group 4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5855317" y="2136607"/>
            <a:ext cx="2095578" cy="3907643"/>
            <a:chOff x="9353425" y="3418571"/>
            <a:chExt cx="3352925" cy="6252228"/>
          </a:xfrm>
        </p:grpSpPr>
        <p:grpSp>
          <p:nvGrpSpPr>
            <p:cNvPr id="2" name="Group 4"/>
            <p:cNvGrpSpPr>
              <a:grpSpLocks noChangeAspect="1"/>
            </p:cNvGrpSpPr>
            <p:nvPr/>
          </p:nvGrpSpPr>
          <p:grpSpPr>
            <a:xfrm>
              <a:off x="9353425" y="3418571"/>
              <a:ext cx="3352925" cy="6252228"/>
              <a:chOff x="2012" y="1"/>
              <a:chExt cx="1737" cy="3239"/>
            </a:xfrm>
          </p:grpSpPr>
          <p:sp>
            <p:nvSpPr>
              <p:cNvPr id="3" name="Freeform 5"/>
              <p:cNvSpPr/>
              <p:nvPr/>
            </p:nvSpPr>
            <p:spPr bwMode="auto">
              <a:xfrm>
                <a:off x="2012" y="2031"/>
                <a:ext cx="1359" cy="1209"/>
              </a:xfrm>
              <a:custGeom>
                <a:avLst/>
                <a:gdLst>
                  <a:gd name="T0" fmla="*/ 1079 w 1359"/>
                  <a:gd name="T1" fmla="*/ 419 h 1209"/>
                  <a:gd name="T2" fmla="*/ 1079 w 1359"/>
                  <a:gd name="T3" fmla="*/ 0 h 1209"/>
                  <a:gd name="T4" fmla="*/ 280 w 1359"/>
                  <a:gd name="T5" fmla="*/ 0 h 1209"/>
                  <a:gd name="T6" fmla="*/ 280 w 1359"/>
                  <a:gd name="T7" fmla="*/ 419 h 1209"/>
                  <a:gd name="T8" fmla="*/ 0 w 1359"/>
                  <a:gd name="T9" fmla="*/ 419 h 1209"/>
                  <a:gd name="T10" fmla="*/ 679 w 1359"/>
                  <a:gd name="T11" fmla="*/ 1209 h 1209"/>
                  <a:gd name="T12" fmla="*/ 1359 w 1359"/>
                  <a:gd name="T13" fmla="*/ 419 h 1209"/>
                  <a:gd name="T14" fmla="*/ 1079 w 1359"/>
                  <a:gd name="T15" fmla="*/ 419 h 1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59" h="1209">
                    <a:moveTo>
                      <a:pt x="1079" y="419"/>
                    </a:moveTo>
                    <a:lnTo>
                      <a:pt x="1079" y="0"/>
                    </a:lnTo>
                    <a:lnTo>
                      <a:pt x="280" y="0"/>
                    </a:lnTo>
                    <a:lnTo>
                      <a:pt x="280" y="419"/>
                    </a:lnTo>
                    <a:lnTo>
                      <a:pt x="0" y="419"/>
                    </a:lnTo>
                    <a:lnTo>
                      <a:pt x="679" y="1209"/>
                    </a:lnTo>
                    <a:lnTo>
                      <a:pt x="1359" y="419"/>
                    </a:lnTo>
                    <a:lnTo>
                      <a:pt x="1079" y="419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4"/>
                  </a:gs>
                  <a:gs pos="100000">
                    <a:schemeClr val="accent4">
                      <a:lumMod val="75000"/>
                    </a:schemeClr>
                  </a:gs>
                </a:gsLst>
                <a:lin ang="2700000" scaled="0"/>
              </a:gra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4" name="Freeform 6"/>
              <p:cNvSpPr/>
              <p:nvPr/>
            </p:nvSpPr>
            <p:spPr bwMode="auto">
              <a:xfrm>
                <a:off x="2012" y="2221"/>
                <a:ext cx="280" cy="229"/>
              </a:xfrm>
              <a:custGeom>
                <a:avLst/>
                <a:gdLst>
                  <a:gd name="T0" fmla="*/ 0 w 280"/>
                  <a:gd name="T1" fmla="*/ 229 h 229"/>
                  <a:gd name="T2" fmla="*/ 280 w 280"/>
                  <a:gd name="T3" fmla="*/ 0 h 229"/>
                  <a:gd name="T4" fmla="*/ 280 w 280"/>
                  <a:gd name="T5" fmla="*/ 229 h 229"/>
                  <a:gd name="T6" fmla="*/ 0 w 280"/>
                  <a:gd name="T7" fmla="*/ 229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0" h="229">
                    <a:moveTo>
                      <a:pt x="0" y="229"/>
                    </a:moveTo>
                    <a:lnTo>
                      <a:pt x="280" y="0"/>
                    </a:lnTo>
                    <a:lnTo>
                      <a:pt x="280" y="229"/>
                    </a:lnTo>
                    <a:lnTo>
                      <a:pt x="0" y="229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4">
                      <a:lumMod val="75000"/>
                    </a:schemeClr>
                  </a:gs>
                  <a:gs pos="100000">
                    <a:schemeClr val="accent4">
                      <a:lumMod val="50000"/>
                    </a:schemeClr>
                  </a:gs>
                </a:gsLst>
                <a:lin ang="2700000" scaled="0"/>
              </a:gra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5" name="Freeform 7"/>
              <p:cNvSpPr/>
              <p:nvPr/>
            </p:nvSpPr>
            <p:spPr bwMode="auto">
              <a:xfrm>
                <a:off x="3091" y="2141"/>
                <a:ext cx="658" cy="309"/>
              </a:xfrm>
              <a:custGeom>
                <a:avLst/>
                <a:gdLst>
                  <a:gd name="T0" fmla="*/ 0 w 658"/>
                  <a:gd name="T1" fmla="*/ 309 h 309"/>
                  <a:gd name="T2" fmla="*/ 280 w 658"/>
                  <a:gd name="T3" fmla="*/ 309 h 309"/>
                  <a:gd name="T4" fmla="*/ 658 w 658"/>
                  <a:gd name="T5" fmla="*/ 0 h 309"/>
                  <a:gd name="T6" fmla="*/ 377 w 658"/>
                  <a:gd name="T7" fmla="*/ 0 h 309"/>
                  <a:gd name="T8" fmla="*/ 0 w 658"/>
                  <a:gd name="T9" fmla="*/ 309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8" h="309">
                    <a:moveTo>
                      <a:pt x="0" y="309"/>
                    </a:moveTo>
                    <a:lnTo>
                      <a:pt x="280" y="309"/>
                    </a:lnTo>
                    <a:lnTo>
                      <a:pt x="658" y="0"/>
                    </a:lnTo>
                    <a:lnTo>
                      <a:pt x="377" y="0"/>
                    </a:lnTo>
                    <a:lnTo>
                      <a:pt x="0" y="309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4">
                      <a:lumMod val="75000"/>
                    </a:schemeClr>
                  </a:gs>
                  <a:gs pos="100000">
                    <a:schemeClr val="accent4">
                      <a:lumMod val="50000"/>
                    </a:schemeClr>
                  </a:gs>
                </a:gsLst>
                <a:lin ang="2700000" scaled="0"/>
              </a:gra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6" name="Freeform 8"/>
              <p:cNvSpPr/>
              <p:nvPr/>
            </p:nvSpPr>
            <p:spPr bwMode="auto">
              <a:xfrm>
                <a:off x="3091" y="2141"/>
                <a:ext cx="658" cy="309"/>
              </a:xfrm>
              <a:custGeom>
                <a:avLst/>
                <a:gdLst>
                  <a:gd name="T0" fmla="*/ 0 w 658"/>
                  <a:gd name="T1" fmla="*/ 309 h 309"/>
                  <a:gd name="T2" fmla="*/ 280 w 658"/>
                  <a:gd name="T3" fmla="*/ 309 h 309"/>
                  <a:gd name="T4" fmla="*/ 658 w 658"/>
                  <a:gd name="T5" fmla="*/ 0 h 309"/>
                  <a:gd name="T6" fmla="*/ 377 w 658"/>
                  <a:gd name="T7" fmla="*/ 0 h 309"/>
                  <a:gd name="T8" fmla="*/ 0 w 658"/>
                  <a:gd name="T9" fmla="*/ 309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8" h="309">
                    <a:moveTo>
                      <a:pt x="0" y="309"/>
                    </a:moveTo>
                    <a:lnTo>
                      <a:pt x="280" y="309"/>
                    </a:lnTo>
                    <a:lnTo>
                      <a:pt x="658" y="0"/>
                    </a:lnTo>
                    <a:lnTo>
                      <a:pt x="377" y="0"/>
                    </a:lnTo>
                    <a:lnTo>
                      <a:pt x="0" y="309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7" name="Freeform 9"/>
              <p:cNvSpPr/>
              <p:nvPr/>
            </p:nvSpPr>
            <p:spPr bwMode="auto">
              <a:xfrm>
                <a:off x="2691" y="2141"/>
                <a:ext cx="1058" cy="1099"/>
              </a:xfrm>
              <a:custGeom>
                <a:avLst/>
                <a:gdLst>
                  <a:gd name="T0" fmla="*/ 362 w 1058"/>
                  <a:gd name="T1" fmla="*/ 758 h 1099"/>
                  <a:gd name="T2" fmla="*/ 0 w 1058"/>
                  <a:gd name="T3" fmla="*/ 1099 h 1099"/>
                  <a:gd name="T4" fmla="*/ 680 w 1058"/>
                  <a:gd name="T5" fmla="*/ 309 h 1099"/>
                  <a:gd name="T6" fmla="*/ 1058 w 1058"/>
                  <a:gd name="T7" fmla="*/ 0 h 1099"/>
                  <a:gd name="T8" fmla="*/ 362 w 1058"/>
                  <a:gd name="T9" fmla="*/ 758 h 10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58" h="1099">
                    <a:moveTo>
                      <a:pt x="362" y="758"/>
                    </a:moveTo>
                    <a:lnTo>
                      <a:pt x="0" y="1099"/>
                    </a:lnTo>
                    <a:lnTo>
                      <a:pt x="680" y="309"/>
                    </a:lnTo>
                    <a:lnTo>
                      <a:pt x="1058" y="0"/>
                    </a:lnTo>
                    <a:lnTo>
                      <a:pt x="362" y="758"/>
                    </a:lnTo>
                    <a:close/>
                  </a:path>
                </a:pathLst>
              </a:custGeom>
              <a:solidFill>
                <a:schemeClr val="accent4">
                  <a:lumMod val="50000"/>
                </a:schemeClr>
              </a:soli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8" name="Freeform 10"/>
              <p:cNvSpPr/>
              <p:nvPr/>
            </p:nvSpPr>
            <p:spPr bwMode="auto">
              <a:xfrm>
                <a:off x="2691" y="2141"/>
                <a:ext cx="1058" cy="1099"/>
              </a:xfrm>
              <a:custGeom>
                <a:avLst/>
                <a:gdLst>
                  <a:gd name="T0" fmla="*/ 362 w 1058"/>
                  <a:gd name="T1" fmla="*/ 758 h 1099"/>
                  <a:gd name="T2" fmla="*/ 0 w 1058"/>
                  <a:gd name="T3" fmla="*/ 1099 h 1099"/>
                  <a:gd name="T4" fmla="*/ 680 w 1058"/>
                  <a:gd name="T5" fmla="*/ 309 h 1099"/>
                  <a:gd name="T6" fmla="*/ 1058 w 1058"/>
                  <a:gd name="T7" fmla="*/ 0 h 1099"/>
                  <a:gd name="T8" fmla="*/ 362 w 1058"/>
                  <a:gd name="T9" fmla="*/ 758 h 10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58" h="1099">
                    <a:moveTo>
                      <a:pt x="362" y="758"/>
                    </a:moveTo>
                    <a:lnTo>
                      <a:pt x="0" y="1099"/>
                    </a:lnTo>
                    <a:lnTo>
                      <a:pt x="680" y="309"/>
                    </a:lnTo>
                    <a:lnTo>
                      <a:pt x="1058" y="0"/>
                    </a:lnTo>
                    <a:lnTo>
                      <a:pt x="362" y="758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9" name="Freeform 11"/>
              <p:cNvSpPr/>
              <p:nvPr/>
            </p:nvSpPr>
            <p:spPr bwMode="auto">
              <a:xfrm>
                <a:off x="2292" y="1722"/>
                <a:ext cx="1176" cy="309"/>
              </a:xfrm>
              <a:custGeom>
                <a:avLst/>
                <a:gdLst>
                  <a:gd name="T0" fmla="*/ 0 w 1176"/>
                  <a:gd name="T1" fmla="*/ 309 h 309"/>
                  <a:gd name="T2" fmla="*/ 377 w 1176"/>
                  <a:gd name="T3" fmla="*/ 0 h 309"/>
                  <a:gd name="T4" fmla="*/ 1176 w 1176"/>
                  <a:gd name="T5" fmla="*/ 0 h 309"/>
                  <a:gd name="T6" fmla="*/ 799 w 1176"/>
                  <a:gd name="T7" fmla="*/ 309 h 309"/>
                  <a:gd name="T8" fmla="*/ 0 w 1176"/>
                  <a:gd name="T9" fmla="*/ 309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6" h="309">
                    <a:moveTo>
                      <a:pt x="0" y="309"/>
                    </a:moveTo>
                    <a:lnTo>
                      <a:pt x="377" y="0"/>
                    </a:lnTo>
                    <a:lnTo>
                      <a:pt x="1176" y="0"/>
                    </a:lnTo>
                    <a:lnTo>
                      <a:pt x="799" y="309"/>
                    </a:lnTo>
                    <a:lnTo>
                      <a:pt x="0" y="309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4">
                      <a:lumMod val="60000"/>
                      <a:lumOff val="40000"/>
                    </a:schemeClr>
                  </a:gs>
                  <a:gs pos="100000">
                    <a:schemeClr val="accent4"/>
                  </a:gs>
                </a:gsLst>
                <a:lin ang="2700000" scaled="0"/>
              </a:gra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0" name="Freeform 12"/>
              <p:cNvSpPr/>
              <p:nvPr/>
            </p:nvSpPr>
            <p:spPr bwMode="auto">
              <a:xfrm>
                <a:off x="3091" y="1722"/>
                <a:ext cx="377" cy="728"/>
              </a:xfrm>
              <a:custGeom>
                <a:avLst/>
                <a:gdLst>
                  <a:gd name="T0" fmla="*/ 377 w 377"/>
                  <a:gd name="T1" fmla="*/ 0 h 728"/>
                  <a:gd name="T2" fmla="*/ 0 w 377"/>
                  <a:gd name="T3" fmla="*/ 309 h 728"/>
                  <a:gd name="T4" fmla="*/ 0 w 377"/>
                  <a:gd name="T5" fmla="*/ 728 h 728"/>
                  <a:gd name="T6" fmla="*/ 377 w 377"/>
                  <a:gd name="T7" fmla="*/ 419 h 728"/>
                  <a:gd name="T8" fmla="*/ 377 w 377"/>
                  <a:gd name="T9" fmla="*/ 0 h 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7" h="728">
                    <a:moveTo>
                      <a:pt x="377" y="0"/>
                    </a:moveTo>
                    <a:lnTo>
                      <a:pt x="0" y="309"/>
                    </a:lnTo>
                    <a:lnTo>
                      <a:pt x="0" y="728"/>
                    </a:lnTo>
                    <a:lnTo>
                      <a:pt x="377" y="419"/>
                    </a:lnTo>
                    <a:lnTo>
                      <a:pt x="377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4">
                      <a:lumMod val="75000"/>
                    </a:schemeClr>
                  </a:gs>
                  <a:gs pos="100000">
                    <a:schemeClr val="accent4">
                      <a:lumMod val="50000"/>
                    </a:schemeClr>
                  </a:gs>
                </a:gsLst>
                <a:lin ang="2700000" scaled="0"/>
              </a:gra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1" name="Freeform 13"/>
              <p:cNvSpPr/>
              <p:nvPr/>
            </p:nvSpPr>
            <p:spPr bwMode="auto">
              <a:xfrm>
                <a:off x="3091" y="1722"/>
                <a:ext cx="377" cy="728"/>
              </a:xfrm>
              <a:custGeom>
                <a:avLst/>
                <a:gdLst>
                  <a:gd name="T0" fmla="*/ 377 w 377"/>
                  <a:gd name="T1" fmla="*/ 0 h 728"/>
                  <a:gd name="T2" fmla="*/ 0 w 377"/>
                  <a:gd name="T3" fmla="*/ 309 h 728"/>
                  <a:gd name="T4" fmla="*/ 0 w 377"/>
                  <a:gd name="T5" fmla="*/ 728 h 728"/>
                  <a:gd name="T6" fmla="*/ 377 w 377"/>
                  <a:gd name="T7" fmla="*/ 419 h 728"/>
                  <a:gd name="T8" fmla="*/ 377 w 377"/>
                  <a:gd name="T9" fmla="*/ 0 h 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7" h="728">
                    <a:moveTo>
                      <a:pt x="377" y="0"/>
                    </a:moveTo>
                    <a:lnTo>
                      <a:pt x="0" y="309"/>
                    </a:lnTo>
                    <a:lnTo>
                      <a:pt x="0" y="728"/>
                    </a:lnTo>
                    <a:lnTo>
                      <a:pt x="377" y="419"/>
                    </a:lnTo>
                    <a:lnTo>
                      <a:pt x="377" y="0"/>
                    </a:lnTo>
                  </a:path>
                </a:pathLst>
              </a:custGeom>
              <a:noFill/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2" name="Freeform 14"/>
              <p:cNvSpPr/>
              <p:nvPr/>
            </p:nvSpPr>
            <p:spPr bwMode="auto">
              <a:xfrm>
                <a:off x="2292" y="1149"/>
                <a:ext cx="1176" cy="309"/>
              </a:xfrm>
              <a:custGeom>
                <a:avLst/>
                <a:gdLst>
                  <a:gd name="T0" fmla="*/ 0 w 1176"/>
                  <a:gd name="T1" fmla="*/ 309 h 309"/>
                  <a:gd name="T2" fmla="*/ 377 w 1176"/>
                  <a:gd name="T3" fmla="*/ 0 h 309"/>
                  <a:gd name="T4" fmla="*/ 1176 w 1176"/>
                  <a:gd name="T5" fmla="*/ 0 h 309"/>
                  <a:gd name="T6" fmla="*/ 799 w 1176"/>
                  <a:gd name="T7" fmla="*/ 309 h 309"/>
                  <a:gd name="T8" fmla="*/ 0 w 1176"/>
                  <a:gd name="T9" fmla="*/ 309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6" h="309">
                    <a:moveTo>
                      <a:pt x="0" y="309"/>
                    </a:moveTo>
                    <a:lnTo>
                      <a:pt x="377" y="0"/>
                    </a:lnTo>
                    <a:lnTo>
                      <a:pt x="1176" y="0"/>
                    </a:lnTo>
                    <a:lnTo>
                      <a:pt x="799" y="309"/>
                    </a:lnTo>
                    <a:lnTo>
                      <a:pt x="0" y="309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4">
                      <a:lumMod val="60000"/>
                      <a:lumOff val="40000"/>
                    </a:schemeClr>
                  </a:gs>
                  <a:gs pos="100000">
                    <a:schemeClr val="accent4"/>
                  </a:gs>
                </a:gsLst>
                <a:lin ang="2700000" scaled="0"/>
              </a:gra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3" name="Rectangle 15"/>
              <p:cNvSpPr>
                <a:spLocks noChangeArrowheads="1"/>
              </p:cNvSpPr>
              <p:nvPr/>
            </p:nvSpPr>
            <p:spPr bwMode="auto">
              <a:xfrm>
                <a:off x="2292" y="1458"/>
                <a:ext cx="799" cy="418"/>
              </a:xfrm>
              <a:prstGeom prst="rect">
                <a:avLst/>
              </a:prstGeom>
              <a:gradFill>
                <a:gsLst>
                  <a:gs pos="0">
                    <a:schemeClr val="accent4"/>
                  </a:gs>
                  <a:gs pos="100000">
                    <a:schemeClr val="accent4">
                      <a:lumMod val="75000"/>
                    </a:schemeClr>
                  </a:gs>
                </a:gsLst>
                <a:lin ang="2700000" scaled="0"/>
              </a:gra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4" name="Freeform 16"/>
              <p:cNvSpPr/>
              <p:nvPr/>
            </p:nvSpPr>
            <p:spPr bwMode="auto">
              <a:xfrm>
                <a:off x="3091" y="1149"/>
                <a:ext cx="377" cy="727"/>
              </a:xfrm>
              <a:custGeom>
                <a:avLst/>
                <a:gdLst>
                  <a:gd name="T0" fmla="*/ 377 w 377"/>
                  <a:gd name="T1" fmla="*/ 0 h 727"/>
                  <a:gd name="T2" fmla="*/ 0 w 377"/>
                  <a:gd name="T3" fmla="*/ 309 h 727"/>
                  <a:gd name="T4" fmla="*/ 0 w 377"/>
                  <a:gd name="T5" fmla="*/ 727 h 727"/>
                  <a:gd name="T6" fmla="*/ 377 w 377"/>
                  <a:gd name="T7" fmla="*/ 418 h 727"/>
                  <a:gd name="T8" fmla="*/ 377 w 377"/>
                  <a:gd name="T9" fmla="*/ 0 h 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7" h="727">
                    <a:moveTo>
                      <a:pt x="377" y="0"/>
                    </a:moveTo>
                    <a:lnTo>
                      <a:pt x="0" y="309"/>
                    </a:lnTo>
                    <a:lnTo>
                      <a:pt x="0" y="727"/>
                    </a:lnTo>
                    <a:lnTo>
                      <a:pt x="377" y="418"/>
                    </a:lnTo>
                    <a:lnTo>
                      <a:pt x="377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4">
                      <a:lumMod val="75000"/>
                    </a:schemeClr>
                  </a:gs>
                  <a:gs pos="100000">
                    <a:schemeClr val="accent4">
                      <a:lumMod val="50000"/>
                    </a:schemeClr>
                  </a:gs>
                </a:gsLst>
                <a:lin ang="2700000" scaled="0"/>
              </a:gra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5" name="Freeform 17"/>
              <p:cNvSpPr/>
              <p:nvPr/>
            </p:nvSpPr>
            <p:spPr bwMode="auto">
              <a:xfrm>
                <a:off x="2292" y="575"/>
                <a:ext cx="1176" cy="309"/>
              </a:xfrm>
              <a:custGeom>
                <a:avLst/>
                <a:gdLst>
                  <a:gd name="T0" fmla="*/ 0 w 1176"/>
                  <a:gd name="T1" fmla="*/ 309 h 309"/>
                  <a:gd name="T2" fmla="*/ 377 w 1176"/>
                  <a:gd name="T3" fmla="*/ 0 h 309"/>
                  <a:gd name="T4" fmla="*/ 1176 w 1176"/>
                  <a:gd name="T5" fmla="*/ 0 h 309"/>
                  <a:gd name="T6" fmla="*/ 799 w 1176"/>
                  <a:gd name="T7" fmla="*/ 309 h 309"/>
                  <a:gd name="T8" fmla="*/ 0 w 1176"/>
                  <a:gd name="T9" fmla="*/ 309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6" h="309">
                    <a:moveTo>
                      <a:pt x="0" y="309"/>
                    </a:moveTo>
                    <a:lnTo>
                      <a:pt x="377" y="0"/>
                    </a:lnTo>
                    <a:lnTo>
                      <a:pt x="1176" y="0"/>
                    </a:lnTo>
                    <a:lnTo>
                      <a:pt x="799" y="309"/>
                    </a:lnTo>
                    <a:lnTo>
                      <a:pt x="0" y="309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4">
                      <a:lumMod val="60000"/>
                      <a:lumOff val="40000"/>
                    </a:schemeClr>
                  </a:gs>
                  <a:gs pos="100000">
                    <a:schemeClr val="accent4"/>
                  </a:gs>
                </a:gsLst>
                <a:lin ang="2700000" scaled="0"/>
              </a:gra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6" name="Rectangle 18"/>
              <p:cNvSpPr>
                <a:spLocks noChangeArrowheads="1"/>
              </p:cNvSpPr>
              <p:nvPr/>
            </p:nvSpPr>
            <p:spPr bwMode="auto">
              <a:xfrm>
                <a:off x="2292" y="884"/>
                <a:ext cx="799" cy="419"/>
              </a:xfrm>
              <a:prstGeom prst="rect">
                <a:avLst/>
              </a:prstGeom>
              <a:gradFill>
                <a:gsLst>
                  <a:gs pos="0">
                    <a:schemeClr val="accent4"/>
                  </a:gs>
                  <a:gs pos="100000">
                    <a:schemeClr val="accent4">
                      <a:lumMod val="75000"/>
                    </a:schemeClr>
                  </a:gs>
                </a:gsLst>
                <a:lin ang="2700000" scaled="0"/>
              </a:gra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7" name="Freeform 19"/>
              <p:cNvSpPr/>
              <p:nvPr/>
            </p:nvSpPr>
            <p:spPr bwMode="auto">
              <a:xfrm>
                <a:off x="3091" y="575"/>
                <a:ext cx="377" cy="728"/>
              </a:xfrm>
              <a:custGeom>
                <a:avLst/>
                <a:gdLst>
                  <a:gd name="T0" fmla="*/ 377 w 377"/>
                  <a:gd name="T1" fmla="*/ 0 h 728"/>
                  <a:gd name="T2" fmla="*/ 0 w 377"/>
                  <a:gd name="T3" fmla="*/ 309 h 728"/>
                  <a:gd name="T4" fmla="*/ 0 w 377"/>
                  <a:gd name="T5" fmla="*/ 728 h 728"/>
                  <a:gd name="T6" fmla="*/ 377 w 377"/>
                  <a:gd name="T7" fmla="*/ 419 h 728"/>
                  <a:gd name="T8" fmla="*/ 377 w 377"/>
                  <a:gd name="T9" fmla="*/ 0 h 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7" h="728">
                    <a:moveTo>
                      <a:pt x="377" y="0"/>
                    </a:moveTo>
                    <a:lnTo>
                      <a:pt x="0" y="309"/>
                    </a:lnTo>
                    <a:lnTo>
                      <a:pt x="0" y="728"/>
                    </a:lnTo>
                    <a:lnTo>
                      <a:pt x="377" y="419"/>
                    </a:lnTo>
                    <a:lnTo>
                      <a:pt x="377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4">
                      <a:lumMod val="75000"/>
                    </a:schemeClr>
                  </a:gs>
                  <a:gs pos="100000">
                    <a:schemeClr val="accent4">
                      <a:lumMod val="50000"/>
                    </a:schemeClr>
                  </a:gs>
                </a:gsLst>
                <a:lin ang="2700000" scaled="0"/>
              </a:gra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8" name="Freeform 20"/>
              <p:cNvSpPr/>
              <p:nvPr/>
            </p:nvSpPr>
            <p:spPr bwMode="auto">
              <a:xfrm>
                <a:off x="2292" y="1"/>
                <a:ext cx="1176" cy="309"/>
              </a:xfrm>
              <a:custGeom>
                <a:avLst/>
                <a:gdLst>
                  <a:gd name="T0" fmla="*/ 0 w 1176"/>
                  <a:gd name="T1" fmla="*/ 309 h 309"/>
                  <a:gd name="T2" fmla="*/ 377 w 1176"/>
                  <a:gd name="T3" fmla="*/ 0 h 309"/>
                  <a:gd name="T4" fmla="*/ 1176 w 1176"/>
                  <a:gd name="T5" fmla="*/ 0 h 309"/>
                  <a:gd name="T6" fmla="*/ 799 w 1176"/>
                  <a:gd name="T7" fmla="*/ 309 h 309"/>
                  <a:gd name="T8" fmla="*/ 0 w 1176"/>
                  <a:gd name="T9" fmla="*/ 309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6" h="309">
                    <a:moveTo>
                      <a:pt x="0" y="309"/>
                    </a:moveTo>
                    <a:lnTo>
                      <a:pt x="377" y="0"/>
                    </a:lnTo>
                    <a:lnTo>
                      <a:pt x="1176" y="0"/>
                    </a:lnTo>
                    <a:lnTo>
                      <a:pt x="799" y="309"/>
                    </a:lnTo>
                    <a:lnTo>
                      <a:pt x="0" y="309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4">
                      <a:lumMod val="60000"/>
                      <a:lumOff val="40000"/>
                    </a:schemeClr>
                  </a:gs>
                  <a:gs pos="100000">
                    <a:schemeClr val="accent4"/>
                  </a:gs>
                </a:gsLst>
                <a:lin ang="2700000" scaled="0"/>
              </a:gra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9" name="Rectangle 21"/>
              <p:cNvSpPr>
                <a:spLocks noChangeArrowheads="1"/>
              </p:cNvSpPr>
              <p:nvPr/>
            </p:nvSpPr>
            <p:spPr bwMode="auto">
              <a:xfrm>
                <a:off x="2292" y="310"/>
                <a:ext cx="799" cy="418"/>
              </a:xfrm>
              <a:prstGeom prst="rect">
                <a:avLst/>
              </a:prstGeom>
              <a:gradFill>
                <a:gsLst>
                  <a:gs pos="0">
                    <a:schemeClr val="accent4"/>
                  </a:gs>
                  <a:gs pos="100000">
                    <a:schemeClr val="accent4">
                      <a:lumMod val="75000"/>
                    </a:schemeClr>
                  </a:gs>
                </a:gsLst>
                <a:lin ang="2700000" scaled="0"/>
              </a:gra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0" name="Freeform 22"/>
              <p:cNvSpPr/>
              <p:nvPr/>
            </p:nvSpPr>
            <p:spPr bwMode="auto">
              <a:xfrm>
                <a:off x="3091" y="1"/>
                <a:ext cx="377" cy="727"/>
              </a:xfrm>
              <a:custGeom>
                <a:avLst/>
                <a:gdLst>
                  <a:gd name="T0" fmla="*/ 377 w 377"/>
                  <a:gd name="T1" fmla="*/ 0 h 727"/>
                  <a:gd name="T2" fmla="*/ 0 w 377"/>
                  <a:gd name="T3" fmla="*/ 309 h 727"/>
                  <a:gd name="T4" fmla="*/ 0 w 377"/>
                  <a:gd name="T5" fmla="*/ 727 h 727"/>
                  <a:gd name="T6" fmla="*/ 377 w 377"/>
                  <a:gd name="T7" fmla="*/ 418 h 727"/>
                  <a:gd name="T8" fmla="*/ 377 w 377"/>
                  <a:gd name="T9" fmla="*/ 0 h 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7" h="727">
                    <a:moveTo>
                      <a:pt x="377" y="0"/>
                    </a:moveTo>
                    <a:lnTo>
                      <a:pt x="0" y="309"/>
                    </a:lnTo>
                    <a:lnTo>
                      <a:pt x="0" y="727"/>
                    </a:lnTo>
                    <a:lnTo>
                      <a:pt x="377" y="418"/>
                    </a:lnTo>
                    <a:lnTo>
                      <a:pt x="377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4">
                      <a:lumMod val="75000"/>
                    </a:schemeClr>
                  </a:gs>
                  <a:gs pos="100000">
                    <a:schemeClr val="accent4">
                      <a:lumMod val="50000"/>
                    </a:schemeClr>
                  </a:gs>
                </a:gsLst>
                <a:lin ang="2700000" scaled="0"/>
              </a:gra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US" sz="1125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</p:grpSp>
        <p:sp>
          <p:nvSpPr>
            <p:cNvPr id="61" name="TextBox 60"/>
            <p:cNvSpPr txBox="1"/>
            <p:nvPr/>
          </p:nvSpPr>
          <p:spPr>
            <a:xfrm>
              <a:off x="10089404" y="7698228"/>
              <a:ext cx="1198187" cy="11308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2500" spc="188" dirty="0">
                  <a:solidFill>
                    <a:schemeClr val="bg1"/>
                  </a:solidFill>
                  <a:latin typeface="方正综艺简体" panose="03000509000000000000" pitchFamily="65" charset="-122"/>
                  <a:cs typeface="思源黑体 CN Regular" panose="020B0500000000000000" charset="-122"/>
                </a:rPr>
                <a:t>20</a:t>
              </a:r>
            </a:p>
            <a:p>
              <a:pPr algn="ctr">
                <a:lnSpc>
                  <a:spcPct val="80000"/>
                </a:lnSpc>
              </a:pPr>
              <a:r>
                <a:rPr lang="en-US" sz="2500" spc="188" dirty="0">
                  <a:solidFill>
                    <a:schemeClr val="bg1"/>
                  </a:solidFill>
                  <a:latin typeface="方正综艺简体" panose="03000509000000000000" pitchFamily="65" charset="-122"/>
                  <a:cs typeface="思源黑体 CN Regular" panose="020B0500000000000000" charset="-122"/>
                </a:rPr>
                <a:t>XX</a:t>
              </a:r>
            </a:p>
          </p:txBody>
        </p:sp>
      </p:grpSp>
      <p:sp>
        <p:nvSpPr>
          <p:cNvPr id="54" name="Freeform 2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5411255" y="3931478"/>
            <a:ext cx="274196" cy="278085"/>
          </a:xfrm>
          <a:custGeom>
            <a:avLst/>
            <a:gdLst>
              <a:gd name="T0" fmla="*/ 211227 w 497"/>
              <a:gd name="T1" fmla="*/ 3596 h 505"/>
              <a:gd name="T2" fmla="*/ 211227 w 497"/>
              <a:gd name="T3" fmla="*/ 3596 h 505"/>
              <a:gd name="T4" fmla="*/ 203571 w 497"/>
              <a:gd name="T5" fmla="*/ 0 h 505"/>
              <a:gd name="T6" fmla="*/ 199518 w 497"/>
              <a:gd name="T7" fmla="*/ 7642 h 505"/>
              <a:gd name="T8" fmla="*/ 171594 w 497"/>
              <a:gd name="T9" fmla="*/ 75521 h 505"/>
              <a:gd name="T10" fmla="*/ 167541 w 497"/>
              <a:gd name="T11" fmla="*/ 63384 h 505"/>
              <a:gd name="T12" fmla="*/ 155831 w 497"/>
              <a:gd name="T13" fmla="*/ 59338 h 505"/>
              <a:gd name="T14" fmla="*/ 119350 w 497"/>
              <a:gd name="T15" fmla="*/ 59338 h 505"/>
              <a:gd name="T16" fmla="*/ 108091 w 497"/>
              <a:gd name="T17" fmla="*/ 63384 h 505"/>
              <a:gd name="T18" fmla="*/ 4053 w 497"/>
              <a:gd name="T19" fmla="*/ 134859 h 505"/>
              <a:gd name="T20" fmla="*/ 4053 w 497"/>
              <a:gd name="T21" fmla="*/ 151042 h 505"/>
              <a:gd name="T22" fmla="*/ 47740 w 497"/>
              <a:gd name="T23" fmla="*/ 218472 h 505"/>
              <a:gd name="T24" fmla="*/ 63954 w 497"/>
              <a:gd name="T25" fmla="*/ 222518 h 505"/>
              <a:gd name="T26" fmla="*/ 167541 w 497"/>
              <a:gd name="T27" fmla="*/ 146997 h 505"/>
              <a:gd name="T28" fmla="*/ 175648 w 497"/>
              <a:gd name="T29" fmla="*/ 138905 h 505"/>
              <a:gd name="T30" fmla="*/ 187357 w 497"/>
              <a:gd name="T31" fmla="*/ 102943 h 505"/>
              <a:gd name="T32" fmla="*/ 183754 w 497"/>
              <a:gd name="T33" fmla="*/ 91255 h 505"/>
              <a:gd name="T34" fmla="*/ 179701 w 497"/>
              <a:gd name="T35" fmla="*/ 83163 h 505"/>
              <a:gd name="T36" fmla="*/ 211227 w 497"/>
              <a:gd name="T37" fmla="*/ 3596 h 505"/>
              <a:gd name="T38" fmla="*/ 163487 w 497"/>
              <a:gd name="T39" fmla="*/ 111034 h 505"/>
              <a:gd name="T40" fmla="*/ 163487 w 497"/>
              <a:gd name="T41" fmla="*/ 111034 h 505"/>
              <a:gd name="T42" fmla="*/ 139617 w 497"/>
              <a:gd name="T43" fmla="*/ 102943 h 505"/>
              <a:gd name="T44" fmla="*/ 143671 w 497"/>
              <a:gd name="T45" fmla="*/ 79117 h 505"/>
              <a:gd name="T46" fmla="*/ 163487 w 497"/>
              <a:gd name="T47" fmla="*/ 79117 h 505"/>
              <a:gd name="T48" fmla="*/ 159884 w 497"/>
              <a:gd name="T49" fmla="*/ 83163 h 505"/>
              <a:gd name="T50" fmla="*/ 155831 w 497"/>
              <a:gd name="T51" fmla="*/ 91255 h 505"/>
              <a:gd name="T52" fmla="*/ 159884 w 497"/>
              <a:gd name="T53" fmla="*/ 95301 h 505"/>
              <a:gd name="T54" fmla="*/ 163487 w 497"/>
              <a:gd name="T55" fmla="*/ 95301 h 505"/>
              <a:gd name="T56" fmla="*/ 171594 w 497"/>
              <a:gd name="T57" fmla="*/ 91255 h 505"/>
              <a:gd name="T58" fmla="*/ 163487 w 497"/>
              <a:gd name="T59" fmla="*/ 111034 h 505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497" h="505">
                <a:moveTo>
                  <a:pt x="469" y="8"/>
                </a:moveTo>
                <a:lnTo>
                  <a:pt x="469" y="8"/>
                </a:lnTo>
                <a:cubicBezTo>
                  <a:pt x="469" y="8"/>
                  <a:pt x="461" y="0"/>
                  <a:pt x="452" y="0"/>
                </a:cubicBezTo>
                <a:cubicBezTo>
                  <a:pt x="443" y="8"/>
                  <a:pt x="443" y="17"/>
                  <a:pt x="443" y="17"/>
                </a:cubicBezTo>
                <a:cubicBezTo>
                  <a:pt x="461" y="88"/>
                  <a:pt x="416" y="141"/>
                  <a:pt x="381" y="168"/>
                </a:cubicBezTo>
                <a:cubicBezTo>
                  <a:pt x="372" y="141"/>
                  <a:pt x="372" y="141"/>
                  <a:pt x="372" y="141"/>
                </a:cubicBezTo>
                <a:cubicBezTo>
                  <a:pt x="363" y="141"/>
                  <a:pt x="355" y="132"/>
                  <a:pt x="346" y="132"/>
                </a:cubicBezTo>
                <a:cubicBezTo>
                  <a:pt x="265" y="132"/>
                  <a:pt x="265" y="132"/>
                  <a:pt x="265" y="132"/>
                </a:cubicBezTo>
                <a:cubicBezTo>
                  <a:pt x="257" y="132"/>
                  <a:pt x="248" y="132"/>
                  <a:pt x="240" y="141"/>
                </a:cubicBezTo>
                <a:cubicBezTo>
                  <a:pt x="9" y="300"/>
                  <a:pt x="9" y="300"/>
                  <a:pt x="9" y="300"/>
                </a:cubicBezTo>
                <a:cubicBezTo>
                  <a:pt x="0" y="309"/>
                  <a:pt x="0" y="327"/>
                  <a:pt x="9" y="336"/>
                </a:cubicBezTo>
                <a:cubicBezTo>
                  <a:pt x="106" y="486"/>
                  <a:pt x="106" y="486"/>
                  <a:pt x="106" y="486"/>
                </a:cubicBezTo>
                <a:cubicBezTo>
                  <a:pt x="115" y="504"/>
                  <a:pt x="133" y="495"/>
                  <a:pt x="142" y="495"/>
                </a:cubicBezTo>
                <a:cubicBezTo>
                  <a:pt x="372" y="327"/>
                  <a:pt x="372" y="327"/>
                  <a:pt x="372" y="327"/>
                </a:cubicBezTo>
                <a:cubicBezTo>
                  <a:pt x="381" y="327"/>
                  <a:pt x="390" y="309"/>
                  <a:pt x="390" y="309"/>
                </a:cubicBezTo>
                <a:cubicBezTo>
                  <a:pt x="416" y="229"/>
                  <a:pt x="416" y="229"/>
                  <a:pt x="416" y="229"/>
                </a:cubicBezTo>
                <a:cubicBezTo>
                  <a:pt x="416" y="221"/>
                  <a:pt x="416" y="212"/>
                  <a:pt x="408" y="203"/>
                </a:cubicBezTo>
                <a:cubicBezTo>
                  <a:pt x="399" y="185"/>
                  <a:pt x="399" y="185"/>
                  <a:pt x="399" y="185"/>
                </a:cubicBezTo>
                <a:cubicBezTo>
                  <a:pt x="452" y="150"/>
                  <a:pt x="496" y="88"/>
                  <a:pt x="469" y="8"/>
                </a:cubicBezTo>
                <a:close/>
                <a:moveTo>
                  <a:pt x="363" y="247"/>
                </a:moveTo>
                <a:lnTo>
                  <a:pt x="363" y="247"/>
                </a:lnTo>
                <a:cubicBezTo>
                  <a:pt x="346" y="256"/>
                  <a:pt x="319" y="256"/>
                  <a:pt x="310" y="229"/>
                </a:cubicBezTo>
                <a:cubicBezTo>
                  <a:pt x="293" y="212"/>
                  <a:pt x="301" y="194"/>
                  <a:pt x="319" y="176"/>
                </a:cubicBezTo>
                <a:cubicBezTo>
                  <a:pt x="328" y="168"/>
                  <a:pt x="346" y="168"/>
                  <a:pt x="363" y="176"/>
                </a:cubicBezTo>
                <a:cubicBezTo>
                  <a:pt x="355" y="185"/>
                  <a:pt x="355" y="185"/>
                  <a:pt x="355" y="185"/>
                </a:cubicBezTo>
                <a:cubicBezTo>
                  <a:pt x="346" y="185"/>
                  <a:pt x="337" y="194"/>
                  <a:pt x="346" y="203"/>
                </a:cubicBezTo>
                <a:cubicBezTo>
                  <a:pt x="346" y="212"/>
                  <a:pt x="355" y="212"/>
                  <a:pt x="355" y="212"/>
                </a:cubicBezTo>
                <a:cubicBezTo>
                  <a:pt x="363" y="212"/>
                  <a:pt x="363" y="212"/>
                  <a:pt x="363" y="212"/>
                </a:cubicBezTo>
                <a:cubicBezTo>
                  <a:pt x="372" y="212"/>
                  <a:pt x="372" y="212"/>
                  <a:pt x="381" y="203"/>
                </a:cubicBezTo>
                <a:cubicBezTo>
                  <a:pt x="381" y="221"/>
                  <a:pt x="372" y="238"/>
                  <a:pt x="363" y="2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lIns="21431" tIns="10716" rIns="21431" bIns="10716" anchor="ctr"/>
          <a:lstStyle/>
          <a:p>
            <a:endParaRPr lang="en-US" sz="1125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55" name="Freeform 2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6537388" y="2642103"/>
            <a:ext cx="274196" cy="217800"/>
          </a:xfrm>
          <a:custGeom>
            <a:avLst/>
            <a:gdLst>
              <a:gd name="T0" fmla="*/ 111694 w 497"/>
              <a:gd name="T1" fmla="*/ 66842 h 399"/>
              <a:gd name="T2" fmla="*/ 111694 w 497"/>
              <a:gd name="T3" fmla="*/ 66842 h 399"/>
              <a:gd name="T4" fmla="*/ 79717 w 497"/>
              <a:gd name="T5" fmla="*/ 98481 h 399"/>
              <a:gd name="T6" fmla="*/ 111694 w 497"/>
              <a:gd name="T7" fmla="*/ 130119 h 399"/>
              <a:gd name="T8" fmla="*/ 143671 w 497"/>
              <a:gd name="T9" fmla="*/ 98481 h 399"/>
              <a:gd name="T10" fmla="*/ 111694 w 497"/>
              <a:gd name="T11" fmla="*/ 66842 h 399"/>
              <a:gd name="T12" fmla="*/ 199067 w 497"/>
              <a:gd name="T13" fmla="*/ 31193 h 399"/>
              <a:gd name="T14" fmla="*/ 199067 w 497"/>
              <a:gd name="T15" fmla="*/ 31193 h 399"/>
              <a:gd name="T16" fmla="*/ 175197 w 497"/>
              <a:gd name="T17" fmla="*/ 31193 h 399"/>
              <a:gd name="T18" fmla="*/ 163487 w 497"/>
              <a:gd name="T19" fmla="*/ 27182 h 399"/>
              <a:gd name="T20" fmla="*/ 159434 w 497"/>
              <a:gd name="T21" fmla="*/ 3565 h 399"/>
              <a:gd name="T22" fmla="*/ 147274 w 497"/>
              <a:gd name="T23" fmla="*/ 0 h 399"/>
              <a:gd name="T24" fmla="*/ 71610 w 497"/>
              <a:gd name="T25" fmla="*/ 0 h 399"/>
              <a:gd name="T26" fmla="*/ 63954 w 497"/>
              <a:gd name="T27" fmla="*/ 3565 h 399"/>
              <a:gd name="T28" fmla="*/ 55397 w 497"/>
              <a:gd name="T29" fmla="*/ 27182 h 399"/>
              <a:gd name="T30" fmla="*/ 47740 w 497"/>
              <a:gd name="T31" fmla="*/ 31193 h 399"/>
              <a:gd name="T32" fmla="*/ 23870 w 497"/>
              <a:gd name="T33" fmla="*/ 31193 h 399"/>
              <a:gd name="T34" fmla="*/ 0 w 497"/>
              <a:gd name="T35" fmla="*/ 54811 h 399"/>
              <a:gd name="T36" fmla="*/ 0 w 497"/>
              <a:gd name="T37" fmla="*/ 153737 h 399"/>
              <a:gd name="T38" fmla="*/ 23870 w 497"/>
              <a:gd name="T39" fmla="*/ 177354 h 399"/>
              <a:gd name="T40" fmla="*/ 199067 w 497"/>
              <a:gd name="T41" fmla="*/ 177354 h 399"/>
              <a:gd name="T42" fmla="*/ 223388 w 497"/>
              <a:gd name="T43" fmla="*/ 153737 h 399"/>
              <a:gd name="T44" fmla="*/ 223388 w 497"/>
              <a:gd name="T45" fmla="*/ 54811 h 399"/>
              <a:gd name="T46" fmla="*/ 199067 w 497"/>
              <a:gd name="T47" fmla="*/ 31193 h 399"/>
              <a:gd name="T48" fmla="*/ 111694 w 497"/>
              <a:gd name="T49" fmla="*/ 153737 h 399"/>
              <a:gd name="T50" fmla="*/ 111694 w 497"/>
              <a:gd name="T51" fmla="*/ 153737 h 399"/>
              <a:gd name="T52" fmla="*/ 55397 w 497"/>
              <a:gd name="T53" fmla="*/ 98481 h 399"/>
              <a:gd name="T54" fmla="*/ 111694 w 497"/>
              <a:gd name="T55" fmla="*/ 43225 h 399"/>
              <a:gd name="T56" fmla="*/ 167541 w 497"/>
              <a:gd name="T57" fmla="*/ 98481 h 399"/>
              <a:gd name="T58" fmla="*/ 111694 w 497"/>
              <a:gd name="T59" fmla="*/ 153737 h 399"/>
              <a:gd name="T60" fmla="*/ 191411 w 497"/>
              <a:gd name="T61" fmla="*/ 70853 h 399"/>
              <a:gd name="T62" fmla="*/ 191411 w 497"/>
              <a:gd name="T63" fmla="*/ 70853 h 399"/>
              <a:gd name="T64" fmla="*/ 183304 w 497"/>
              <a:gd name="T65" fmla="*/ 62832 h 399"/>
              <a:gd name="T66" fmla="*/ 191411 w 497"/>
              <a:gd name="T67" fmla="*/ 54811 h 399"/>
              <a:gd name="T68" fmla="*/ 199067 w 497"/>
              <a:gd name="T69" fmla="*/ 62832 h 399"/>
              <a:gd name="T70" fmla="*/ 191411 w 497"/>
              <a:gd name="T71" fmla="*/ 70853 h 399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497" h="399">
                <a:moveTo>
                  <a:pt x="248" y="150"/>
                </a:moveTo>
                <a:lnTo>
                  <a:pt x="248" y="150"/>
                </a:lnTo>
                <a:cubicBezTo>
                  <a:pt x="203" y="150"/>
                  <a:pt x="177" y="176"/>
                  <a:pt x="177" y="221"/>
                </a:cubicBezTo>
                <a:cubicBezTo>
                  <a:pt x="177" y="266"/>
                  <a:pt x="203" y="292"/>
                  <a:pt x="248" y="292"/>
                </a:cubicBezTo>
                <a:cubicBezTo>
                  <a:pt x="292" y="292"/>
                  <a:pt x="319" y="266"/>
                  <a:pt x="319" y="221"/>
                </a:cubicBezTo>
                <a:cubicBezTo>
                  <a:pt x="319" y="176"/>
                  <a:pt x="292" y="150"/>
                  <a:pt x="248" y="150"/>
                </a:cubicBezTo>
                <a:close/>
                <a:moveTo>
                  <a:pt x="442" y="70"/>
                </a:moveTo>
                <a:lnTo>
                  <a:pt x="442" y="70"/>
                </a:lnTo>
                <a:cubicBezTo>
                  <a:pt x="389" y="70"/>
                  <a:pt x="389" y="70"/>
                  <a:pt x="389" y="70"/>
                </a:cubicBezTo>
                <a:cubicBezTo>
                  <a:pt x="380" y="70"/>
                  <a:pt x="372" y="70"/>
                  <a:pt x="363" y="61"/>
                </a:cubicBezTo>
                <a:cubicBezTo>
                  <a:pt x="354" y="8"/>
                  <a:pt x="354" y="8"/>
                  <a:pt x="354" y="8"/>
                </a:cubicBezTo>
                <a:cubicBezTo>
                  <a:pt x="345" y="8"/>
                  <a:pt x="336" y="0"/>
                  <a:pt x="327" y="0"/>
                </a:cubicBezTo>
                <a:cubicBezTo>
                  <a:pt x="159" y="0"/>
                  <a:pt x="159" y="0"/>
                  <a:pt x="159" y="0"/>
                </a:cubicBezTo>
                <a:cubicBezTo>
                  <a:pt x="159" y="0"/>
                  <a:pt x="150" y="8"/>
                  <a:pt x="142" y="8"/>
                </a:cubicBezTo>
                <a:cubicBezTo>
                  <a:pt x="123" y="61"/>
                  <a:pt x="123" y="61"/>
                  <a:pt x="123" y="61"/>
                </a:cubicBezTo>
                <a:cubicBezTo>
                  <a:pt x="123" y="70"/>
                  <a:pt x="115" y="70"/>
                  <a:pt x="106" y="70"/>
                </a:cubicBezTo>
                <a:cubicBezTo>
                  <a:pt x="53" y="70"/>
                  <a:pt x="53" y="70"/>
                  <a:pt x="53" y="70"/>
                </a:cubicBezTo>
                <a:cubicBezTo>
                  <a:pt x="17" y="70"/>
                  <a:pt x="0" y="97"/>
                  <a:pt x="0" y="123"/>
                </a:cubicBezTo>
                <a:cubicBezTo>
                  <a:pt x="0" y="345"/>
                  <a:pt x="0" y="345"/>
                  <a:pt x="0" y="345"/>
                </a:cubicBezTo>
                <a:cubicBezTo>
                  <a:pt x="0" y="372"/>
                  <a:pt x="17" y="398"/>
                  <a:pt x="53" y="398"/>
                </a:cubicBezTo>
                <a:cubicBezTo>
                  <a:pt x="442" y="398"/>
                  <a:pt x="442" y="398"/>
                  <a:pt x="442" y="398"/>
                </a:cubicBezTo>
                <a:cubicBezTo>
                  <a:pt x="470" y="398"/>
                  <a:pt x="496" y="372"/>
                  <a:pt x="496" y="345"/>
                </a:cubicBezTo>
                <a:cubicBezTo>
                  <a:pt x="496" y="123"/>
                  <a:pt x="496" y="123"/>
                  <a:pt x="496" y="123"/>
                </a:cubicBezTo>
                <a:cubicBezTo>
                  <a:pt x="496" y="97"/>
                  <a:pt x="470" y="70"/>
                  <a:pt x="442" y="70"/>
                </a:cubicBezTo>
                <a:close/>
                <a:moveTo>
                  <a:pt x="248" y="345"/>
                </a:moveTo>
                <a:lnTo>
                  <a:pt x="248" y="345"/>
                </a:lnTo>
                <a:cubicBezTo>
                  <a:pt x="177" y="345"/>
                  <a:pt x="123" y="292"/>
                  <a:pt x="123" y="221"/>
                </a:cubicBezTo>
                <a:cubicBezTo>
                  <a:pt x="123" y="150"/>
                  <a:pt x="177" y="97"/>
                  <a:pt x="248" y="97"/>
                </a:cubicBezTo>
                <a:cubicBezTo>
                  <a:pt x="319" y="97"/>
                  <a:pt x="372" y="150"/>
                  <a:pt x="372" y="221"/>
                </a:cubicBezTo>
                <a:cubicBezTo>
                  <a:pt x="372" y="292"/>
                  <a:pt x="319" y="345"/>
                  <a:pt x="248" y="345"/>
                </a:cubicBezTo>
                <a:close/>
                <a:moveTo>
                  <a:pt x="425" y="159"/>
                </a:moveTo>
                <a:lnTo>
                  <a:pt x="425" y="159"/>
                </a:lnTo>
                <a:cubicBezTo>
                  <a:pt x="416" y="159"/>
                  <a:pt x="407" y="150"/>
                  <a:pt x="407" y="141"/>
                </a:cubicBezTo>
                <a:cubicBezTo>
                  <a:pt x="407" y="132"/>
                  <a:pt x="416" y="123"/>
                  <a:pt x="425" y="123"/>
                </a:cubicBezTo>
                <a:cubicBezTo>
                  <a:pt x="433" y="123"/>
                  <a:pt x="442" y="132"/>
                  <a:pt x="442" y="141"/>
                </a:cubicBezTo>
                <a:cubicBezTo>
                  <a:pt x="442" y="150"/>
                  <a:pt x="433" y="159"/>
                  <a:pt x="425" y="15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lIns="21431" tIns="10716" rIns="21431" bIns="10716" anchor="ctr"/>
          <a:lstStyle/>
          <a:p>
            <a:endParaRPr lang="en-US" sz="1125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56" name="Freeform 2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5378472" y="2583391"/>
            <a:ext cx="278084" cy="217800"/>
          </a:xfrm>
          <a:custGeom>
            <a:avLst/>
            <a:gdLst>
              <a:gd name="T0" fmla="*/ 194710 w 506"/>
              <a:gd name="T1" fmla="*/ 31193 h 399"/>
              <a:gd name="T2" fmla="*/ 194710 w 506"/>
              <a:gd name="T3" fmla="*/ 31193 h 399"/>
              <a:gd name="T4" fmla="*/ 75372 w 506"/>
              <a:gd name="T5" fmla="*/ 15596 h 399"/>
              <a:gd name="T6" fmla="*/ 4038 w 506"/>
              <a:gd name="T7" fmla="*/ 98481 h 399"/>
              <a:gd name="T8" fmla="*/ 87485 w 506"/>
              <a:gd name="T9" fmla="*/ 177354 h 399"/>
              <a:gd name="T10" fmla="*/ 170932 w 506"/>
              <a:gd name="T11" fmla="*/ 138140 h 399"/>
              <a:gd name="T12" fmla="*/ 162856 w 506"/>
              <a:gd name="T13" fmla="*/ 94470 h 399"/>
              <a:gd name="T14" fmla="*/ 210412 w 506"/>
              <a:gd name="T15" fmla="*/ 90460 h 399"/>
              <a:gd name="T16" fmla="*/ 194710 w 506"/>
              <a:gd name="T17" fmla="*/ 31193 h 399"/>
              <a:gd name="T18" fmla="*/ 122927 w 506"/>
              <a:gd name="T19" fmla="*/ 134130 h 399"/>
              <a:gd name="T20" fmla="*/ 122927 w 506"/>
              <a:gd name="T21" fmla="*/ 134130 h 399"/>
              <a:gd name="T22" fmla="*/ 107225 w 506"/>
              <a:gd name="T23" fmla="*/ 118088 h 399"/>
              <a:gd name="T24" fmla="*/ 122927 w 506"/>
              <a:gd name="T25" fmla="*/ 102491 h 399"/>
              <a:gd name="T26" fmla="*/ 138630 w 506"/>
              <a:gd name="T27" fmla="*/ 118088 h 399"/>
              <a:gd name="T28" fmla="*/ 122927 w 506"/>
              <a:gd name="T29" fmla="*/ 134130 h 399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506" h="399">
                <a:moveTo>
                  <a:pt x="434" y="70"/>
                </a:moveTo>
                <a:lnTo>
                  <a:pt x="434" y="70"/>
                </a:lnTo>
                <a:cubicBezTo>
                  <a:pt x="354" y="17"/>
                  <a:pt x="265" y="0"/>
                  <a:pt x="168" y="35"/>
                </a:cubicBezTo>
                <a:cubicBezTo>
                  <a:pt x="89" y="53"/>
                  <a:pt x="9" y="141"/>
                  <a:pt x="9" y="221"/>
                </a:cubicBezTo>
                <a:cubicBezTo>
                  <a:pt x="0" y="319"/>
                  <a:pt x="71" y="398"/>
                  <a:pt x="195" y="398"/>
                </a:cubicBezTo>
                <a:cubicBezTo>
                  <a:pt x="337" y="398"/>
                  <a:pt x="381" y="328"/>
                  <a:pt x="381" y="310"/>
                </a:cubicBezTo>
                <a:cubicBezTo>
                  <a:pt x="390" y="292"/>
                  <a:pt x="328" y="248"/>
                  <a:pt x="363" y="212"/>
                </a:cubicBezTo>
                <a:cubicBezTo>
                  <a:pt x="408" y="168"/>
                  <a:pt x="452" y="203"/>
                  <a:pt x="469" y="203"/>
                </a:cubicBezTo>
                <a:cubicBezTo>
                  <a:pt x="496" y="194"/>
                  <a:pt x="505" y="124"/>
                  <a:pt x="434" y="70"/>
                </a:cubicBezTo>
                <a:close/>
                <a:moveTo>
                  <a:pt x="274" y="301"/>
                </a:moveTo>
                <a:lnTo>
                  <a:pt x="274" y="301"/>
                </a:lnTo>
                <a:cubicBezTo>
                  <a:pt x="248" y="301"/>
                  <a:pt x="239" y="283"/>
                  <a:pt x="239" y="265"/>
                </a:cubicBezTo>
                <a:cubicBezTo>
                  <a:pt x="239" y="248"/>
                  <a:pt x="248" y="230"/>
                  <a:pt x="274" y="230"/>
                </a:cubicBezTo>
                <a:cubicBezTo>
                  <a:pt x="293" y="230"/>
                  <a:pt x="309" y="248"/>
                  <a:pt x="309" y="265"/>
                </a:cubicBezTo>
                <a:cubicBezTo>
                  <a:pt x="309" y="283"/>
                  <a:pt x="293" y="301"/>
                  <a:pt x="274" y="30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lIns="21431" tIns="10716" rIns="21431" bIns="10716" anchor="ctr"/>
          <a:lstStyle/>
          <a:p>
            <a:endParaRPr lang="en-US" sz="1125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57" name="Freeform 2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5378472" y="3227471"/>
            <a:ext cx="245026" cy="252804"/>
          </a:xfrm>
          <a:custGeom>
            <a:avLst/>
            <a:gdLst>
              <a:gd name="T0" fmla="*/ 111726 w 444"/>
              <a:gd name="T1" fmla="*/ 150538 h 462"/>
              <a:gd name="T2" fmla="*/ 111726 w 444"/>
              <a:gd name="T3" fmla="*/ 150538 h 462"/>
              <a:gd name="T4" fmla="*/ 144162 w 444"/>
              <a:gd name="T5" fmla="*/ 114802 h 462"/>
              <a:gd name="T6" fmla="*/ 199574 w 444"/>
              <a:gd name="T7" fmla="*/ 31716 h 462"/>
              <a:gd name="T8" fmla="*/ 191916 w 444"/>
              <a:gd name="T9" fmla="*/ 23675 h 462"/>
              <a:gd name="T10" fmla="*/ 155875 w 444"/>
              <a:gd name="T11" fmla="*/ 23675 h 462"/>
              <a:gd name="T12" fmla="*/ 100013 w 444"/>
              <a:gd name="T13" fmla="*/ 0 h 462"/>
              <a:gd name="T14" fmla="*/ 44150 w 444"/>
              <a:gd name="T15" fmla="*/ 23675 h 462"/>
              <a:gd name="T16" fmla="*/ 8109 w 444"/>
              <a:gd name="T17" fmla="*/ 23675 h 462"/>
              <a:gd name="T18" fmla="*/ 0 w 444"/>
              <a:gd name="T19" fmla="*/ 31716 h 462"/>
              <a:gd name="T20" fmla="*/ 55863 w 444"/>
              <a:gd name="T21" fmla="*/ 114802 h 462"/>
              <a:gd name="T22" fmla="*/ 87849 w 444"/>
              <a:gd name="T23" fmla="*/ 150538 h 462"/>
              <a:gd name="T24" fmla="*/ 87849 w 444"/>
              <a:gd name="T25" fmla="*/ 166172 h 462"/>
              <a:gd name="T26" fmla="*/ 48204 w 444"/>
              <a:gd name="T27" fmla="*/ 185827 h 462"/>
              <a:gd name="T28" fmla="*/ 100013 w 444"/>
              <a:gd name="T29" fmla="*/ 205928 h 462"/>
              <a:gd name="T30" fmla="*/ 147766 w 444"/>
              <a:gd name="T31" fmla="*/ 185827 h 462"/>
              <a:gd name="T32" fmla="*/ 111726 w 444"/>
              <a:gd name="T33" fmla="*/ 166172 h 462"/>
              <a:gd name="T34" fmla="*/ 111726 w 444"/>
              <a:gd name="T35" fmla="*/ 150538 h 462"/>
              <a:gd name="T36" fmla="*/ 144162 w 444"/>
              <a:gd name="T37" fmla="*/ 94700 h 462"/>
              <a:gd name="T38" fmla="*/ 144162 w 444"/>
              <a:gd name="T39" fmla="*/ 94700 h 462"/>
              <a:gd name="T40" fmla="*/ 155875 w 444"/>
              <a:gd name="T41" fmla="*/ 39756 h 462"/>
              <a:gd name="T42" fmla="*/ 183807 w 444"/>
              <a:gd name="T43" fmla="*/ 39756 h 462"/>
              <a:gd name="T44" fmla="*/ 144162 w 444"/>
              <a:gd name="T45" fmla="*/ 94700 h 462"/>
              <a:gd name="T46" fmla="*/ 100013 w 444"/>
              <a:gd name="T47" fmla="*/ 16081 h 462"/>
              <a:gd name="T48" fmla="*/ 100013 w 444"/>
              <a:gd name="T49" fmla="*/ 16081 h 462"/>
              <a:gd name="T50" fmla="*/ 144162 w 444"/>
              <a:gd name="T51" fmla="*/ 31716 h 462"/>
              <a:gd name="T52" fmla="*/ 100013 w 444"/>
              <a:gd name="T53" fmla="*/ 51370 h 462"/>
              <a:gd name="T54" fmla="*/ 55863 w 444"/>
              <a:gd name="T55" fmla="*/ 31716 h 462"/>
              <a:gd name="T56" fmla="*/ 100013 w 444"/>
              <a:gd name="T57" fmla="*/ 16081 h 462"/>
              <a:gd name="T58" fmla="*/ 16218 w 444"/>
              <a:gd name="T59" fmla="*/ 39756 h 462"/>
              <a:gd name="T60" fmla="*/ 16218 w 444"/>
              <a:gd name="T61" fmla="*/ 39756 h 462"/>
              <a:gd name="T62" fmla="*/ 44150 w 444"/>
              <a:gd name="T63" fmla="*/ 39756 h 462"/>
              <a:gd name="T64" fmla="*/ 55863 w 444"/>
              <a:gd name="T65" fmla="*/ 94700 h 462"/>
              <a:gd name="T66" fmla="*/ 16218 w 444"/>
              <a:gd name="T67" fmla="*/ 39756 h 46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442" h="462">
                <a:moveTo>
                  <a:pt x="248" y="337"/>
                </a:moveTo>
                <a:lnTo>
                  <a:pt x="248" y="337"/>
                </a:lnTo>
                <a:cubicBezTo>
                  <a:pt x="248" y="302"/>
                  <a:pt x="275" y="283"/>
                  <a:pt x="320" y="257"/>
                </a:cubicBezTo>
                <a:cubicBezTo>
                  <a:pt x="373" y="221"/>
                  <a:pt x="443" y="177"/>
                  <a:pt x="443" y="71"/>
                </a:cubicBezTo>
                <a:cubicBezTo>
                  <a:pt x="443" y="62"/>
                  <a:pt x="434" y="53"/>
                  <a:pt x="426" y="53"/>
                </a:cubicBezTo>
                <a:cubicBezTo>
                  <a:pt x="346" y="53"/>
                  <a:pt x="346" y="53"/>
                  <a:pt x="346" y="53"/>
                </a:cubicBezTo>
                <a:cubicBezTo>
                  <a:pt x="328" y="27"/>
                  <a:pt x="293" y="0"/>
                  <a:pt x="222" y="0"/>
                </a:cubicBezTo>
                <a:cubicBezTo>
                  <a:pt x="151" y="0"/>
                  <a:pt x="116" y="27"/>
                  <a:pt x="98" y="53"/>
                </a:cubicBezTo>
                <a:cubicBezTo>
                  <a:pt x="18" y="53"/>
                  <a:pt x="18" y="53"/>
                  <a:pt x="18" y="53"/>
                </a:cubicBezTo>
                <a:cubicBezTo>
                  <a:pt x="9" y="53"/>
                  <a:pt x="0" y="62"/>
                  <a:pt x="0" y="71"/>
                </a:cubicBezTo>
                <a:cubicBezTo>
                  <a:pt x="0" y="177"/>
                  <a:pt x="62" y="221"/>
                  <a:pt x="124" y="257"/>
                </a:cubicBezTo>
                <a:cubicBezTo>
                  <a:pt x="169" y="283"/>
                  <a:pt x="195" y="302"/>
                  <a:pt x="195" y="337"/>
                </a:cubicBezTo>
                <a:cubicBezTo>
                  <a:pt x="195" y="372"/>
                  <a:pt x="195" y="372"/>
                  <a:pt x="195" y="372"/>
                </a:cubicBezTo>
                <a:cubicBezTo>
                  <a:pt x="142" y="381"/>
                  <a:pt x="107" y="399"/>
                  <a:pt x="107" y="416"/>
                </a:cubicBezTo>
                <a:cubicBezTo>
                  <a:pt x="107" y="443"/>
                  <a:pt x="160" y="461"/>
                  <a:pt x="222" y="461"/>
                </a:cubicBezTo>
                <a:cubicBezTo>
                  <a:pt x="283" y="461"/>
                  <a:pt x="328" y="443"/>
                  <a:pt x="328" y="416"/>
                </a:cubicBezTo>
                <a:cubicBezTo>
                  <a:pt x="328" y="399"/>
                  <a:pt x="302" y="381"/>
                  <a:pt x="248" y="372"/>
                </a:cubicBezTo>
                <a:lnTo>
                  <a:pt x="248" y="337"/>
                </a:lnTo>
                <a:close/>
                <a:moveTo>
                  <a:pt x="320" y="212"/>
                </a:moveTo>
                <a:lnTo>
                  <a:pt x="320" y="212"/>
                </a:lnTo>
                <a:cubicBezTo>
                  <a:pt x="337" y="186"/>
                  <a:pt x="346" y="142"/>
                  <a:pt x="346" y="89"/>
                </a:cubicBezTo>
                <a:cubicBezTo>
                  <a:pt x="408" y="89"/>
                  <a:pt x="408" y="89"/>
                  <a:pt x="408" y="89"/>
                </a:cubicBezTo>
                <a:cubicBezTo>
                  <a:pt x="399" y="151"/>
                  <a:pt x="364" y="186"/>
                  <a:pt x="320" y="212"/>
                </a:cubicBezTo>
                <a:close/>
                <a:moveTo>
                  <a:pt x="222" y="36"/>
                </a:moveTo>
                <a:lnTo>
                  <a:pt x="222" y="36"/>
                </a:lnTo>
                <a:cubicBezTo>
                  <a:pt x="293" y="36"/>
                  <a:pt x="320" y="62"/>
                  <a:pt x="320" y="71"/>
                </a:cubicBezTo>
                <a:cubicBezTo>
                  <a:pt x="320" y="80"/>
                  <a:pt x="293" y="106"/>
                  <a:pt x="222" y="115"/>
                </a:cubicBezTo>
                <a:cubicBezTo>
                  <a:pt x="151" y="106"/>
                  <a:pt x="124" y="80"/>
                  <a:pt x="124" y="71"/>
                </a:cubicBezTo>
                <a:cubicBezTo>
                  <a:pt x="124" y="62"/>
                  <a:pt x="151" y="36"/>
                  <a:pt x="222" y="36"/>
                </a:cubicBezTo>
                <a:close/>
                <a:moveTo>
                  <a:pt x="36" y="89"/>
                </a:moveTo>
                <a:lnTo>
                  <a:pt x="36" y="89"/>
                </a:lnTo>
                <a:cubicBezTo>
                  <a:pt x="98" y="89"/>
                  <a:pt x="98" y="89"/>
                  <a:pt x="98" y="89"/>
                </a:cubicBezTo>
                <a:cubicBezTo>
                  <a:pt x="98" y="142"/>
                  <a:pt x="107" y="186"/>
                  <a:pt x="124" y="212"/>
                </a:cubicBezTo>
                <a:cubicBezTo>
                  <a:pt x="80" y="186"/>
                  <a:pt x="36" y="151"/>
                  <a:pt x="36" y="8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lIns="21431" tIns="10716" rIns="21431" bIns="10716" anchor="ctr"/>
          <a:lstStyle/>
          <a:p>
            <a:endParaRPr lang="en-US" sz="1125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58" name="Freeform 10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6555191" y="3342910"/>
            <a:ext cx="274194" cy="210021"/>
          </a:xfrm>
          <a:custGeom>
            <a:avLst/>
            <a:gdLst>
              <a:gd name="T0" fmla="*/ 36030 w 497"/>
              <a:gd name="T1" fmla="*/ 111308 h 382"/>
              <a:gd name="T2" fmla="*/ 36030 w 497"/>
              <a:gd name="T3" fmla="*/ 111308 h 382"/>
              <a:gd name="T4" fmla="*/ 71610 w 497"/>
              <a:gd name="T5" fmla="*/ 147214 h 382"/>
              <a:gd name="T6" fmla="*/ 111693 w 497"/>
              <a:gd name="T7" fmla="*/ 171001 h 382"/>
              <a:gd name="T8" fmla="*/ 151777 w 497"/>
              <a:gd name="T9" fmla="*/ 151253 h 382"/>
              <a:gd name="T10" fmla="*/ 175647 w 497"/>
              <a:gd name="T11" fmla="*/ 115796 h 382"/>
              <a:gd name="T12" fmla="*/ 111693 w 497"/>
              <a:gd name="T13" fmla="*/ 147214 h 382"/>
              <a:gd name="T14" fmla="*/ 36030 w 497"/>
              <a:gd name="T15" fmla="*/ 111308 h 382"/>
              <a:gd name="T16" fmla="*/ 219333 w 497"/>
              <a:gd name="T17" fmla="*/ 55654 h 382"/>
              <a:gd name="T18" fmla="*/ 219333 w 497"/>
              <a:gd name="T19" fmla="*/ 55654 h 382"/>
              <a:gd name="T20" fmla="*/ 123403 w 497"/>
              <a:gd name="T21" fmla="*/ 4039 h 382"/>
              <a:gd name="T22" fmla="*/ 99533 w 497"/>
              <a:gd name="T23" fmla="*/ 4039 h 382"/>
              <a:gd name="T24" fmla="*/ 4053 w 497"/>
              <a:gd name="T25" fmla="*/ 55654 h 382"/>
              <a:gd name="T26" fmla="*/ 4053 w 497"/>
              <a:gd name="T27" fmla="*/ 71812 h 382"/>
              <a:gd name="T28" fmla="*/ 99533 w 497"/>
              <a:gd name="T29" fmla="*/ 123426 h 382"/>
              <a:gd name="T30" fmla="*/ 123403 w 497"/>
              <a:gd name="T31" fmla="*/ 123426 h 382"/>
              <a:gd name="T32" fmla="*/ 183754 w 497"/>
              <a:gd name="T33" fmla="*/ 87520 h 382"/>
              <a:gd name="T34" fmla="*/ 119800 w 497"/>
              <a:gd name="T35" fmla="*/ 71812 h 382"/>
              <a:gd name="T36" fmla="*/ 111693 w 497"/>
              <a:gd name="T37" fmla="*/ 75402 h 382"/>
              <a:gd name="T38" fmla="*/ 91426 w 497"/>
              <a:gd name="T39" fmla="*/ 59693 h 382"/>
              <a:gd name="T40" fmla="*/ 111693 w 497"/>
              <a:gd name="T41" fmla="*/ 48024 h 382"/>
              <a:gd name="T42" fmla="*/ 131960 w 497"/>
              <a:gd name="T43" fmla="*/ 55654 h 382"/>
              <a:gd name="T44" fmla="*/ 199517 w 497"/>
              <a:gd name="T45" fmla="*/ 79441 h 382"/>
              <a:gd name="T46" fmla="*/ 219333 w 497"/>
              <a:gd name="T47" fmla="*/ 71812 h 382"/>
              <a:gd name="T48" fmla="*/ 219333 w 497"/>
              <a:gd name="T49" fmla="*/ 55654 h 382"/>
              <a:gd name="T50" fmla="*/ 191410 w 497"/>
              <a:gd name="T51" fmla="*/ 155292 h 382"/>
              <a:gd name="T52" fmla="*/ 191410 w 497"/>
              <a:gd name="T53" fmla="*/ 155292 h 382"/>
              <a:gd name="T54" fmla="*/ 207623 w 497"/>
              <a:gd name="T55" fmla="*/ 151253 h 382"/>
              <a:gd name="T56" fmla="*/ 199517 w 497"/>
              <a:gd name="T57" fmla="*/ 79441 h 382"/>
              <a:gd name="T58" fmla="*/ 183754 w 497"/>
              <a:gd name="T59" fmla="*/ 87520 h 382"/>
              <a:gd name="T60" fmla="*/ 191410 w 497"/>
              <a:gd name="T61" fmla="*/ 155292 h 38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497" h="382">
                <a:moveTo>
                  <a:pt x="80" y="248"/>
                </a:moveTo>
                <a:lnTo>
                  <a:pt x="80" y="248"/>
                </a:lnTo>
                <a:cubicBezTo>
                  <a:pt x="97" y="293"/>
                  <a:pt x="106" y="311"/>
                  <a:pt x="159" y="328"/>
                </a:cubicBezTo>
                <a:cubicBezTo>
                  <a:pt x="203" y="355"/>
                  <a:pt x="230" y="381"/>
                  <a:pt x="248" y="381"/>
                </a:cubicBezTo>
                <a:cubicBezTo>
                  <a:pt x="266" y="381"/>
                  <a:pt x="293" y="355"/>
                  <a:pt x="337" y="337"/>
                </a:cubicBezTo>
                <a:cubicBezTo>
                  <a:pt x="390" y="311"/>
                  <a:pt x="372" y="311"/>
                  <a:pt x="390" y="258"/>
                </a:cubicBezTo>
                <a:cubicBezTo>
                  <a:pt x="248" y="328"/>
                  <a:pt x="248" y="328"/>
                  <a:pt x="248" y="328"/>
                </a:cubicBezTo>
                <a:lnTo>
                  <a:pt x="80" y="248"/>
                </a:lnTo>
                <a:close/>
                <a:moveTo>
                  <a:pt x="487" y="124"/>
                </a:moveTo>
                <a:lnTo>
                  <a:pt x="487" y="124"/>
                </a:lnTo>
                <a:cubicBezTo>
                  <a:pt x="274" y="9"/>
                  <a:pt x="274" y="9"/>
                  <a:pt x="274" y="9"/>
                </a:cubicBezTo>
                <a:cubicBezTo>
                  <a:pt x="266" y="0"/>
                  <a:pt x="239" y="0"/>
                  <a:pt x="221" y="9"/>
                </a:cubicBezTo>
                <a:cubicBezTo>
                  <a:pt x="9" y="124"/>
                  <a:pt x="9" y="124"/>
                  <a:pt x="9" y="124"/>
                </a:cubicBezTo>
                <a:cubicBezTo>
                  <a:pt x="0" y="133"/>
                  <a:pt x="0" y="142"/>
                  <a:pt x="9" y="160"/>
                </a:cubicBezTo>
                <a:cubicBezTo>
                  <a:pt x="221" y="275"/>
                  <a:pt x="221" y="275"/>
                  <a:pt x="221" y="275"/>
                </a:cubicBezTo>
                <a:cubicBezTo>
                  <a:pt x="239" y="284"/>
                  <a:pt x="266" y="284"/>
                  <a:pt x="274" y="275"/>
                </a:cubicBezTo>
                <a:cubicBezTo>
                  <a:pt x="408" y="195"/>
                  <a:pt x="408" y="195"/>
                  <a:pt x="408" y="195"/>
                </a:cubicBezTo>
                <a:cubicBezTo>
                  <a:pt x="266" y="160"/>
                  <a:pt x="266" y="160"/>
                  <a:pt x="266" y="160"/>
                </a:cubicBezTo>
                <a:cubicBezTo>
                  <a:pt x="257" y="160"/>
                  <a:pt x="257" y="168"/>
                  <a:pt x="248" y="168"/>
                </a:cubicBezTo>
                <a:cubicBezTo>
                  <a:pt x="221" y="168"/>
                  <a:pt x="203" y="151"/>
                  <a:pt x="203" y="133"/>
                </a:cubicBezTo>
                <a:cubicBezTo>
                  <a:pt x="203" y="124"/>
                  <a:pt x="221" y="107"/>
                  <a:pt x="248" y="107"/>
                </a:cubicBezTo>
                <a:cubicBezTo>
                  <a:pt x="266" y="107"/>
                  <a:pt x="284" y="115"/>
                  <a:pt x="293" y="124"/>
                </a:cubicBezTo>
                <a:cubicBezTo>
                  <a:pt x="443" y="177"/>
                  <a:pt x="443" y="177"/>
                  <a:pt x="443" y="177"/>
                </a:cubicBezTo>
                <a:cubicBezTo>
                  <a:pt x="487" y="160"/>
                  <a:pt x="487" y="160"/>
                  <a:pt x="487" y="160"/>
                </a:cubicBezTo>
                <a:cubicBezTo>
                  <a:pt x="496" y="142"/>
                  <a:pt x="496" y="133"/>
                  <a:pt x="487" y="124"/>
                </a:cubicBezTo>
                <a:close/>
                <a:moveTo>
                  <a:pt x="425" y="346"/>
                </a:moveTo>
                <a:lnTo>
                  <a:pt x="425" y="346"/>
                </a:lnTo>
                <a:cubicBezTo>
                  <a:pt x="416" y="355"/>
                  <a:pt x="452" y="364"/>
                  <a:pt x="461" y="337"/>
                </a:cubicBezTo>
                <a:cubicBezTo>
                  <a:pt x="469" y="213"/>
                  <a:pt x="443" y="177"/>
                  <a:pt x="443" y="177"/>
                </a:cubicBezTo>
                <a:cubicBezTo>
                  <a:pt x="408" y="195"/>
                  <a:pt x="408" y="195"/>
                  <a:pt x="408" y="195"/>
                </a:cubicBezTo>
                <a:cubicBezTo>
                  <a:pt x="408" y="195"/>
                  <a:pt x="443" y="222"/>
                  <a:pt x="425" y="3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lIns="21431" tIns="10716" rIns="21431" bIns="10716" anchor="ctr"/>
          <a:lstStyle/>
          <a:p>
            <a:endParaRPr lang="en-US" sz="1125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59" name="Freeform 15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6620485" y="3987221"/>
            <a:ext cx="196408" cy="266416"/>
          </a:xfrm>
          <a:custGeom>
            <a:avLst/>
            <a:gdLst>
              <a:gd name="T0" fmla="*/ 156272 w 355"/>
              <a:gd name="T1" fmla="*/ 58950 h 487"/>
              <a:gd name="T2" fmla="*/ 156272 w 355"/>
              <a:gd name="T3" fmla="*/ 58950 h 487"/>
              <a:gd name="T4" fmla="*/ 52392 w 355"/>
              <a:gd name="T5" fmla="*/ 7592 h 487"/>
              <a:gd name="T6" fmla="*/ 4065 w 355"/>
              <a:gd name="T7" fmla="*/ 23669 h 487"/>
              <a:gd name="T8" fmla="*/ 0 w 355"/>
              <a:gd name="T9" fmla="*/ 35280 h 487"/>
              <a:gd name="T10" fmla="*/ 4065 w 355"/>
              <a:gd name="T11" fmla="*/ 154073 h 487"/>
              <a:gd name="T12" fmla="*/ 8130 w 355"/>
              <a:gd name="T13" fmla="*/ 162111 h 487"/>
              <a:gd name="T14" fmla="*/ 100267 w 355"/>
              <a:gd name="T15" fmla="*/ 217041 h 487"/>
              <a:gd name="T16" fmla="*/ 104332 w 355"/>
              <a:gd name="T17" fmla="*/ 217041 h 487"/>
              <a:gd name="T18" fmla="*/ 108397 w 355"/>
              <a:gd name="T19" fmla="*/ 217041 h 487"/>
              <a:gd name="T20" fmla="*/ 112010 w 355"/>
              <a:gd name="T21" fmla="*/ 213469 h 487"/>
              <a:gd name="T22" fmla="*/ 112010 w 355"/>
              <a:gd name="T23" fmla="*/ 90657 h 487"/>
              <a:gd name="T24" fmla="*/ 108397 w 355"/>
              <a:gd name="T25" fmla="*/ 82619 h 487"/>
              <a:gd name="T26" fmla="*/ 19873 w 355"/>
              <a:gd name="T27" fmla="*/ 31261 h 487"/>
              <a:gd name="T28" fmla="*/ 32067 w 355"/>
              <a:gd name="T29" fmla="*/ 23669 h 487"/>
              <a:gd name="T30" fmla="*/ 48327 w 355"/>
              <a:gd name="T31" fmla="*/ 19650 h 487"/>
              <a:gd name="T32" fmla="*/ 135948 w 355"/>
              <a:gd name="T33" fmla="*/ 66988 h 487"/>
              <a:gd name="T34" fmla="*/ 140013 w 355"/>
              <a:gd name="T35" fmla="*/ 71007 h 487"/>
              <a:gd name="T36" fmla="*/ 140013 w 355"/>
              <a:gd name="T37" fmla="*/ 189800 h 487"/>
              <a:gd name="T38" fmla="*/ 148142 w 355"/>
              <a:gd name="T39" fmla="*/ 197392 h 487"/>
              <a:gd name="T40" fmla="*/ 159885 w 355"/>
              <a:gd name="T41" fmla="*/ 189800 h 487"/>
              <a:gd name="T42" fmla="*/ 159885 w 355"/>
              <a:gd name="T43" fmla="*/ 62969 h 487"/>
              <a:gd name="T44" fmla="*/ 156272 w 355"/>
              <a:gd name="T45" fmla="*/ 58950 h 4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355" h="487">
                <a:moveTo>
                  <a:pt x="346" y="132"/>
                </a:moveTo>
                <a:lnTo>
                  <a:pt x="346" y="132"/>
                </a:lnTo>
                <a:cubicBezTo>
                  <a:pt x="116" y="17"/>
                  <a:pt x="116" y="17"/>
                  <a:pt x="116" y="17"/>
                </a:cubicBezTo>
                <a:cubicBezTo>
                  <a:pt x="89" y="0"/>
                  <a:pt x="27" y="25"/>
                  <a:pt x="9" y="53"/>
                </a:cubicBezTo>
                <a:cubicBezTo>
                  <a:pt x="0" y="70"/>
                  <a:pt x="0" y="79"/>
                  <a:pt x="0" y="79"/>
                </a:cubicBezTo>
                <a:cubicBezTo>
                  <a:pt x="9" y="345"/>
                  <a:pt x="9" y="345"/>
                  <a:pt x="9" y="345"/>
                </a:cubicBezTo>
                <a:cubicBezTo>
                  <a:pt x="9" y="345"/>
                  <a:pt x="18" y="354"/>
                  <a:pt x="18" y="363"/>
                </a:cubicBezTo>
                <a:cubicBezTo>
                  <a:pt x="36" y="363"/>
                  <a:pt x="222" y="486"/>
                  <a:pt x="222" y="486"/>
                </a:cubicBezTo>
                <a:cubicBezTo>
                  <a:pt x="231" y="486"/>
                  <a:pt x="231" y="486"/>
                  <a:pt x="231" y="486"/>
                </a:cubicBezTo>
                <a:cubicBezTo>
                  <a:pt x="240" y="486"/>
                  <a:pt x="240" y="486"/>
                  <a:pt x="240" y="486"/>
                </a:cubicBezTo>
                <a:cubicBezTo>
                  <a:pt x="248" y="486"/>
                  <a:pt x="248" y="478"/>
                  <a:pt x="248" y="478"/>
                </a:cubicBezTo>
                <a:cubicBezTo>
                  <a:pt x="248" y="203"/>
                  <a:pt x="248" y="203"/>
                  <a:pt x="248" y="203"/>
                </a:cubicBezTo>
                <a:cubicBezTo>
                  <a:pt x="248" y="194"/>
                  <a:pt x="248" y="194"/>
                  <a:pt x="240" y="185"/>
                </a:cubicBezTo>
                <a:cubicBezTo>
                  <a:pt x="44" y="70"/>
                  <a:pt x="44" y="70"/>
                  <a:pt x="44" y="70"/>
                </a:cubicBezTo>
                <a:cubicBezTo>
                  <a:pt x="44" y="70"/>
                  <a:pt x="53" y="61"/>
                  <a:pt x="71" y="53"/>
                </a:cubicBezTo>
                <a:cubicBezTo>
                  <a:pt x="89" y="44"/>
                  <a:pt x="97" y="44"/>
                  <a:pt x="107" y="44"/>
                </a:cubicBezTo>
                <a:cubicBezTo>
                  <a:pt x="107" y="44"/>
                  <a:pt x="293" y="150"/>
                  <a:pt x="301" y="150"/>
                </a:cubicBezTo>
                <a:cubicBezTo>
                  <a:pt x="310" y="159"/>
                  <a:pt x="310" y="159"/>
                  <a:pt x="310" y="159"/>
                </a:cubicBezTo>
                <a:cubicBezTo>
                  <a:pt x="310" y="168"/>
                  <a:pt x="310" y="425"/>
                  <a:pt x="310" y="425"/>
                </a:cubicBezTo>
                <a:cubicBezTo>
                  <a:pt x="310" y="433"/>
                  <a:pt x="319" y="442"/>
                  <a:pt x="328" y="442"/>
                </a:cubicBezTo>
                <a:cubicBezTo>
                  <a:pt x="337" y="442"/>
                  <a:pt x="354" y="433"/>
                  <a:pt x="354" y="425"/>
                </a:cubicBezTo>
                <a:cubicBezTo>
                  <a:pt x="354" y="141"/>
                  <a:pt x="354" y="141"/>
                  <a:pt x="354" y="141"/>
                </a:cubicBezTo>
                <a:lnTo>
                  <a:pt x="346" y="132"/>
                </a:lnTo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lIns="21431" tIns="10716" rIns="21431" bIns="10716" anchor="ctr"/>
          <a:lstStyle/>
          <a:p>
            <a:endParaRPr lang="en-US" sz="1125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grpSp>
        <p:nvGrpSpPr>
          <p:cNvPr id="51" name="Group 5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8478959" y="960881"/>
            <a:ext cx="2360912" cy="1209370"/>
            <a:chOff x="13551253" y="1537409"/>
            <a:chExt cx="3777459" cy="1934991"/>
          </a:xfrm>
        </p:grpSpPr>
        <p:sp>
          <p:nvSpPr>
            <p:cNvPr id="63" name="Rectangle 62"/>
            <p:cNvSpPr/>
            <p:nvPr/>
          </p:nvSpPr>
          <p:spPr>
            <a:xfrm flipH="1">
              <a:off x="13551255" y="2367373"/>
              <a:ext cx="3777457" cy="5170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500" dirty="0">
                  <a:solidFill>
                    <a:schemeClr val="bg1"/>
                  </a:solidFill>
                  <a:latin typeface="方正综艺简体" panose="03000509000000000000" pitchFamily="65" charset="-122"/>
                  <a:cs typeface="思源黑体 CN Regular" panose="020B0500000000000000" charset="-122"/>
                </a:rPr>
                <a:t>Your Title Goes Here</a:t>
              </a:r>
            </a:p>
          </p:txBody>
        </p:sp>
        <p:sp>
          <p:nvSpPr>
            <p:cNvPr id="64" name="TextBox 63"/>
            <p:cNvSpPr txBox="1"/>
            <p:nvPr/>
          </p:nvSpPr>
          <p:spPr>
            <a:xfrm flipH="1">
              <a:off x="13551253" y="1537409"/>
              <a:ext cx="2743822" cy="19349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4500" spc="188" dirty="0">
                  <a:gradFill>
                    <a:gsLst>
                      <a:gs pos="0">
                        <a:schemeClr val="accent1"/>
                      </a:gs>
                      <a:gs pos="45000">
                        <a:schemeClr val="accent1"/>
                      </a:gs>
                      <a:gs pos="100000">
                        <a:schemeClr val="accent1">
                          <a:alpha val="0"/>
                        </a:schemeClr>
                      </a:gs>
                    </a:gsLst>
                    <a:lin ang="5400000" scaled="1"/>
                  </a:gradFill>
                  <a:latin typeface="方正综艺简体" panose="03000509000000000000" pitchFamily="65" charset="-122"/>
                  <a:cs typeface="思源黑体 CN Regular" panose="020B0500000000000000" charset="-122"/>
                </a:rPr>
                <a:t>20XX</a:t>
              </a:r>
            </a:p>
          </p:txBody>
        </p:sp>
      </p:grpSp>
      <p:grpSp>
        <p:nvGrpSpPr>
          <p:cNvPr id="52" name="Group 5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8478959" y="3564081"/>
            <a:ext cx="2360912" cy="841893"/>
            <a:chOff x="13551253" y="5702529"/>
            <a:chExt cx="3777459" cy="1347028"/>
          </a:xfrm>
        </p:grpSpPr>
        <p:sp>
          <p:nvSpPr>
            <p:cNvPr id="66" name="Rectangle 65"/>
            <p:cNvSpPr/>
            <p:nvPr/>
          </p:nvSpPr>
          <p:spPr>
            <a:xfrm flipH="1">
              <a:off x="13551255" y="6532493"/>
              <a:ext cx="3777457" cy="5170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500" dirty="0">
                  <a:solidFill>
                    <a:schemeClr val="bg1"/>
                  </a:solidFill>
                  <a:latin typeface="方正综艺简体" panose="03000509000000000000" pitchFamily="65" charset="-122"/>
                  <a:cs typeface="思源黑体 CN Regular" panose="020B0500000000000000" charset="-122"/>
                </a:rPr>
                <a:t>Your Title Goes Here</a:t>
              </a:r>
            </a:p>
          </p:txBody>
        </p:sp>
        <p:sp>
          <p:nvSpPr>
            <p:cNvPr id="67" name="TextBox 66"/>
            <p:cNvSpPr txBox="1"/>
            <p:nvPr/>
          </p:nvSpPr>
          <p:spPr>
            <a:xfrm flipH="1">
              <a:off x="13551253" y="5702529"/>
              <a:ext cx="3142408" cy="10485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4500" spc="188" dirty="0">
                  <a:gradFill>
                    <a:gsLst>
                      <a:gs pos="0">
                        <a:schemeClr val="accent4"/>
                      </a:gs>
                      <a:gs pos="45000">
                        <a:schemeClr val="accent4">
                          <a:alpha val="65000"/>
                        </a:schemeClr>
                      </a:gs>
                      <a:gs pos="100000">
                        <a:schemeClr val="accent4">
                          <a:alpha val="0"/>
                        </a:schemeClr>
                      </a:gs>
                    </a:gsLst>
                    <a:lin ang="5400000" scaled="1"/>
                  </a:gradFill>
                  <a:latin typeface="方正综艺简体" panose="03000509000000000000" pitchFamily="65" charset="-122"/>
                  <a:cs typeface="思源黑体 CN Regular" panose="020B0500000000000000" charset="-122"/>
                </a:rPr>
                <a:t>20XX</a:t>
              </a:r>
            </a:p>
          </p:txBody>
        </p:sp>
      </p:grpSp>
      <p:sp>
        <p:nvSpPr>
          <p:cNvPr id="111" name="Text Placeholder 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584616" y="1646320"/>
            <a:ext cx="3282845" cy="937693"/>
          </a:xfrm>
          <a:prstGeom prst="rect">
            <a:avLst/>
          </a:prstGeom>
          <a:ln w="12700">
            <a:miter lim="400000"/>
          </a:ln>
        </p:spPr>
        <p:txBody>
          <a:bodyPr wrap="square" lIns="25400" tIns="25400" rIns="25400" bIns="25400" anchor="ctr">
            <a:spAutoFit/>
          </a:bodyPr>
          <a:lstStyle>
            <a:defPPr>
              <a:defRPr lang="zh-CN"/>
            </a:defPPr>
            <a:lvl1pPr lvl="0" algn="r">
              <a:lnSpc>
                <a:spcPct val="80000"/>
              </a:lnSpc>
              <a:defRPr sz="3200" b="1">
                <a:solidFill>
                  <a:schemeClr val="tx1">
                    <a:lumMod val="85000"/>
                    <a:lumOff val="15000"/>
                  </a:schemeClr>
                </a:solidFill>
                <a:ea typeface="Open Sans SemiBold" panose="020B0706030804020204"/>
                <a:cs typeface="Open Sans SemiBold" panose="020B0706030804020204"/>
              </a:defRPr>
            </a:lvl1pPr>
          </a:lstStyle>
          <a:p>
            <a:r>
              <a:rPr lang="en-US" sz="3600" dirty="0">
                <a:solidFill>
                  <a:schemeClr val="tx2">
                    <a:lumMod val="7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Process Infographic</a:t>
            </a:r>
            <a:endParaRPr lang="id-ID" sz="3600" dirty="0">
              <a:solidFill>
                <a:schemeClr val="tx2">
                  <a:lumMod val="75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107" name="Rectangle 1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>
            <p:custDataLst>
              <p:tags r:id="rId1"/>
            </p:custDataLst>
          </p:nvPr>
        </p:nvSpPr>
        <p:spPr>
          <a:xfrm>
            <a:off x="-509665" y="2503057"/>
            <a:ext cx="4511040" cy="42558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200" dirty="0">
                <a:gradFill>
                  <a:gsLst>
                    <a:gs pos="2000">
                      <a:schemeClr val="accent4"/>
                    </a:gs>
                    <a:gs pos="100000">
                      <a:schemeClr val="accent4">
                        <a:lumMod val="75000"/>
                      </a:schemeClr>
                    </a:gs>
                  </a:gsLst>
                  <a:lin ang="2700000" scaled="1"/>
                </a:gradFill>
                <a:latin typeface="方正综艺简体" panose="03000509000000000000" pitchFamily="65" charset="-122"/>
                <a:ea typeface="微软雅黑 Light" panose="020B0502040204020203" pitchFamily="34" charset="-122"/>
                <a:cs typeface="思源黑体 CN Regular" panose="020B0500000000000000" charset="-122"/>
                <a:sym typeface="微软雅黑 Light" panose="020B0502040204020203" pitchFamily="34" charset="-122"/>
              </a:rPr>
              <a:t>Put Your Great Subtitle Here</a:t>
            </a:r>
          </a:p>
        </p:txBody>
      </p:sp>
      <p:grpSp>
        <p:nvGrpSpPr>
          <p:cNvPr id="41" name="组合 4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813397" y="4530305"/>
            <a:ext cx="3338879" cy="965511"/>
            <a:chOff x="6674548" y="1842106"/>
            <a:chExt cx="4694544" cy="1357531"/>
          </a:xfrm>
        </p:grpSpPr>
        <p:grpSp>
          <p:nvGrpSpPr>
            <p:cNvPr id="108" name="Group 11"/>
            <p:cNvGrpSpPr/>
            <p:nvPr/>
          </p:nvGrpSpPr>
          <p:grpSpPr>
            <a:xfrm>
              <a:off x="6674548" y="1842106"/>
              <a:ext cx="3376232" cy="1357531"/>
              <a:chOff x="6674548" y="1842106"/>
              <a:chExt cx="3376232" cy="1357531"/>
            </a:xfrm>
          </p:grpSpPr>
          <p:grpSp>
            <p:nvGrpSpPr>
              <p:cNvPr id="109" name="Group 58"/>
              <p:cNvGrpSpPr/>
              <p:nvPr/>
            </p:nvGrpSpPr>
            <p:grpSpPr>
              <a:xfrm>
                <a:off x="8995267" y="1842106"/>
                <a:ext cx="231047" cy="591857"/>
                <a:chOff x="3647164" y="2464482"/>
                <a:chExt cx="231047" cy="591857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69" name="Freeform 56"/>
                <p:cNvSpPr/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70" name="Freeform 57"/>
                <p:cNvSpPr/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18" name="Group 31"/>
              <p:cNvGrpSpPr/>
              <p:nvPr/>
            </p:nvGrpSpPr>
            <p:grpSpPr>
              <a:xfrm>
                <a:off x="7439277" y="2591953"/>
                <a:ext cx="271137" cy="607684"/>
                <a:chOff x="3327401" y="4335463"/>
                <a:chExt cx="407988" cy="914400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67" name="Freeform 58"/>
                <p:cNvSpPr/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68" name="Freeform 59"/>
                <p:cNvSpPr/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19" name="Group 34"/>
              <p:cNvGrpSpPr/>
              <p:nvPr/>
            </p:nvGrpSpPr>
            <p:grpSpPr>
              <a:xfrm>
                <a:off x="7435023" y="1842106"/>
                <a:ext cx="231047" cy="591857"/>
                <a:chOff x="3647164" y="2464482"/>
                <a:chExt cx="231047" cy="591857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65" name="Freeform 56"/>
                <p:cNvSpPr/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66" name="Freeform 57"/>
                <p:cNvSpPr/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20" name="Group 37"/>
              <p:cNvGrpSpPr/>
              <p:nvPr/>
            </p:nvGrpSpPr>
            <p:grpSpPr>
              <a:xfrm>
                <a:off x="7829338" y="2591953"/>
                <a:ext cx="271137" cy="607684"/>
                <a:chOff x="3327401" y="4335463"/>
                <a:chExt cx="407988" cy="914400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63" name="Freeform 58"/>
                <p:cNvSpPr/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64" name="Freeform 59"/>
                <p:cNvSpPr/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21" name="Group 40"/>
              <p:cNvGrpSpPr/>
              <p:nvPr/>
            </p:nvGrpSpPr>
            <p:grpSpPr>
              <a:xfrm>
                <a:off x="7825084" y="1842106"/>
                <a:ext cx="231047" cy="591857"/>
                <a:chOff x="3647164" y="2464482"/>
                <a:chExt cx="231047" cy="591857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61" name="Freeform 56"/>
                <p:cNvSpPr/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62" name="Freeform 57"/>
                <p:cNvSpPr/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22" name="Group 43"/>
              <p:cNvGrpSpPr/>
              <p:nvPr/>
            </p:nvGrpSpPr>
            <p:grpSpPr>
              <a:xfrm>
                <a:off x="8219399" y="2591953"/>
                <a:ext cx="271137" cy="607684"/>
                <a:chOff x="3327401" y="4335463"/>
                <a:chExt cx="407988" cy="914400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59" name="Freeform 58"/>
                <p:cNvSpPr/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60" name="Freeform 59"/>
                <p:cNvSpPr/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23" name="Group 46"/>
              <p:cNvGrpSpPr/>
              <p:nvPr/>
            </p:nvGrpSpPr>
            <p:grpSpPr>
              <a:xfrm>
                <a:off x="8215145" y="1842106"/>
                <a:ext cx="231047" cy="591857"/>
                <a:chOff x="3647164" y="2464482"/>
                <a:chExt cx="231047" cy="591857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57" name="Freeform 56"/>
                <p:cNvSpPr/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58" name="Freeform 57"/>
                <p:cNvSpPr/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24" name="Group 49"/>
              <p:cNvGrpSpPr/>
              <p:nvPr/>
            </p:nvGrpSpPr>
            <p:grpSpPr>
              <a:xfrm>
                <a:off x="8609460" y="2591953"/>
                <a:ext cx="271137" cy="607684"/>
                <a:chOff x="3327401" y="4335463"/>
                <a:chExt cx="407988" cy="914400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55" name="Freeform 58"/>
                <p:cNvSpPr/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56" name="Freeform 59"/>
                <p:cNvSpPr/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25" name="Group 52"/>
              <p:cNvGrpSpPr/>
              <p:nvPr/>
            </p:nvGrpSpPr>
            <p:grpSpPr>
              <a:xfrm>
                <a:off x="8605206" y="1842106"/>
                <a:ext cx="231047" cy="591857"/>
                <a:chOff x="3647164" y="2464482"/>
                <a:chExt cx="231047" cy="591857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53" name="Freeform 56"/>
                <p:cNvSpPr/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54" name="Freeform 57"/>
                <p:cNvSpPr/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26" name="Group 55"/>
              <p:cNvGrpSpPr/>
              <p:nvPr/>
            </p:nvGrpSpPr>
            <p:grpSpPr>
              <a:xfrm>
                <a:off x="8999521" y="2591953"/>
                <a:ext cx="271137" cy="607684"/>
                <a:chOff x="3327401" y="4335463"/>
                <a:chExt cx="407988" cy="914400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51" name="Freeform 58"/>
                <p:cNvSpPr/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52" name="Freeform 59"/>
                <p:cNvSpPr/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27" name="Group 61"/>
              <p:cNvGrpSpPr/>
              <p:nvPr/>
            </p:nvGrpSpPr>
            <p:grpSpPr>
              <a:xfrm>
                <a:off x="9389582" y="2591953"/>
                <a:ext cx="271137" cy="607684"/>
                <a:chOff x="3327401" y="4335463"/>
                <a:chExt cx="407988" cy="914400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49" name="Freeform 58"/>
                <p:cNvSpPr/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50" name="Freeform 59"/>
                <p:cNvSpPr/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28" name="Group 64"/>
              <p:cNvGrpSpPr/>
              <p:nvPr/>
            </p:nvGrpSpPr>
            <p:grpSpPr>
              <a:xfrm>
                <a:off x="9385328" y="1842106"/>
                <a:ext cx="231047" cy="591857"/>
                <a:chOff x="3647164" y="2464482"/>
                <a:chExt cx="231047" cy="591857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47" name="Freeform 56"/>
                <p:cNvSpPr/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48" name="Freeform 57"/>
                <p:cNvSpPr/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29" name="Group 67"/>
              <p:cNvGrpSpPr/>
              <p:nvPr/>
            </p:nvGrpSpPr>
            <p:grpSpPr>
              <a:xfrm>
                <a:off x="9779643" y="2591953"/>
                <a:ext cx="271137" cy="607684"/>
                <a:chOff x="3327401" y="4335463"/>
                <a:chExt cx="407988" cy="914400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45" name="Freeform 58"/>
                <p:cNvSpPr/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46" name="Freeform 59"/>
                <p:cNvSpPr/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30" name="Group 70"/>
              <p:cNvGrpSpPr/>
              <p:nvPr/>
            </p:nvGrpSpPr>
            <p:grpSpPr>
              <a:xfrm>
                <a:off x="9775389" y="1842106"/>
                <a:ext cx="231047" cy="591857"/>
                <a:chOff x="3647164" y="2464482"/>
                <a:chExt cx="231047" cy="591857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43" name="Freeform 56"/>
                <p:cNvSpPr/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44" name="Freeform 57"/>
                <p:cNvSpPr/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31" name="Group 134"/>
              <p:cNvGrpSpPr/>
              <p:nvPr/>
            </p:nvGrpSpPr>
            <p:grpSpPr>
              <a:xfrm>
                <a:off x="6678802" y="2591953"/>
                <a:ext cx="271137" cy="607684"/>
                <a:chOff x="3327401" y="4335463"/>
                <a:chExt cx="407988" cy="914400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41" name="Freeform 58"/>
                <p:cNvSpPr/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42" name="Freeform 59"/>
                <p:cNvSpPr/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32" name="Group 137"/>
              <p:cNvGrpSpPr/>
              <p:nvPr/>
            </p:nvGrpSpPr>
            <p:grpSpPr>
              <a:xfrm>
                <a:off x="6674548" y="1842106"/>
                <a:ext cx="231047" cy="591857"/>
                <a:chOff x="3647164" y="2464482"/>
                <a:chExt cx="231047" cy="591857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39" name="Freeform 56"/>
                <p:cNvSpPr/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40" name="Freeform 57"/>
                <p:cNvSpPr/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33" name="Group 140"/>
              <p:cNvGrpSpPr/>
              <p:nvPr/>
            </p:nvGrpSpPr>
            <p:grpSpPr>
              <a:xfrm>
                <a:off x="7068863" y="2591953"/>
                <a:ext cx="271137" cy="607684"/>
                <a:chOff x="3327401" y="4335463"/>
                <a:chExt cx="407988" cy="914400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37" name="Freeform 58"/>
                <p:cNvSpPr/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38" name="Freeform 59"/>
                <p:cNvSpPr/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34" name="Group 143"/>
              <p:cNvGrpSpPr/>
              <p:nvPr/>
            </p:nvGrpSpPr>
            <p:grpSpPr>
              <a:xfrm>
                <a:off x="7064609" y="1842106"/>
                <a:ext cx="231047" cy="591857"/>
                <a:chOff x="3647164" y="2464482"/>
                <a:chExt cx="231047" cy="591857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35" name="Freeform 56"/>
                <p:cNvSpPr/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36" name="Freeform 57"/>
                <p:cNvSpPr/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</p:grpSp>
        </p:grpSp>
        <p:grpSp>
          <p:nvGrpSpPr>
            <p:cNvPr id="171" name="Group 26"/>
            <p:cNvGrpSpPr/>
            <p:nvPr/>
          </p:nvGrpSpPr>
          <p:grpSpPr>
            <a:xfrm>
              <a:off x="8995267" y="1842106"/>
              <a:ext cx="1011169" cy="591857"/>
              <a:chOff x="8995267" y="1842106"/>
              <a:chExt cx="1011169" cy="591857"/>
            </a:xfrm>
          </p:grpSpPr>
          <p:grpSp>
            <p:nvGrpSpPr>
              <p:cNvPr id="172" name="Group 105"/>
              <p:cNvGrpSpPr/>
              <p:nvPr/>
            </p:nvGrpSpPr>
            <p:grpSpPr>
              <a:xfrm>
                <a:off x="8995267" y="1842106"/>
                <a:ext cx="231047" cy="591857"/>
                <a:chOff x="3647164" y="2464482"/>
                <a:chExt cx="231047" cy="591857"/>
              </a:xfrm>
              <a:gradFill>
                <a:gsLst>
                  <a:gs pos="0">
                    <a:srgbClr val="00B0F0">
                      <a:alpha val="70000"/>
                    </a:srgbClr>
                  </a:gs>
                  <a:gs pos="100000">
                    <a:srgbClr val="4CC1BA">
                      <a:alpha val="85000"/>
                    </a:srgbClr>
                  </a:gs>
                </a:gsLst>
                <a:lin ang="8100000" scaled="1"/>
              </a:gradFill>
            </p:grpSpPr>
            <p:sp>
              <p:nvSpPr>
                <p:cNvPr id="179" name="Freeform 56"/>
                <p:cNvSpPr/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80" name="Freeform 57"/>
                <p:cNvSpPr/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73" name="Group 107"/>
              <p:cNvGrpSpPr/>
              <p:nvPr/>
            </p:nvGrpSpPr>
            <p:grpSpPr>
              <a:xfrm>
                <a:off x="9385328" y="1842106"/>
                <a:ext cx="231047" cy="591857"/>
                <a:chOff x="3647164" y="2464482"/>
                <a:chExt cx="231047" cy="591857"/>
              </a:xfrm>
              <a:gradFill>
                <a:gsLst>
                  <a:gs pos="0">
                    <a:srgbClr val="00B0F0">
                      <a:alpha val="70000"/>
                    </a:srgbClr>
                  </a:gs>
                  <a:gs pos="100000">
                    <a:srgbClr val="4CC1BA">
                      <a:alpha val="85000"/>
                    </a:srgbClr>
                  </a:gs>
                </a:gsLst>
                <a:lin ang="8100000" scaled="1"/>
              </a:gradFill>
            </p:grpSpPr>
            <p:sp>
              <p:nvSpPr>
                <p:cNvPr id="177" name="Freeform 56"/>
                <p:cNvSpPr/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78" name="Freeform 57"/>
                <p:cNvSpPr/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74" name="Group 109"/>
              <p:cNvGrpSpPr/>
              <p:nvPr/>
            </p:nvGrpSpPr>
            <p:grpSpPr>
              <a:xfrm>
                <a:off x="9775389" y="1842106"/>
                <a:ext cx="231047" cy="591857"/>
                <a:chOff x="3647164" y="2464482"/>
                <a:chExt cx="231047" cy="591857"/>
              </a:xfrm>
              <a:gradFill>
                <a:gsLst>
                  <a:gs pos="0">
                    <a:srgbClr val="00B0F0">
                      <a:alpha val="70000"/>
                    </a:srgbClr>
                  </a:gs>
                  <a:gs pos="100000">
                    <a:srgbClr val="4CC1BA">
                      <a:alpha val="85000"/>
                    </a:srgbClr>
                  </a:gs>
                </a:gsLst>
                <a:lin ang="8100000" scaled="1"/>
              </a:gradFill>
            </p:grpSpPr>
            <p:sp>
              <p:nvSpPr>
                <p:cNvPr id="175" name="Freeform 56"/>
                <p:cNvSpPr/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76" name="Freeform 57"/>
                <p:cNvSpPr/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</p:grpSp>
        </p:grpSp>
        <p:grpSp>
          <p:nvGrpSpPr>
            <p:cNvPr id="181" name="Group 25"/>
            <p:cNvGrpSpPr/>
            <p:nvPr/>
          </p:nvGrpSpPr>
          <p:grpSpPr>
            <a:xfrm>
              <a:off x="8612970" y="2591953"/>
              <a:ext cx="1437810" cy="607684"/>
              <a:chOff x="8612970" y="2591953"/>
              <a:chExt cx="1437810" cy="607684"/>
            </a:xfrm>
          </p:grpSpPr>
          <p:grpSp>
            <p:nvGrpSpPr>
              <p:cNvPr id="182" name="Group 104"/>
              <p:cNvGrpSpPr/>
              <p:nvPr/>
            </p:nvGrpSpPr>
            <p:grpSpPr>
              <a:xfrm>
                <a:off x="8999521" y="2591953"/>
                <a:ext cx="271137" cy="607684"/>
                <a:chOff x="3327401" y="4335463"/>
                <a:chExt cx="407988" cy="914400"/>
              </a:xfrm>
              <a:gradFill>
                <a:gsLst>
                  <a:gs pos="0">
                    <a:srgbClr val="00B0F0">
                      <a:alpha val="70000"/>
                    </a:srgbClr>
                  </a:gs>
                  <a:gs pos="100000">
                    <a:srgbClr val="4CC1BA">
                      <a:alpha val="85000"/>
                    </a:srgbClr>
                  </a:gs>
                </a:gsLst>
                <a:lin ang="8100000" scaled="1"/>
              </a:gradFill>
            </p:grpSpPr>
            <p:sp>
              <p:nvSpPr>
                <p:cNvPr id="192" name="Freeform 58"/>
                <p:cNvSpPr/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93" name="Freeform 59"/>
                <p:cNvSpPr/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83" name="Group 106"/>
              <p:cNvGrpSpPr/>
              <p:nvPr/>
            </p:nvGrpSpPr>
            <p:grpSpPr>
              <a:xfrm>
                <a:off x="9389582" y="2591953"/>
                <a:ext cx="271137" cy="607684"/>
                <a:chOff x="3327401" y="4335463"/>
                <a:chExt cx="407988" cy="914400"/>
              </a:xfrm>
              <a:gradFill>
                <a:gsLst>
                  <a:gs pos="0">
                    <a:srgbClr val="00B0F0">
                      <a:alpha val="70000"/>
                    </a:srgbClr>
                  </a:gs>
                  <a:gs pos="100000">
                    <a:srgbClr val="4CC1BA">
                      <a:alpha val="85000"/>
                    </a:srgbClr>
                  </a:gs>
                </a:gsLst>
                <a:lin ang="8100000" scaled="1"/>
              </a:gradFill>
            </p:grpSpPr>
            <p:sp>
              <p:nvSpPr>
                <p:cNvPr id="190" name="Freeform 58"/>
                <p:cNvSpPr/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91" name="Freeform 59"/>
                <p:cNvSpPr/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84" name="Group 108"/>
              <p:cNvGrpSpPr/>
              <p:nvPr/>
            </p:nvGrpSpPr>
            <p:grpSpPr>
              <a:xfrm>
                <a:off x="9779643" y="2591953"/>
                <a:ext cx="271137" cy="607684"/>
                <a:chOff x="3327401" y="4335463"/>
                <a:chExt cx="407988" cy="914400"/>
              </a:xfrm>
              <a:gradFill>
                <a:gsLst>
                  <a:gs pos="0">
                    <a:srgbClr val="00B0F0">
                      <a:alpha val="70000"/>
                    </a:srgbClr>
                  </a:gs>
                  <a:gs pos="100000">
                    <a:srgbClr val="4CC1BA">
                      <a:alpha val="85000"/>
                    </a:srgbClr>
                  </a:gs>
                </a:gsLst>
                <a:lin ang="8100000" scaled="1"/>
              </a:gradFill>
            </p:grpSpPr>
            <p:sp>
              <p:nvSpPr>
                <p:cNvPr id="188" name="Freeform 58"/>
                <p:cNvSpPr/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89" name="Freeform 59"/>
                <p:cNvSpPr/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</p:grpSp>
          <p:grpSp>
            <p:nvGrpSpPr>
              <p:cNvPr id="185" name="Group 122"/>
              <p:cNvGrpSpPr/>
              <p:nvPr/>
            </p:nvGrpSpPr>
            <p:grpSpPr>
              <a:xfrm>
                <a:off x="8612970" y="2591953"/>
                <a:ext cx="271137" cy="607684"/>
                <a:chOff x="3327401" y="4335463"/>
                <a:chExt cx="407988" cy="914400"/>
              </a:xfrm>
              <a:gradFill>
                <a:gsLst>
                  <a:gs pos="0">
                    <a:srgbClr val="00B0F0">
                      <a:alpha val="70000"/>
                    </a:srgbClr>
                  </a:gs>
                  <a:gs pos="100000">
                    <a:srgbClr val="4CC1BA">
                      <a:alpha val="85000"/>
                    </a:srgbClr>
                  </a:gs>
                </a:gsLst>
                <a:lin ang="8100000" scaled="1"/>
              </a:gradFill>
            </p:grpSpPr>
            <p:sp>
              <p:nvSpPr>
                <p:cNvPr id="186" name="Freeform 58"/>
                <p:cNvSpPr/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  <p:sp>
              <p:nvSpPr>
                <p:cNvPr id="187" name="Freeform 59"/>
                <p:cNvSpPr/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 Light" panose="020B0502040204020203" pitchFamily="34" charset="-122"/>
                    <a:ea typeface="微软雅黑 Light" panose="020B0502040204020203" pitchFamily="34" charset="-122"/>
                    <a:cs typeface="思源黑体 CN Regular" panose="020B0500000000000000" charset="-122"/>
                    <a:sym typeface="微软雅黑 Light" panose="020B0502040204020203" pitchFamily="34" charset="-122"/>
                  </a:endParaRPr>
                </a:p>
              </p:txBody>
            </p:sp>
          </p:grpSp>
        </p:grpSp>
        <p:sp>
          <p:nvSpPr>
            <p:cNvPr id="195" name="Rectangle 125"/>
            <p:cNvSpPr/>
            <p:nvPr/>
          </p:nvSpPr>
          <p:spPr>
            <a:xfrm>
              <a:off x="10080523" y="1857584"/>
              <a:ext cx="1288569" cy="51929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  <a:cs typeface="思源黑体 CN Regular" panose="020B0500000000000000" charset="-122"/>
                  <a:sym typeface="微软雅黑 Light" panose="020B0502040204020203" pitchFamily="34" charset="-122"/>
                </a:rPr>
                <a:t>54%</a:t>
              </a:r>
              <a:endParaRPr lang="en-US" sz="1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思源黑体 CN Regular" panose="020B0500000000000000" charset="-122"/>
                <a:sym typeface="微软雅黑 Light" panose="020B0502040204020203" pitchFamily="34" charset="-122"/>
              </a:endParaRPr>
            </a:p>
          </p:txBody>
        </p:sp>
        <p:sp>
          <p:nvSpPr>
            <p:cNvPr id="198" name="Rectangle 132"/>
            <p:cNvSpPr/>
            <p:nvPr/>
          </p:nvSpPr>
          <p:spPr>
            <a:xfrm>
              <a:off x="10080523" y="2614516"/>
              <a:ext cx="1225337" cy="51928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  <a:cs typeface="思源黑体 CN Regular" panose="020B0500000000000000" charset="-122"/>
                  <a:sym typeface="微软雅黑 Light" panose="020B0502040204020203" pitchFamily="34" charset="-122"/>
                </a:rPr>
                <a:t>84%</a:t>
              </a:r>
              <a:endParaRPr lang="en-US" sz="1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  <a:cs typeface="思源黑体 CN Regular" panose="020B0500000000000000" charset="-122"/>
                <a:sym typeface="微软雅黑 Light" panose="020B0502040204020203" pitchFamily="34" charset="-122"/>
              </a:endParaRPr>
            </a:p>
          </p:txBody>
        </p:sp>
      </p:grpSp>
      <p:sp>
        <p:nvSpPr>
          <p:cNvPr id="368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779801" y="2994285"/>
            <a:ext cx="3174792" cy="12695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ct val="150000"/>
              </a:lnSpc>
            </a:pPr>
            <a:r>
              <a:rPr lang="en-US" altLang="zh-CN" sz="1100">
                <a:solidFill>
                  <a:schemeClr val="tx2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. This is a sample text. insert your desired text here. Again. this is a dummy text. enter your own text here.”</a:t>
            </a:r>
          </a:p>
        </p:txBody>
      </p:sp>
      <p:sp>
        <p:nvSpPr>
          <p:cNvPr id="369" name="Freeform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505857" y="1659968"/>
            <a:ext cx="176375" cy="176375"/>
          </a:xfrm>
          <a:custGeom>
            <a:avLst/>
            <a:gdLst/>
            <a:ahLst/>
            <a:cxnLst/>
            <a:rect l="l" t="t" r="r" b="b"/>
            <a:pathLst>
              <a:path w="195943" h="195943">
                <a:moveTo>
                  <a:pt x="144151" y="57533"/>
                </a:moveTo>
                <a:cubicBezTo>
                  <a:pt x="141940" y="57533"/>
                  <a:pt x="140026" y="58340"/>
                  <a:pt x="138410" y="59956"/>
                </a:cubicBezTo>
                <a:lnTo>
                  <a:pt x="86363" y="111876"/>
                </a:lnTo>
                <a:lnTo>
                  <a:pt x="57533" y="83046"/>
                </a:lnTo>
                <a:cubicBezTo>
                  <a:pt x="55917" y="81430"/>
                  <a:pt x="54003" y="80622"/>
                  <a:pt x="51792" y="80622"/>
                </a:cubicBezTo>
                <a:cubicBezTo>
                  <a:pt x="49581" y="80622"/>
                  <a:pt x="47668" y="81430"/>
                  <a:pt x="46052" y="83046"/>
                </a:cubicBezTo>
                <a:lnTo>
                  <a:pt x="34443" y="94527"/>
                </a:lnTo>
                <a:cubicBezTo>
                  <a:pt x="32912" y="96058"/>
                  <a:pt x="32147" y="98014"/>
                  <a:pt x="32147" y="100395"/>
                </a:cubicBezTo>
                <a:cubicBezTo>
                  <a:pt x="32147" y="102691"/>
                  <a:pt x="32912" y="104605"/>
                  <a:pt x="34443" y="106136"/>
                </a:cubicBezTo>
                <a:lnTo>
                  <a:pt x="80622" y="152315"/>
                </a:lnTo>
                <a:cubicBezTo>
                  <a:pt x="82238" y="153931"/>
                  <a:pt x="84152" y="154739"/>
                  <a:pt x="86363" y="154739"/>
                </a:cubicBezTo>
                <a:cubicBezTo>
                  <a:pt x="88659" y="154739"/>
                  <a:pt x="90615" y="153931"/>
                  <a:pt x="92231" y="152315"/>
                </a:cubicBezTo>
                <a:lnTo>
                  <a:pt x="161500" y="83046"/>
                </a:lnTo>
                <a:cubicBezTo>
                  <a:pt x="163031" y="81515"/>
                  <a:pt x="163796" y="79602"/>
                  <a:pt x="163796" y="77305"/>
                </a:cubicBezTo>
                <a:cubicBezTo>
                  <a:pt x="163796" y="74924"/>
                  <a:pt x="163031" y="72968"/>
                  <a:pt x="161500" y="71437"/>
                </a:cubicBezTo>
                <a:lnTo>
                  <a:pt x="149891" y="59956"/>
                </a:lnTo>
                <a:cubicBezTo>
                  <a:pt x="148275" y="58340"/>
                  <a:pt x="146362" y="57533"/>
                  <a:pt x="144151" y="57533"/>
                </a:cubicBezTo>
                <a:close/>
                <a:moveTo>
                  <a:pt x="97972" y="0"/>
                </a:moveTo>
                <a:cubicBezTo>
                  <a:pt x="115746" y="0"/>
                  <a:pt x="132138" y="4380"/>
                  <a:pt x="147149" y="13139"/>
                </a:cubicBezTo>
                <a:cubicBezTo>
                  <a:pt x="162159" y="21899"/>
                  <a:pt x="174044" y="33784"/>
                  <a:pt x="182804" y="48794"/>
                </a:cubicBezTo>
                <a:cubicBezTo>
                  <a:pt x="191563" y="63805"/>
                  <a:pt x="195943" y="80197"/>
                  <a:pt x="195943" y="97971"/>
                </a:cubicBezTo>
                <a:cubicBezTo>
                  <a:pt x="195943" y="115746"/>
                  <a:pt x="191563" y="132138"/>
                  <a:pt x="182804" y="147148"/>
                </a:cubicBezTo>
                <a:cubicBezTo>
                  <a:pt x="174044" y="162159"/>
                  <a:pt x="162159" y="174044"/>
                  <a:pt x="147149" y="182803"/>
                </a:cubicBezTo>
                <a:cubicBezTo>
                  <a:pt x="132138" y="191563"/>
                  <a:pt x="115746" y="195943"/>
                  <a:pt x="97972" y="195943"/>
                </a:cubicBezTo>
                <a:cubicBezTo>
                  <a:pt x="80197" y="195943"/>
                  <a:pt x="63805" y="191563"/>
                  <a:pt x="48794" y="182803"/>
                </a:cubicBezTo>
                <a:cubicBezTo>
                  <a:pt x="33784" y="174044"/>
                  <a:pt x="21899" y="162159"/>
                  <a:pt x="13140" y="147148"/>
                </a:cubicBezTo>
                <a:cubicBezTo>
                  <a:pt x="4380" y="132138"/>
                  <a:pt x="0" y="115746"/>
                  <a:pt x="0" y="97971"/>
                </a:cubicBezTo>
                <a:cubicBezTo>
                  <a:pt x="0" y="80197"/>
                  <a:pt x="4380" y="63805"/>
                  <a:pt x="13140" y="48794"/>
                </a:cubicBezTo>
                <a:cubicBezTo>
                  <a:pt x="21899" y="33784"/>
                  <a:pt x="33784" y="21899"/>
                  <a:pt x="48794" y="13139"/>
                </a:cubicBezTo>
                <a:cubicBezTo>
                  <a:pt x="63805" y="4380"/>
                  <a:pt x="80197" y="0"/>
                  <a:pt x="9797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sz="2000" dirty="0">
              <a:solidFill>
                <a:schemeClr val="tx2"/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70" name="Rectangle 1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783815" y="1515591"/>
            <a:ext cx="2608709" cy="4853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900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Distinctively </a:t>
            </a:r>
            <a:r>
              <a:rPr lang="en-US" sz="900" dirty="0" err="1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productivate</a:t>
            </a:r>
            <a:r>
              <a:rPr lang="en-US" sz="900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 dynamic total linkage vis-a-vis competitive platforms. </a:t>
            </a:r>
          </a:p>
        </p:txBody>
      </p:sp>
      <p:sp>
        <p:nvSpPr>
          <p:cNvPr id="371" name="Freeform 1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505857" y="2278682"/>
            <a:ext cx="176375" cy="176375"/>
          </a:xfrm>
          <a:custGeom>
            <a:avLst/>
            <a:gdLst/>
            <a:ahLst/>
            <a:cxnLst/>
            <a:rect l="l" t="t" r="r" b="b"/>
            <a:pathLst>
              <a:path w="195943" h="195943">
                <a:moveTo>
                  <a:pt x="144151" y="57533"/>
                </a:moveTo>
                <a:cubicBezTo>
                  <a:pt x="141940" y="57533"/>
                  <a:pt x="140026" y="58340"/>
                  <a:pt x="138410" y="59956"/>
                </a:cubicBezTo>
                <a:lnTo>
                  <a:pt x="86363" y="111876"/>
                </a:lnTo>
                <a:lnTo>
                  <a:pt x="57533" y="83046"/>
                </a:lnTo>
                <a:cubicBezTo>
                  <a:pt x="55917" y="81430"/>
                  <a:pt x="54003" y="80622"/>
                  <a:pt x="51792" y="80622"/>
                </a:cubicBezTo>
                <a:cubicBezTo>
                  <a:pt x="49581" y="80622"/>
                  <a:pt x="47668" y="81430"/>
                  <a:pt x="46052" y="83046"/>
                </a:cubicBezTo>
                <a:lnTo>
                  <a:pt x="34443" y="94527"/>
                </a:lnTo>
                <a:cubicBezTo>
                  <a:pt x="32912" y="96058"/>
                  <a:pt x="32147" y="98014"/>
                  <a:pt x="32147" y="100395"/>
                </a:cubicBezTo>
                <a:cubicBezTo>
                  <a:pt x="32147" y="102691"/>
                  <a:pt x="32912" y="104605"/>
                  <a:pt x="34443" y="106136"/>
                </a:cubicBezTo>
                <a:lnTo>
                  <a:pt x="80622" y="152315"/>
                </a:lnTo>
                <a:cubicBezTo>
                  <a:pt x="82238" y="153931"/>
                  <a:pt x="84152" y="154739"/>
                  <a:pt x="86363" y="154739"/>
                </a:cubicBezTo>
                <a:cubicBezTo>
                  <a:pt x="88659" y="154739"/>
                  <a:pt x="90615" y="153931"/>
                  <a:pt x="92231" y="152315"/>
                </a:cubicBezTo>
                <a:lnTo>
                  <a:pt x="161500" y="83046"/>
                </a:lnTo>
                <a:cubicBezTo>
                  <a:pt x="163031" y="81515"/>
                  <a:pt x="163796" y="79602"/>
                  <a:pt x="163796" y="77305"/>
                </a:cubicBezTo>
                <a:cubicBezTo>
                  <a:pt x="163796" y="74924"/>
                  <a:pt x="163031" y="72968"/>
                  <a:pt x="161500" y="71437"/>
                </a:cubicBezTo>
                <a:lnTo>
                  <a:pt x="149891" y="59956"/>
                </a:lnTo>
                <a:cubicBezTo>
                  <a:pt x="148275" y="58340"/>
                  <a:pt x="146362" y="57533"/>
                  <a:pt x="144151" y="57533"/>
                </a:cubicBezTo>
                <a:close/>
                <a:moveTo>
                  <a:pt x="97972" y="0"/>
                </a:moveTo>
                <a:cubicBezTo>
                  <a:pt x="115746" y="0"/>
                  <a:pt x="132138" y="4380"/>
                  <a:pt x="147149" y="13139"/>
                </a:cubicBezTo>
                <a:cubicBezTo>
                  <a:pt x="162159" y="21899"/>
                  <a:pt x="174044" y="33784"/>
                  <a:pt x="182804" y="48794"/>
                </a:cubicBezTo>
                <a:cubicBezTo>
                  <a:pt x="191563" y="63805"/>
                  <a:pt x="195943" y="80197"/>
                  <a:pt x="195943" y="97971"/>
                </a:cubicBezTo>
                <a:cubicBezTo>
                  <a:pt x="195943" y="115746"/>
                  <a:pt x="191563" y="132138"/>
                  <a:pt x="182804" y="147148"/>
                </a:cubicBezTo>
                <a:cubicBezTo>
                  <a:pt x="174044" y="162159"/>
                  <a:pt x="162159" y="174044"/>
                  <a:pt x="147149" y="182803"/>
                </a:cubicBezTo>
                <a:cubicBezTo>
                  <a:pt x="132138" y="191563"/>
                  <a:pt x="115746" y="195943"/>
                  <a:pt x="97972" y="195943"/>
                </a:cubicBezTo>
                <a:cubicBezTo>
                  <a:pt x="80197" y="195943"/>
                  <a:pt x="63805" y="191563"/>
                  <a:pt x="48794" y="182803"/>
                </a:cubicBezTo>
                <a:cubicBezTo>
                  <a:pt x="33784" y="174044"/>
                  <a:pt x="21899" y="162159"/>
                  <a:pt x="13140" y="147148"/>
                </a:cubicBezTo>
                <a:cubicBezTo>
                  <a:pt x="4380" y="132138"/>
                  <a:pt x="0" y="115746"/>
                  <a:pt x="0" y="97971"/>
                </a:cubicBezTo>
                <a:cubicBezTo>
                  <a:pt x="0" y="80197"/>
                  <a:pt x="4380" y="63805"/>
                  <a:pt x="13140" y="48794"/>
                </a:cubicBezTo>
                <a:cubicBezTo>
                  <a:pt x="21899" y="33784"/>
                  <a:pt x="33784" y="21899"/>
                  <a:pt x="48794" y="13139"/>
                </a:cubicBezTo>
                <a:cubicBezTo>
                  <a:pt x="63805" y="4380"/>
                  <a:pt x="80197" y="0"/>
                  <a:pt x="9797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sz="2000" dirty="0">
              <a:solidFill>
                <a:schemeClr val="tx2"/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72" name="Rectangle 1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783815" y="2134305"/>
            <a:ext cx="2608709" cy="4853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900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Distinctively </a:t>
            </a:r>
            <a:r>
              <a:rPr lang="en-US" sz="900" dirty="0" err="1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productivate</a:t>
            </a:r>
            <a:r>
              <a:rPr lang="en-US" sz="900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 dynamic total linkage vis-a-vis competitive platforms. </a:t>
            </a:r>
          </a:p>
        </p:txBody>
      </p:sp>
      <p:sp>
        <p:nvSpPr>
          <p:cNvPr id="373" name="Freeform 1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494427" y="2897396"/>
            <a:ext cx="176375" cy="176375"/>
          </a:xfrm>
          <a:custGeom>
            <a:avLst/>
            <a:gdLst/>
            <a:ahLst/>
            <a:cxnLst/>
            <a:rect l="l" t="t" r="r" b="b"/>
            <a:pathLst>
              <a:path w="195943" h="195943">
                <a:moveTo>
                  <a:pt x="144151" y="57533"/>
                </a:moveTo>
                <a:cubicBezTo>
                  <a:pt x="141940" y="57533"/>
                  <a:pt x="140026" y="58340"/>
                  <a:pt x="138410" y="59956"/>
                </a:cubicBezTo>
                <a:lnTo>
                  <a:pt x="86363" y="111876"/>
                </a:lnTo>
                <a:lnTo>
                  <a:pt x="57533" y="83046"/>
                </a:lnTo>
                <a:cubicBezTo>
                  <a:pt x="55917" y="81430"/>
                  <a:pt x="54003" y="80622"/>
                  <a:pt x="51792" y="80622"/>
                </a:cubicBezTo>
                <a:cubicBezTo>
                  <a:pt x="49581" y="80622"/>
                  <a:pt x="47668" y="81430"/>
                  <a:pt x="46052" y="83046"/>
                </a:cubicBezTo>
                <a:lnTo>
                  <a:pt x="34443" y="94527"/>
                </a:lnTo>
                <a:cubicBezTo>
                  <a:pt x="32912" y="96058"/>
                  <a:pt x="32147" y="98014"/>
                  <a:pt x="32147" y="100395"/>
                </a:cubicBezTo>
                <a:cubicBezTo>
                  <a:pt x="32147" y="102691"/>
                  <a:pt x="32912" y="104605"/>
                  <a:pt x="34443" y="106136"/>
                </a:cubicBezTo>
                <a:lnTo>
                  <a:pt x="80622" y="152315"/>
                </a:lnTo>
                <a:cubicBezTo>
                  <a:pt x="82238" y="153931"/>
                  <a:pt x="84152" y="154739"/>
                  <a:pt x="86363" y="154739"/>
                </a:cubicBezTo>
                <a:cubicBezTo>
                  <a:pt x="88659" y="154739"/>
                  <a:pt x="90615" y="153931"/>
                  <a:pt x="92231" y="152315"/>
                </a:cubicBezTo>
                <a:lnTo>
                  <a:pt x="161500" y="83046"/>
                </a:lnTo>
                <a:cubicBezTo>
                  <a:pt x="163031" y="81515"/>
                  <a:pt x="163796" y="79602"/>
                  <a:pt x="163796" y="77305"/>
                </a:cubicBezTo>
                <a:cubicBezTo>
                  <a:pt x="163796" y="74924"/>
                  <a:pt x="163031" y="72968"/>
                  <a:pt x="161500" y="71437"/>
                </a:cubicBezTo>
                <a:lnTo>
                  <a:pt x="149891" y="59956"/>
                </a:lnTo>
                <a:cubicBezTo>
                  <a:pt x="148275" y="58340"/>
                  <a:pt x="146362" y="57533"/>
                  <a:pt x="144151" y="57533"/>
                </a:cubicBezTo>
                <a:close/>
                <a:moveTo>
                  <a:pt x="97972" y="0"/>
                </a:moveTo>
                <a:cubicBezTo>
                  <a:pt x="115746" y="0"/>
                  <a:pt x="132138" y="4380"/>
                  <a:pt x="147149" y="13139"/>
                </a:cubicBezTo>
                <a:cubicBezTo>
                  <a:pt x="162159" y="21899"/>
                  <a:pt x="174044" y="33784"/>
                  <a:pt x="182804" y="48794"/>
                </a:cubicBezTo>
                <a:cubicBezTo>
                  <a:pt x="191563" y="63805"/>
                  <a:pt x="195943" y="80197"/>
                  <a:pt x="195943" y="97971"/>
                </a:cubicBezTo>
                <a:cubicBezTo>
                  <a:pt x="195943" y="115746"/>
                  <a:pt x="191563" y="132138"/>
                  <a:pt x="182804" y="147148"/>
                </a:cubicBezTo>
                <a:cubicBezTo>
                  <a:pt x="174044" y="162159"/>
                  <a:pt x="162159" y="174044"/>
                  <a:pt x="147149" y="182803"/>
                </a:cubicBezTo>
                <a:cubicBezTo>
                  <a:pt x="132138" y="191563"/>
                  <a:pt x="115746" y="195943"/>
                  <a:pt x="97972" y="195943"/>
                </a:cubicBezTo>
                <a:cubicBezTo>
                  <a:pt x="80197" y="195943"/>
                  <a:pt x="63805" y="191563"/>
                  <a:pt x="48794" y="182803"/>
                </a:cubicBezTo>
                <a:cubicBezTo>
                  <a:pt x="33784" y="174044"/>
                  <a:pt x="21899" y="162159"/>
                  <a:pt x="13140" y="147148"/>
                </a:cubicBezTo>
                <a:cubicBezTo>
                  <a:pt x="4380" y="132138"/>
                  <a:pt x="0" y="115746"/>
                  <a:pt x="0" y="97971"/>
                </a:cubicBezTo>
                <a:cubicBezTo>
                  <a:pt x="0" y="80197"/>
                  <a:pt x="4380" y="63805"/>
                  <a:pt x="13140" y="48794"/>
                </a:cubicBezTo>
                <a:cubicBezTo>
                  <a:pt x="21899" y="33784"/>
                  <a:pt x="33784" y="21899"/>
                  <a:pt x="48794" y="13139"/>
                </a:cubicBezTo>
                <a:cubicBezTo>
                  <a:pt x="63805" y="4380"/>
                  <a:pt x="80197" y="0"/>
                  <a:pt x="9797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sz="2000" dirty="0">
              <a:solidFill>
                <a:schemeClr val="tx2"/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74" name="Rectangle 2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772385" y="2753019"/>
            <a:ext cx="2608709" cy="4853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900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Distinctively </a:t>
            </a:r>
            <a:r>
              <a:rPr lang="en-US" sz="900" dirty="0" err="1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productivate</a:t>
            </a:r>
            <a:r>
              <a:rPr lang="en-US" sz="900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 dynamic total linkage vis-a-vis competitive platforms. </a:t>
            </a:r>
          </a:p>
        </p:txBody>
      </p:sp>
      <p:sp>
        <p:nvSpPr>
          <p:cNvPr id="375" name="Freeform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568316" y="4315725"/>
            <a:ext cx="176375" cy="176375"/>
          </a:xfrm>
          <a:custGeom>
            <a:avLst/>
            <a:gdLst/>
            <a:ahLst/>
            <a:cxnLst/>
            <a:rect l="l" t="t" r="r" b="b"/>
            <a:pathLst>
              <a:path w="195943" h="195943">
                <a:moveTo>
                  <a:pt x="144151" y="57533"/>
                </a:moveTo>
                <a:cubicBezTo>
                  <a:pt x="141940" y="57533"/>
                  <a:pt x="140026" y="58340"/>
                  <a:pt x="138410" y="59956"/>
                </a:cubicBezTo>
                <a:lnTo>
                  <a:pt x="86363" y="111876"/>
                </a:lnTo>
                <a:lnTo>
                  <a:pt x="57533" y="83046"/>
                </a:lnTo>
                <a:cubicBezTo>
                  <a:pt x="55917" y="81430"/>
                  <a:pt x="54003" y="80622"/>
                  <a:pt x="51792" y="80622"/>
                </a:cubicBezTo>
                <a:cubicBezTo>
                  <a:pt x="49581" y="80622"/>
                  <a:pt x="47668" y="81430"/>
                  <a:pt x="46052" y="83046"/>
                </a:cubicBezTo>
                <a:lnTo>
                  <a:pt x="34443" y="94527"/>
                </a:lnTo>
                <a:cubicBezTo>
                  <a:pt x="32912" y="96058"/>
                  <a:pt x="32147" y="98014"/>
                  <a:pt x="32147" y="100395"/>
                </a:cubicBezTo>
                <a:cubicBezTo>
                  <a:pt x="32147" y="102691"/>
                  <a:pt x="32912" y="104605"/>
                  <a:pt x="34443" y="106136"/>
                </a:cubicBezTo>
                <a:lnTo>
                  <a:pt x="80622" y="152315"/>
                </a:lnTo>
                <a:cubicBezTo>
                  <a:pt x="82238" y="153931"/>
                  <a:pt x="84152" y="154739"/>
                  <a:pt x="86363" y="154739"/>
                </a:cubicBezTo>
                <a:cubicBezTo>
                  <a:pt x="88659" y="154739"/>
                  <a:pt x="90615" y="153931"/>
                  <a:pt x="92231" y="152315"/>
                </a:cubicBezTo>
                <a:lnTo>
                  <a:pt x="161500" y="83046"/>
                </a:lnTo>
                <a:cubicBezTo>
                  <a:pt x="163031" y="81515"/>
                  <a:pt x="163796" y="79602"/>
                  <a:pt x="163796" y="77305"/>
                </a:cubicBezTo>
                <a:cubicBezTo>
                  <a:pt x="163796" y="74924"/>
                  <a:pt x="163031" y="72968"/>
                  <a:pt x="161500" y="71437"/>
                </a:cubicBezTo>
                <a:lnTo>
                  <a:pt x="149891" y="59956"/>
                </a:lnTo>
                <a:cubicBezTo>
                  <a:pt x="148275" y="58340"/>
                  <a:pt x="146362" y="57533"/>
                  <a:pt x="144151" y="57533"/>
                </a:cubicBezTo>
                <a:close/>
                <a:moveTo>
                  <a:pt x="97972" y="0"/>
                </a:moveTo>
                <a:cubicBezTo>
                  <a:pt x="115746" y="0"/>
                  <a:pt x="132138" y="4380"/>
                  <a:pt x="147149" y="13139"/>
                </a:cubicBezTo>
                <a:cubicBezTo>
                  <a:pt x="162159" y="21899"/>
                  <a:pt x="174044" y="33784"/>
                  <a:pt x="182804" y="48794"/>
                </a:cubicBezTo>
                <a:cubicBezTo>
                  <a:pt x="191563" y="63805"/>
                  <a:pt x="195943" y="80197"/>
                  <a:pt x="195943" y="97971"/>
                </a:cubicBezTo>
                <a:cubicBezTo>
                  <a:pt x="195943" y="115746"/>
                  <a:pt x="191563" y="132138"/>
                  <a:pt x="182804" y="147148"/>
                </a:cubicBezTo>
                <a:cubicBezTo>
                  <a:pt x="174044" y="162159"/>
                  <a:pt x="162159" y="174044"/>
                  <a:pt x="147149" y="182803"/>
                </a:cubicBezTo>
                <a:cubicBezTo>
                  <a:pt x="132138" y="191563"/>
                  <a:pt x="115746" y="195943"/>
                  <a:pt x="97972" y="195943"/>
                </a:cubicBezTo>
                <a:cubicBezTo>
                  <a:pt x="80197" y="195943"/>
                  <a:pt x="63805" y="191563"/>
                  <a:pt x="48794" y="182803"/>
                </a:cubicBezTo>
                <a:cubicBezTo>
                  <a:pt x="33784" y="174044"/>
                  <a:pt x="21899" y="162159"/>
                  <a:pt x="13140" y="147148"/>
                </a:cubicBezTo>
                <a:cubicBezTo>
                  <a:pt x="4380" y="132138"/>
                  <a:pt x="0" y="115746"/>
                  <a:pt x="0" y="97971"/>
                </a:cubicBezTo>
                <a:cubicBezTo>
                  <a:pt x="0" y="80197"/>
                  <a:pt x="4380" y="63805"/>
                  <a:pt x="13140" y="48794"/>
                </a:cubicBezTo>
                <a:cubicBezTo>
                  <a:pt x="21899" y="33784"/>
                  <a:pt x="33784" y="21899"/>
                  <a:pt x="48794" y="13139"/>
                </a:cubicBezTo>
                <a:cubicBezTo>
                  <a:pt x="63805" y="4380"/>
                  <a:pt x="80197" y="0"/>
                  <a:pt x="97972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sz="2000" dirty="0">
              <a:solidFill>
                <a:schemeClr val="tx2"/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76" name="Rectangle 1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846274" y="4171348"/>
            <a:ext cx="2608709" cy="4853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900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Distinctively </a:t>
            </a:r>
            <a:r>
              <a:rPr lang="en-US" sz="900" dirty="0" err="1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productivate</a:t>
            </a:r>
            <a:r>
              <a:rPr lang="en-US" sz="900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 dynamic total linkage vis-a-vis competitive platforms. </a:t>
            </a:r>
          </a:p>
        </p:txBody>
      </p:sp>
      <p:sp>
        <p:nvSpPr>
          <p:cNvPr id="377" name="Freeform 1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568316" y="4934439"/>
            <a:ext cx="176375" cy="176375"/>
          </a:xfrm>
          <a:custGeom>
            <a:avLst/>
            <a:gdLst/>
            <a:ahLst/>
            <a:cxnLst/>
            <a:rect l="l" t="t" r="r" b="b"/>
            <a:pathLst>
              <a:path w="195943" h="195943">
                <a:moveTo>
                  <a:pt x="144151" y="57533"/>
                </a:moveTo>
                <a:cubicBezTo>
                  <a:pt x="141940" y="57533"/>
                  <a:pt x="140026" y="58340"/>
                  <a:pt x="138410" y="59956"/>
                </a:cubicBezTo>
                <a:lnTo>
                  <a:pt x="86363" y="111876"/>
                </a:lnTo>
                <a:lnTo>
                  <a:pt x="57533" y="83046"/>
                </a:lnTo>
                <a:cubicBezTo>
                  <a:pt x="55917" y="81430"/>
                  <a:pt x="54003" y="80622"/>
                  <a:pt x="51792" y="80622"/>
                </a:cubicBezTo>
                <a:cubicBezTo>
                  <a:pt x="49581" y="80622"/>
                  <a:pt x="47668" y="81430"/>
                  <a:pt x="46052" y="83046"/>
                </a:cubicBezTo>
                <a:lnTo>
                  <a:pt x="34443" y="94527"/>
                </a:lnTo>
                <a:cubicBezTo>
                  <a:pt x="32912" y="96058"/>
                  <a:pt x="32147" y="98014"/>
                  <a:pt x="32147" y="100395"/>
                </a:cubicBezTo>
                <a:cubicBezTo>
                  <a:pt x="32147" y="102691"/>
                  <a:pt x="32912" y="104605"/>
                  <a:pt x="34443" y="106136"/>
                </a:cubicBezTo>
                <a:lnTo>
                  <a:pt x="80622" y="152315"/>
                </a:lnTo>
                <a:cubicBezTo>
                  <a:pt x="82238" y="153931"/>
                  <a:pt x="84152" y="154739"/>
                  <a:pt x="86363" y="154739"/>
                </a:cubicBezTo>
                <a:cubicBezTo>
                  <a:pt x="88659" y="154739"/>
                  <a:pt x="90615" y="153931"/>
                  <a:pt x="92231" y="152315"/>
                </a:cubicBezTo>
                <a:lnTo>
                  <a:pt x="161500" y="83046"/>
                </a:lnTo>
                <a:cubicBezTo>
                  <a:pt x="163031" y="81515"/>
                  <a:pt x="163796" y="79602"/>
                  <a:pt x="163796" y="77305"/>
                </a:cubicBezTo>
                <a:cubicBezTo>
                  <a:pt x="163796" y="74924"/>
                  <a:pt x="163031" y="72968"/>
                  <a:pt x="161500" y="71437"/>
                </a:cubicBezTo>
                <a:lnTo>
                  <a:pt x="149891" y="59956"/>
                </a:lnTo>
                <a:cubicBezTo>
                  <a:pt x="148275" y="58340"/>
                  <a:pt x="146362" y="57533"/>
                  <a:pt x="144151" y="57533"/>
                </a:cubicBezTo>
                <a:close/>
                <a:moveTo>
                  <a:pt x="97972" y="0"/>
                </a:moveTo>
                <a:cubicBezTo>
                  <a:pt x="115746" y="0"/>
                  <a:pt x="132138" y="4380"/>
                  <a:pt x="147149" y="13139"/>
                </a:cubicBezTo>
                <a:cubicBezTo>
                  <a:pt x="162159" y="21899"/>
                  <a:pt x="174044" y="33784"/>
                  <a:pt x="182804" y="48794"/>
                </a:cubicBezTo>
                <a:cubicBezTo>
                  <a:pt x="191563" y="63805"/>
                  <a:pt x="195943" y="80197"/>
                  <a:pt x="195943" y="97971"/>
                </a:cubicBezTo>
                <a:cubicBezTo>
                  <a:pt x="195943" y="115746"/>
                  <a:pt x="191563" y="132138"/>
                  <a:pt x="182804" y="147148"/>
                </a:cubicBezTo>
                <a:cubicBezTo>
                  <a:pt x="174044" y="162159"/>
                  <a:pt x="162159" y="174044"/>
                  <a:pt x="147149" y="182803"/>
                </a:cubicBezTo>
                <a:cubicBezTo>
                  <a:pt x="132138" y="191563"/>
                  <a:pt x="115746" y="195943"/>
                  <a:pt x="97972" y="195943"/>
                </a:cubicBezTo>
                <a:cubicBezTo>
                  <a:pt x="80197" y="195943"/>
                  <a:pt x="63805" y="191563"/>
                  <a:pt x="48794" y="182803"/>
                </a:cubicBezTo>
                <a:cubicBezTo>
                  <a:pt x="33784" y="174044"/>
                  <a:pt x="21899" y="162159"/>
                  <a:pt x="13140" y="147148"/>
                </a:cubicBezTo>
                <a:cubicBezTo>
                  <a:pt x="4380" y="132138"/>
                  <a:pt x="0" y="115746"/>
                  <a:pt x="0" y="97971"/>
                </a:cubicBezTo>
                <a:cubicBezTo>
                  <a:pt x="0" y="80197"/>
                  <a:pt x="4380" y="63805"/>
                  <a:pt x="13140" y="48794"/>
                </a:cubicBezTo>
                <a:cubicBezTo>
                  <a:pt x="21899" y="33784"/>
                  <a:pt x="33784" y="21899"/>
                  <a:pt x="48794" y="13139"/>
                </a:cubicBezTo>
                <a:cubicBezTo>
                  <a:pt x="63805" y="4380"/>
                  <a:pt x="80197" y="0"/>
                  <a:pt x="97972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sz="2000" dirty="0">
              <a:solidFill>
                <a:schemeClr val="tx2"/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78" name="Rectangle 1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846274" y="4790062"/>
            <a:ext cx="2608709" cy="4853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900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Distinctively </a:t>
            </a:r>
            <a:r>
              <a:rPr lang="en-US" sz="900" dirty="0" err="1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productivate</a:t>
            </a:r>
            <a:r>
              <a:rPr lang="en-US" sz="900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 dynamic total linkage vis-a-vis competitive platforms. </a:t>
            </a:r>
          </a:p>
        </p:txBody>
      </p:sp>
      <p:sp>
        <p:nvSpPr>
          <p:cNvPr id="379" name="Freeform 1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556886" y="5553153"/>
            <a:ext cx="176375" cy="176375"/>
          </a:xfrm>
          <a:custGeom>
            <a:avLst/>
            <a:gdLst/>
            <a:ahLst/>
            <a:cxnLst/>
            <a:rect l="l" t="t" r="r" b="b"/>
            <a:pathLst>
              <a:path w="195943" h="195943">
                <a:moveTo>
                  <a:pt x="144151" y="57533"/>
                </a:moveTo>
                <a:cubicBezTo>
                  <a:pt x="141940" y="57533"/>
                  <a:pt x="140026" y="58340"/>
                  <a:pt x="138410" y="59956"/>
                </a:cubicBezTo>
                <a:lnTo>
                  <a:pt x="86363" y="111876"/>
                </a:lnTo>
                <a:lnTo>
                  <a:pt x="57533" y="83046"/>
                </a:lnTo>
                <a:cubicBezTo>
                  <a:pt x="55917" y="81430"/>
                  <a:pt x="54003" y="80622"/>
                  <a:pt x="51792" y="80622"/>
                </a:cubicBezTo>
                <a:cubicBezTo>
                  <a:pt x="49581" y="80622"/>
                  <a:pt x="47668" y="81430"/>
                  <a:pt x="46052" y="83046"/>
                </a:cubicBezTo>
                <a:lnTo>
                  <a:pt x="34443" y="94527"/>
                </a:lnTo>
                <a:cubicBezTo>
                  <a:pt x="32912" y="96058"/>
                  <a:pt x="32147" y="98014"/>
                  <a:pt x="32147" y="100395"/>
                </a:cubicBezTo>
                <a:cubicBezTo>
                  <a:pt x="32147" y="102691"/>
                  <a:pt x="32912" y="104605"/>
                  <a:pt x="34443" y="106136"/>
                </a:cubicBezTo>
                <a:lnTo>
                  <a:pt x="80622" y="152315"/>
                </a:lnTo>
                <a:cubicBezTo>
                  <a:pt x="82238" y="153931"/>
                  <a:pt x="84152" y="154739"/>
                  <a:pt x="86363" y="154739"/>
                </a:cubicBezTo>
                <a:cubicBezTo>
                  <a:pt x="88659" y="154739"/>
                  <a:pt x="90615" y="153931"/>
                  <a:pt x="92231" y="152315"/>
                </a:cubicBezTo>
                <a:lnTo>
                  <a:pt x="161500" y="83046"/>
                </a:lnTo>
                <a:cubicBezTo>
                  <a:pt x="163031" y="81515"/>
                  <a:pt x="163796" y="79602"/>
                  <a:pt x="163796" y="77305"/>
                </a:cubicBezTo>
                <a:cubicBezTo>
                  <a:pt x="163796" y="74924"/>
                  <a:pt x="163031" y="72968"/>
                  <a:pt x="161500" y="71437"/>
                </a:cubicBezTo>
                <a:lnTo>
                  <a:pt x="149891" y="59956"/>
                </a:lnTo>
                <a:cubicBezTo>
                  <a:pt x="148275" y="58340"/>
                  <a:pt x="146362" y="57533"/>
                  <a:pt x="144151" y="57533"/>
                </a:cubicBezTo>
                <a:close/>
                <a:moveTo>
                  <a:pt x="97972" y="0"/>
                </a:moveTo>
                <a:cubicBezTo>
                  <a:pt x="115746" y="0"/>
                  <a:pt x="132138" y="4380"/>
                  <a:pt x="147149" y="13139"/>
                </a:cubicBezTo>
                <a:cubicBezTo>
                  <a:pt x="162159" y="21899"/>
                  <a:pt x="174044" y="33784"/>
                  <a:pt x="182804" y="48794"/>
                </a:cubicBezTo>
                <a:cubicBezTo>
                  <a:pt x="191563" y="63805"/>
                  <a:pt x="195943" y="80197"/>
                  <a:pt x="195943" y="97971"/>
                </a:cubicBezTo>
                <a:cubicBezTo>
                  <a:pt x="195943" y="115746"/>
                  <a:pt x="191563" y="132138"/>
                  <a:pt x="182804" y="147148"/>
                </a:cubicBezTo>
                <a:cubicBezTo>
                  <a:pt x="174044" y="162159"/>
                  <a:pt x="162159" y="174044"/>
                  <a:pt x="147149" y="182803"/>
                </a:cubicBezTo>
                <a:cubicBezTo>
                  <a:pt x="132138" y="191563"/>
                  <a:pt x="115746" y="195943"/>
                  <a:pt x="97972" y="195943"/>
                </a:cubicBezTo>
                <a:cubicBezTo>
                  <a:pt x="80197" y="195943"/>
                  <a:pt x="63805" y="191563"/>
                  <a:pt x="48794" y="182803"/>
                </a:cubicBezTo>
                <a:cubicBezTo>
                  <a:pt x="33784" y="174044"/>
                  <a:pt x="21899" y="162159"/>
                  <a:pt x="13140" y="147148"/>
                </a:cubicBezTo>
                <a:cubicBezTo>
                  <a:pt x="4380" y="132138"/>
                  <a:pt x="0" y="115746"/>
                  <a:pt x="0" y="97971"/>
                </a:cubicBezTo>
                <a:cubicBezTo>
                  <a:pt x="0" y="80197"/>
                  <a:pt x="4380" y="63805"/>
                  <a:pt x="13140" y="48794"/>
                </a:cubicBezTo>
                <a:cubicBezTo>
                  <a:pt x="21899" y="33784"/>
                  <a:pt x="33784" y="21899"/>
                  <a:pt x="48794" y="13139"/>
                </a:cubicBezTo>
                <a:cubicBezTo>
                  <a:pt x="63805" y="4380"/>
                  <a:pt x="80197" y="0"/>
                  <a:pt x="97972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sz="2000" dirty="0">
              <a:solidFill>
                <a:schemeClr val="tx2"/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80" name="Rectangle 2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834844" y="5408776"/>
            <a:ext cx="2608709" cy="4853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900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Distinctively </a:t>
            </a:r>
            <a:r>
              <a:rPr lang="en-US" sz="900" dirty="0" err="1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productivate</a:t>
            </a:r>
            <a:r>
              <a:rPr lang="en-US" sz="900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 dynamic total linkage vis-a-vis competitive platforms.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Picture 1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20703025">
            <a:off x="9967308" y="6187161"/>
            <a:ext cx="1079708" cy="91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2" name="Rectangle 8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30250" y="1316042"/>
            <a:ext cx="5029632" cy="503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r>
              <a:rPr lang="en-US" sz="3600" spc="-150" dirty="0">
                <a:solidFill>
                  <a:schemeClr val="tx1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Pros</a:t>
            </a:r>
          </a:p>
        </p:txBody>
      </p:sp>
      <p:sp>
        <p:nvSpPr>
          <p:cNvPr id="39" name="Rectangle 3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780617" y="1354142"/>
            <a:ext cx="5024857" cy="503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sz="3600" spc="-150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Cons</a:t>
            </a:r>
          </a:p>
        </p:txBody>
      </p:sp>
      <p:sp>
        <p:nvSpPr>
          <p:cNvPr id="2" name="Text Placeholder 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Grp="1"/>
          </p:cNvSpPr>
          <p:nvPr>
            <p:ph type="body" sz="quarter" idx="4294967295"/>
          </p:nvPr>
        </p:nvSpPr>
        <p:spPr>
          <a:xfrm>
            <a:off x="564470" y="534572"/>
            <a:ext cx="11136085" cy="676784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4000" b="1">
                <a:solidFill>
                  <a:schemeClr val="tx2">
                    <a:lumMod val="50000"/>
                  </a:schemeClr>
                </a:solidFill>
              </a:rPr>
              <a:t>Pros &amp; Cons</a:t>
            </a:r>
          </a:p>
        </p:txBody>
      </p:sp>
      <p:sp>
        <p:nvSpPr>
          <p:cNvPr id="86" name="Rectangle: Rounded Corners 8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22953" y="1893078"/>
            <a:ext cx="5457763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88" name="Rectangle: Rounded Corners 8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84216" y="1893078"/>
            <a:ext cx="5485934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93" name="Rectangle: Rounded Corners 9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150674" y="1893078"/>
            <a:ext cx="3930042" cy="33147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r>
              <a:rPr lang="en-US" sz="1600" spc="-75" dirty="0">
                <a:solidFill>
                  <a:schemeClr val="tx1">
                    <a:lumMod val="10000"/>
                    <a:lumOff val="90000"/>
                  </a:schemeClr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75%</a:t>
            </a:r>
          </a:p>
        </p:txBody>
      </p:sp>
      <p:sp>
        <p:nvSpPr>
          <p:cNvPr id="98" name="Rectangle: Rounded Corners 9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84216" y="1893078"/>
            <a:ext cx="4101390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91440" bIns="0" rtlCol="0" anchor="ctr"/>
          <a:lstStyle/>
          <a:p>
            <a:pPr algn="r"/>
            <a:r>
              <a:rPr lang="en-US" sz="1600" spc="-75" dirty="0">
                <a:latin typeface="方正综艺简体" panose="03000509000000000000" pitchFamily="65" charset="-122"/>
                <a:cs typeface="思源黑体 CN Regular" panose="020B0500000000000000" charset="-122"/>
              </a:rPr>
              <a:t>80%</a:t>
            </a:r>
          </a:p>
        </p:txBody>
      </p:sp>
      <p:sp>
        <p:nvSpPr>
          <p:cNvPr id="131" name="TextBox 13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5788866" y="1324201"/>
            <a:ext cx="63350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600" spc="-150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vs</a:t>
            </a:r>
          </a:p>
        </p:txBody>
      </p:sp>
      <p:sp>
        <p:nvSpPr>
          <p:cNvPr id="150" name="Rectangle: Rounded Corners 14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036131" y="1893078"/>
            <a:ext cx="2119739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Statistic One</a:t>
            </a:r>
          </a:p>
        </p:txBody>
      </p:sp>
      <p:sp>
        <p:nvSpPr>
          <p:cNvPr id="151" name="Rectangle: Rounded Corners 15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22953" y="2348489"/>
            <a:ext cx="5457763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152" name="Rectangle: Rounded Corners 15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84216" y="2348489"/>
            <a:ext cx="5485934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153" name="Rectangle: Rounded Corners 15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3276633" y="2348489"/>
            <a:ext cx="2804083" cy="331471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r>
              <a:rPr lang="en-US" sz="1600" spc="-75" dirty="0">
                <a:solidFill>
                  <a:schemeClr val="tx1">
                    <a:lumMod val="10000"/>
                    <a:lumOff val="90000"/>
                  </a:schemeClr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45%</a:t>
            </a:r>
          </a:p>
        </p:txBody>
      </p:sp>
      <p:sp>
        <p:nvSpPr>
          <p:cNvPr id="154" name="Rectangle: Rounded Corners 15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84215" y="2348489"/>
            <a:ext cx="2273501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91440" bIns="0" rtlCol="0" anchor="ctr"/>
          <a:lstStyle/>
          <a:p>
            <a:pPr algn="r"/>
            <a:r>
              <a:rPr lang="en-US" sz="1600" spc="-75" dirty="0">
                <a:latin typeface="方正综艺简体" panose="03000509000000000000" pitchFamily="65" charset="-122"/>
                <a:cs typeface="思源黑体 CN Regular" panose="020B0500000000000000" charset="-122"/>
              </a:rPr>
              <a:t>25%</a:t>
            </a:r>
          </a:p>
        </p:txBody>
      </p:sp>
      <p:sp>
        <p:nvSpPr>
          <p:cNvPr id="155" name="Rectangle: Rounded Corners 15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036131" y="2348489"/>
            <a:ext cx="2119739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Statistic Two</a:t>
            </a:r>
          </a:p>
        </p:txBody>
      </p:sp>
      <p:sp>
        <p:nvSpPr>
          <p:cNvPr id="156" name="Rectangle: Rounded Corners 15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22953" y="2804367"/>
            <a:ext cx="5457763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157" name="Rectangle: Rounded Corners 15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84216" y="2804367"/>
            <a:ext cx="5485934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158" name="Rectangle: Rounded Corners 15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903409" y="2804367"/>
            <a:ext cx="3177307" cy="33147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r>
              <a:rPr lang="en-US" sz="1600" spc="-75" dirty="0">
                <a:solidFill>
                  <a:schemeClr val="tx1">
                    <a:lumMod val="10000"/>
                    <a:lumOff val="90000"/>
                  </a:schemeClr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50%</a:t>
            </a:r>
          </a:p>
        </p:txBody>
      </p:sp>
      <p:sp>
        <p:nvSpPr>
          <p:cNvPr id="159" name="Rectangle: Rounded Corners 15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84216" y="2804367"/>
            <a:ext cx="3957111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91440" bIns="0" rtlCol="0" anchor="ctr"/>
          <a:lstStyle/>
          <a:p>
            <a:pPr algn="r"/>
            <a:r>
              <a:rPr lang="en-US" sz="1600" spc="-75" dirty="0">
                <a:latin typeface="方正综艺简体" panose="03000509000000000000" pitchFamily="65" charset="-122"/>
                <a:cs typeface="思源黑体 CN Regular" panose="020B0500000000000000" charset="-122"/>
              </a:rPr>
              <a:t>75%</a:t>
            </a:r>
          </a:p>
        </p:txBody>
      </p:sp>
      <p:sp>
        <p:nvSpPr>
          <p:cNvPr id="160" name="Rectangle: Rounded Corners 15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036131" y="2804367"/>
            <a:ext cx="2119739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Statistic Three</a:t>
            </a:r>
          </a:p>
        </p:txBody>
      </p:sp>
      <p:sp>
        <p:nvSpPr>
          <p:cNvPr id="161" name="Rectangle: Rounded Corners 16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22953" y="3261855"/>
            <a:ext cx="5457763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166" name="Rectangle: Rounded Corners 16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84216" y="3261855"/>
            <a:ext cx="5485934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198" name="Rectangle: Rounded Corners 19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525658" y="3261855"/>
            <a:ext cx="4555058" cy="331471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r>
              <a:rPr lang="en-US" sz="1600" spc="-75" dirty="0">
                <a:solidFill>
                  <a:schemeClr val="tx1">
                    <a:lumMod val="10000"/>
                    <a:lumOff val="90000"/>
                  </a:schemeClr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89%</a:t>
            </a:r>
          </a:p>
        </p:txBody>
      </p:sp>
      <p:sp>
        <p:nvSpPr>
          <p:cNvPr id="199" name="Rectangle: Rounded Corners 19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84216" y="3261855"/>
            <a:ext cx="1857723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91440" bIns="0" rtlCol="0" anchor="ctr"/>
          <a:lstStyle/>
          <a:p>
            <a:pPr algn="r"/>
            <a:r>
              <a:rPr lang="en-US" sz="1600" spc="-75" dirty="0">
                <a:latin typeface="方正综艺简体" panose="03000509000000000000" pitchFamily="65" charset="-122"/>
                <a:cs typeface="思源黑体 CN Regular" panose="020B0500000000000000" charset="-122"/>
              </a:rPr>
              <a:t>15%</a:t>
            </a:r>
          </a:p>
        </p:txBody>
      </p:sp>
      <p:sp>
        <p:nvSpPr>
          <p:cNvPr id="200" name="Rectangle: Rounded Corners 19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036131" y="3261855"/>
            <a:ext cx="2119739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Statistic Four</a:t>
            </a:r>
          </a:p>
        </p:txBody>
      </p:sp>
      <p:sp>
        <p:nvSpPr>
          <p:cNvPr id="201" name="Rectangle: Rounded Corners 20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22953" y="3718925"/>
            <a:ext cx="5457763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202" name="Rectangle: Rounded Corners 20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84216" y="3718925"/>
            <a:ext cx="5485934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203" name="Rectangle: Rounded Corners 20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3357612" y="3718925"/>
            <a:ext cx="2723104" cy="331471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r>
              <a:rPr lang="en-US" sz="1600" spc="-75" dirty="0">
                <a:solidFill>
                  <a:schemeClr val="tx1">
                    <a:lumMod val="10000"/>
                    <a:lumOff val="90000"/>
                  </a:schemeClr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35%</a:t>
            </a:r>
          </a:p>
        </p:txBody>
      </p:sp>
      <p:sp>
        <p:nvSpPr>
          <p:cNvPr id="204" name="Rectangle: Rounded Corners 20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84216" y="3718925"/>
            <a:ext cx="5358140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91440" bIns="0" rtlCol="0" anchor="ctr"/>
          <a:lstStyle/>
          <a:p>
            <a:pPr algn="r"/>
            <a:r>
              <a:rPr lang="en-US" sz="1600" spc="-75" dirty="0">
                <a:latin typeface="方正综艺简体" panose="03000509000000000000" pitchFamily="65" charset="-122"/>
                <a:cs typeface="思源黑体 CN Regular" panose="020B0500000000000000" charset="-122"/>
              </a:rPr>
              <a:t>95%</a:t>
            </a:r>
          </a:p>
        </p:txBody>
      </p:sp>
      <p:sp>
        <p:nvSpPr>
          <p:cNvPr id="205" name="Rectangle: Rounded Corners 20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036131" y="3718925"/>
            <a:ext cx="2119739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Statistic Five</a:t>
            </a:r>
          </a:p>
        </p:txBody>
      </p:sp>
      <p:sp>
        <p:nvSpPr>
          <p:cNvPr id="70" name="Rectangle: Rounded Corners 6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22953" y="4186298"/>
            <a:ext cx="5457763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71" name="Rectangle: Rounded Corners 7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84216" y="4186298"/>
            <a:ext cx="5485934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97" name="Rectangle: Rounded Corners 9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525658" y="4186298"/>
            <a:ext cx="4555058" cy="331471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r>
              <a:rPr lang="en-US" sz="1600" spc="-75" dirty="0">
                <a:solidFill>
                  <a:schemeClr val="tx1">
                    <a:lumMod val="10000"/>
                    <a:lumOff val="90000"/>
                  </a:schemeClr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89%</a:t>
            </a:r>
          </a:p>
        </p:txBody>
      </p:sp>
      <p:sp>
        <p:nvSpPr>
          <p:cNvPr id="99" name="Rectangle: Rounded Corners 9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84216" y="4186298"/>
            <a:ext cx="1624458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91440" bIns="0" rtlCol="0" anchor="ctr"/>
          <a:lstStyle/>
          <a:p>
            <a:pPr algn="r"/>
            <a:r>
              <a:rPr lang="en-US" sz="1600" spc="-75" dirty="0">
                <a:latin typeface="方正综艺简体" panose="03000509000000000000" pitchFamily="65" charset="-122"/>
                <a:cs typeface="思源黑体 CN Regular" panose="020B0500000000000000" charset="-122"/>
              </a:rPr>
              <a:t>5%</a:t>
            </a:r>
          </a:p>
        </p:txBody>
      </p:sp>
      <p:sp>
        <p:nvSpPr>
          <p:cNvPr id="100" name="Rectangle: Rounded Corners 9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036131" y="4186298"/>
            <a:ext cx="2119739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Statistic Six</a:t>
            </a:r>
          </a:p>
        </p:txBody>
      </p:sp>
      <p:sp>
        <p:nvSpPr>
          <p:cNvPr id="101" name="Rectangle: Rounded Corners 10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22953" y="4643368"/>
            <a:ext cx="5457763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102" name="Rectangle: Rounded Corners 10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84216" y="4643368"/>
            <a:ext cx="5485934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103" name="Rectangle: Rounded Corners 10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520854" y="4643368"/>
            <a:ext cx="3559862" cy="331471"/>
          </a:xfrm>
          <a:prstGeom prst="roundRect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r>
              <a:rPr lang="en-US" sz="1600" spc="-75" dirty="0">
                <a:solidFill>
                  <a:schemeClr val="tx1">
                    <a:lumMod val="10000"/>
                    <a:lumOff val="90000"/>
                  </a:schemeClr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65%</a:t>
            </a:r>
          </a:p>
        </p:txBody>
      </p:sp>
      <p:sp>
        <p:nvSpPr>
          <p:cNvPr id="104" name="Rectangle: Rounded Corners 10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84216" y="4643368"/>
            <a:ext cx="5358140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91440" bIns="0" rtlCol="0" anchor="ctr"/>
          <a:lstStyle/>
          <a:p>
            <a:pPr algn="r"/>
            <a:r>
              <a:rPr lang="en-US" sz="1600" spc="-75" dirty="0">
                <a:latin typeface="方正综艺简体" panose="03000509000000000000" pitchFamily="65" charset="-122"/>
                <a:cs typeface="思源黑体 CN Regular" panose="020B0500000000000000" charset="-122"/>
              </a:rPr>
              <a:t>95%</a:t>
            </a:r>
          </a:p>
        </p:txBody>
      </p:sp>
      <p:sp>
        <p:nvSpPr>
          <p:cNvPr id="105" name="Rectangle: Rounded Corners 10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036131" y="4643368"/>
            <a:ext cx="2119739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Statistic Seven</a:t>
            </a:r>
          </a:p>
        </p:txBody>
      </p:sp>
      <p:sp>
        <p:nvSpPr>
          <p:cNvPr id="106" name="Rectangle: Rounded Corners 10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22953" y="5100438"/>
            <a:ext cx="5457763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107" name="Rectangle: Rounded Corners 10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84216" y="5100438"/>
            <a:ext cx="5485934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108" name="Rectangle: Rounded Corners 10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903409" y="5100438"/>
            <a:ext cx="3177307" cy="331471"/>
          </a:xfrm>
          <a:prstGeom prst="roundRect">
            <a:avLst>
              <a:gd name="adj" fmla="val 50000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r>
              <a:rPr lang="en-US" sz="1600" spc="-75" dirty="0">
                <a:solidFill>
                  <a:schemeClr val="tx1">
                    <a:lumMod val="10000"/>
                    <a:lumOff val="90000"/>
                  </a:schemeClr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50%</a:t>
            </a:r>
          </a:p>
        </p:txBody>
      </p:sp>
      <p:sp>
        <p:nvSpPr>
          <p:cNvPr id="109" name="Rectangle: Rounded Corners 10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84216" y="5100438"/>
            <a:ext cx="3611878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91440" bIns="0" rtlCol="0" anchor="ctr"/>
          <a:lstStyle/>
          <a:p>
            <a:pPr algn="r"/>
            <a:r>
              <a:rPr lang="en-US" sz="1600" spc="-75" dirty="0">
                <a:latin typeface="方正综艺简体" panose="03000509000000000000" pitchFamily="65" charset="-122"/>
                <a:cs typeface="思源黑体 CN Regular" panose="020B0500000000000000" charset="-122"/>
              </a:rPr>
              <a:t>70%</a:t>
            </a:r>
          </a:p>
        </p:txBody>
      </p:sp>
      <p:sp>
        <p:nvSpPr>
          <p:cNvPr id="110" name="Rectangle: Rounded Corners 10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036131" y="5100438"/>
            <a:ext cx="2119739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Statistic Eight</a:t>
            </a:r>
          </a:p>
        </p:txBody>
      </p:sp>
      <p:sp>
        <p:nvSpPr>
          <p:cNvPr id="111" name="Rectangle: Rounded Corners 11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22953" y="5567810"/>
            <a:ext cx="5457763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112" name="Rectangle: Rounded Corners 11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84216" y="5567810"/>
            <a:ext cx="5485934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113" name="Rectangle: Rounded Corners 11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525658" y="5567810"/>
            <a:ext cx="4555058" cy="331471"/>
          </a:xfrm>
          <a:prstGeom prst="roundRect">
            <a:avLst>
              <a:gd name="adj" fmla="val 5000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r>
              <a:rPr lang="en-US" sz="1600" spc="-75" dirty="0">
                <a:solidFill>
                  <a:schemeClr val="tx1">
                    <a:lumMod val="10000"/>
                    <a:lumOff val="90000"/>
                  </a:schemeClr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89%</a:t>
            </a:r>
          </a:p>
        </p:txBody>
      </p:sp>
      <p:sp>
        <p:nvSpPr>
          <p:cNvPr id="114" name="Rectangle: Rounded Corners 11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84216" y="5567810"/>
            <a:ext cx="1997682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91440" bIns="0" rtlCol="0" anchor="ctr"/>
          <a:lstStyle/>
          <a:p>
            <a:pPr algn="r"/>
            <a:r>
              <a:rPr lang="en-US" sz="1600" spc="-75" dirty="0">
                <a:latin typeface="方正综艺简体" panose="03000509000000000000" pitchFamily="65" charset="-122"/>
                <a:cs typeface="思源黑体 CN Regular" panose="020B0500000000000000" charset="-122"/>
              </a:rPr>
              <a:t>20%</a:t>
            </a:r>
          </a:p>
        </p:txBody>
      </p:sp>
      <p:sp>
        <p:nvSpPr>
          <p:cNvPr id="115" name="Rectangle: Rounded Corners 11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036131" y="5567810"/>
            <a:ext cx="2119739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Statistic Nine</a:t>
            </a:r>
          </a:p>
        </p:txBody>
      </p:sp>
      <p:sp>
        <p:nvSpPr>
          <p:cNvPr id="116" name="Rectangle: Rounded Corners 1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22953" y="6024880"/>
            <a:ext cx="5457763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117" name="Rectangle: Rounded Corners 11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84216" y="6024880"/>
            <a:ext cx="5485934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118" name="Rectangle: Rounded Corners 11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3357612" y="6024880"/>
            <a:ext cx="2723104" cy="331471"/>
          </a:xfrm>
          <a:prstGeom prst="roundRect">
            <a:avLst>
              <a:gd name="adj" fmla="val 50000"/>
            </a:avLst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r>
              <a:rPr lang="en-US" sz="1600" spc="-75" dirty="0">
                <a:solidFill>
                  <a:schemeClr val="tx1">
                    <a:lumMod val="10000"/>
                    <a:lumOff val="90000"/>
                  </a:schemeClr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35%</a:t>
            </a:r>
          </a:p>
        </p:txBody>
      </p:sp>
      <p:sp>
        <p:nvSpPr>
          <p:cNvPr id="119" name="Rectangle: Rounded Corners 11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84216" y="6024880"/>
            <a:ext cx="5358140" cy="331471"/>
          </a:xfrm>
          <a:prstGeom prst="roundRect">
            <a:avLst>
              <a:gd name="adj" fmla="val 5000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91440" bIns="0" rtlCol="0" anchor="ctr"/>
          <a:lstStyle/>
          <a:p>
            <a:pPr algn="r"/>
            <a:r>
              <a:rPr lang="en-US" sz="1600" spc="-75" dirty="0">
                <a:latin typeface="方正综艺简体" panose="03000509000000000000" pitchFamily="65" charset="-122"/>
                <a:cs typeface="思源黑体 CN Regular" panose="020B0500000000000000" charset="-122"/>
              </a:rPr>
              <a:t>95%</a:t>
            </a:r>
          </a:p>
        </p:txBody>
      </p:sp>
      <p:sp>
        <p:nvSpPr>
          <p:cNvPr id="120" name="Rectangle: Rounded Corners 11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036131" y="6024880"/>
            <a:ext cx="2119739" cy="331471"/>
          </a:xfrm>
          <a:prstGeom prst="roundRect">
            <a:avLst>
              <a:gd name="adj" fmla="val 5000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Statistic Ten</a:t>
            </a:r>
          </a:p>
        </p:txBody>
      </p:sp>
      <p:sp>
        <p:nvSpPr>
          <p:cNvPr id="186" name="Rectangle 8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13232" y="1719072"/>
            <a:ext cx="4443984" cy="914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endParaRPr lang="en-US" sz="2800" spc="-300" dirty="0">
              <a:solidFill>
                <a:schemeClr val="tx2">
                  <a:lumMod val="50000"/>
                </a:schemeClr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187" name="Rectangle 3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937803" y="1737360"/>
            <a:ext cx="4528773" cy="54864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endParaRPr lang="en-US" sz="2800" spc="-300" dirty="0">
              <a:solidFill>
                <a:schemeClr val="tx2">
                  <a:lumMod val="50000"/>
                </a:schemeClr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218" name="等腰三角形 21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rot="16200000">
            <a:off x="7968480" y="679938"/>
            <a:ext cx="367167" cy="316523"/>
          </a:xfrm>
          <a:prstGeom prst="triangle">
            <a:avLst/>
          </a:prstGeom>
          <a:noFill/>
          <a:ln w="47625">
            <a:solidFill>
              <a:srgbClr val="01B7F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2">
                  <a:lumMod val="50000"/>
                </a:schemeClr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219" name="矩形 21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rot="2265543">
            <a:off x="269631" y="3077308"/>
            <a:ext cx="351692" cy="351692"/>
          </a:xfrm>
          <a:prstGeom prst="rect">
            <a:avLst/>
          </a:prstGeom>
          <a:noFill/>
          <a:ln w="47625">
            <a:solidFill>
              <a:srgbClr val="01B7F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220" name="椭圆 21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1743348" y="5456370"/>
            <a:ext cx="445477" cy="445477"/>
          </a:xfrm>
          <a:prstGeom prst="ellipse">
            <a:avLst/>
          </a:prstGeom>
          <a:noFill/>
          <a:ln w="47625">
            <a:solidFill>
              <a:srgbClr val="01B7F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221" name="矩形 22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rot="2265543">
            <a:off x="11368143" y="250041"/>
            <a:ext cx="172753" cy="172753"/>
          </a:xfrm>
          <a:prstGeom prst="rect">
            <a:avLst/>
          </a:prstGeom>
          <a:solidFill>
            <a:srgbClr val="01B7F9"/>
          </a:solidFill>
          <a:ln w="47625">
            <a:solidFill>
              <a:srgbClr val="01B7F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2">
                  <a:lumMod val="50000"/>
                </a:schemeClr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pic>
        <p:nvPicPr>
          <p:cNvPr id="62" name="Picture 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734953">
            <a:off x="684998" y="108784"/>
            <a:ext cx="1222364" cy="1158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6" name="Picture 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Grp="1" noChangeAspect="1" noChangeArrowheads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6513" y="-38100"/>
            <a:ext cx="12192000" cy="6896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矩形 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138" name="Shape 13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1157347" y="6350352"/>
            <a:ext cx="182742" cy="189796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>
            <a:lvl1pPr>
              <a:defRPr sz="2400" b="1">
                <a:solidFill>
                  <a:srgbClr val="444444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05</a:t>
            </a:r>
          </a:p>
        </p:txBody>
      </p:sp>
      <p:sp>
        <p:nvSpPr>
          <p:cNvPr id="139" name="Shape 13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099606" y="2586167"/>
            <a:ext cx="552450" cy="153504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>
              <a:lnSpc>
                <a:spcPct val="70000"/>
              </a:lnSpc>
              <a:defRPr sz="3200" b="1">
                <a:solidFill>
                  <a:srgbClr val="444444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24%</a:t>
            </a:r>
          </a:p>
        </p:txBody>
      </p:sp>
      <p:sp>
        <p:nvSpPr>
          <p:cNvPr id="140" name="Shape 14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21406" y="4014917"/>
            <a:ext cx="552450" cy="153504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>
              <a:lnSpc>
                <a:spcPct val="70000"/>
              </a:lnSpc>
              <a:defRPr sz="3200" b="1">
                <a:solidFill>
                  <a:srgbClr val="444444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12%</a:t>
            </a:r>
          </a:p>
        </p:txBody>
      </p:sp>
      <p:sp>
        <p:nvSpPr>
          <p:cNvPr id="141" name="Shape 14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353356" y="3075117"/>
            <a:ext cx="552450" cy="153504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>
              <a:lnSpc>
                <a:spcPct val="70000"/>
              </a:lnSpc>
              <a:defRPr sz="3200" b="1">
                <a:solidFill>
                  <a:srgbClr val="444444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21%</a:t>
            </a:r>
          </a:p>
        </p:txBody>
      </p:sp>
      <p:sp>
        <p:nvSpPr>
          <p:cNvPr id="142" name="Shape 14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3242356" y="3913317"/>
            <a:ext cx="552450" cy="153504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>
              <a:lnSpc>
                <a:spcPct val="70000"/>
              </a:lnSpc>
              <a:defRPr sz="3200" b="1">
                <a:solidFill>
                  <a:srgbClr val="444444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14%</a:t>
            </a:r>
          </a:p>
        </p:txBody>
      </p:sp>
      <p:sp>
        <p:nvSpPr>
          <p:cNvPr id="143" name="Shape 14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994956" y="3513267"/>
            <a:ext cx="552450" cy="153504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>
              <a:lnSpc>
                <a:spcPct val="70000"/>
              </a:lnSpc>
              <a:defRPr sz="3200" b="1">
                <a:solidFill>
                  <a:srgbClr val="444444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17%</a:t>
            </a:r>
          </a:p>
        </p:txBody>
      </p:sp>
      <p:sp>
        <p:nvSpPr>
          <p:cNvPr id="144" name="Shape 14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155030" y="2561396"/>
            <a:ext cx="1467485" cy="236143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486"/>
                </a:moveTo>
                <a:cubicBezTo>
                  <a:pt x="0" y="21486"/>
                  <a:pt x="4099" y="19373"/>
                  <a:pt x="7024" y="13575"/>
                </a:cubicBezTo>
                <a:cubicBezTo>
                  <a:pt x="9950" y="7777"/>
                  <a:pt x="10824" y="0"/>
                  <a:pt x="10824" y="0"/>
                </a:cubicBezTo>
                <a:cubicBezTo>
                  <a:pt x="10824" y="0"/>
                  <a:pt x="13170" y="9697"/>
                  <a:pt x="15029" y="13573"/>
                </a:cubicBezTo>
                <a:cubicBezTo>
                  <a:pt x="17316" y="18341"/>
                  <a:pt x="21600" y="21600"/>
                  <a:pt x="21600" y="21600"/>
                </a:cubicBezTo>
                <a:lnTo>
                  <a:pt x="0" y="21486"/>
                </a:lnTo>
                <a:close/>
              </a:path>
            </a:pathLst>
          </a:custGeom>
          <a:gradFill flip="none" rotWithShape="1">
            <a:gsLst>
              <a:gs pos="0">
                <a:schemeClr val="accent5"/>
              </a:gs>
              <a:gs pos="100000">
                <a:schemeClr val="accent4">
                  <a:lumMod val="75000"/>
                </a:schemeClr>
              </a:gs>
            </a:gsLst>
            <a:lin ang="5400000" scaled="0"/>
          </a:gradFill>
          <a:ln w="25400" cap="flat">
            <a:solidFill>
              <a:srgbClr val="000000">
                <a:alpha val="0"/>
              </a:srgb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lvl="0">
              <a:defRPr sz="3200">
                <a:solidFill>
                  <a:srgbClr val="444444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pPr>
            <a:endParaRPr sz="1600" dirty="0"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145" name="Shape 14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901983" y="3359252"/>
            <a:ext cx="1467485" cy="15660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486"/>
                </a:moveTo>
                <a:cubicBezTo>
                  <a:pt x="0" y="21486"/>
                  <a:pt x="4099" y="19373"/>
                  <a:pt x="7024" y="13575"/>
                </a:cubicBezTo>
                <a:cubicBezTo>
                  <a:pt x="9950" y="7777"/>
                  <a:pt x="10824" y="0"/>
                  <a:pt x="10824" y="0"/>
                </a:cubicBezTo>
                <a:cubicBezTo>
                  <a:pt x="10824" y="0"/>
                  <a:pt x="13170" y="9697"/>
                  <a:pt x="15029" y="13573"/>
                </a:cubicBezTo>
                <a:cubicBezTo>
                  <a:pt x="17316" y="18341"/>
                  <a:pt x="21600" y="21600"/>
                  <a:pt x="21600" y="21600"/>
                </a:cubicBezTo>
                <a:lnTo>
                  <a:pt x="0" y="21486"/>
                </a:lnTo>
                <a:close/>
              </a:path>
            </a:pathLst>
          </a:cu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5400000" scaled="0"/>
          </a:gradFill>
          <a:ln w="25400" cap="flat">
            <a:solidFill>
              <a:srgbClr val="000000">
                <a:alpha val="0"/>
              </a:srgb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lvl="0">
              <a:defRPr sz="3200">
                <a:solidFill>
                  <a:srgbClr val="444444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pPr>
            <a:endParaRPr sz="1600" dirty="0"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146" name="Shape 14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69327" y="4288913"/>
            <a:ext cx="1467485" cy="63634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486"/>
                </a:moveTo>
                <a:cubicBezTo>
                  <a:pt x="0" y="21486"/>
                  <a:pt x="4099" y="19373"/>
                  <a:pt x="7024" y="13575"/>
                </a:cubicBezTo>
                <a:cubicBezTo>
                  <a:pt x="9950" y="7777"/>
                  <a:pt x="10824" y="0"/>
                  <a:pt x="10824" y="0"/>
                </a:cubicBezTo>
                <a:cubicBezTo>
                  <a:pt x="10824" y="0"/>
                  <a:pt x="13170" y="9697"/>
                  <a:pt x="15029" y="13573"/>
                </a:cubicBezTo>
                <a:cubicBezTo>
                  <a:pt x="17316" y="18341"/>
                  <a:pt x="21600" y="21600"/>
                  <a:pt x="21600" y="21600"/>
                </a:cubicBezTo>
                <a:lnTo>
                  <a:pt x="0" y="21486"/>
                </a:lnTo>
                <a:close/>
              </a:path>
            </a:pathLst>
          </a:custGeom>
          <a:solidFill>
            <a:schemeClr val="accent2">
              <a:alpha val="90000"/>
            </a:schemeClr>
          </a:solidFill>
          <a:ln w="25400" cap="flat">
            <a:solidFill>
              <a:srgbClr val="000000">
                <a:alpha val="0"/>
              </a:srgb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lvl="0">
              <a:defRPr>
                <a:solidFill>
                  <a:srgbClr val="444444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pPr>
            <a:endParaRPr sz="900" dirty="0"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147" name="Shape 14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785015" y="4194456"/>
            <a:ext cx="1467485" cy="7308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486"/>
                </a:moveTo>
                <a:cubicBezTo>
                  <a:pt x="0" y="21486"/>
                  <a:pt x="4099" y="19373"/>
                  <a:pt x="7024" y="13575"/>
                </a:cubicBezTo>
                <a:cubicBezTo>
                  <a:pt x="9950" y="7777"/>
                  <a:pt x="10824" y="0"/>
                  <a:pt x="10824" y="0"/>
                </a:cubicBezTo>
                <a:cubicBezTo>
                  <a:pt x="10824" y="0"/>
                  <a:pt x="13170" y="9697"/>
                  <a:pt x="15029" y="13573"/>
                </a:cubicBezTo>
                <a:cubicBezTo>
                  <a:pt x="17316" y="18341"/>
                  <a:pt x="21600" y="21600"/>
                  <a:pt x="21600" y="21600"/>
                </a:cubicBezTo>
                <a:lnTo>
                  <a:pt x="0" y="21486"/>
                </a:lnTo>
                <a:close/>
              </a:path>
            </a:pathLst>
          </a:custGeom>
          <a:solidFill>
            <a:schemeClr val="accent2">
              <a:alpha val="90000"/>
            </a:schemeClr>
          </a:solidFill>
          <a:ln w="25400" cap="flat">
            <a:solidFill>
              <a:srgbClr val="000000">
                <a:alpha val="0"/>
              </a:srgb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lvl="0">
              <a:defRPr>
                <a:solidFill>
                  <a:srgbClr val="444444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pPr>
            <a:endParaRPr sz="900" dirty="0"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148" name="Shape 14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3648989" y="2857136"/>
            <a:ext cx="1467485" cy="206812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486"/>
                </a:moveTo>
                <a:cubicBezTo>
                  <a:pt x="0" y="21486"/>
                  <a:pt x="4099" y="19373"/>
                  <a:pt x="7024" y="13575"/>
                </a:cubicBezTo>
                <a:cubicBezTo>
                  <a:pt x="9950" y="7777"/>
                  <a:pt x="10824" y="0"/>
                  <a:pt x="10824" y="0"/>
                </a:cubicBezTo>
                <a:cubicBezTo>
                  <a:pt x="10824" y="0"/>
                  <a:pt x="13170" y="9697"/>
                  <a:pt x="15029" y="13573"/>
                </a:cubicBezTo>
                <a:cubicBezTo>
                  <a:pt x="17316" y="18341"/>
                  <a:pt x="21600" y="21600"/>
                  <a:pt x="21600" y="21600"/>
                </a:cubicBezTo>
                <a:lnTo>
                  <a:pt x="0" y="21486"/>
                </a:lnTo>
                <a:close/>
              </a:path>
            </a:pathLst>
          </a:custGeom>
          <a:gradFill flip="none" rotWithShape="1">
            <a:gsLst>
              <a:gs pos="0">
                <a:schemeClr val="accent5"/>
              </a:gs>
              <a:gs pos="100000">
                <a:schemeClr val="accent4">
                  <a:lumMod val="75000"/>
                </a:schemeClr>
              </a:gs>
            </a:gsLst>
            <a:lin ang="5400000" scaled="0"/>
          </a:gradFill>
          <a:ln w="25400" cap="flat">
            <a:solidFill>
              <a:srgbClr val="000000">
                <a:alpha val="0"/>
              </a:srgb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lvl="0">
              <a:defRPr sz="3200">
                <a:solidFill>
                  <a:srgbClr val="444444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pPr>
            <a:endParaRPr sz="1600" dirty="0"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149" name="Shape 14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544727" y="3836511"/>
            <a:ext cx="1467485" cy="10887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486"/>
                </a:moveTo>
                <a:cubicBezTo>
                  <a:pt x="0" y="21486"/>
                  <a:pt x="4099" y="19373"/>
                  <a:pt x="7024" y="13575"/>
                </a:cubicBezTo>
                <a:cubicBezTo>
                  <a:pt x="9950" y="7777"/>
                  <a:pt x="10824" y="0"/>
                  <a:pt x="10824" y="0"/>
                </a:cubicBezTo>
                <a:cubicBezTo>
                  <a:pt x="10824" y="0"/>
                  <a:pt x="13170" y="9697"/>
                  <a:pt x="15029" y="13573"/>
                </a:cubicBezTo>
                <a:cubicBezTo>
                  <a:pt x="17316" y="18341"/>
                  <a:pt x="21600" y="21600"/>
                  <a:pt x="21600" y="21600"/>
                </a:cubicBezTo>
                <a:lnTo>
                  <a:pt x="0" y="21486"/>
                </a:lnTo>
                <a:close/>
              </a:path>
            </a:pathLst>
          </a:custGeom>
          <a:gradFill flip="none" rotWithShape="1">
            <a:gsLst>
              <a:gs pos="0">
                <a:schemeClr val="accent4"/>
              </a:gs>
              <a:gs pos="100000">
                <a:schemeClr val="accent1"/>
              </a:gs>
            </a:gsLst>
            <a:lin ang="5400000" scaled="0"/>
          </a:gradFill>
          <a:ln w="25400" cap="flat">
            <a:solidFill>
              <a:srgbClr val="000000">
                <a:alpha val="0"/>
              </a:srgb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lvl="0">
              <a:defRPr sz="3200">
                <a:solidFill>
                  <a:srgbClr val="444444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pPr>
            <a:endParaRPr sz="1600" dirty="0"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150" name="Shape 15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flipV="1">
            <a:off x="-233928" y="4910363"/>
            <a:ext cx="6366441" cy="14477"/>
          </a:xfrm>
          <a:prstGeom prst="line">
            <a:avLst/>
          </a:prstGeom>
          <a:noFill/>
          <a:ln w="63500" cap="flat">
            <a:solidFill>
              <a:schemeClr val="tx1">
                <a:lumMod val="50000"/>
                <a:lumOff val="50000"/>
              </a:schemeClr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defTabSz="2286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600">
              <a:latin typeface="等线" panose="02010600030101010101" charset="-122"/>
              <a:ea typeface="等线" panose="02010600030101010101" charset="-122"/>
              <a:cs typeface="等线" panose="02010600030101010101" charset="-122"/>
              <a:sym typeface="等线" panose="02010600030101010101" charset="-122"/>
            </a:endParaRPr>
          </a:p>
        </p:txBody>
      </p:sp>
      <p:sp>
        <p:nvSpPr>
          <p:cNvPr id="152" name="Shape 15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642156" y="2319467"/>
            <a:ext cx="552450" cy="153504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>
              <a:lnSpc>
                <a:spcPct val="70000"/>
              </a:lnSpc>
              <a:defRPr sz="3200" b="1">
                <a:solidFill>
                  <a:srgbClr val="444444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32%</a:t>
            </a:r>
          </a:p>
        </p:txBody>
      </p:sp>
      <p:sp>
        <p:nvSpPr>
          <p:cNvPr id="153" name="Shape 15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57856" y="5180693"/>
            <a:ext cx="222251" cy="2222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chemeClr val="accent2"/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>
              <a:defRPr>
                <a:solidFill>
                  <a:srgbClr val="444444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pPr>
            <a:endParaRPr sz="900" dirty="0"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154" name="Shape 15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26157" y="5181046"/>
            <a:ext cx="307777" cy="189796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>
            <a:lvl1pPr algn="l">
              <a:defRPr sz="2400">
                <a:solidFill>
                  <a:srgbClr val="444444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en-US" sz="900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2017</a:t>
            </a:r>
            <a:endParaRPr sz="900" dirty="0"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155" name="Shape 15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410506" y="5180693"/>
            <a:ext cx="222251" cy="2222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chemeClr val="accent3">
              <a:lumMod val="75000"/>
            </a:schemeClr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>
              <a:defRPr>
                <a:solidFill>
                  <a:srgbClr val="444444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pPr>
            <a:endParaRPr sz="900" dirty="0"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156" name="Shape 15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778807" y="5184221"/>
            <a:ext cx="307777" cy="189796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>
            <a:lvl1pPr algn="l">
              <a:defRPr sz="2400">
                <a:solidFill>
                  <a:srgbClr val="444444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en-US" sz="900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2018</a:t>
            </a:r>
            <a:endParaRPr sz="900" dirty="0"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157" name="Shape 15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563156" y="5180693"/>
            <a:ext cx="222251" cy="2222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chemeClr val="accent1"/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>
              <a:defRPr>
                <a:solidFill>
                  <a:srgbClr val="444444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pPr>
            <a:endParaRPr sz="900" dirty="0"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158" name="Shape 15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931457" y="5184221"/>
            <a:ext cx="307777" cy="189796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>
            <a:lvl1pPr algn="l">
              <a:defRPr sz="2400">
                <a:solidFill>
                  <a:srgbClr val="444444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en-US" sz="900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2019</a:t>
            </a:r>
            <a:endParaRPr sz="900" dirty="0"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49" name="TextBox 1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7565872" y="1860310"/>
            <a:ext cx="45010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2000" b="1" dirty="0">
                <a:solidFill>
                  <a:schemeClr val="tx2">
                    <a:lumMod val="75000"/>
                  </a:schemeClr>
                </a:solidFill>
                <a:latin typeface="方正综艺简体" panose="03000509000000000000" pitchFamily="65" charset="-122"/>
                <a:cs typeface="+mn-ea"/>
                <a:sym typeface="+mn-lt"/>
              </a:rPr>
              <a:t>COMPANY STYLE</a:t>
            </a:r>
          </a:p>
        </p:txBody>
      </p:sp>
      <p:sp>
        <p:nvSpPr>
          <p:cNvPr id="50" name="TextBox 1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7537296" y="2226725"/>
            <a:ext cx="4283336" cy="50276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r>
              <a:rPr lang="id-ID" sz="1465" b="1" dirty="0">
                <a:solidFill>
                  <a:schemeClr val="tx2">
                    <a:lumMod val="75000"/>
                  </a:schemeClr>
                </a:solidFill>
                <a:latin typeface="方正综艺简体" panose="03000509000000000000" pitchFamily="65" charset="-122"/>
                <a:cs typeface="+mn-ea"/>
                <a:sym typeface="+mn-lt"/>
              </a:rPr>
              <a:t>Lorem ipsum </a:t>
            </a:r>
            <a:r>
              <a:rPr lang="id-ID" sz="1200" dirty="0">
                <a:solidFill>
                  <a:schemeClr val="tx2">
                    <a:lumMod val="75000"/>
                  </a:schemeClr>
                </a:solidFill>
                <a:latin typeface="方正综艺简体" panose="03000509000000000000" pitchFamily="65" charset="-122"/>
                <a:cs typeface="+mn-ea"/>
                <a:sym typeface="+mn-lt"/>
              </a:rPr>
              <a:t>dolor sit amet consectetuer adipiscing elit, sed diam nonummy nibh euismod tincidunt ut</a:t>
            </a:r>
            <a:endParaRPr lang="en-US" sz="1200" dirty="0">
              <a:solidFill>
                <a:schemeClr val="tx2">
                  <a:lumMod val="75000"/>
                </a:schemeClr>
              </a:solidFill>
              <a:latin typeface="方正综艺简体" panose="03000509000000000000" pitchFamily="65" charset="-122"/>
              <a:cs typeface="+mn-ea"/>
              <a:sym typeface="+mn-lt"/>
            </a:endParaRPr>
          </a:p>
        </p:txBody>
      </p:sp>
      <p:sp>
        <p:nvSpPr>
          <p:cNvPr id="51" name="TextBox 1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7556347" y="3226839"/>
            <a:ext cx="4501048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2000" b="1" dirty="0">
                <a:solidFill>
                  <a:schemeClr val="tx2">
                    <a:lumMod val="75000"/>
                  </a:schemeClr>
                </a:solidFill>
                <a:latin typeface="方正综艺简体" panose="03000509000000000000" pitchFamily="65" charset="-122"/>
                <a:cs typeface="+mn-ea"/>
                <a:sym typeface="+mn-lt"/>
              </a:rPr>
              <a:t>20</a:t>
            </a:r>
            <a:r>
              <a:rPr lang="en-US" altLang="id-ID" sz="2000" b="1" dirty="0">
                <a:solidFill>
                  <a:schemeClr val="tx2">
                    <a:lumMod val="75000"/>
                  </a:schemeClr>
                </a:solidFill>
                <a:latin typeface="方正综艺简体" panose="03000509000000000000" pitchFamily="65" charset="-122"/>
                <a:cs typeface="+mn-ea"/>
                <a:sym typeface="+mn-lt"/>
              </a:rPr>
              <a:t>XX</a:t>
            </a:r>
            <a:r>
              <a:rPr lang="id-ID" sz="2000" b="1" dirty="0">
                <a:solidFill>
                  <a:schemeClr val="tx2">
                    <a:lumMod val="75000"/>
                  </a:schemeClr>
                </a:solidFill>
                <a:latin typeface="方正综艺简体" panose="03000509000000000000" pitchFamily="65" charset="-122"/>
                <a:cs typeface="+mn-ea"/>
                <a:sym typeface="+mn-lt"/>
              </a:rPr>
              <a:t> PROJECT PLANNING</a:t>
            </a:r>
          </a:p>
        </p:txBody>
      </p:sp>
      <p:sp>
        <p:nvSpPr>
          <p:cNvPr id="52" name="TextBox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7556346" y="3574204"/>
            <a:ext cx="4283336" cy="50276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r>
              <a:rPr lang="id-ID" sz="1465" b="1" dirty="0">
                <a:solidFill>
                  <a:schemeClr val="tx2">
                    <a:lumMod val="75000"/>
                  </a:schemeClr>
                </a:solidFill>
                <a:latin typeface="方正综艺简体" panose="03000509000000000000" pitchFamily="65" charset="-122"/>
                <a:cs typeface="+mn-ea"/>
                <a:sym typeface="+mn-lt"/>
              </a:rPr>
              <a:t>Lorem ipsum </a:t>
            </a:r>
            <a:r>
              <a:rPr lang="id-ID" sz="1200" dirty="0">
                <a:solidFill>
                  <a:schemeClr val="tx2">
                    <a:lumMod val="75000"/>
                  </a:schemeClr>
                </a:solidFill>
                <a:latin typeface="方正综艺简体" panose="03000509000000000000" pitchFamily="65" charset="-122"/>
                <a:cs typeface="+mn-ea"/>
                <a:sym typeface="+mn-lt"/>
              </a:rPr>
              <a:t>dolor sit amet consectetuer adipiscing elit, sed diam nonummy nibh euismod tincidunt ut</a:t>
            </a:r>
            <a:endParaRPr lang="en-US" sz="1200" dirty="0">
              <a:solidFill>
                <a:schemeClr val="tx2">
                  <a:lumMod val="75000"/>
                </a:schemeClr>
              </a:solidFill>
              <a:latin typeface="方正综艺简体" panose="03000509000000000000" pitchFamily="65" charset="-122"/>
              <a:cs typeface="+mn-ea"/>
              <a:sym typeface="+mn-lt"/>
            </a:endParaRPr>
          </a:p>
        </p:txBody>
      </p:sp>
      <p:sp>
        <p:nvSpPr>
          <p:cNvPr id="53" name="TextBox 1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7537297" y="4299926"/>
            <a:ext cx="45010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2000" b="1" dirty="0">
                <a:solidFill>
                  <a:schemeClr val="tx2">
                    <a:lumMod val="75000"/>
                  </a:schemeClr>
                </a:solidFill>
                <a:latin typeface="方正综艺简体" panose="03000509000000000000" pitchFamily="65" charset="-122"/>
                <a:cs typeface="+mn-ea"/>
                <a:sym typeface="+mn-lt"/>
              </a:rPr>
              <a:t>KEY OF SUCCESS</a:t>
            </a:r>
          </a:p>
        </p:txBody>
      </p:sp>
      <p:sp>
        <p:nvSpPr>
          <p:cNvPr id="54" name="TextBox 1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7537296" y="4647291"/>
            <a:ext cx="4283336" cy="50276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r>
              <a:rPr lang="id-ID" sz="1465" b="1" dirty="0">
                <a:solidFill>
                  <a:schemeClr val="tx2">
                    <a:lumMod val="75000"/>
                  </a:schemeClr>
                </a:solidFill>
                <a:latin typeface="方正综艺简体" panose="03000509000000000000" pitchFamily="65" charset="-122"/>
                <a:cs typeface="+mn-ea"/>
                <a:sym typeface="+mn-lt"/>
              </a:rPr>
              <a:t>Lorem ipsum </a:t>
            </a:r>
            <a:r>
              <a:rPr lang="id-ID" sz="1200" dirty="0">
                <a:solidFill>
                  <a:schemeClr val="tx2">
                    <a:lumMod val="75000"/>
                  </a:schemeClr>
                </a:solidFill>
                <a:latin typeface="方正综艺简体" panose="03000509000000000000" pitchFamily="65" charset="-122"/>
                <a:cs typeface="+mn-ea"/>
                <a:sym typeface="+mn-lt"/>
              </a:rPr>
              <a:t>dolor sit amet consectetuer adipiscing elit, sed diam nonummy nibh euismod tincidunt ut</a:t>
            </a:r>
            <a:endParaRPr lang="en-US" sz="1200" dirty="0">
              <a:solidFill>
                <a:schemeClr val="tx2">
                  <a:lumMod val="75000"/>
                </a:schemeClr>
              </a:solidFill>
              <a:latin typeface="方正综艺简体" panose="03000509000000000000" pitchFamily="65" charset="-122"/>
              <a:cs typeface="+mn-ea"/>
              <a:sym typeface="+mn-lt"/>
            </a:endParaRPr>
          </a:p>
        </p:txBody>
      </p:sp>
      <p:sp>
        <p:nvSpPr>
          <p:cNvPr id="58" name="文本框 5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 flipH="1">
            <a:off x="6610641" y="621323"/>
            <a:ext cx="4678681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600" b="1" dirty="0">
                <a:solidFill>
                  <a:schemeClr val="bg1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ABOUT US</a:t>
            </a:r>
          </a:p>
          <a:p>
            <a:endParaRPr lang="zh-CN" altLang="en-US" sz="6600" b="1" dirty="0">
              <a:solidFill>
                <a:schemeClr val="bg1"/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59" name="TextBox 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6651599" y="1003500"/>
            <a:ext cx="350769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>
                <a:gradFill flip="none" rotWithShape="1">
                  <a:gsLst>
                    <a:gs pos="95683">
                      <a:schemeClr val="accent6"/>
                    </a:gs>
                    <a:gs pos="0">
                      <a:schemeClr val="accent2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方正综艺简体" panose="03000509000000000000" pitchFamily="65" charset="-122"/>
                <a:cs typeface="+mn-ea"/>
                <a:sym typeface="+mn-lt"/>
              </a:rPr>
              <a:t> Creative Template </a:t>
            </a:r>
          </a:p>
        </p:txBody>
      </p:sp>
      <p:grpSp>
        <p:nvGrpSpPr>
          <p:cNvPr id="60" name="组合 5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10158997" y="1295400"/>
            <a:ext cx="4896000" cy="1"/>
            <a:chOff x="8791270" y="3429000"/>
            <a:chExt cx="6955092" cy="1"/>
          </a:xfrm>
        </p:grpSpPr>
        <p:cxnSp>
          <p:nvCxnSpPr>
            <p:cNvPr id="61" name="直接连接符 60"/>
            <p:cNvCxnSpPr/>
            <p:nvPr/>
          </p:nvCxnSpPr>
          <p:spPr>
            <a:xfrm>
              <a:off x="9218562" y="3429000"/>
              <a:ext cx="652780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直接连接符 61"/>
            <p:cNvCxnSpPr/>
            <p:nvPr/>
          </p:nvCxnSpPr>
          <p:spPr>
            <a:xfrm>
              <a:off x="8791270" y="3429001"/>
              <a:ext cx="707103" cy="0"/>
            </a:xfrm>
            <a:prstGeom prst="line">
              <a:avLst/>
            </a:prstGeom>
            <a:ln w="222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3" name="Rectangle: Rounded Corners 2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579889" y="5556225"/>
            <a:ext cx="1402161" cy="38237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5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  <a:effectLst>
            <a:outerShdw blurRad="787400" dist="101600" dir="5400000" sx="80000" sy="80000" algn="t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200" dirty="0">
                <a:latin typeface="方正综艺简体" panose="03000509000000000000" pitchFamily="65" charset="-122"/>
                <a:cs typeface="思源黑体 CN Regular" panose="020B0500000000000000" charset="-122"/>
              </a:rPr>
              <a:t>Read Here</a:t>
            </a:r>
          </a:p>
        </p:txBody>
      </p:sp>
      <p:pic>
        <p:nvPicPr>
          <p:cNvPr id="64" name="图片 6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6502" y="1852632"/>
            <a:ext cx="683445" cy="774454"/>
          </a:xfrm>
          <a:prstGeom prst="rect">
            <a:avLst/>
          </a:prstGeom>
        </p:spPr>
      </p:pic>
      <p:pic>
        <p:nvPicPr>
          <p:cNvPr id="65" name="图片 6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0806" y="3066620"/>
            <a:ext cx="854836" cy="815705"/>
          </a:xfrm>
          <a:prstGeom prst="rect">
            <a:avLst/>
          </a:prstGeom>
        </p:spPr>
      </p:pic>
      <p:pic>
        <p:nvPicPr>
          <p:cNvPr id="66" name="图片 6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328"/>
          <a:stretch>
            <a:fillRect/>
          </a:stretch>
        </p:blipFill>
        <p:spPr>
          <a:xfrm>
            <a:off x="6650806" y="4209620"/>
            <a:ext cx="854836" cy="815705"/>
          </a:xfrm>
          <a:prstGeom prst="rect">
            <a:avLst/>
          </a:prstGeom>
        </p:spPr>
      </p:pic>
      <p:pic>
        <p:nvPicPr>
          <p:cNvPr id="67" name="Picture 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734953">
            <a:off x="-82941" y="-792845"/>
            <a:ext cx="2087051" cy="1977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" name="Picture 1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20703025">
            <a:off x="10552180" y="5892496"/>
            <a:ext cx="1500626" cy="1276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8432" y="-25931"/>
            <a:ext cx="7973568" cy="6909862"/>
          </a:xfrm>
          <a:prstGeom prst="rect">
            <a:avLst/>
          </a:prstGeom>
        </p:spPr>
      </p:pic>
      <p:pic>
        <p:nvPicPr>
          <p:cNvPr id="4" name="图片 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5464" y="-884420"/>
            <a:ext cx="6661290" cy="7346640"/>
          </a:xfrm>
          <a:prstGeom prst="rect">
            <a:avLst/>
          </a:prstGeom>
        </p:spPr>
      </p:pic>
      <p:sp>
        <p:nvSpPr>
          <p:cNvPr id="6" name="文本框 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725251" y="3387436"/>
            <a:ext cx="4109145" cy="3819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lnSpc>
                <a:spcPct val="150000"/>
              </a:lnSpc>
            </a:pPr>
            <a:r>
              <a:rPr lang="en-US" altLang="zh-CN" sz="1400" spc="-300" dirty="0">
                <a:gradFill flip="none" rotWithShape="1">
                  <a:gsLst>
                    <a:gs pos="0">
                      <a:schemeClr val="accent5">
                        <a:lumMod val="75000"/>
                      </a:schemeClr>
                    </a:gs>
                    <a:gs pos="96403">
                      <a:schemeClr val="accent2"/>
                    </a:gs>
                    <a:gs pos="75000">
                      <a:schemeClr val="accent4"/>
                    </a:gs>
                  </a:gsLst>
                  <a:lin ang="10800000" scaled="1"/>
                </a:gradFill>
                <a:latin typeface="方正综艺简体" panose="03000509000000000000" pitchFamily="65" charset="-122"/>
                <a:ea typeface="思源黑体 CN Medium" panose="020B0600000000000000" pitchFamily="34" charset="-122"/>
                <a:cs typeface="思源黑体 CN Regular" panose="020B0500000000000000" charset="-122"/>
              </a:rPr>
              <a:t>CREATIVE  POWERPOINT  TEMPLATE</a:t>
            </a:r>
          </a:p>
        </p:txBody>
      </p:sp>
      <p:sp>
        <p:nvSpPr>
          <p:cNvPr id="7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725251" y="3766913"/>
            <a:ext cx="4030691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>
                <a:solidFill>
                  <a:schemeClr val="tx2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. This is a sample text. insert your desired text here. Again. this is a dummy text. enter your own text here.”</a:t>
            </a:r>
          </a:p>
        </p:txBody>
      </p:sp>
      <p:sp>
        <p:nvSpPr>
          <p:cNvPr id="8" name="文本框 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594447" y="2540271"/>
            <a:ext cx="609210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600" b="1" dirty="0">
                <a:solidFill>
                  <a:schemeClr val="accent4"/>
                </a:solidFill>
                <a:effectLst>
                  <a:innerShdw blurRad="63500" dist="50800" dir="15600000">
                    <a:schemeClr val="accent5">
                      <a:alpha val="23000"/>
                    </a:schemeClr>
                  </a:innerShdw>
                </a:effectLst>
                <a:latin typeface="方正综艺简体" panose="03000509000000000000" pitchFamily="65" charset="-122"/>
                <a:cs typeface="思源黑体 CN Regular" panose="020B0500000000000000" charset="-122"/>
              </a:rPr>
              <a:t>PART FIVE</a:t>
            </a:r>
            <a:endParaRPr lang="zh-CN" altLang="en-US" sz="6600" b="1" dirty="0">
              <a:solidFill>
                <a:schemeClr val="accent4"/>
              </a:solidFill>
              <a:effectLst>
                <a:innerShdw blurRad="63500" dist="50800" dir="15600000">
                  <a:schemeClr val="accent5">
                    <a:alpha val="23000"/>
                  </a:schemeClr>
                </a:innerShdw>
              </a:effectLst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9" name="Rectangle: Rounded Corners 2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79039" y="5209697"/>
            <a:ext cx="1402161" cy="38237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5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  <a:effectLst>
            <a:outerShdw blurRad="787400" dist="101600" dir="5400000" sx="80000" sy="80000" algn="t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200" dirty="0">
                <a:latin typeface="方正综艺简体" panose="03000509000000000000" pitchFamily="65" charset="-122"/>
                <a:cs typeface="思源黑体 CN Regular" panose="020B0500000000000000" charset="-122"/>
              </a:rPr>
              <a:t>Read Here</a:t>
            </a:r>
          </a:p>
        </p:txBody>
      </p:sp>
      <p:pic>
        <p:nvPicPr>
          <p:cNvPr id="10" name="图片 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5153"/>
          <a:stretch>
            <a:fillRect/>
          </a:stretch>
        </p:blipFill>
        <p:spPr>
          <a:xfrm>
            <a:off x="705391" y="1430726"/>
            <a:ext cx="888459" cy="1006768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5405929" y="1466882"/>
            <a:ext cx="1033035" cy="885913"/>
            <a:chOff x="1493533" y="1313067"/>
            <a:chExt cx="1328605" cy="1139389"/>
          </a:xfrm>
        </p:grpSpPr>
        <p:sp>
          <p:nvSpPr>
            <p:cNvPr id="3" name="Rectangle 5"/>
            <p:cNvSpPr>
              <a:spLocks noChangeArrowheads="1"/>
            </p:cNvSpPr>
            <p:nvPr/>
          </p:nvSpPr>
          <p:spPr bwMode="auto">
            <a:xfrm>
              <a:off x="1493533" y="2041740"/>
              <a:ext cx="787894" cy="205985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7150" tIns="28575" rIns="57150" bIns="28575" numCol="1" anchor="t" anchorCtr="0" compatLnSpc="1"/>
            <a:lstStyle/>
            <a:p>
              <a:endParaRPr lang="en-AU" sz="1125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4" name="Freeform 6"/>
            <p:cNvSpPr/>
            <p:nvPr/>
          </p:nvSpPr>
          <p:spPr bwMode="auto">
            <a:xfrm>
              <a:off x="2281427" y="1777854"/>
              <a:ext cx="540711" cy="674602"/>
            </a:xfrm>
            <a:custGeom>
              <a:avLst/>
              <a:gdLst>
                <a:gd name="T0" fmla="*/ 420 w 420"/>
                <a:gd name="T1" fmla="*/ 0 h 524"/>
                <a:gd name="T2" fmla="*/ 420 w 420"/>
                <a:gd name="T3" fmla="*/ 160 h 524"/>
                <a:gd name="T4" fmla="*/ 0 w 420"/>
                <a:gd name="T5" fmla="*/ 524 h 524"/>
                <a:gd name="T6" fmla="*/ 0 w 420"/>
                <a:gd name="T7" fmla="*/ 365 h 524"/>
                <a:gd name="T8" fmla="*/ 420 w 420"/>
                <a:gd name="T9" fmla="*/ 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0" h="524">
                  <a:moveTo>
                    <a:pt x="420" y="0"/>
                  </a:moveTo>
                  <a:lnTo>
                    <a:pt x="420" y="160"/>
                  </a:lnTo>
                  <a:lnTo>
                    <a:pt x="0" y="524"/>
                  </a:lnTo>
                  <a:lnTo>
                    <a:pt x="0" y="365"/>
                  </a:lnTo>
                  <a:lnTo>
                    <a:pt x="42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57150" tIns="28575" rIns="57150" bIns="28575" numCol="1" anchor="t" anchorCtr="0" compatLnSpc="1"/>
            <a:lstStyle/>
            <a:p>
              <a:endParaRPr lang="en-AU" sz="1125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5" name="Freeform 7"/>
            <p:cNvSpPr/>
            <p:nvPr/>
          </p:nvSpPr>
          <p:spPr bwMode="auto">
            <a:xfrm>
              <a:off x="1493533" y="1313067"/>
              <a:ext cx="1328605" cy="939809"/>
            </a:xfrm>
            <a:custGeom>
              <a:avLst/>
              <a:gdLst>
                <a:gd name="T0" fmla="*/ 611 w 1031"/>
                <a:gd name="T1" fmla="*/ 0 h 730"/>
                <a:gd name="T2" fmla="*/ 799 w 1031"/>
                <a:gd name="T3" fmla="*/ 163 h 730"/>
                <a:gd name="T4" fmla="*/ 1031 w 1031"/>
                <a:gd name="T5" fmla="*/ 365 h 730"/>
                <a:gd name="T6" fmla="*/ 611 w 1031"/>
                <a:gd name="T7" fmla="*/ 730 h 730"/>
                <a:gd name="T8" fmla="*/ 611 w 1031"/>
                <a:gd name="T9" fmla="*/ 568 h 730"/>
                <a:gd name="T10" fmla="*/ 0 w 1031"/>
                <a:gd name="T11" fmla="*/ 568 h 730"/>
                <a:gd name="T12" fmla="*/ 0 w 1031"/>
                <a:gd name="T13" fmla="*/ 163 h 730"/>
                <a:gd name="T14" fmla="*/ 611 w 1031"/>
                <a:gd name="T15" fmla="*/ 163 h 730"/>
                <a:gd name="T16" fmla="*/ 611 w 1031"/>
                <a:gd name="T17" fmla="*/ 0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1" h="730">
                  <a:moveTo>
                    <a:pt x="611" y="0"/>
                  </a:moveTo>
                  <a:lnTo>
                    <a:pt x="799" y="163"/>
                  </a:lnTo>
                  <a:lnTo>
                    <a:pt x="1031" y="365"/>
                  </a:lnTo>
                  <a:lnTo>
                    <a:pt x="611" y="730"/>
                  </a:lnTo>
                  <a:lnTo>
                    <a:pt x="611" y="568"/>
                  </a:lnTo>
                  <a:lnTo>
                    <a:pt x="0" y="568"/>
                  </a:lnTo>
                  <a:lnTo>
                    <a:pt x="0" y="163"/>
                  </a:lnTo>
                  <a:lnTo>
                    <a:pt x="611" y="163"/>
                  </a:lnTo>
                  <a:lnTo>
                    <a:pt x="611" y="0"/>
                  </a:lnTo>
                  <a:close/>
                </a:path>
              </a:pathLst>
            </a:custGeom>
            <a:gradFill>
              <a:gsLst>
                <a:gs pos="200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57150" tIns="28575" rIns="57150" bIns="28575" numCol="1" anchor="t" anchorCtr="0" compatLnSpc="1"/>
            <a:lstStyle/>
            <a:p>
              <a:endParaRPr lang="en-AU" sz="1125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</p:grpSp>
      <p:grpSp>
        <p:nvGrpSpPr>
          <p:cNvPr id="6" name="Group 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6490748" y="1627640"/>
            <a:ext cx="1235237" cy="1266993"/>
            <a:chOff x="4891890" y="1449712"/>
            <a:chExt cx="1588662" cy="1629503"/>
          </a:xfrm>
        </p:grpSpPr>
        <p:sp>
          <p:nvSpPr>
            <p:cNvPr id="7" name="Freeform 12"/>
            <p:cNvSpPr/>
            <p:nvPr/>
          </p:nvSpPr>
          <p:spPr bwMode="auto">
            <a:xfrm>
              <a:off x="4893478" y="1449712"/>
              <a:ext cx="298679" cy="466042"/>
            </a:xfrm>
            <a:custGeom>
              <a:avLst/>
              <a:gdLst>
                <a:gd name="T0" fmla="*/ 231 w 231"/>
                <a:gd name="T1" fmla="*/ 203 h 362"/>
                <a:gd name="T2" fmla="*/ 231 w 231"/>
                <a:gd name="T3" fmla="*/ 362 h 362"/>
                <a:gd name="T4" fmla="*/ 0 w 231"/>
                <a:gd name="T5" fmla="*/ 159 h 362"/>
                <a:gd name="T6" fmla="*/ 0 w 231"/>
                <a:gd name="T7" fmla="*/ 0 h 362"/>
                <a:gd name="T8" fmla="*/ 231 w 231"/>
                <a:gd name="T9" fmla="*/ 203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" h="362">
                  <a:moveTo>
                    <a:pt x="231" y="203"/>
                  </a:moveTo>
                  <a:lnTo>
                    <a:pt x="231" y="362"/>
                  </a:lnTo>
                  <a:lnTo>
                    <a:pt x="0" y="159"/>
                  </a:lnTo>
                  <a:lnTo>
                    <a:pt x="0" y="0"/>
                  </a:lnTo>
                  <a:lnTo>
                    <a:pt x="231" y="203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57150" tIns="28575" rIns="57150" bIns="28575" numCol="1" anchor="t" anchorCtr="0" compatLnSpc="1"/>
            <a:lstStyle/>
            <a:p>
              <a:endParaRPr lang="en-AU" sz="1125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8" name="Freeform 8"/>
            <p:cNvSpPr/>
            <p:nvPr/>
          </p:nvSpPr>
          <p:spPr bwMode="auto">
            <a:xfrm>
              <a:off x="4891890" y="1449712"/>
              <a:ext cx="1588662" cy="1429024"/>
            </a:xfrm>
            <a:custGeom>
              <a:avLst/>
              <a:gdLst>
                <a:gd name="T0" fmla="*/ 352 w 1234"/>
                <a:gd name="T1" fmla="*/ 0 h 1111"/>
                <a:gd name="T2" fmla="*/ 423 w 1234"/>
                <a:gd name="T3" fmla="*/ 3 h 1111"/>
                <a:gd name="T4" fmla="*/ 492 w 1234"/>
                <a:gd name="T5" fmla="*/ 13 h 1111"/>
                <a:gd name="T6" fmla="*/ 560 w 1234"/>
                <a:gd name="T7" fmla="*/ 27 h 1111"/>
                <a:gd name="T8" fmla="*/ 622 w 1234"/>
                <a:gd name="T9" fmla="*/ 48 h 1111"/>
                <a:gd name="T10" fmla="*/ 684 w 1234"/>
                <a:gd name="T11" fmla="*/ 73 h 1111"/>
                <a:gd name="T12" fmla="*/ 741 w 1234"/>
                <a:gd name="T13" fmla="*/ 103 h 1111"/>
                <a:gd name="T14" fmla="*/ 795 w 1234"/>
                <a:gd name="T15" fmla="*/ 138 h 1111"/>
                <a:gd name="T16" fmla="*/ 844 w 1234"/>
                <a:gd name="T17" fmla="*/ 177 h 1111"/>
                <a:gd name="T18" fmla="*/ 889 w 1234"/>
                <a:gd name="T19" fmla="*/ 220 h 1111"/>
                <a:gd name="T20" fmla="*/ 930 w 1234"/>
                <a:gd name="T21" fmla="*/ 267 h 1111"/>
                <a:gd name="T22" fmla="*/ 963 w 1234"/>
                <a:gd name="T23" fmla="*/ 317 h 1111"/>
                <a:gd name="T24" fmla="*/ 994 w 1234"/>
                <a:gd name="T25" fmla="*/ 370 h 1111"/>
                <a:gd name="T26" fmla="*/ 1016 w 1234"/>
                <a:gd name="T27" fmla="*/ 425 h 1111"/>
                <a:gd name="T28" fmla="*/ 1034 w 1234"/>
                <a:gd name="T29" fmla="*/ 482 h 1111"/>
                <a:gd name="T30" fmla="*/ 1044 w 1234"/>
                <a:gd name="T31" fmla="*/ 542 h 1111"/>
                <a:gd name="T32" fmla="*/ 1049 w 1234"/>
                <a:gd name="T33" fmla="*/ 605 h 1111"/>
                <a:gd name="T34" fmla="*/ 1234 w 1234"/>
                <a:gd name="T35" fmla="*/ 746 h 1111"/>
                <a:gd name="T36" fmla="*/ 973 w 1234"/>
                <a:gd name="T37" fmla="*/ 973 h 1111"/>
                <a:gd name="T38" fmla="*/ 655 w 1234"/>
                <a:gd name="T39" fmla="*/ 973 h 1111"/>
                <a:gd name="T40" fmla="*/ 394 w 1234"/>
                <a:gd name="T41" fmla="*/ 746 h 1111"/>
                <a:gd name="T42" fmla="*/ 582 w 1234"/>
                <a:gd name="T43" fmla="*/ 605 h 1111"/>
                <a:gd name="T44" fmla="*/ 582 w 1234"/>
                <a:gd name="T45" fmla="*/ 584 h 1111"/>
                <a:gd name="T46" fmla="*/ 573 w 1234"/>
                <a:gd name="T47" fmla="*/ 545 h 1111"/>
                <a:gd name="T48" fmla="*/ 555 w 1234"/>
                <a:gd name="T49" fmla="*/ 508 h 1111"/>
                <a:gd name="T50" fmla="*/ 531 w 1234"/>
                <a:gd name="T51" fmla="*/ 478 h 1111"/>
                <a:gd name="T52" fmla="*/ 499 w 1234"/>
                <a:gd name="T53" fmla="*/ 450 h 1111"/>
                <a:gd name="T54" fmla="*/ 462 w 1234"/>
                <a:gd name="T55" fmla="*/ 428 h 1111"/>
                <a:gd name="T56" fmla="*/ 421 w 1234"/>
                <a:gd name="T57" fmla="*/ 413 h 1111"/>
                <a:gd name="T58" fmla="*/ 376 w 1234"/>
                <a:gd name="T59" fmla="*/ 405 h 1111"/>
                <a:gd name="T60" fmla="*/ 235 w 1234"/>
                <a:gd name="T61" fmla="*/ 404 h 1111"/>
                <a:gd name="T62" fmla="*/ 232 w 1234"/>
                <a:gd name="T63" fmla="*/ 203 h 1111"/>
                <a:gd name="T64" fmla="*/ 220 w 1234"/>
                <a:gd name="T65" fmla="*/ 0 h 1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34" h="1111">
                  <a:moveTo>
                    <a:pt x="352" y="0"/>
                  </a:moveTo>
                  <a:lnTo>
                    <a:pt x="352" y="0"/>
                  </a:lnTo>
                  <a:lnTo>
                    <a:pt x="388" y="2"/>
                  </a:lnTo>
                  <a:lnTo>
                    <a:pt x="423" y="3"/>
                  </a:lnTo>
                  <a:lnTo>
                    <a:pt x="458" y="7"/>
                  </a:lnTo>
                  <a:lnTo>
                    <a:pt x="492" y="13"/>
                  </a:lnTo>
                  <a:lnTo>
                    <a:pt x="526" y="19"/>
                  </a:lnTo>
                  <a:lnTo>
                    <a:pt x="560" y="27"/>
                  </a:lnTo>
                  <a:lnTo>
                    <a:pt x="592" y="37"/>
                  </a:lnTo>
                  <a:lnTo>
                    <a:pt x="622" y="48"/>
                  </a:lnTo>
                  <a:lnTo>
                    <a:pt x="653" y="60"/>
                  </a:lnTo>
                  <a:lnTo>
                    <a:pt x="684" y="73"/>
                  </a:lnTo>
                  <a:lnTo>
                    <a:pt x="712" y="89"/>
                  </a:lnTo>
                  <a:lnTo>
                    <a:pt x="741" y="103"/>
                  </a:lnTo>
                  <a:lnTo>
                    <a:pt x="769" y="121"/>
                  </a:lnTo>
                  <a:lnTo>
                    <a:pt x="795" y="138"/>
                  </a:lnTo>
                  <a:lnTo>
                    <a:pt x="820" y="158"/>
                  </a:lnTo>
                  <a:lnTo>
                    <a:pt x="844" y="177"/>
                  </a:lnTo>
                  <a:lnTo>
                    <a:pt x="867" y="198"/>
                  </a:lnTo>
                  <a:lnTo>
                    <a:pt x="889" y="220"/>
                  </a:lnTo>
                  <a:lnTo>
                    <a:pt x="910" y="243"/>
                  </a:lnTo>
                  <a:lnTo>
                    <a:pt x="930" y="267"/>
                  </a:lnTo>
                  <a:lnTo>
                    <a:pt x="947" y="291"/>
                  </a:lnTo>
                  <a:lnTo>
                    <a:pt x="963" y="317"/>
                  </a:lnTo>
                  <a:lnTo>
                    <a:pt x="979" y="343"/>
                  </a:lnTo>
                  <a:lnTo>
                    <a:pt x="994" y="370"/>
                  </a:lnTo>
                  <a:lnTo>
                    <a:pt x="1005" y="397"/>
                  </a:lnTo>
                  <a:lnTo>
                    <a:pt x="1016" y="425"/>
                  </a:lnTo>
                  <a:lnTo>
                    <a:pt x="1026" y="454"/>
                  </a:lnTo>
                  <a:lnTo>
                    <a:pt x="1034" y="482"/>
                  </a:lnTo>
                  <a:lnTo>
                    <a:pt x="1041" y="513"/>
                  </a:lnTo>
                  <a:lnTo>
                    <a:pt x="1044" y="542"/>
                  </a:lnTo>
                  <a:lnTo>
                    <a:pt x="1047" y="573"/>
                  </a:lnTo>
                  <a:lnTo>
                    <a:pt x="1049" y="605"/>
                  </a:lnTo>
                  <a:lnTo>
                    <a:pt x="1049" y="746"/>
                  </a:lnTo>
                  <a:lnTo>
                    <a:pt x="1234" y="746"/>
                  </a:lnTo>
                  <a:lnTo>
                    <a:pt x="1049" y="907"/>
                  </a:lnTo>
                  <a:lnTo>
                    <a:pt x="973" y="973"/>
                  </a:lnTo>
                  <a:lnTo>
                    <a:pt x="814" y="1111"/>
                  </a:lnTo>
                  <a:lnTo>
                    <a:pt x="655" y="973"/>
                  </a:lnTo>
                  <a:lnTo>
                    <a:pt x="582" y="910"/>
                  </a:lnTo>
                  <a:lnTo>
                    <a:pt x="394" y="746"/>
                  </a:lnTo>
                  <a:lnTo>
                    <a:pt x="582" y="746"/>
                  </a:lnTo>
                  <a:lnTo>
                    <a:pt x="582" y="605"/>
                  </a:lnTo>
                  <a:lnTo>
                    <a:pt x="582" y="605"/>
                  </a:lnTo>
                  <a:lnTo>
                    <a:pt x="582" y="584"/>
                  </a:lnTo>
                  <a:lnTo>
                    <a:pt x="579" y="564"/>
                  </a:lnTo>
                  <a:lnTo>
                    <a:pt x="573" y="545"/>
                  </a:lnTo>
                  <a:lnTo>
                    <a:pt x="565" y="526"/>
                  </a:lnTo>
                  <a:lnTo>
                    <a:pt x="555" y="508"/>
                  </a:lnTo>
                  <a:lnTo>
                    <a:pt x="544" y="492"/>
                  </a:lnTo>
                  <a:lnTo>
                    <a:pt x="531" y="478"/>
                  </a:lnTo>
                  <a:lnTo>
                    <a:pt x="515" y="463"/>
                  </a:lnTo>
                  <a:lnTo>
                    <a:pt x="499" y="450"/>
                  </a:lnTo>
                  <a:lnTo>
                    <a:pt x="481" y="437"/>
                  </a:lnTo>
                  <a:lnTo>
                    <a:pt x="462" y="428"/>
                  </a:lnTo>
                  <a:lnTo>
                    <a:pt x="442" y="420"/>
                  </a:lnTo>
                  <a:lnTo>
                    <a:pt x="421" y="413"/>
                  </a:lnTo>
                  <a:lnTo>
                    <a:pt x="399" y="409"/>
                  </a:lnTo>
                  <a:lnTo>
                    <a:pt x="376" y="405"/>
                  </a:lnTo>
                  <a:lnTo>
                    <a:pt x="352" y="404"/>
                  </a:lnTo>
                  <a:lnTo>
                    <a:pt x="235" y="404"/>
                  </a:lnTo>
                  <a:lnTo>
                    <a:pt x="0" y="404"/>
                  </a:lnTo>
                  <a:lnTo>
                    <a:pt x="232" y="203"/>
                  </a:lnTo>
                  <a:lnTo>
                    <a:pt x="0" y="0"/>
                  </a:lnTo>
                  <a:lnTo>
                    <a:pt x="220" y="0"/>
                  </a:lnTo>
                  <a:lnTo>
                    <a:pt x="352" y="0"/>
                  </a:lnTo>
                  <a:close/>
                </a:path>
              </a:pathLst>
            </a:custGeom>
            <a:gradFill>
              <a:gsLst>
                <a:gs pos="200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57150" tIns="28575" rIns="57150" bIns="28575" numCol="1" anchor="t" anchorCtr="0" compatLnSpc="1"/>
            <a:lstStyle/>
            <a:p>
              <a:endParaRPr lang="en-AU" sz="1125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9" name="Freeform 90"/>
            <p:cNvSpPr>
              <a:spLocks noChangeArrowheads="1"/>
            </p:cNvSpPr>
            <p:nvPr/>
          </p:nvSpPr>
          <p:spPr bwMode="auto">
            <a:xfrm>
              <a:off x="4894926" y="1965575"/>
              <a:ext cx="453170" cy="203411"/>
            </a:xfrm>
            <a:custGeom>
              <a:avLst/>
              <a:gdLst>
                <a:gd name="connsiteX0" fmla="*/ 301255 w 453170"/>
                <a:gd name="connsiteY0" fmla="*/ 0 h 203411"/>
                <a:gd name="connsiteX1" fmla="*/ 453170 w 453170"/>
                <a:gd name="connsiteY1" fmla="*/ 0 h 203411"/>
                <a:gd name="connsiteX2" fmla="*/ 453170 w 453170"/>
                <a:gd name="connsiteY2" fmla="*/ 203411 h 203411"/>
                <a:gd name="connsiteX3" fmla="*/ 301255 w 453170"/>
                <a:gd name="connsiteY3" fmla="*/ 203411 h 203411"/>
                <a:gd name="connsiteX4" fmla="*/ 0 w 453170"/>
                <a:gd name="connsiteY4" fmla="*/ 0 h 203411"/>
                <a:gd name="connsiteX5" fmla="*/ 301254 w 453170"/>
                <a:gd name="connsiteY5" fmla="*/ 0 h 203411"/>
                <a:gd name="connsiteX6" fmla="*/ 301254 w 453170"/>
                <a:gd name="connsiteY6" fmla="*/ 203411 h 203411"/>
                <a:gd name="connsiteX7" fmla="*/ 0 w 453170"/>
                <a:gd name="connsiteY7" fmla="*/ 203411 h 203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3169" h="203411">
                  <a:moveTo>
                    <a:pt x="301255" y="0"/>
                  </a:moveTo>
                  <a:lnTo>
                    <a:pt x="453170" y="0"/>
                  </a:lnTo>
                  <a:lnTo>
                    <a:pt x="453170" y="203411"/>
                  </a:lnTo>
                  <a:lnTo>
                    <a:pt x="301255" y="203411"/>
                  </a:lnTo>
                  <a:close/>
                  <a:moveTo>
                    <a:pt x="0" y="0"/>
                  </a:moveTo>
                  <a:lnTo>
                    <a:pt x="301254" y="0"/>
                  </a:lnTo>
                  <a:lnTo>
                    <a:pt x="301254" y="203411"/>
                  </a:lnTo>
                  <a:lnTo>
                    <a:pt x="0" y="203411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7150" tIns="28575" rIns="57150" bIns="28575" numCol="1" anchor="t" anchorCtr="0" compatLnSpc="1">
              <a:noAutofit/>
            </a:bodyPr>
            <a:lstStyle/>
            <a:p>
              <a:endParaRPr lang="en-AU" sz="1125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0" name="Freeform 15"/>
            <p:cNvSpPr/>
            <p:nvPr/>
          </p:nvSpPr>
          <p:spPr bwMode="auto">
            <a:xfrm>
              <a:off x="5348095" y="1964202"/>
              <a:ext cx="298679" cy="463467"/>
            </a:xfrm>
            <a:custGeom>
              <a:avLst/>
              <a:gdLst>
                <a:gd name="T0" fmla="*/ 230 w 230"/>
                <a:gd name="T1" fmla="*/ 201 h 360"/>
                <a:gd name="T2" fmla="*/ 230 w 230"/>
                <a:gd name="T3" fmla="*/ 360 h 360"/>
                <a:gd name="T4" fmla="*/ 230 w 230"/>
                <a:gd name="T5" fmla="*/ 360 h 360"/>
                <a:gd name="T6" fmla="*/ 228 w 230"/>
                <a:gd name="T7" fmla="*/ 339 h 360"/>
                <a:gd name="T8" fmla="*/ 225 w 230"/>
                <a:gd name="T9" fmla="*/ 320 h 360"/>
                <a:gd name="T10" fmla="*/ 219 w 230"/>
                <a:gd name="T11" fmla="*/ 301 h 360"/>
                <a:gd name="T12" fmla="*/ 212 w 230"/>
                <a:gd name="T13" fmla="*/ 282 h 360"/>
                <a:gd name="T14" fmla="*/ 203 w 230"/>
                <a:gd name="T15" fmla="*/ 264 h 360"/>
                <a:gd name="T16" fmla="*/ 190 w 230"/>
                <a:gd name="T17" fmla="*/ 248 h 360"/>
                <a:gd name="T18" fmla="*/ 177 w 230"/>
                <a:gd name="T19" fmla="*/ 233 h 360"/>
                <a:gd name="T20" fmla="*/ 162 w 230"/>
                <a:gd name="T21" fmla="*/ 219 h 360"/>
                <a:gd name="T22" fmla="*/ 146 w 230"/>
                <a:gd name="T23" fmla="*/ 206 h 360"/>
                <a:gd name="T24" fmla="*/ 129 w 230"/>
                <a:gd name="T25" fmla="*/ 193 h 360"/>
                <a:gd name="T26" fmla="*/ 109 w 230"/>
                <a:gd name="T27" fmla="*/ 183 h 360"/>
                <a:gd name="T28" fmla="*/ 88 w 230"/>
                <a:gd name="T29" fmla="*/ 175 h 360"/>
                <a:gd name="T30" fmla="*/ 68 w 230"/>
                <a:gd name="T31" fmla="*/ 169 h 360"/>
                <a:gd name="T32" fmla="*/ 45 w 230"/>
                <a:gd name="T33" fmla="*/ 164 h 360"/>
                <a:gd name="T34" fmla="*/ 23 w 230"/>
                <a:gd name="T35" fmla="*/ 161 h 360"/>
                <a:gd name="T36" fmla="*/ 0 w 230"/>
                <a:gd name="T37" fmla="*/ 159 h 360"/>
                <a:gd name="T38" fmla="*/ 0 w 230"/>
                <a:gd name="T39" fmla="*/ 0 h 360"/>
                <a:gd name="T40" fmla="*/ 0 w 230"/>
                <a:gd name="T41" fmla="*/ 0 h 360"/>
                <a:gd name="T42" fmla="*/ 23 w 230"/>
                <a:gd name="T43" fmla="*/ 2 h 360"/>
                <a:gd name="T44" fmla="*/ 45 w 230"/>
                <a:gd name="T45" fmla="*/ 5 h 360"/>
                <a:gd name="T46" fmla="*/ 68 w 230"/>
                <a:gd name="T47" fmla="*/ 10 h 360"/>
                <a:gd name="T48" fmla="*/ 88 w 230"/>
                <a:gd name="T49" fmla="*/ 16 h 360"/>
                <a:gd name="T50" fmla="*/ 109 w 230"/>
                <a:gd name="T51" fmla="*/ 24 h 360"/>
                <a:gd name="T52" fmla="*/ 129 w 230"/>
                <a:gd name="T53" fmla="*/ 34 h 360"/>
                <a:gd name="T54" fmla="*/ 146 w 230"/>
                <a:gd name="T55" fmla="*/ 47 h 360"/>
                <a:gd name="T56" fmla="*/ 162 w 230"/>
                <a:gd name="T57" fmla="*/ 60 h 360"/>
                <a:gd name="T58" fmla="*/ 177 w 230"/>
                <a:gd name="T59" fmla="*/ 73 h 360"/>
                <a:gd name="T60" fmla="*/ 190 w 230"/>
                <a:gd name="T61" fmla="*/ 89 h 360"/>
                <a:gd name="T62" fmla="*/ 203 w 230"/>
                <a:gd name="T63" fmla="*/ 105 h 360"/>
                <a:gd name="T64" fmla="*/ 212 w 230"/>
                <a:gd name="T65" fmla="*/ 122 h 360"/>
                <a:gd name="T66" fmla="*/ 219 w 230"/>
                <a:gd name="T67" fmla="*/ 142 h 360"/>
                <a:gd name="T68" fmla="*/ 225 w 230"/>
                <a:gd name="T69" fmla="*/ 161 h 360"/>
                <a:gd name="T70" fmla="*/ 228 w 230"/>
                <a:gd name="T71" fmla="*/ 180 h 360"/>
                <a:gd name="T72" fmla="*/ 230 w 230"/>
                <a:gd name="T73" fmla="*/ 201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30" h="360">
                  <a:moveTo>
                    <a:pt x="230" y="201"/>
                  </a:moveTo>
                  <a:lnTo>
                    <a:pt x="230" y="360"/>
                  </a:lnTo>
                  <a:lnTo>
                    <a:pt x="230" y="360"/>
                  </a:lnTo>
                  <a:lnTo>
                    <a:pt x="228" y="339"/>
                  </a:lnTo>
                  <a:lnTo>
                    <a:pt x="225" y="320"/>
                  </a:lnTo>
                  <a:lnTo>
                    <a:pt x="219" y="301"/>
                  </a:lnTo>
                  <a:lnTo>
                    <a:pt x="212" y="282"/>
                  </a:lnTo>
                  <a:lnTo>
                    <a:pt x="203" y="264"/>
                  </a:lnTo>
                  <a:lnTo>
                    <a:pt x="190" y="248"/>
                  </a:lnTo>
                  <a:lnTo>
                    <a:pt x="177" y="233"/>
                  </a:lnTo>
                  <a:lnTo>
                    <a:pt x="162" y="219"/>
                  </a:lnTo>
                  <a:lnTo>
                    <a:pt x="146" y="206"/>
                  </a:lnTo>
                  <a:lnTo>
                    <a:pt x="129" y="193"/>
                  </a:lnTo>
                  <a:lnTo>
                    <a:pt x="109" y="183"/>
                  </a:lnTo>
                  <a:lnTo>
                    <a:pt x="88" y="175"/>
                  </a:lnTo>
                  <a:lnTo>
                    <a:pt x="68" y="169"/>
                  </a:lnTo>
                  <a:lnTo>
                    <a:pt x="45" y="164"/>
                  </a:lnTo>
                  <a:lnTo>
                    <a:pt x="23" y="161"/>
                  </a:lnTo>
                  <a:lnTo>
                    <a:pt x="0" y="159"/>
                  </a:lnTo>
                  <a:lnTo>
                    <a:pt x="0" y="0"/>
                  </a:lnTo>
                  <a:lnTo>
                    <a:pt x="0" y="0"/>
                  </a:lnTo>
                  <a:lnTo>
                    <a:pt x="23" y="2"/>
                  </a:lnTo>
                  <a:lnTo>
                    <a:pt x="45" y="5"/>
                  </a:lnTo>
                  <a:lnTo>
                    <a:pt x="68" y="10"/>
                  </a:lnTo>
                  <a:lnTo>
                    <a:pt x="88" y="16"/>
                  </a:lnTo>
                  <a:lnTo>
                    <a:pt x="109" y="24"/>
                  </a:lnTo>
                  <a:lnTo>
                    <a:pt x="129" y="34"/>
                  </a:lnTo>
                  <a:lnTo>
                    <a:pt x="146" y="47"/>
                  </a:lnTo>
                  <a:lnTo>
                    <a:pt x="162" y="60"/>
                  </a:lnTo>
                  <a:lnTo>
                    <a:pt x="177" y="73"/>
                  </a:lnTo>
                  <a:lnTo>
                    <a:pt x="190" y="89"/>
                  </a:lnTo>
                  <a:lnTo>
                    <a:pt x="203" y="105"/>
                  </a:lnTo>
                  <a:lnTo>
                    <a:pt x="212" y="122"/>
                  </a:lnTo>
                  <a:lnTo>
                    <a:pt x="219" y="142"/>
                  </a:lnTo>
                  <a:lnTo>
                    <a:pt x="225" y="161"/>
                  </a:lnTo>
                  <a:lnTo>
                    <a:pt x="228" y="180"/>
                  </a:lnTo>
                  <a:lnTo>
                    <a:pt x="230" y="201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57150" tIns="28575" rIns="57150" bIns="28575" numCol="1" anchor="t" anchorCtr="0" compatLnSpc="1"/>
            <a:lstStyle/>
            <a:p>
              <a:endParaRPr lang="en-AU" sz="1125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1" name="Freeform 17"/>
            <p:cNvSpPr/>
            <p:nvPr/>
          </p:nvSpPr>
          <p:spPr bwMode="auto">
            <a:xfrm>
              <a:off x="5396554" y="2404613"/>
              <a:ext cx="1083998" cy="674602"/>
            </a:xfrm>
            <a:custGeom>
              <a:avLst/>
              <a:gdLst>
                <a:gd name="T0" fmla="*/ 655 w 841"/>
                <a:gd name="T1" fmla="*/ 160 h 524"/>
                <a:gd name="T2" fmla="*/ 579 w 841"/>
                <a:gd name="T3" fmla="*/ 226 h 524"/>
                <a:gd name="T4" fmla="*/ 420 w 841"/>
                <a:gd name="T5" fmla="*/ 365 h 524"/>
                <a:gd name="T6" fmla="*/ 420 w 841"/>
                <a:gd name="T7" fmla="*/ 365 h 524"/>
                <a:gd name="T8" fmla="*/ 260 w 841"/>
                <a:gd name="T9" fmla="*/ 226 h 524"/>
                <a:gd name="T10" fmla="*/ 190 w 841"/>
                <a:gd name="T11" fmla="*/ 164 h 524"/>
                <a:gd name="T12" fmla="*/ 190 w 841"/>
                <a:gd name="T13" fmla="*/ 164 h 524"/>
                <a:gd name="T14" fmla="*/ 0 w 841"/>
                <a:gd name="T15" fmla="*/ 0 h 524"/>
                <a:gd name="T16" fmla="*/ 0 w 841"/>
                <a:gd name="T17" fmla="*/ 159 h 524"/>
                <a:gd name="T18" fmla="*/ 190 w 841"/>
                <a:gd name="T19" fmla="*/ 323 h 524"/>
                <a:gd name="T20" fmla="*/ 260 w 841"/>
                <a:gd name="T21" fmla="*/ 386 h 524"/>
                <a:gd name="T22" fmla="*/ 260 w 841"/>
                <a:gd name="T23" fmla="*/ 386 h 524"/>
                <a:gd name="T24" fmla="*/ 420 w 841"/>
                <a:gd name="T25" fmla="*/ 524 h 524"/>
                <a:gd name="T26" fmla="*/ 579 w 841"/>
                <a:gd name="T27" fmla="*/ 386 h 524"/>
                <a:gd name="T28" fmla="*/ 655 w 841"/>
                <a:gd name="T29" fmla="*/ 320 h 524"/>
                <a:gd name="T30" fmla="*/ 841 w 841"/>
                <a:gd name="T31" fmla="*/ 159 h 524"/>
                <a:gd name="T32" fmla="*/ 841 w 841"/>
                <a:gd name="T33" fmla="*/ 0 h 524"/>
                <a:gd name="T34" fmla="*/ 655 w 841"/>
                <a:gd name="T35" fmla="*/ 16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41" h="524">
                  <a:moveTo>
                    <a:pt x="655" y="160"/>
                  </a:moveTo>
                  <a:lnTo>
                    <a:pt x="579" y="226"/>
                  </a:lnTo>
                  <a:lnTo>
                    <a:pt x="420" y="365"/>
                  </a:lnTo>
                  <a:lnTo>
                    <a:pt x="420" y="365"/>
                  </a:lnTo>
                  <a:lnTo>
                    <a:pt x="260" y="226"/>
                  </a:lnTo>
                  <a:lnTo>
                    <a:pt x="190" y="164"/>
                  </a:lnTo>
                  <a:lnTo>
                    <a:pt x="190" y="164"/>
                  </a:lnTo>
                  <a:lnTo>
                    <a:pt x="0" y="0"/>
                  </a:lnTo>
                  <a:lnTo>
                    <a:pt x="0" y="159"/>
                  </a:lnTo>
                  <a:lnTo>
                    <a:pt x="190" y="323"/>
                  </a:lnTo>
                  <a:lnTo>
                    <a:pt x="260" y="386"/>
                  </a:lnTo>
                  <a:lnTo>
                    <a:pt x="260" y="386"/>
                  </a:lnTo>
                  <a:lnTo>
                    <a:pt x="420" y="524"/>
                  </a:lnTo>
                  <a:lnTo>
                    <a:pt x="579" y="386"/>
                  </a:lnTo>
                  <a:lnTo>
                    <a:pt x="655" y="320"/>
                  </a:lnTo>
                  <a:lnTo>
                    <a:pt x="841" y="159"/>
                  </a:lnTo>
                  <a:lnTo>
                    <a:pt x="841" y="0"/>
                  </a:lnTo>
                  <a:lnTo>
                    <a:pt x="655" y="16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57150" tIns="28575" rIns="57150" bIns="28575" numCol="1" anchor="t" anchorCtr="0" compatLnSpc="1"/>
            <a:lstStyle/>
            <a:p>
              <a:endParaRPr lang="en-AU" sz="1125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</p:grpSp>
      <p:grpSp>
        <p:nvGrpSpPr>
          <p:cNvPr id="12" name="Group 1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7079851" y="2820573"/>
            <a:ext cx="1293295" cy="1357360"/>
            <a:chOff x="7003639" y="1096962"/>
            <a:chExt cx="1663331" cy="1745726"/>
          </a:xfrm>
        </p:grpSpPr>
        <p:sp>
          <p:nvSpPr>
            <p:cNvPr id="13" name="Freeform 75"/>
            <p:cNvSpPr>
              <a:spLocks noChangeArrowheads="1"/>
            </p:cNvSpPr>
            <p:nvPr/>
          </p:nvSpPr>
          <p:spPr bwMode="auto">
            <a:xfrm>
              <a:off x="7003639" y="1647840"/>
              <a:ext cx="1122621" cy="981533"/>
            </a:xfrm>
            <a:custGeom>
              <a:avLst/>
              <a:gdLst>
                <a:gd name="connsiteX0" fmla="*/ 0 w 1122621"/>
                <a:gd name="connsiteY0" fmla="*/ 0 h 981533"/>
                <a:gd name="connsiteX1" fmla="*/ 1291 w 1122621"/>
                <a:gd name="connsiteY1" fmla="*/ 54071 h 981533"/>
                <a:gd name="connsiteX2" fmla="*/ 7746 w 1122621"/>
                <a:gd name="connsiteY2" fmla="*/ 108142 h 981533"/>
                <a:gd name="connsiteX3" fmla="*/ 18075 w 1122621"/>
                <a:gd name="connsiteY3" fmla="*/ 162213 h 981533"/>
                <a:gd name="connsiteX4" fmla="*/ 34860 w 1122621"/>
                <a:gd name="connsiteY4" fmla="*/ 213710 h 981533"/>
                <a:gd name="connsiteX5" fmla="*/ 52936 w 1122621"/>
                <a:gd name="connsiteY5" fmla="*/ 263919 h 981533"/>
                <a:gd name="connsiteX6" fmla="*/ 73593 w 1122621"/>
                <a:gd name="connsiteY6" fmla="*/ 312840 h 981533"/>
                <a:gd name="connsiteX7" fmla="*/ 100707 w 1122621"/>
                <a:gd name="connsiteY7" fmla="*/ 357900 h 981533"/>
                <a:gd name="connsiteX8" fmla="*/ 130403 w 1122621"/>
                <a:gd name="connsiteY8" fmla="*/ 404246 h 981533"/>
                <a:gd name="connsiteX9" fmla="*/ 163972 w 1122621"/>
                <a:gd name="connsiteY9" fmla="*/ 448018 h 981533"/>
                <a:gd name="connsiteX10" fmla="*/ 198832 w 1122621"/>
                <a:gd name="connsiteY10" fmla="*/ 489215 h 981533"/>
                <a:gd name="connsiteX11" fmla="*/ 238857 w 1122621"/>
                <a:gd name="connsiteY11" fmla="*/ 527838 h 981533"/>
                <a:gd name="connsiteX12" fmla="*/ 280172 w 1122621"/>
                <a:gd name="connsiteY12" fmla="*/ 565173 h 981533"/>
                <a:gd name="connsiteX13" fmla="*/ 325362 w 1122621"/>
                <a:gd name="connsiteY13" fmla="*/ 598645 h 981533"/>
                <a:gd name="connsiteX14" fmla="*/ 373133 w 1122621"/>
                <a:gd name="connsiteY14" fmla="*/ 629543 h 981533"/>
                <a:gd name="connsiteX15" fmla="*/ 423487 w 1122621"/>
                <a:gd name="connsiteY15" fmla="*/ 659153 h 981533"/>
                <a:gd name="connsiteX16" fmla="*/ 475131 w 1122621"/>
                <a:gd name="connsiteY16" fmla="*/ 686189 h 981533"/>
                <a:gd name="connsiteX17" fmla="*/ 520320 w 1122621"/>
                <a:gd name="connsiteY17" fmla="*/ 706788 h 981533"/>
                <a:gd name="connsiteX18" fmla="*/ 568092 w 1122621"/>
                <a:gd name="connsiteY18" fmla="*/ 722237 h 981533"/>
                <a:gd name="connsiteX19" fmla="*/ 615863 w 1122621"/>
                <a:gd name="connsiteY19" fmla="*/ 737685 h 981533"/>
                <a:gd name="connsiteX20" fmla="*/ 666217 w 1122621"/>
                <a:gd name="connsiteY20" fmla="*/ 751847 h 981533"/>
                <a:gd name="connsiteX21" fmla="*/ 717861 w 1122621"/>
                <a:gd name="connsiteY21" fmla="*/ 762146 h 981533"/>
                <a:gd name="connsiteX22" fmla="*/ 769506 w 1122621"/>
                <a:gd name="connsiteY22" fmla="*/ 768583 h 981533"/>
                <a:gd name="connsiteX23" fmla="*/ 822442 w 1122621"/>
                <a:gd name="connsiteY23" fmla="*/ 775020 h 981533"/>
                <a:gd name="connsiteX24" fmla="*/ 875378 w 1122621"/>
                <a:gd name="connsiteY24" fmla="*/ 776308 h 981533"/>
                <a:gd name="connsiteX25" fmla="*/ 896036 w 1122621"/>
                <a:gd name="connsiteY25" fmla="*/ 776308 h 981533"/>
                <a:gd name="connsiteX26" fmla="*/ 896036 w 1122621"/>
                <a:gd name="connsiteY26" fmla="*/ 775548 h 981533"/>
                <a:gd name="connsiteX27" fmla="*/ 934659 w 1122621"/>
                <a:gd name="connsiteY27" fmla="*/ 775548 h 981533"/>
                <a:gd name="connsiteX28" fmla="*/ 1122621 w 1122621"/>
                <a:gd name="connsiteY28" fmla="*/ 775548 h 981533"/>
                <a:gd name="connsiteX29" fmla="*/ 1122621 w 1122621"/>
                <a:gd name="connsiteY29" fmla="*/ 981533 h 981533"/>
                <a:gd name="connsiteX30" fmla="*/ 934659 w 1122621"/>
                <a:gd name="connsiteY30" fmla="*/ 981533 h 981533"/>
                <a:gd name="connsiteX31" fmla="*/ 896036 w 1122621"/>
                <a:gd name="connsiteY31" fmla="*/ 981533 h 981533"/>
                <a:gd name="connsiteX32" fmla="*/ 896036 w 1122621"/>
                <a:gd name="connsiteY32" fmla="*/ 981006 h 981533"/>
                <a:gd name="connsiteX33" fmla="*/ 875378 w 1122621"/>
                <a:gd name="connsiteY33" fmla="*/ 981006 h 981533"/>
                <a:gd name="connsiteX34" fmla="*/ 822442 w 1122621"/>
                <a:gd name="connsiteY34" fmla="*/ 979719 h 981533"/>
                <a:gd name="connsiteX35" fmla="*/ 769506 w 1122621"/>
                <a:gd name="connsiteY35" fmla="*/ 975857 h 981533"/>
                <a:gd name="connsiteX36" fmla="*/ 717861 w 1122621"/>
                <a:gd name="connsiteY36" fmla="*/ 966845 h 981533"/>
                <a:gd name="connsiteX37" fmla="*/ 666217 w 1122621"/>
                <a:gd name="connsiteY37" fmla="*/ 956545 h 981533"/>
                <a:gd name="connsiteX38" fmla="*/ 615863 w 1122621"/>
                <a:gd name="connsiteY38" fmla="*/ 943671 h 981533"/>
                <a:gd name="connsiteX39" fmla="*/ 568092 w 1122621"/>
                <a:gd name="connsiteY39" fmla="*/ 928222 h 981533"/>
                <a:gd name="connsiteX40" fmla="*/ 520320 w 1122621"/>
                <a:gd name="connsiteY40" fmla="*/ 911486 h 981533"/>
                <a:gd name="connsiteX41" fmla="*/ 475131 w 1122621"/>
                <a:gd name="connsiteY41" fmla="*/ 890887 h 981533"/>
                <a:gd name="connsiteX42" fmla="*/ 423487 w 1122621"/>
                <a:gd name="connsiteY42" fmla="*/ 863852 h 981533"/>
                <a:gd name="connsiteX43" fmla="*/ 373133 w 1122621"/>
                <a:gd name="connsiteY43" fmla="*/ 834241 h 981533"/>
                <a:gd name="connsiteX44" fmla="*/ 325362 w 1122621"/>
                <a:gd name="connsiteY44" fmla="*/ 803344 h 981533"/>
                <a:gd name="connsiteX45" fmla="*/ 280172 w 1122621"/>
                <a:gd name="connsiteY45" fmla="*/ 769871 h 981533"/>
                <a:gd name="connsiteX46" fmla="*/ 238857 w 1122621"/>
                <a:gd name="connsiteY46" fmla="*/ 732536 h 981533"/>
                <a:gd name="connsiteX47" fmla="*/ 198832 w 1122621"/>
                <a:gd name="connsiteY47" fmla="*/ 693914 h 981533"/>
                <a:gd name="connsiteX48" fmla="*/ 163972 w 1122621"/>
                <a:gd name="connsiteY48" fmla="*/ 652716 h 981533"/>
                <a:gd name="connsiteX49" fmla="*/ 130403 w 1122621"/>
                <a:gd name="connsiteY49" fmla="*/ 608945 h 981533"/>
                <a:gd name="connsiteX50" fmla="*/ 100707 w 1122621"/>
                <a:gd name="connsiteY50" fmla="*/ 563885 h 981533"/>
                <a:gd name="connsiteX51" fmla="*/ 73593 w 1122621"/>
                <a:gd name="connsiteY51" fmla="*/ 517538 h 981533"/>
                <a:gd name="connsiteX52" fmla="*/ 52936 w 1122621"/>
                <a:gd name="connsiteY52" fmla="*/ 468617 h 981533"/>
                <a:gd name="connsiteX53" fmla="*/ 34860 w 1122621"/>
                <a:gd name="connsiteY53" fmla="*/ 418408 h 981533"/>
                <a:gd name="connsiteX54" fmla="*/ 18075 w 1122621"/>
                <a:gd name="connsiteY54" fmla="*/ 366912 h 981533"/>
                <a:gd name="connsiteX55" fmla="*/ 7746 w 1122621"/>
                <a:gd name="connsiteY55" fmla="*/ 312840 h 981533"/>
                <a:gd name="connsiteX56" fmla="*/ 1291 w 1122621"/>
                <a:gd name="connsiteY56" fmla="*/ 258769 h 981533"/>
                <a:gd name="connsiteX57" fmla="*/ 0 w 1122621"/>
                <a:gd name="connsiteY57" fmla="*/ 205985 h 981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122621" h="981532">
                  <a:moveTo>
                    <a:pt x="0" y="0"/>
                  </a:moveTo>
                  <a:lnTo>
                    <a:pt x="1291" y="54071"/>
                  </a:lnTo>
                  <a:lnTo>
                    <a:pt x="7746" y="108142"/>
                  </a:lnTo>
                  <a:lnTo>
                    <a:pt x="18075" y="162213"/>
                  </a:lnTo>
                  <a:lnTo>
                    <a:pt x="34860" y="213710"/>
                  </a:lnTo>
                  <a:lnTo>
                    <a:pt x="52936" y="263919"/>
                  </a:lnTo>
                  <a:lnTo>
                    <a:pt x="73593" y="312840"/>
                  </a:lnTo>
                  <a:lnTo>
                    <a:pt x="100707" y="357900"/>
                  </a:lnTo>
                  <a:lnTo>
                    <a:pt x="130403" y="404246"/>
                  </a:lnTo>
                  <a:lnTo>
                    <a:pt x="163972" y="448018"/>
                  </a:lnTo>
                  <a:lnTo>
                    <a:pt x="198832" y="489215"/>
                  </a:lnTo>
                  <a:lnTo>
                    <a:pt x="238857" y="527838"/>
                  </a:lnTo>
                  <a:lnTo>
                    <a:pt x="280172" y="565173"/>
                  </a:lnTo>
                  <a:lnTo>
                    <a:pt x="325362" y="598645"/>
                  </a:lnTo>
                  <a:lnTo>
                    <a:pt x="373133" y="629543"/>
                  </a:lnTo>
                  <a:lnTo>
                    <a:pt x="423487" y="659153"/>
                  </a:lnTo>
                  <a:lnTo>
                    <a:pt x="475131" y="686189"/>
                  </a:lnTo>
                  <a:lnTo>
                    <a:pt x="520320" y="706788"/>
                  </a:lnTo>
                  <a:lnTo>
                    <a:pt x="568092" y="722237"/>
                  </a:lnTo>
                  <a:lnTo>
                    <a:pt x="615863" y="737685"/>
                  </a:lnTo>
                  <a:lnTo>
                    <a:pt x="666217" y="751847"/>
                  </a:lnTo>
                  <a:lnTo>
                    <a:pt x="717861" y="762146"/>
                  </a:lnTo>
                  <a:lnTo>
                    <a:pt x="769506" y="768583"/>
                  </a:lnTo>
                  <a:lnTo>
                    <a:pt x="822442" y="775020"/>
                  </a:lnTo>
                  <a:lnTo>
                    <a:pt x="875378" y="776308"/>
                  </a:lnTo>
                  <a:lnTo>
                    <a:pt x="896036" y="776308"/>
                  </a:lnTo>
                  <a:lnTo>
                    <a:pt x="896036" y="775548"/>
                  </a:lnTo>
                  <a:lnTo>
                    <a:pt x="934659" y="775548"/>
                  </a:lnTo>
                  <a:lnTo>
                    <a:pt x="1122621" y="775548"/>
                  </a:lnTo>
                  <a:lnTo>
                    <a:pt x="1122621" y="981533"/>
                  </a:lnTo>
                  <a:lnTo>
                    <a:pt x="934659" y="981533"/>
                  </a:lnTo>
                  <a:lnTo>
                    <a:pt x="896036" y="981533"/>
                  </a:lnTo>
                  <a:lnTo>
                    <a:pt x="896036" y="981006"/>
                  </a:lnTo>
                  <a:lnTo>
                    <a:pt x="875378" y="981006"/>
                  </a:lnTo>
                  <a:lnTo>
                    <a:pt x="822442" y="979719"/>
                  </a:lnTo>
                  <a:lnTo>
                    <a:pt x="769506" y="975857"/>
                  </a:lnTo>
                  <a:lnTo>
                    <a:pt x="717861" y="966845"/>
                  </a:lnTo>
                  <a:lnTo>
                    <a:pt x="666217" y="956545"/>
                  </a:lnTo>
                  <a:lnTo>
                    <a:pt x="615863" y="943671"/>
                  </a:lnTo>
                  <a:lnTo>
                    <a:pt x="568092" y="928222"/>
                  </a:lnTo>
                  <a:lnTo>
                    <a:pt x="520320" y="911486"/>
                  </a:lnTo>
                  <a:lnTo>
                    <a:pt x="475131" y="890887"/>
                  </a:lnTo>
                  <a:lnTo>
                    <a:pt x="423487" y="863852"/>
                  </a:lnTo>
                  <a:lnTo>
                    <a:pt x="373133" y="834241"/>
                  </a:lnTo>
                  <a:lnTo>
                    <a:pt x="325362" y="803344"/>
                  </a:lnTo>
                  <a:lnTo>
                    <a:pt x="280172" y="769871"/>
                  </a:lnTo>
                  <a:lnTo>
                    <a:pt x="238857" y="732536"/>
                  </a:lnTo>
                  <a:lnTo>
                    <a:pt x="198832" y="693914"/>
                  </a:lnTo>
                  <a:lnTo>
                    <a:pt x="163972" y="652716"/>
                  </a:lnTo>
                  <a:lnTo>
                    <a:pt x="130403" y="608945"/>
                  </a:lnTo>
                  <a:lnTo>
                    <a:pt x="100707" y="563885"/>
                  </a:lnTo>
                  <a:lnTo>
                    <a:pt x="73593" y="517538"/>
                  </a:lnTo>
                  <a:lnTo>
                    <a:pt x="52936" y="468617"/>
                  </a:lnTo>
                  <a:lnTo>
                    <a:pt x="34860" y="418408"/>
                  </a:lnTo>
                  <a:lnTo>
                    <a:pt x="18075" y="366912"/>
                  </a:lnTo>
                  <a:lnTo>
                    <a:pt x="7746" y="312840"/>
                  </a:lnTo>
                  <a:lnTo>
                    <a:pt x="1291" y="258769"/>
                  </a:lnTo>
                  <a:lnTo>
                    <a:pt x="0" y="205985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7150" tIns="28575" rIns="57150" bIns="28575" numCol="1" anchor="t" anchorCtr="0" compatLnSpc="1">
              <a:noAutofit/>
            </a:bodyPr>
            <a:lstStyle/>
            <a:p>
              <a:endParaRPr lang="en-AU" sz="1125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4" name="Freeform 74"/>
            <p:cNvSpPr/>
            <p:nvPr/>
          </p:nvSpPr>
          <p:spPr bwMode="auto">
            <a:xfrm>
              <a:off x="8126260" y="2169373"/>
              <a:ext cx="540709" cy="673315"/>
            </a:xfrm>
            <a:custGeom>
              <a:avLst/>
              <a:gdLst>
                <a:gd name="connsiteX0" fmla="*/ 540709 w 540709"/>
                <a:gd name="connsiteY0" fmla="*/ 0 h 673315"/>
                <a:gd name="connsiteX1" fmla="*/ 540709 w 540709"/>
                <a:gd name="connsiteY1" fmla="*/ 204698 h 673315"/>
                <a:gd name="connsiteX2" fmla="*/ 242030 w 540709"/>
                <a:gd name="connsiteY2" fmla="*/ 466042 h 673315"/>
                <a:gd name="connsiteX3" fmla="*/ 242030 w 540709"/>
                <a:gd name="connsiteY3" fmla="*/ 464757 h 673315"/>
                <a:gd name="connsiteX4" fmla="*/ 0 w 540709"/>
                <a:gd name="connsiteY4" fmla="*/ 673315 h 673315"/>
                <a:gd name="connsiteX5" fmla="*/ 0 w 540709"/>
                <a:gd name="connsiteY5" fmla="*/ 468617 h 673315"/>
                <a:gd name="connsiteX6" fmla="*/ 242033 w 540709"/>
                <a:gd name="connsiteY6" fmla="*/ 258769 h 673315"/>
                <a:gd name="connsiteX7" fmla="*/ 242033 w 540709"/>
                <a:gd name="connsiteY7" fmla="*/ 260054 h 673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40709" h="673315">
                  <a:moveTo>
                    <a:pt x="540709" y="0"/>
                  </a:moveTo>
                  <a:lnTo>
                    <a:pt x="540709" y="204698"/>
                  </a:lnTo>
                  <a:lnTo>
                    <a:pt x="242030" y="466042"/>
                  </a:lnTo>
                  <a:lnTo>
                    <a:pt x="242030" y="464757"/>
                  </a:lnTo>
                  <a:lnTo>
                    <a:pt x="0" y="673315"/>
                  </a:lnTo>
                  <a:lnTo>
                    <a:pt x="0" y="468617"/>
                  </a:lnTo>
                  <a:lnTo>
                    <a:pt x="242033" y="258769"/>
                  </a:lnTo>
                  <a:lnTo>
                    <a:pt x="242033" y="260054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57150" tIns="28575" rIns="57150" bIns="28575" numCol="1" anchor="t" anchorCtr="0" compatLnSpc="1">
              <a:noAutofit/>
            </a:bodyPr>
            <a:lstStyle/>
            <a:p>
              <a:endParaRPr lang="en-AU" sz="1125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5" name="Freeform 22"/>
            <p:cNvSpPr/>
            <p:nvPr/>
          </p:nvSpPr>
          <p:spPr bwMode="auto">
            <a:xfrm>
              <a:off x="7003639" y="1096962"/>
              <a:ext cx="1663331" cy="1544889"/>
            </a:xfrm>
            <a:custGeom>
              <a:avLst/>
              <a:gdLst>
                <a:gd name="T0" fmla="*/ 464 w 1291"/>
                <a:gd name="T1" fmla="*/ 66 h 1201"/>
                <a:gd name="T2" fmla="*/ 464 w 1291"/>
                <a:gd name="T3" fmla="*/ 434 h 1201"/>
                <a:gd name="T4" fmla="*/ 469 w 1291"/>
                <a:gd name="T5" fmla="*/ 472 h 1201"/>
                <a:gd name="T6" fmla="*/ 481 w 1291"/>
                <a:gd name="T7" fmla="*/ 509 h 1201"/>
                <a:gd name="T8" fmla="*/ 501 w 1291"/>
                <a:gd name="T9" fmla="*/ 542 h 1201"/>
                <a:gd name="T10" fmla="*/ 527 w 1291"/>
                <a:gd name="T11" fmla="*/ 571 h 1201"/>
                <a:gd name="T12" fmla="*/ 558 w 1291"/>
                <a:gd name="T13" fmla="*/ 595 h 1201"/>
                <a:gd name="T14" fmla="*/ 595 w 1291"/>
                <a:gd name="T15" fmla="*/ 614 h 1201"/>
                <a:gd name="T16" fmla="*/ 635 w 1291"/>
                <a:gd name="T17" fmla="*/ 627 h 1201"/>
                <a:gd name="T18" fmla="*/ 678 w 1291"/>
                <a:gd name="T19" fmla="*/ 633 h 1201"/>
                <a:gd name="T20" fmla="*/ 694 w 1291"/>
                <a:gd name="T21" fmla="*/ 635 h 1201"/>
                <a:gd name="T22" fmla="*/ 871 w 1291"/>
                <a:gd name="T23" fmla="*/ 471 h 1201"/>
                <a:gd name="T24" fmla="*/ 1291 w 1291"/>
                <a:gd name="T25" fmla="*/ 836 h 1201"/>
                <a:gd name="T26" fmla="*/ 871 w 1291"/>
                <a:gd name="T27" fmla="*/ 1201 h 1201"/>
                <a:gd name="T28" fmla="*/ 725 w 1291"/>
                <a:gd name="T29" fmla="*/ 1038 h 1201"/>
                <a:gd name="T30" fmla="*/ 694 w 1291"/>
                <a:gd name="T31" fmla="*/ 1038 h 1201"/>
                <a:gd name="T32" fmla="*/ 678 w 1291"/>
                <a:gd name="T33" fmla="*/ 1037 h 1201"/>
                <a:gd name="T34" fmla="*/ 596 w 1291"/>
                <a:gd name="T35" fmla="*/ 1032 h 1201"/>
                <a:gd name="T36" fmla="*/ 516 w 1291"/>
                <a:gd name="T37" fmla="*/ 1017 h 1201"/>
                <a:gd name="T38" fmla="*/ 440 w 1291"/>
                <a:gd name="T39" fmla="*/ 995 h 1201"/>
                <a:gd name="T40" fmla="*/ 368 w 1291"/>
                <a:gd name="T41" fmla="*/ 966 h 1201"/>
                <a:gd name="T42" fmla="*/ 328 w 1291"/>
                <a:gd name="T43" fmla="*/ 947 h 1201"/>
                <a:gd name="T44" fmla="*/ 252 w 1291"/>
                <a:gd name="T45" fmla="*/ 899 h 1201"/>
                <a:gd name="T46" fmla="*/ 185 w 1291"/>
                <a:gd name="T47" fmla="*/ 844 h 1201"/>
                <a:gd name="T48" fmla="*/ 127 w 1291"/>
                <a:gd name="T49" fmla="*/ 781 h 1201"/>
                <a:gd name="T50" fmla="*/ 78 w 1291"/>
                <a:gd name="T51" fmla="*/ 714 h 1201"/>
                <a:gd name="T52" fmla="*/ 41 w 1291"/>
                <a:gd name="T53" fmla="*/ 640 h 1201"/>
                <a:gd name="T54" fmla="*/ 14 w 1291"/>
                <a:gd name="T55" fmla="*/ 559 h 1201"/>
                <a:gd name="T56" fmla="*/ 1 w 1291"/>
                <a:gd name="T57" fmla="*/ 477 h 1201"/>
                <a:gd name="T58" fmla="*/ 0 w 1291"/>
                <a:gd name="T59" fmla="*/ 66 h 1201"/>
                <a:gd name="T60" fmla="*/ 70 w 1291"/>
                <a:gd name="T61" fmla="*/ 66 h 1201"/>
                <a:gd name="T62" fmla="*/ 389 w 1291"/>
                <a:gd name="T63" fmla="*/ 66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291" h="1201">
                  <a:moveTo>
                    <a:pt x="464" y="0"/>
                  </a:moveTo>
                  <a:lnTo>
                    <a:pt x="464" y="66"/>
                  </a:lnTo>
                  <a:lnTo>
                    <a:pt x="464" y="434"/>
                  </a:lnTo>
                  <a:lnTo>
                    <a:pt x="464" y="434"/>
                  </a:lnTo>
                  <a:lnTo>
                    <a:pt x="466" y="453"/>
                  </a:lnTo>
                  <a:lnTo>
                    <a:pt x="469" y="472"/>
                  </a:lnTo>
                  <a:lnTo>
                    <a:pt x="474" y="492"/>
                  </a:lnTo>
                  <a:lnTo>
                    <a:pt x="481" y="509"/>
                  </a:lnTo>
                  <a:lnTo>
                    <a:pt x="490" y="526"/>
                  </a:lnTo>
                  <a:lnTo>
                    <a:pt x="501" y="542"/>
                  </a:lnTo>
                  <a:lnTo>
                    <a:pt x="513" y="558"/>
                  </a:lnTo>
                  <a:lnTo>
                    <a:pt x="527" y="571"/>
                  </a:lnTo>
                  <a:lnTo>
                    <a:pt x="542" y="583"/>
                  </a:lnTo>
                  <a:lnTo>
                    <a:pt x="558" y="595"/>
                  </a:lnTo>
                  <a:lnTo>
                    <a:pt x="575" y="606"/>
                  </a:lnTo>
                  <a:lnTo>
                    <a:pt x="595" y="614"/>
                  </a:lnTo>
                  <a:lnTo>
                    <a:pt x="614" y="622"/>
                  </a:lnTo>
                  <a:lnTo>
                    <a:pt x="635" y="627"/>
                  </a:lnTo>
                  <a:lnTo>
                    <a:pt x="657" y="632"/>
                  </a:lnTo>
                  <a:lnTo>
                    <a:pt x="678" y="633"/>
                  </a:lnTo>
                  <a:lnTo>
                    <a:pt x="678" y="633"/>
                  </a:lnTo>
                  <a:lnTo>
                    <a:pt x="694" y="635"/>
                  </a:lnTo>
                  <a:lnTo>
                    <a:pt x="871" y="635"/>
                  </a:lnTo>
                  <a:lnTo>
                    <a:pt x="871" y="471"/>
                  </a:lnTo>
                  <a:lnTo>
                    <a:pt x="1060" y="635"/>
                  </a:lnTo>
                  <a:lnTo>
                    <a:pt x="1291" y="836"/>
                  </a:lnTo>
                  <a:lnTo>
                    <a:pt x="1060" y="1038"/>
                  </a:lnTo>
                  <a:lnTo>
                    <a:pt x="871" y="1201"/>
                  </a:lnTo>
                  <a:lnTo>
                    <a:pt x="871" y="1038"/>
                  </a:lnTo>
                  <a:lnTo>
                    <a:pt x="725" y="1038"/>
                  </a:lnTo>
                  <a:lnTo>
                    <a:pt x="694" y="1038"/>
                  </a:lnTo>
                  <a:lnTo>
                    <a:pt x="694" y="1038"/>
                  </a:lnTo>
                  <a:lnTo>
                    <a:pt x="678" y="1037"/>
                  </a:lnTo>
                  <a:lnTo>
                    <a:pt x="678" y="1037"/>
                  </a:lnTo>
                  <a:lnTo>
                    <a:pt x="637" y="1035"/>
                  </a:lnTo>
                  <a:lnTo>
                    <a:pt x="596" y="1032"/>
                  </a:lnTo>
                  <a:lnTo>
                    <a:pt x="556" y="1026"/>
                  </a:lnTo>
                  <a:lnTo>
                    <a:pt x="516" y="1017"/>
                  </a:lnTo>
                  <a:lnTo>
                    <a:pt x="477" y="1008"/>
                  </a:lnTo>
                  <a:lnTo>
                    <a:pt x="440" y="995"/>
                  </a:lnTo>
                  <a:lnTo>
                    <a:pt x="403" y="982"/>
                  </a:lnTo>
                  <a:lnTo>
                    <a:pt x="368" y="966"/>
                  </a:lnTo>
                  <a:lnTo>
                    <a:pt x="368" y="966"/>
                  </a:lnTo>
                  <a:lnTo>
                    <a:pt x="328" y="947"/>
                  </a:lnTo>
                  <a:lnTo>
                    <a:pt x="289" y="924"/>
                  </a:lnTo>
                  <a:lnTo>
                    <a:pt x="252" y="899"/>
                  </a:lnTo>
                  <a:lnTo>
                    <a:pt x="217" y="873"/>
                  </a:lnTo>
                  <a:lnTo>
                    <a:pt x="185" y="844"/>
                  </a:lnTo>
                  <a:lnTo>
                    <a:pt x="154" y="813"/>
                  </a:lnTo>
                  <a:lnTo>
                    <a:pt x="127" y="781"/>
                  </a:lnTo>
                  <a:lnTo>
                    <a:pt x="101" y="749"/>
                  </a:lnTo>
                  <a:lnTo>
                    <a:pt x="78" y="714"/>
                  </a:lnTo>
                  <a:lnTo>
                    <a:pt x="57" y="677"/>
                  </a:lnTo>
                  <a:lnTo>
                    <a:pt x="41" y="640"/>
                  </a:lnTo>
                  <a:lnTo>
                    <a:pt x="27" y="599"/>
                  </a:lnTo>
                  <a:lnTo>
                    <a:pt x="14" y="559"/>
                  </a:lnTo>
                  <a:lnTo>
                    <a:pt x="6" y="519"/>
                  </a:lnTo>
                  <a:lnTo>
                    <a:pt x="1" y="477"/>
                  </a:lnTo>
                  <a:lnTo>
                    <a:pt x="0" y="434"/>
                  </a:lnTo>
                  <a:lnTo>
                    <a:pt x="0" y="66"/>
                  </a:lnTo>
                  <a:lnTo>
                    <a:pt x="0" y="3"/>
                  </a:lnTo>
                  <a:lnTo>
                    <a:pt x="70" y="66"/>
                  </a:lnTo>
                  <a:lnTo>
                    <a:pt x="230" y="204"/>
                  </a:lnTo>
                  <a:lnTo>
                    <a:pt x="389" y="66"/>
                  </a:lnTo>
                  <a:lnTo>
                    <a:pt x="464" y="0"/>
                  </a:lnTo>
                  <a:close/>
                </a:path>
              </a:pathLst>
            </a:custGeom>
            <a:gradFill>
              <a:gsLst>
                <a:gs pos="2000">
                  <a:schemeClr val="accent3"/>
                </a:gs>
                <a:gs pos="100000">
                  <a:schemeClr val="accent3">
                    <a:lumMod val="75000"/>
                  </a:schemeClr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57150" tIns="28575" rIns="57150" bIns="28575" numCol="1" anchor="t" anchorCtr="0" compatLnSpc="1"/>
            <a:lstStyle/>
            <a:p>
              <a:endParaRPr lang="en-AU" sz="1125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6" name="Freeform 24"/>
            <p:cNvSpPr/>
            <p:nvPr/>
          </p:nvSpPr>
          <p:spPr bwMode="auto">
            <a:xfrm>
              <a:off x="7003639" y="1673721"/>
              <a:ext cx="896036" cy="981006"/>
            </a:xfrm>
            <a:custGeom>
              <a:avLst/>
              <a:gdLst>
                <a:gd name="T0" fmla="*/ 694 w 694"/>
                <a:gd name="T1" fmla="*/ 603 h 762"/>
                <a:gd name="T2" fmla="*/ 694 w 694"/>
                <a:gd name="T3" fmla="*/ 762 h 762"/>
                <a:gd name="T4" fmla="*/ 694 w 694"/>
                <a:gd name="T5" fmla="*/ 762 h 762"/>
                <a:gd name="T6" fmla="*/ 678 w 694"/>
                <a:gd name="T7" fmla="*/ 762 h 762"/>
                <a:gd name="T8" fmla="*/ 678 w 694"/>
                <a:gd name="T9" fmla="*/ 762 h 762"/>
                <a:gd name="T10" fmla="*/ 637 w 694"/>
                <a:gd name="T11" fmla="*/ 761 h 762"/>
                <a:gd name="T12" fmla="*/ 596 w 694"/>
                <a:gd name="T13" fmla="*/ 758 h 762"/>
                <a:gd name="T14" fmla="*/ 556 w 694"/>
                <a:gd name="T15" fmla="*/ 751 h 762"/>
                <a:gd name="T16" fmla="*/ 516 w 694"/>
                <a:gd name="T17" fmla="*/ 743 h 762"/>
                <a:gd name="T18" fmla="*/ 477 w 694"/>
                <a:gd name="T19" fmla="*/ 733 h 762"/>
                <a:gd name="T20" fmla="*/ 440 w 694"/>
                <a:gd name="T21" fmla="*/ 721 h 762"/>
                <a:gd name="T22" fmla="*/ 403 w 694"/>
                <a:gd name="T23" fmla="*/ 708 h 762"/>
                <a:gd name="T24" fmla="*/ 368 w 694"/>
                <a:gd name="T25" fmla="*/ 692 h 762"/>
                <a:gd name="T26" fmla="*/ 368 w 694"/>
                <a:gd name="T27" fmla="*/ 692 h 762"/>
                <a:gd name="T28" fmla="*/ 328 w 694"/>
                <a:gd name="T29" fmla="*/ 671 h 762"/>
                <a:gd name="T30" fmla="*/ 289 w 694"/>
                <a:gd name="T31" fmla="*/ 648 h 762"/>
                <a:gd name="T32" fmla="*/ 252 w 694"/>
                <a:gd name="T33" fmla="*/ 624 h 762"/>
                <a:gd name="T34" fmla="*/ 217 w 694"/>
                <a:gd name="T35" fmla="*/ 598 h 762"/>
                <a:gd name="T36" fmla="*/ 185 w 694"/>
                <a:gd name="T37" fmla="*/ 569 h 762"/>
                <a:gd name="T38" fmla="*/ 154 w 694"/>
                <a:gd name="T39" fmla="*/ 539 h 762"/>
                <a:gd name="T40" fmla="*/ 127 w 694"/>
                <a:gd name="T41" fmla="*/ 507 h 762"/>
                <a:gd name="T42" fmla="*/ 101 w 694"/>
                <a:gd name="T43" fmla="*/ 473 h 762"/>
                <a:gd name="T44" fmla="*/ 78 w 694"/>
                <a:gd name="T45" fmla="*/ 438 h 762"/>
                <a:gd name="T46" fmla="*/ 57 w 694"/>
                <a:gd name="T47" fmla="*/ 402 h 762"/>
                <a:gd name="T48" fmla="*/ 41 w 694"/>
                <a:gd name="T49" fmla="*/ 364 h 762"/>
                <a:gd name="T50" fmla="*/ 27 w 694"/>
                <a:gd name="T51" fmla="*/ 325 h 762"/>
                <a:gd name="T52" fmla="*/ 14 w 694"/>
                <a:gd name="T53" fmla="*/ 285 h 762"/>
                <a:gd name="T54" fmla="*/ 6 w 694"/>
                <a:gd name="T55" fmla="*/ 243 h 762"/>
                <a:gd name="T56" fmla="*/ 1 w 694"/>
                <a:gd name="T57" fmla="*/ 201 h 762"/>
                <a:gd name="T58" fmla="*/ 0 w 694"/>
                <a:gd name="T59" fmla="*/ 160 h 762"/>
                <a:gd name="T60" fmla="*/ 0 w 694"/>
                <a:gd name="T61" fmla="*/ 0 h 762"/>
                <a:gd name="T62" fmla="*/ 0 w 694"/>
                <a:gd name="T63" fmla="*/ 0 h 762"/>
                <a:gd name="T64" fmla="*/ 1 w 694"/>
                <a:gd name="T65" fmla="*/ 42 h 762"/>
                <a:gd name="T66" fmla="*/ 6 w 694"/>
                <a:gd name="T67" fmla="*/ 84 h 762"/>
                <a:gd name="T68" fmla="*/ 14 w 694"/>
                <a:gd name="T69" fmla="*/ 126 h 762"/>
                <a:gd name="T70" fmla="*/ 27 w 694"/>
                <a:gd name="T71" fmla="*/ 166 h 762"/>
                <a:gd name="T72" fmla="*/ 41 w 694"/>
                <a:gd name="T73" fmla="*/ 205 h 762"/>
                <a:gd name="T74" fmla="*/ 57 w 694"/>
                <a:gd name="T75" fmla="*/ 243 h 762"/>
                <a:gd name="T76" fmla="*/ 78 w 694"/>
                <a:gd name="T77" fmla="*/ 278 h 762"/>
                <a:gd name="T78" fmla="*/ 101 w 694"/>
                <a:gd name="T79" fmla="*/ 314 h 762"/>
                <a:gd name="T80" fmla="*/ 127 w 694"/>
                <a:gd name="T81" fmla="*/ 348 h 762"/>
                <a:gd name="T82" fmla="*/ 154 w 694"/>
                <a:gd name="T83" fmla="*/ 380 h 762"/>
                <a:gd name="T84" fmla="*/ 185 w 694"/>
                <a:gd name="T85" fmla="*/ 410 h 762"/>
                <a:gd name="T86" fmla="*/ 217 w 694"/>
                <a:gd name="T87" fmla="*/ 439 h 762"/>
                <a:gd name="T88" fmla="*/ 252 w 694"/>
                <a:gd name="T89" fmla="*/ 465 h 762"/>
                <a:gd name="T90" fmla="*/ 289 w 694"/>
                <a:gd name="T91" fmla="*/ 489 h 762"/>
                <a:gd name="T92" fmla="*/ 328 w 694"/>
                <a:gd name="T93" fmla="*/ 512 h 762"/>
                <a:gd name="T94" fmla="*/ 368 w 694"/>
                <a:gd name="T95" fmla="*/ 533 h 762"/>
                <a:gd name="T96" fmla="*/ 368 w 694"/>
                <a:gd name="T97" fmla="*/ 533 h 762"/>
                <a:gd name="T98" fmla="*/ 403 w 694"/>
                <a:gd name="T99" fmla="*/ 549 h 762"/>
                <a:gd name="T100" fmla="*/ 440 w 694"/>
                <a:gd name="T101" fmla="*/ 561 h 762"/>
                <a:gd name="T102" fmla="*/ 477 w 694"/>
                <a:gd name="T103" fmla="*/ 573 h 762"/>
                <a:gd name="T104" fmla="*/ 516 w 694"/>
                <a:gd name="T105" fmla="*/ 584 h 762"/>
                <a:gd name="T106" fmla="*/ 556 w 694"/>
                <a:gd name="T107" fmla="*/ 592 h 762"/>
                <a:gd name="T108" fmla="*/ 596 w 694"/>
                <a:gd name="T109" fmla="*/ 597 h 762"/>
                <a:gd name="T110" fmla="*/ 637 w 694"/>
                <a:gd name="T111" fmla="*/ 602 h 762"/>
                <a:gd name="T112" fmla="*/ 678 w 694"/>
                <a:gd name="T113" fmla="*/ 603 h 762"/>
                <a:gd name="T114" fmla="*/ 678 w 694"/>
                <a:gd name="T115" fmla="*/ 603 h 762"/>
                <a:gd name="T116" fmla="*/ 694 w 694"/>
                <a:gd name="T117" fmla="*/ 603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94" h="762">
                  <a:moveTo>
                    <a:pt x="694" y="603"/>
                  </a:moveTo>
                  <a:lnTo>
                    <a:pt x="694" y="762"/>
                  </a:lnTo>
                  <a:lnTo>
                    <a:pt x="694" y="762"/>
                  </a:lnTo>
                  <a:lnTo>
                    <a:pt x="678" y="762"/>
                  </a:lnTo>
                  <a:lnTo>
                    <a:pt x="678" y="762"/>
                  </a:lnTo>
                  <a:lnTo>
                    <a:pt x="637" y="761"/>
                  </a:lnTo>
                  <a:lnTo>
                    <a:pt x="596" y="758"/>
                  </a:lnTo>
                  <a:lnTo>
                    <a:pt x="556" y="751"/>
                  </a:lnTo>
                  <a:lnTo>
                    <a:pt x="516" y="743"/>
                  </a:lnTo>
                  <a:lnTo>
                    <a:pt x="477" y="733"/>
                  </a:lnTo>
                  <a:lnTo>
                    <a:pt x="440" y="721"/>
                  </a:lnTo>
                  <a:lnTo>
                    <a:pt x="403" y="708"/>
                  </a:lnTo>
                  <a:lnTo>
                    <a:pt x="368" y="692"/>
                  </a:lnTo>
                  <a:lnTo>
                    <a:pt x="368" y="692"/>
                  </a:lnTo>
                  <a:lnTo>
                    <a:pt x="328" y="671"/>
                  </a:lnTo>
                  <a:lnTo>
                    <a:pt x="289" y="648"/>
                  </a:lnTo>
                  <a:lnTo>
                    <a:pt x="252" y="624"/>
                  </a:lnTo>
                  <a:lnTo>
                    <a:pt x="217" y="598"/>
                  </a:lnTo>
                  <a:lnTo>
                    <a:pt x="185" y="569"/>
                  </a:lnTo>
                  <a:lnTo>
                    <a:pt x="154" y="539"/>
                  </a:lnTo>
                  <a:lnTo>
                    <a:pt x="127" y="507"/>
                  </a:lnTo>
                  <a:lnTo>
                    <a:pt x="101" y="473"/>
                  </a:lnTo>
                  <a:lnTo>
                    <a:pt x="78" y="438"/>
                  </a:lnTo>
                  <a:lnTo>
                    <a:pt x="57" y="402"/>
                  </a:lnTo>
                  <a:lnTo>
                    <a:pt x="41" y="364"/>
                  </a:lnTo>
                  <a:lnTo>
                    <a:pt x="27" y="325"/>
                  </a:lnTo>
                  <a:lnTo>
                    <a:pt x="14" y="285"/>
                  </a:lnTo>
                  <a:lnTo>
                    <a:pt x="6" y="243"/>
                  </a:lnTo>
                  <a:lnTo>
                    <a:pt x="1" y="201"/>
                  </a:lnTo>
                  <a:lnTo>
                    <a:pt x="0" y="16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42"/>
                  </a:lnTo>
                  <a:lnTo>
                    <a:pt x="6" y="84"/>
                  </a:lnTo>
                  <a:lnTo>
                    <a:pt x="14" y="126"/>
                  </a:lnTo>
                  <a:lnTo>
                    <a:pt x="27" y="166"/>
                  </a:lnTo>
                  <a:lnTo>
                    <a:pt x="41" y="205"/>
                  </a:lnTo>
                  <a:lnTo>
                    <a:pt x="57" y="243"/>
                  </a:lnTo>
                  <a:lnTo>
                    <a:pt x="78" y="278"/>
                  </a:lnTo>
                  <a:lnTo>
                    <a:pt x="101" y="314"/>
                  </a:lnTo>
                  <a:lnTo>
                    <a:pt x="127" y="348"/>
                  </a:lnTo>
                  <a:lnTo>
                    <a:pt x="154" y="380"/>
                  </a:lnTo>
                  <a:lnTo>
                    <a:pt x="185" y="410"/>
                  </a:lnTo>
                  <a:lnTo>
                    <a:pt x="217" y="439"/>
                  </a:lnTo>
                  <a:lnTo>
                    <a:pt x="252" y="465"/>
                  </a:lnTo>
                  <a:lnTo>
                    <a:pt x="289" y="489"/>
                  </a:lnTo>
                  <a:lnTo>
                    <a:pt x="328" y="512"/>
                  </a:lnTo>
                  <a:lnTo>
                    <a:pt x="368" y="533"/>
                  </a:lnTo>
                  <a:lnTo>
                    <a:pt x="368" y="533"/>
                  </a:lnTo>
                  <a:lnTo>
                    <a:pt x="403" y="549"/>
                  </a:lnTo>
                  <a:lnTo>
                    <a:pt x="440" y="561"/>
                  </a:lnTo>
                  <a:lnTo>
                    <a:pt x="477" y="573"/>
                  </a:lnTo>
                  <a:lnTo>
                    <a:pt x="516" y="584"/>
                  </a:lnTo>
                  <a:lnTo>
                    <a:pt x="556" y="592"/>
                  </a:lnTo>
                  <a:lnTo>
                    <a:pt x="596" y="597"/>
                  </a:lnTo>
                  <a:lnTo>
                    <a:pt x="637" y="602"/>
                  </a:lnTo>
                  <a:lnTo>
                    <a:pt x="678" y="603"/>
                  </a:lnTo>
                  <a:lnTo>
                    <a:pt x="678" y="603"/>
                  </a:lnTo>
                  <a:lnTo>
                    <a:pt x="694" y="60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57150" tIns="28575" rIns="57150" bIns="28575" numCol="1" anchor="t" anchorCtr="0" compatLnSpc="1"/>
            <a:lstStyle/>
            <a:p>
              <a:endParaRPr lang="en-AU" sz="1125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</p:grpSp>
      <p:grpSp>
        <p:nvGrpSpPr>
          <p:cNvPr id="17" name="Group 1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8373145" y="3499213"/>
            <a:ext cx="935963" cy="1461541"/>
            <a:chOff x="8666970" y="3159389"/>
            <a:chExt cx="1203759" cy="1879716"/>
          </a:xfrm>
        </p:grpSpPr>
        <p:sp>
          <p:nvSpPr>
            <p:cNvPr id="18" name="Freeform 26"/>
            <p:cNvSpPr/>
            <p:nvPr/>
          </p:nvSpPr>
          <p:spPr bwMode="auto">
            <a:xfrm>
              <a:off x="8666970" y="3159389"/>
              <a:ext cx="1202440" cy="1719977"/>
            </a:xfrm>
            <a:custGeom>
              <a:avLst/>
              <a:gdLst>
                <a:gd name="T0" fmla="*/ 750 w 935"/>
                <a:gd name="T1" fmla="*/ 971 h 1336"/>
                <a:gd name="T2" fmla="*/ 750 w 935"/>
                <a:gd name="T3" fmla="*/ 603 h 1336"/>
                <a:gd name="T4" fmla="*/ 750 w 935"/>
                <a:gd name="T5" fmla="*/ 603 h 1336"/>
                <a:gd name="T6" fmla="*/ 748 w 935"/>
                <a:gd name="T7" fmla="*/ 561 h 1336"/>
                <a:gd name="T8" fmla="*/ 742 w 935"/>
                <a:gd name="T9" fmla="*/ 517 h 1336"/>
                <a:gd name="T10" fmla="*/ 734 w 935"/>
                <a:gd name="T11" fmla="*/ 477 h 1336"/>
                <a:gd name="T12" fmla="*/ 722 w 935"/>
                <a:gd name="T13" fmla="*/ 437 h 1336"/>
                <a:gd name="T14" fmla="*/ 708 w 935"/>
                <a:gd name="T15" fmla="*/ 398 h 1336"/>
                <a:gd name="T16" fmla="*/ 690 w 935"/>
                <a:gd name="T17" fmla="*/ 360 h 1336"/>
                <a:gd name="T18" fmla="*/ 671 w 935"/>
                <a:gd name="T19" fmla="*/ 323 h 1336"/>
                <a:gd name="T20" fmla="*/ 647 w 935"/>
                <a:gd name="T21" fmla="*/ 289 h 1336"/>
                <a:gd name="T22" fmla="*/ 621 w 935"/>
                <a:gd name="T23" fmla="*/ 255 h 1336"/>
                <a:gd name="T24" fmla="*/ 594 w 935"/>
                <a:gd name="T25" fmla="*/ 223 h 1336"/>
                <a:gd name="T26" fmla="*/ 563 w 935"/>
                <a:gd name="T27" fmla="*/ 193 h 1336"/>
                <a:gd name="T28" fmla="*/ 531 w 935"/>
                <a:gd name="T29" fmla="*/ 164 h 1336"/>
                <a:gd name="T30" fmla="*/ 497 w 935"/>
                <a:gd name="T31" fmla="*/ 138 h 1336"/>
                <a:gd name="T32" fmla="*/ 460 w 935"/>
                <a:gd name="T33" fmla="*/ 114 h 1336"/>
                <a:gd name="T34" fmla="*/ 422 w 935"/>
                <a:gd name="T35" fmla="*/ 91 h 1336"/>
                <a:gd name="T36" fmla="*/ 381 w 935"/>
                <a:gd name="T37" fmla="*/ 70 h 1336"/>
                <a:gd name="T38" fmla="*/ 381 w 935"/>
                <a:gd name="T39" fmla="*/ 70 h 1336"/>
                <a:gd name="T40" fmla="*/ 344 w 935"/>
                <a:gd name="T41" fmla="*/ 54 h 1336"/>
                <a:gd name="T42" fmla="*/ 306 w 935"/>
                <a:gd name="T43" fmla="*/ 40 h 1336"/>
                <a:gd name="T44" fmla="*/ 266 w 935"/>
                <a:gd name="T45" fmla="*/ 27 h 1336"/>
                <a:gd name="T46" fmla="*/ 225 w 935"/>
                <a:gd name="T47" fmla="*/ 17 h 1336"/>
                <a:gd name="T48" fmla="*/ 184 w 935"/>
                <a:gd name="T49" fmla="*/ 9 h 1336"/>
                <a:gd name="T50" fmla="*/ 142 w 935"/>
                <a:gd name="T51" fmla="*/ 3 h 1336"/>
                <a:gd name="T52" fmla="*/ 98 w 935"/>
                <a:gd name="T53" fmla="*/ 0 h 1336"/>
                <a:gd name="T54" fmla="*/ 53 w 935"/>
                <a:gd name="T55" fmla="*/ 0 h 1336"/>
                <a:gd name="T56" fmla="*/ 2 w 935"/>
                <a:gd name="T57" fmla="*/ 0 h 1336"/>
                <a:gd name="T58" fmla="*/ 233 w 935"/>
                <a:gd name="T59" fmla="*/ 201 h 1336"/>
                <a:gd name="T60" fmla="*/ 0 w 935"/>
                <a:gd name="T61" fmla="*/ 403 h 1336"/>
                <a:gd name="T62" fmla="*/ 53 w 935"/>
                <a:gd name="T63" fmla="*/ 403 h 1336"/>
                <a:gd name="T64" fmla="*/ 53 w 935"/>
                <a:gd name="T65" fmla="*/ 403 h 1336"/>
                <a:gd name="T66" fmla="*/ 77 w 935"/>
                <a:gd name="T67" fmla="*/ 403 h 1336"/>
                <a:gd name="T68" fmla="*/ 100 w 935"/>
                <a:gd name="T69" fmla="*/ 406 h 1336"/>
                <a:gd name="T70" fmla="*/ 122 w 935"/>
                <a:gd name="T71" fmla="*/ 411 h 1336"/>
                <a:gd name="T72" fmla="*/ 143 w 935"/>
                <a:gd name="T73" fmla="*/ 418 h 1336"/>
                <a:gd name="T74" fmla="*/ 164 w 935"/>
                <a:gd name="T75" fmla="*/ 427 h 1336"/>
                <a:gd name="T76" fmla="*/ 182 w 935"/>
                <a:gd name="T77" fmla="*/ 437 h 1336"/>
                <a:gd name="T78" fmla="*/ 200 w 935"/>
                <a:gd name="T79" fmla="*/ 448 h 1336"/>
                <a:gd name="T80" fmla="*/ 217 w 935"/>
                <a:gd name="T81" fmla="*/ 461 h 1336"/>
                <a:gd name="T82" fmla="*/ 232 w 935"/>
                <a:gd name="T83" fmla="*/ 476 h 1336"/>
                <a:gd name="T84" fmla="*/ 245 w 935"/>
                <a:gd name="T85" fmla="*/ 492 h 1336"/>
                <a:gd name="T86" fmla="*/ 256 w 935"/>
                <a:gd name="T87" fmla="*/ 508 h 1336"/>
                <a:gd name="T88" fmla="*/ 266 w 935"/>
                <a:gd name="T89" fmla="*/ 525 h 1336"/>
                <a:gd name="T90" fmla="*/ 274 w 935"/>
                <a:gd name="T91" fmla="*/ 543 h 1336"/>
                <a:gd name="T92" fmla="*/ 280 w 935"/>
                <a:gd name="T93" fmla="*/ 562 h 1336"/>
                <a:gd name="T94" fmla="*/ 283 w 935"/>
                <a:gd name="T95" fmla="*/ 582 h 1336"/>
                <a:gd name="T96" fmla="*/ 285 w 935"/>
                <a:gd name="T97" fmla="*/ 603 h 1336"/>
                <a:gd name="T98" fmla="*/ 285 w 935"/>
                <a:gd name="T99" fmla="*/ 971 h 1336"/>
                <a:gd name="T100" fmla="*/ 93 w 935"/>
                <a:gd name="T101" fmla="*/ 971 h 1336"/>
                <a:gd name="T102" fmla="*/ 285 w 935"/>
                <a:gd name="T103" fmla="*/ 1136 h 1336"/>
                <a:gd name="T104" fmla="*/ 515 w 935"/>
                <a:gd name="T105" fmla="*/ 1336 h 1336"/>
                <a:gd name="T106" fmla="*/ 935 w 935"/>
                <a:gd name="T107" fmla="*/ 971 h 1336"/>
                <a:gd name="T108" fmla="*/ 750 w 935"/>
                <a:gd name="T109" fmla="*/ 971 h 1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35" h="1336">
                  <a:moveTo>
                    <a:pt x="750" y="971"/>
                  </a:moveTo>
                  <a:lnTo>
                    <a:pt x="750" y="603"/>
                  </a:lnTo>
                  <a:lnTo>
                    <a:pt x="750" y="603"/>
                  </a:lnTo>
                  <a:lnTo>
                    <a:pt x="748" y="561"/>
                  </a:lnTo>
                  <a:lnTo>
                    <a:pt x="742" y="517"/>
                  </a:lnTo>
                  <a:lnTo>
                    <a:pt x="734" y="477"/>
                  </a:lnTo>
                  <a:lnTo>
                    <a:pt x="722" y="437"/>
                  </a:lnTo>
                  <a:lnTo>
                    <a:pt x="708" y="398"/>
                  </a:lnTo>
                  <a:lnTo>
                    <a:pt x="690" y="360"/>
                  </a:lnTo>
                  <a:lnTo>
                    <a:pt x="671" y="323"/>
                  </a:lnTo>
                  <a:lnTo>
                    <a:pt x="647" y="289"/>
                  </a:lnTo>
                  <a:lnTo>
                    <a:pt x="621" y="255"/>
                  </a:lnTo>
                  <a:lnTo>
                    <a:pt x="594" y="223"/>
                  </a:lnTo>
                  <a:lnTo>
                    <a:pt x="563" y="193"/>
                  </a:lnTo>
                  <a:lnTo>
                    <a:pt x="531" y="164"/>
                  </a:lnTo>
                  <a:lnTo>
                    <a:pt x="497" y="138"/>
                  </a:lnTo>
                  <a:lnTo>
                    <a:pt x="460" y="114"/>
                  </a:lnTo>
                  <a:lnTo>
                    <a:pt x="422" y="91"/>
                  </a:lnTo>
                  <a:lnTo>
                    <a:pt x="381" y="70"/>
                  </a:lnTo>
                  <a:lnTo>
                    <a:pt x="381" y="70"/>
                  </a:lnTo>
                  <a:lnTo>
                    <a:pt x="344" y="54"/>
                  </a:lnTo>
                  <a:lnTo>
                    <a:pt x="306" y="40"/>
                  </a:lnTo>
                  <a:lnTo>
                    <a:pt x="266" y="27"/>
                  </a:lnTo>
                  <a:lnTo>
                    <a:pt x="225" y="17"/>
                  </a:lnTo>
                  <a:lnTo>
                    <a:pt x="184" y="9"/>
                  </a:lnTo>
                  <a:lnTo>
                    <a:pt x="142" y="3"/>
                  </a:lnTo>
                  <a:lnTo>
                    <a:pt x="98" y="0"/>
                  </a:lnTo>
                  <a:lnTo>
                    <a:pt x="53" y="0"/>
                  </a:lnTo>
                  <a:lnTo>
                    <a:pt x="2" y="0"/>
                  </a:lnTo>
                  <a:lnTo>
                    <a:pt x="233" y="201"/>
                  </a:lnTo>
                  <a:lnTo>
                    <a:pt x="0" y="403"/>
                  </a:lnTo>
                  <a:lnTo>
                    <a:pt x="53" y="403"/>
                  </a:lnTo>
                  <a:lnTo>
                    <a:pt x="53" y="403"/>
                  </a:lnTo>
                  <a:lnTo>
                    <a:pt x="77" y="403"/>
                  </a:lnTo>
                  <a:lnTo>
                    <a:pt x="100" y="406"/>
                  </a:lnTo>
                  <a:lnTo>
                    <a:pt x="122" y="411"/>
                  </a:lnTo>
                  <a:lnTo>
                    <a:pt x="143" y="418"/>
                  </a:lnTo>
                  <a:lnTo>
                    <a:pt x="164" y="427"/>
                  </a:lnTo>
                  <a:lnTo>
                    <a:pt x="182" y="437"/>
                  </a:lnTo>
                  <a:lnTo>
                    <a:pt x="200" y="448"/>
                  </a:lnTo>
                  <a:lnTo>
                    <a:pt x="217" y="461"/>
                  </a:lnTo>
                  <a:lnTo>
                    <a:pt x="232" y="476"/>
                  </a:lnTo>
                  <a:lnTo>
                    <a:pt x="245" y="492"/>
                  </a:lnTo>
                  <a:lnTo>
                    <a:pt x="256" y="508"/>
                  </a:lnTo>
                  <a:lnTo>
                    <a:pt x="266" y="525"/>
                  </a:lnTo>
                  <a:lnTo>
                    <a:pt x="274" y="543"/>
                  </a:lnTo>
                  <a:lnTo>
                    <a:pt x="280" y="562"/>
                  </a:lnTo>
                  <a:lnTo>
                    <a:pt x="283" y="582"/>
                  </a:lnTo>
                  <a:lnTo>
                    <a:pt x="285" y="603"/>
                  </a:lnTo>
                  <a:lnTo>
                    <a:pt x="285" y="971"/>
                  </a:lnTo>
                  <a:lnTo>
                    <a:pt x="93" y="971"/>
                  </a:lnTo>
                  <a:lnTo>
                    <a:pt x="285" y="1136"/>
                  </a:lnTo>
                  <a:lnTo>
                    <a:pt x="515" y="1336"/>
                  </a:lnTo>
                  <a:lnTo>
                    <a:pt x="935" y="971"/>
                  </a:lnTo>
                  <a:lnTo>
                    <a:pt x="750" y="971"/>
                  </a:lnTo>
                  <a:close/>
                </a:path>
              </a:pathLst>
            </a:custGeom>
            <a:gradFill>
              <a:gsLst>
                <a:gs pos="2000">
                  <a:schemeClr val="accent4"/>
                </a:gs>
                <a:gs pos="100000">
                  <a:schemeClr val="accent4">
                    <a:lumMod val="75000"/>
                  </a:schemeClr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57150" tIns="28575" rIns="57150" bIns="28575" numCol="1" anchor="t" anchorCtr="0" compatLnSpc="1"/>
            <a:lstStyle/>
            <a:p>
              <a:endParaRPr lang="en-AU" sz="1125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9" name="Freeform 95"/>
            <p:cNvSpPr/>
            <p:nvPr/>
          </p:nvSpPr>
          <p:spPr bwMode="auto">
            <a:xfrm>
              <a:off x="9327442" y="4406026"/>
              <a:ext cx="543287" cy="633079"/>
            </a:xfrm>
            <a:custGeom>
              <a:avLst/>
              <a:gdLst>
                <a:gd name="connsiteX0" fmla="*/ 543287 w 543287"/>
                <a:gd name="connsiteY0" fmla="*/ 0 h 633079"/>
                <a:gd name="connsiteX1" fmla="*/ 543287 w 543287"/>
                <a:gd name="connsiteY1" fmla="*/ 161086 h 633079"/>
                <a:gd name="connsiteX2" fmla="*/ 0 w 543287"/>
                <a:gd name="connsiteY2" fmla="*/ 633079 h 633079"/>
                <a:gd name="connsiteX3" fmla="*/ 0 w 543287"/>
                <a:gd name="connsiteY3" fmla="*/ 469904 h 633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3287" h="633079">
                  <a:moveTo>
                    <a:pt x="543287" y="0"/>
                  </a:moveTo>
                  <a:lnTo>
                    <a:pt x="543287" y="161086"/>
                  </a:lnTo>
                  <a:lnTo>
                    <a:pt x="0" y="633079"/>
                  </a:lnTo>
                  <a:lnTo>
                    <a:pt x="0" y="469904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57150" tIns="28575" rIns="57150" bIns="28575" numCol="1" anchor="t" anchorCtr="0" compatLnSpc="1">
              <a:noAutofit/>
            </a:bodyPr>
            <a:lstStyle/>
            <a:p>
              <a:endParaRPr lang="en-AU" sz="1125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20" name="Freeform 28"/>
            <p:cNvSpPr/>
            <p:nvPr/>
          </p:nvSpPr>
          <p:spPr bwMode="auto">
            <a:xfrm>
              <a:off x="8786612" y="4406025"/>
              <a:ext cx="545861" cy="630831"/>
            </a:xfrm>
            <a:custGeom>
              <a:avLst/>
              <a:gdLst>
                <a:gd name="T0" fmla="*/ 420 w 423"/>
                <a:gd name="T1" fmla="*/ 365 h 489"/>
                <a:gd name="T2" fmla="*/ 423 w 423"/>
                <a:gd name="T3" fmla="*/ 489 h 489"/>
                <a:gd name="T4" fmla="*/ 0 w 423"/>
                <a:gd name="T5" fmla="*/ 160 h 489"/>
                <a:gd name="T6" fmla="*/ 0 w 423"/>
                <a:gd name="T7" fmla="*/ 0 h 489"/>
                <a:gd name="T8" fmla="*/ 420 w 423"/>
                <a:gd name="T9" fmla="*/ 365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2" h="489">
                  <a:moveTo>
                    <a:pt x="420" y="365"/>
                  </a:moveTo>
                  <a:lnTo>
                    <a:pt x="423" y="489"/>
                  </a:lnTo>
                  <a:lnTo>
                    <a:pt x="0" y="160"/>
                  </a:lnTo>
                  <a:lnTo>
                    <a:pt x="0" y="0"/>
                  </a:lnTo>
                  <a:lnTo>
                    <a:pt x="420" y="365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57150" tIns="28575" rIns="57150" bIns="28575" numCol="1" anchor="t" anchorCtr="0" compatLnSpc="1"/>
            <a:lstStyle/>
            <a:p>
              <a:endParaRPr lang="en-AU" sz="1125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21" name="Freeform 30"/>
            <p:cNvSpPr/>
            <p:nvPr/>
          </p:nvSpPr>
          <p:spPr bwMode="auto">
            <a:xfrm>
              <a:off x="8669214" y="3673063"/>
              <a:ext cx="363050" cy="463467"/>
            </a:xfrm>
            <a:custGeom>
              <a:avLst/>
              <a:gdLst>
                <a:gd name="T0" fmla="*/ 53 w 283"/>
                <a:gd name="T1" fmla="*/ 0 h 360"/>
                <a:gd name="T2" fmla="*/ 0 w 283"/>
                <a:gd name="T3" fmla="*/ 0 h 360"/>
                <a:gd name="T4" fmla="*/ 0 w 283"/>
                <a:gd name="T5" fmla="*/ 159 h 360"/>
                <a:gd name="T6" fmla="*/ 53 w 283"/>
                <a:gd name="T7" fmla="*/ 159 h 360"/>
                <a:gd name="T8" fmla="*/ 53 w 283"/>
                <a:gd name="T9" fmla="*/ 159 h 360"/>
                <a:gd name="T10" fmla="*/ 53 w 283"/>
                <a:gd name="T11" fmla="*/ 159 h 360"/>
                <a:gd name="T12" fmla="*/ 78 w 283"/>
                <a:gd name="T13" fmla="*/ 161 h 360"/>
                <a:gd name="T14" fmla="*/ 100 w 283"/>
                <a:gd name="T15" fmla="*/ 164 h 360"/>
                <a:gd name="T16" fmla="*/ 121 w 283"/>
                <a:gd name="T17" fmla="*/ 169 h 360"/>
                <a:gd name="T18" fmla="*/ 144 w 283"/>
                <a:gd name="T19" fmla="*/ 175 h 360"/>
                <a:gd name="T20" fmla="*/ 163 w 283"/>
                <a:gd name="T21" fmla="*/ 183 h 360"/>
                <a:gd name="T22" fmla="*/ 182 w 283"/>
                <a:gd name="T23" fmla="*/ 193 h 360"/>
                <a:gd name="T24" fmla="*/ 200 w 283"/>
                <a:gd name="T25" fmla="*/ 206 h 360"/>
                <a:gd name="T26" fmla="*/ 216 w 283"/>
                <a:gd name="T27" fmla="*/ 219 h 360"/>
                <a:gd name="T28" fmla="*/ 230 w 283"/>
                <a:gd name="T29" fmla="*/ 232 h 360"/>
                <a:gd name="T30" fmla="*/ 245 w 283"/>
                <a:gd name="T31" fmla="*/ 248 h 360"/>
                <a:gd name="T32" fmla="*/ 256 w 283"/>
                <a:gd name="T33" fmla="*/ 264 h 360"/>
                <a:gd name="T34" fmla="*/ 266 w 283"/>
                <a:gd name="T35" fmla="*/ 282 h 360"/>
                <a:gd name="T36" fmla="*/ 274 w 283"/>
                <a:gd name="T37" fmla="*/ 301 h 360"/>
                <a:gd name="T38" fmla="*/ 279 w 283"/>
                <a:gd name="T39" fmla="*/ 320 h 360"/>
                <a:gd name="T40" fmla="*/ 282 w 283"/>
                <a:gd name="T41" fmla="*/ 339 h 360"/>
                <a:gd name="T42" fmla="*/ 283 w 283"/>
                <a:gd name="T43" fmla="*/ 360 h 360"/>
                <a:gd name="T44" fmla="*/ 283 w 283"/>
                <a:gd name="T45" fmla="*/ 201 h 360"/>
                <a:gd name="T46" fmla="*/ 283 w 283"/>
                <a:gd name="T47" fmla="*/ 201 h 360"/>
                <a:gd name="T48" fmla="*/ 282 w 283"/>
                <a:gd name="T49" fmla="*/ 180 h 360"/>
                <a:gd name="T50" fmla="*/ 279 w 283"/>
                <a:gd name="T51" fmla="*/ 161 h 360"/>
                <a:gd name="T52" fmla="*/ 274 w 283"/>
                <a:gd name="T53" fmla="*/ 142 h 360"/>
                <a:gd name="T54" fmla="*/ 266 w 283"/>
                <a:gd name="T55" fmla="*/ 122 h 360"/>
                <a:gd name="T56" fmla="*/ 256 w 283"/>
                <a:gd name="T57" fmla="*/ 105 h 360"/>
                <a:gd name="T58" fmla="*/ 245 w 283"/>
                <a:gd name="T59" fmla="*/ 89 h 360"/>
                <a:gd name="T60" fmla="*/ 230 w 283"/>
                <a:gd name="T61" fmla="*/ 73 h 360"/>
                <a:gd name="T62" fmla="*/ 216 w 283"/>
                <a:gd name="T63" fmla="*/ 60 h 360"/>
                <a:gd name="T64" fmla="*/ 200 w 283"/>
                <a:gd name="T65" fmla="*/ 47 h 360"/>
                <a:gd name="T66" fmla="*/ 182 w 283"/>
                <a:gd name="T67" fmla="*/ 34 h 360"/>
                <a:gd name="T68" fmla="*/ 163 w 283"/>
                <a:gd name="T69" fmla="*/ 24 h 360"/>
                <a:gd name="T70" fmla="*/ 144 w 283"/>
                <a:gd name="T71" fmla="*/ 16 h 360"/>
                <a:gd name="T72" fmla="*/ 121 w 283"/>
                <a:gd name="T73" fmla="*/ 10 h 360"/>
                <a:gd name="T74" fmla="*/ 100 w 283"/>
                <a:gd name="T75" fmla="*/ 5 h 360"/>
                <a:gd name="T76" fmla="*/ 78 w 283"/>
                <a:gd name="T77" fmla="*/ 2 h 360"/>
                <a:gd name="T78" fmla="*/ 53 w 283"/>
                <a:gd name="T79" fmla="*/ 0 h 360"/>
                <a:gd name="T80" fmla="*/ 53 w 283"/>
                <a:gd name="T81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83" h="360">
                  <a:moveTo>
                    <a:pt x="53" y="0"/>
                  </a:moveTo>
                  <a:lnTo>
                    <a:pt x="0" y="0"/>
                  </a:lnTo>
                  <a:lnTo>
                    <a:pt x="0" y="159"/>
                  </a:lnTo>
                  <a:lnTo>
                    <a:pt x="53" y="159"/>
                  </a:lnTo>
                  <a:lnTo>
                    <a:pt x="53" y="159"/>
                  </a:lnTo>
                  <a:lnTo>
                    <a:pt x="53" y="159"/>
                  </a:lnTo>
                  <a:lnTo>
                    <a:pt x="78" y="161"/>
                  </a:lnTo>
                  <a:lnTo>
                    <a:pt x="100" y="164"/>
                  </a:lnTo>
                  <a:lnTo>
                    <a:pt x="121" y="169"/>
                  </a:lnTo>
                  <a:lnTo>
                    <a:pt x="144" y="175"/>
                  </a:lnTo>
                  <a:lnTo>
                    <a:pt x="163" y="183"/>
                  </a:lnTo>
                  <a:lnTo>
                    <a:pt x="182" y="193"/>
                  </a:lnTo>
                  <a:lnTo>
                    <a:pt x="200" y="206"/>
                  </a:lnTo>
                  <a:lnTo>
                    <a:pt x="216" y="219"/>
                  </a:lnTo>
                  <a:lnTo>
                    <a:pt x="230" y="232"/>
                  </a:lnTo>
                  <a:lnTo>
                    <a:pt x="245" y="248"/>
                  </a:lnTo>
                  <a:lnTo>
                    <a:pt x="256" y="264"/>
                  </a:lnTo>
                  <a:lnTo>
                    <a:pt x="266" y="282"/>
                  </a:lnTo>
                  <a:lnTo>
                    <a:pt x="274" y="301"/>
                  </a:lnTo>
                  <a:lnTo>
                    <a:pt x="279" y="320"/>
                  </a:lnTo>
                  <a:lnTo>
                    <a:pt x="282" y="339"/>
                  </a:lnTo>
                  <a:lnTo>
                    <a:pt x="283" y="360"/>
                  </a:lnTo>
                  <a:lnTo>
                    <a:pt x="283" y="201"/>
                  </a:lnTo>
                  <a:lnTo>
                    <a:pt x="283" y="201"/>
                  </a:lnTo>
                  <a:lnTo>
                    <a:pt x="282" y="180"/>
                  </a:lnTo>
                  <a:lnTo>
                    <a:pt x="279" y="161"/>
                  </a:lnTo>
                  <a:lnTo>
                    <a:pt x="274" y="142"/>
                  </a:lnTo>
                  <a:lnTo>
                    <a:pt x="266" y="122"/>
                  </a:lnTo>
                  <a:lnTo>
                    <a:pt x="256" y="105"/>
                  </a:lnTo>
                  <a:lnTo>
                    <a:pt x="245" y="89"/>
                  </a:lnTo>
                  <a:lnTo>
                    <a:pt x="230" y="73"/>
                  </a:lnTo>
                  <a:lnTo>
                    <a:pt x="216" y="60"/>
                  </a:lnTo>
                  <a:lnTo>
                    <a:pt x="200" y="47"/>
                  </a:lnTo>
                  <a:lnTo>
                    <a:pt x="182" y="34"/>
                  </a:lnTo>
                  <a:lnTo>
                    <a:pt x="163" y="24"/>
                  </a:lnTo>
                  <a:lnTo>
                    <a:pt x="144" y="16"/>
                  </a:lnTo>
                  <a:lnTo>
                    <a:pt x="121" y="10"/>
                  </a:lnTo>
                  <a:lnTo>
                    <a:pt x="100" y="5"/>
                  </a:lnTo>
                  <a:lnTo>
                    <a:pt x="78" y="2"/>
                  </a:lnTo>
                  <a:lnTo>
                    <a:pt x="53" y="0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57150" tIns="28575" rIns="57150" bIns="28575" numCol="1" anchor="t" anchorCtr="0" compatLnSpc="1"/>
            <a:lstStyle/>
            <a:p>
              <a:endParaRPr lang="en-AU" sz="1125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</p:grpSp>
      <p:grpSp>
        <p:nvGrpSpPr>
          <p:cNvPr id="62" name="Group 6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8642362" y="4888492"/>
            <a:ext cx="1537542" cy="1121123"/>
            <a:chOff x="13812696" y="7821588"/>
            <a:chExt cx="2460067" cy="1793796"/>
          </a:xfrm>
        </p:grpSpPr>
        <p:grpSp>
          <p:nvGrpSpPr>
            <p:cNvPr id="36" name="Group 35"/>
            <p:cNvGrpSpPr/>
            <p:nvPr/>
          </p:nvGrpSpPr>
          <p:grpSpPr>
            <a:xfrm>
              <a:off x="13812696" y="8154720"/>
              <a:ext cx="2460067" cy="1460664"/>
              <a:chOff x="14187836" y="7659923"/>
              <a:chExt cx="2460067" cy="1460664"/>
            </a:xfrm>
          </p:grpSpPr>
          <p:sp>
            <p:nvSpPr>
              <p:cNvPr id="23" name="Freeform 31"/>
              <p:cNvSpPr/>
              <p:nvPr/>
            </p:nvSpPr>
            <p:spPr bwMode="auto">
              <a:xfrm>
                <a:off x="15914367" y="8281346"/>
                <a:ext cx="733536" cy="839241"/>
              </a:xfrm>
              <a:custGeom>
                <a:avLst/>
                <a:gdLst>
                  <a:gd name="T0" fmla="*/ 459 w 459"/>
                  <a:gd name="T1" fmla="*/ 0 h 525"/>
                  <a:gd name="T2" fmla="*/ 0 w 459"/>
                  <a:gd name="T3" fmla="*/ 365 h 525"/>
                  <a:gd name="T4" fmla="*/ 0 w 459"/>
                  <a:gd name="T5" fmla="*/ 378 h 525"/>
                  <a:gd name="T6" fmla="*/ 0 w 459"/>
                  <a:gd name="T7" fmla="*/ 525 h 525"/>
                  <a:gd name="T8" fmla="*/ 459 w 459"/>
                  <a:gd name="T9" fmla="*/ 160 h 525"/>
                  <a:gd name="T10" fmla="*/ 459 w 459"/>
                  <a:gd name="T11" fmla="*/ 0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9" h="525">
                    <a:moveTo>
                      <a:pt x="459" y="0"/>
                    </a:moveTo>
                    <a:lnTo>
                      <a:pt x="0" y="365"/>
                    </a:lnTo>
                    <a:lnTo>
                      <a:pt x="0" y="378"/>
                    </a:lnTo>
                    <a:lnTo>
                      <a:pt x="0" y="525"/>
                    </a:lnTo>
                    <a:lnTo>
                      <a:pt x="459" y="160"/>
                    </a:lnTo>
                    <a:lnTo>
                      <a:pt x="459" y="0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AU" sz="1125" dirty="0">
                  <a:solidFill>
                    <a:schemeClr val="tx2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5" name="Rectangle 33"/>
              <p:cNvSpPr>
                <a:spLocks noChangeArrowheads="1"/>
              </p:cNvSpPr>
              <p:nvPr/>
            </p:nvSpPr>
            <p:spPr bwMode="auto">
              <a:xfrm>
                <a:off x="15401851" y="8627293"/>
                <a:ext cx="550951" cy="25625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AU" sz="1125" dirty="0">
                  <a:solidFill>
                    <a:schemeClr val="tx2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6" name="Freeform 34"/>
              <p:cNvSpPr/>
              <p:nvPr/>
            </p:nvSpPr>
            <p:spPr bwMode="auto">
              <a:xfrm>
                <a:off x="14187836" y="7659923"/>
                <a:ext cx="1214017" cy="1223625"/>
              </a:xfrm>
              <a:custGeom>
                <a:avLst/>
                <a:gdLst>
                  <a:gd name="T0" fmla="*/ 0 w 759"/>
                  <a:gd name="T1" fmla="*/ 159 h 764"/>
                  <a:gd name="T2" fmla="*/ 2 w 759"/>
                  <a:gd name="T3" fmla="*/ 190 h 764"/>
                  <a:gd name="T4" fmla="*/ 10 w 759"/>
                  <a:gd name="T5" fmla="*/ 251 h 764"/>
                  <a:gd name="T6" fmla="*/ 24 w 759"/>
                  <a:gd name="T7" fmla="*/ 310 h 764"/>
                  <a:gd name="T8" fmla="*/ 47 w 759"/>
                  <a:gd name="T9" fmla="*/ 367 h 764"/>
                  <a:gd name="T10" fmla="*/ 76 w 759"/>
                  <a:gd name="T11" fmla="*/ 421 h 764"/>
                  <a:gd name="T12" fmla="*/ 111 w 759"/>
                  <a:gd name="T13" fmla="*/ 473 h 764"/>
                  <a:gd name="T14" fmla="*/ 151 w 759"/>
                  <a:gd name="T15" fmla="*/ 521 h 764"/>
                  <a:gd name="T16" fmla="*/ 198 w 759"/>
                  <a:gd name="T17" fmla="*/ 564 h 764"/>
                  <a:gd name="T18" fmla="*/ 250 w 759"/>
                  <a:gd name="T19" fmla="*/ 606 h 764"/>
                  <a:gd name="T20" fmla="*/ 306 w 759"/>
                  <a:gd name="T21" fmla="*/ 643 h 764"/>
                  <a:gd name="T22" fmla="*/ 365 w 759"/>
                  <a:gd name="T23" fmla="*/ 675 h 764"/>
                  <a:gd name="T24" fmla="*/ 431 w 759"/>
                  <a:gd name="T25" fmla="*/ 704 h 764"/>
                  <a:gd name="T26" fmla="*/ 499 w 759"/>
                  <a:gd name="T27" fmla="*/ 727 h 764"/>
                  <a:gd name="T28" fmla="*/ 570 w 759"/>
                  <a:gd name="T29" fmla="*/ 744 h 764"/>
                  <a:gd name="T30" fmla="*/ 644 w 759"/>
                  <a:gd name="T31" fmla="*/ 756 h 764"/>
                  <a:gd name="T32" fmla="*/ 721 w 759"/>
                  <a:gd name="T33" fmla="*/ 762 h 764"/>
                  <a:gd name="T34" fmla="*/ 759 w 759"/>
                  <a:gd name="T35" fmla="*/ 604 h 764"/>
                  <a:gd name="T36" fmla="*/ 721 w 759"/>
                  <a:gd name="T37" fmla="*/ 603 h 764"/>
                  <a:gd name="T38" fmla="*/ 644 w 759"/>
                  <a:gd name="T39" fmla="*/ 596 h 764"/>
                  <a:gd name="T40" fmla="*/ 570 w 759"/>
                  <a:gd name="T41" fmla="*/ 585 h 764"/>
                  <a:gd name="T42" fmla="*/ 499 w 759"/>
                  <a:gd name="T43" fmla="*/ 568 h 764"/>
                  <a:gd name="T44" fmla="*/ 431 w 759"/>
                  <a:gd name="T45" fmla="*/ 543 h 764"/>
                  <a:gd name="T46" fmla="*/ 365 w 759"/>
                  <a:gd name="T47" fmla="*/ 516 h 764"/>
                  <a:gd name="T48" fmla="*/ 306 w 759"/>
                  <a:gd name="T49" fmla="*/ 484 h 764"/>
                  <a:gd name="T50" fmla="*/ 250 w 759"/>
                  <a:gd name="T51" fmla="*/ 447 h 764"/>
                  <a:gd name="T52" fmla="*/ 198 w 759"/>
                  <a:gd name="T53" fmla="*/ 405 h 764"/>
                  <a:gd name="T54" fmla="*/ 151 w 759"/>
                  <a:gd name="T55" fmla="*/ 362 h 764"/>
                  <a:gd name="T56" fmla="*/ 111 w 759"/>
                  <a:gd name="T57" fmla="*/ 313 h 764"/>
                  <a:gd name="T58" fmla="*/ 76 w 759"/>
                  <a:gd name="T59" fmla="*/ 262 h 764"/>
                  <a:gd name="T60" fmla="*/ 47 w 759"/>
                  <a:gd name="T61" fmla="*/ 207 h 764"/>
                  <a:gd name="T62" fmla="*/ 24 w 759"/>
                  <a:gd name="T63" fmla="*/ 151 h 764"/>
                  <a:gd name="T64" fmla="*/ 10 w 759"/>
                  <a:gd name="T65" fmla="*/ 92 h 764"/>
                  <a:gd name="T66" fmla="*/ 2 w 759"/>
                  <a:gd name="T67" fmla="*/ 31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59" h="764">
                    <a:moveTo>
                      <a:pt x="0" y="0"/>
                    </a:moveTo>
                    <a:lnTo>
                      <a:pt x="0" y="159"/>
                    </a:lnTo>
                    <a:lnTo>
                      <a:pt x="0" y="159"/>
                    </a:lnTo>
                    <a:lnTo>
                      <a:pt x="2" y="190"/>
                    </a:lnTo>
                    <a:lnTo>
                      <a:pt x="5" y="220"/>
                    </a:lnTo>
                    <a:lnTo>
                      <a:pt x="10" y="251"/>
                    </a:lnTo>
                    <a:lnTo>
                      <a:pt x="16" y="281"/>
                    </a:lnTo>
                    <a:lnTo>
                      <a:pt x="24" y="310"/>
                    </a:lnTo>
                    <a:lnTo>
                      <a:pt x="36" y="339"/>
                    </a:lnTo>
                    <a:lnTo>
                      <a:pt x="47" y="367"/>
                    </a:lnTo>
                    <a:lnTo>
                      <a:pt x="60" y="394"/>
                    </a:lnTo>
                    <a:lnTo>
                      <a:pt x="76" y="421"/>
                    </a:lnTo>
                    <a:lnTo>
                      <a:pt x="92" y="447"/>
                    </a:lnTo>
                    <a:lnTo>
                      <a:pt x="111" y="473"/>
                    </a:lnTo>
                    <a:lnTo>
                      <a:pt x="130" y="497"/>
                    </a:lnTo>
                    <a:lnTo>
                      <a:pt x="151" y="521"/>
                    </a:lnTo>
                    <a:lnTo>
                      <a:pt x="174" y="543"/>
                    </a:lnTo>
                    <a:lnTo>
                      <a:pt x="198" y="564"/>
                    </a:lnTo>
                    <a:lnTo>
                      <a:pt x="224" y="585"/>
                    </a:lnTo>
                    <a:lnTo>
                      <a:pt x="250" y="606"/>
                    </a:lnTo>
                    <a:lnTo>
                      <a:pt x="277" y="625"/>
                    </a:lnTo>
                    <a:lnTo>
                      <a:pt x="306" y="643"/>
                    </a:lnTo>
                    <a:lnTo>
                      <a:pt x="335" y="659"/>
                    </a:lnTo>
                    <a:lnTo>
                      <a:pt x="365" y="675"/>
                    </a:lnTo>
                    <a:lnTo>
                      <a:pt x="397" y="690"/>
                    </a:lnTo>
                    <a:lnTo>
                      <a:pt x="431" y="704"/>
                    </a:lnTo>
                    <a:lnTo>
                      <a:pt x="463" y="715"/>
                    </a:lnTo>
                    <a:lnTo>
                      <a:pt x="499" y="727"/>
                    </a:lnTo>
                    <a:lnTo>
                      <a:pt x="534" y="736"/>
                    </a:lnTo>
                    <a:lnTo>
                      <a:pt x="570" y="744"/>
                    </a:lnTo>
                    <a:lnTo>
                      <a:pt x="607" y="751"/>
                    </a:lnTo>
                    <a:lnTo>
                      <a:pt x="644" y="756"/>
                    </a:lnTo>
                    <a:lnTo>
                      <a:pt x="682" y="760"/>
                    </a:lnTo>
                    <a:lnTo>
                      <a:pt x="721" y="762"/>
                    </a:lnTo>
                    <a:lnTo>
                      <a:pt x="759" y="764"/>
                    </a:lnTo>
                    <a:lnTo>
                      <a:pt x="759" y="604"/>
                    </a:lnTo>
                    <a:lnTo>
                      <a:pt x="759" y="604"/>
                    </a:lnTo>
                    <a:lnTo>
                      <a:pt x="721" y="603"/>
                    </a:lnTo>
                    <a:lnTo>
                      <a:pt x="682" y="601"/>
                    </a:lnTo>
                    <a:lnTo>
                      <a:pt x="644" y="596"/>
                    </a:lnTo>
                    <a:lnTo>
                      <a:pt x="607" y="592"/>
                    </a:lnTo>
                    <a:lnTo>
                      <a:pt x="570" y="585"/>
                    </a:lnTo>
                    <a:lnTo>
                      <a:pt x="534" y="577"/>
                    </a:lnTo>
                    <a:lnTo>
                      <a:pt x="499" y="568"/>
                    </a:lnTo>
                    <a:lnTo>
                      <a:pt x="463" y="556"/>
                    </a:lnTo>
                    <a:lnTo>
                      <a:pt x="431" y="543"/>
                    </a:lnTo>
                    <a:lnTo>
                      <a:pt x="397" y="531"/>
                    </a:lnTo>
                    <a:lnTo>
                      <a:pt x="365" y="516"/>
                    </a:lnTo>
                    <a:lnTo>
                      <a:pt x="335" y="500"/>
                    </a:lnTo>
                    <a:lnTo>
                      <a:pt x="306" y="484"/>
                    </a:lnTo>
                    <a:lnTo>
                      <a:pt x="277" y="466"/>
                    </a:lnTo>
                    <a:lnTo>
                      <a:pt x="250" y="447"/>
                    </a:lnTo>
                    <a:lnTo>
                      <a:pt x="224" y="426"/>
                    </a:lnTo>
                    <a:lnTo>
                      <a:pt x="198" y="405"/>
                    </a:lnTo>
                    <a:lnTo>
                      <a:pt x="174" y="384"/>
                    </a:lnTo>
                    <a:lnTo>
                      <a:pt x="151" y="362"/>
                    </a:lnTo>
                    <a:lnTo>
                      <a:pt x="130" y="338"/>
                    </a:lnTo>
                    <a:lnTo>
                      <a:pt x="111" y="313"/>
                    </a:lnTo>
                    <a:lnTo>
                      <a:pt x="92" y="288"/>
                    </a:lnTo>
                    <a:lnTo>
                      <a:pt x="76" y="262"/>
                    </a:lnTo>
                    <a:lnTo>
                      <a:pt x="60" y="235"/>
                    </a:lnTo>
                    <a:lnTo>
                      <a:pt x="47" y="207"/>
                    </a:lnTo>
                    <a:lnTo>
                      <a:pt x="36" y="180"/>
                    </a:lnTo>
                    <a:lnTo>
                      <a:pt x="24" y="151"/>
                    </a:lnTo>
                    <a:lnTo>
                      <a:pt x="16" y="122"/>
                    </a:lnTo>
                    <a:lnTo>
                      <a:pt x="10" y="92"/>
                    </a:lnTo>
                    <a:lnTo>
                      <a:pt x="5" y="61"/>
                    </a:lnTo>
                    <a:lnTo>
                      <a:pt x="2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vert="horz" wrap="square" lIns="57150" tIns="28575" rIns="57150" bIns="28575" numCol="1" anchor="t" anchorCtr="0" compatLnSpc="1"/>
              <a:lstStyle/>
              <a:p>
                <a:endParaRPr lang="en-AU" sz="1125" dirty="0">
                  <a:solidFill>
                    <a:schemeClr val="tx2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</p:grpSp>
        <p:sp>
          <p:nvSpPr>
            <p:cNvPr id="27" name="Freeform 35"/>
            <p:cNvSpPr/>
            <p:nvPr/>
          </p:nvSpPr>
          <p:spPr bwMode="auto">
            <a:xfrm>
              <a:off x="13812696" y="8154720"/>
              <a:ext cx="1214017" cy="1223625"/>
            </a:xfrm>
            <a:custGeom>
              <a:avLst/>
              <a:gdLst>
                <a:gd name="T0" fmla="*/ 0 w 759"/>
                <a:gd name="T1" fmla="*/ 159 h 764"/>
                <a:gd name="T2" fmla="*/ 2 w 759"/>
                <a:gd name="T3" fmla="*/ 190 h 764"/>
                <a:gd name="T4" fmla="*/ 10 w 759"/>
                <a:gd name="T5" fmla="*/ 251 h 764"/>
                <a:gd name="T6" fmla="*/ 24 w 759"/>
                <a:gd name="T7" fmla="*/ 310 h 764"/>
                <a:gd name="T8" fmla="*/ 47 w 759"/>
                <a:gd name="T9" fmla="*/ 367 h 764"/>
                <a:gd name="T10" fmla="*/ 76 w 759"/>
                <a:gd name="T11" fmla="*/ 421 h 764"/>
                <a:gd name="T12" fmla="*/ 111 w 759"/>
                <a:gd name="T13" fmla="*/ 473 h 764"/>
                <a:gd name="T14" fmla="*/ 151 w 759"/>
                <a:gd name="T15" fmla="*/ 521 h 764"/>
                <a:gd name="T16" fmla="*/ 198 w 759"/>
                <a:gd name="T17" fmla="*/ 564 h 764"/>
                <a:gd name="T18" fmla="*/ 250 w 759"/>
                <a:gd name="T19" fmla="*/ 606 h 764"/>
                <a:gd name="T20" fmla="*/ 306 w 759"/>
                <a:gd name="T21" fmla="*/ 643 h 764"/>
                <a:gd name="T22" fmla="*/ 365 w 759"/>
                <a:gd name="T23" fmla="*/ 675 h 764"/>
                <a:gd name="T24" fmla="*/ 431 w 759"/>
                <a:gd name="T25" fmla="*/ 704 h 764"/>
                <a:gd name="T26" fmla="*/ 499 w 759"/>
                <a:gd name="T27" fmla="*/ 727 h 764"/>
                <a:gd name="T28" fmla="*/ 570 w 759"/>
                <a:gd name="T29" fmla="*/ 744 h 764"/>
                <a:gd name="T30" fmla="*/ 644 w 759"/>
                <a:gd name="T31" fmla="*/ 756 h 764"/>
                <a:gd name="T32" fmla="*/ 721 w 759"/>
                <a:gd name="T33" fmla="*/ 762 h 764"/>
                <a:gd name="T34" fmla="*/ 759 w 759"/>
                <a:gd name="T35" fmla="*/ 604 h 764"/>
                <a:gd name="T36" fmla="*/ 721 w 759"/>
                <a:gd name="T37" fmla="*/ 603 h 764"/>
                <a:gd name="T38" fmla="*/ 644 w 759"/>
                <a:gd name="T39" fmla="*/ 596 h 764"/>
                <a:gd name="T40" fmla="*/ 570 w 759"/>
                <a:gd name="T41" fmla="*/ 585 h 764"/>
                <a:gd name="T42" fmla="*/ 499 w 759"/>
                <a:gd name="T43" fmla="*/ 568 h 764"/>
                <a:gd name="T44" fmla="*/ 431 w 759"/>
                <a:gd name="T45" fmla="*/ 543 h 764"/>
                <a:gd name="T46" fmla="*/ 365 w 759"/>
                <a:gd name="T47" fmla="*/ 516 h 764"/>
                <a:gd name="T48" fmla="*/ 306 w 759"/>
                <a:gd name="T49" fmla="*/ 484 h 764"/>
                <a:gd name="T50" fmla="*/ 250 w 759"/>
                <a:gd name="T51" fmla="*/ 447 h 764"/>
                <a:gd name="T52" fmla="*/ 198 w 759"/>
                <a:gd name="T53" fmla="*/ 405 h 764"/>
                <a:gd name="T54" fmla="*/ 151 w 759"/>
                <a:gd name="T55" fmla="*/ 362 h 764"/>
                <a:gd name="T56" fmla="*/ 111 w 759"/>
                <a:gd name="T57" fmla="*/ 313 h 764"/>
                <a:gd name="T58" fmla="*/ 76 w 759"/>
                <a:gd name="T59" fmla="*/ 262 h 764"/>
                <a:gd name="T60" fmla="*/ 47 w 759"/>
                <a:gd name="T61" fmla="*/ 207 h 764"/>
                <a:gd name="T62" fmla="*/ 24 w 759"/>
                <a:gd name="T63" fmla="*/ 151 h 764"/>
                <a:gd name="T64" fmla="*/ 10 w 759"/>
                <a:gd name="T65" fmla="*/ 92 h 764"/>
                <a:gd name="T66" fmla="*/ 2 w 759"/>
                <a:gd name="T67" fmla="*/ 31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59" h="764">
                  <a:moveTo>
                    <a:pt x="0" y="0"/>
                  </a:moveTo>
                  <a:lnTo>
                    <a:pt x="0" y="159"/>
                  </a:lnTo>
                  <a:lnTo>
                    <a:pt x="0" y="159"/>
                  </a:lnTo>
                  <a:lnTo>
                    <a:pt x="2" y="190"/>
                  </a:lnTo>
                  <a:lnTo>
                    <a:pt x="5" y="220"/>
                  </a:lnTo>
                  <a:lnTo>
                    <a:pt x="10" y="251"/>
                  </a:lnTo>
                  <a:lnTo>
                    <a:pt x="16" y="281"/>
                  </a:lnTo>
                  <a:lnTo>
                    <a:pt x="24" y="310"/>
                  </a:lnTo>
                  <a:lnTo>
                    <a:pt x="36" y="339"/>
                  </a:lnTo>
                  <a:lnTo>
                    <a:pt x="47" y="367"/>
                  </a:lnTo>
                  <a:lnTo>
                    <a:pt x="60" y="394"/>
                  </a:lnTo>
                  <a:lnTo>
                    <a:pt x="76" y="421"/>
                  </a:lnTo>
                  <a:lnTo>
                    <a:pt x="92" y="447"/>
                  </a:lnTo>
                  <a:lnTo>
                    <a:pt x="111" y="473"/>
                  </a:lnTo>
                  <a:lnTo>
                    <a:pt x="130" y="497"/>
                  </a:lnTo>
                  <a:lnTo>
                    <a:pt x="151" y="521"/>
                  </a:lnTo>
                  <a:lnTo>
                    <a:pt x="174" y="543"/>
                  </a:lnTo>
                  <a:lnTo>
                    <a:pt x="198" y="564"/>
                  </a:lnTo>
                  <a:lnTo>
                    <a:pt x="224" y="585"/>
                  </a:lnTo>
                  <a:lnTo>
                    <a:pt x="250" y="606"/>
                  </a:lnTo>
                  <a:lnTo>
                    <a:pt x="277" y="625"/>
                  </a:lnTo>
                  <a:lnTo>
                    <a:pt x="306" y="643"/>
                  </a:lnTo>
                  <a:lnTo>
                    <a:pt x="335" y="659"/>
                  </a:lnTo>
                  <a:lnTo>
                    <a:pt x="365" y="675"/>
                  </a:lnTo>
                  <a:lnTo>
                    <a:pt x="397" y="690"/>
                  </a:lnTo>
                  <a:lnTo>
                    <a:pt x="431" y="704"/>
                  </a:lnTo>
                  <a:lnTo>
                    <a:pt x="463" y="715"/>
                  </a:lnTo>
                  <a:lnTo>
                    <a:pt x="499" y="727"/>
                  </a:lnTo>
                  <a:lnTo>
                    <a:pt x="534" y="736"/>
                  </a:lnTo>
                  <a:lnTo>
                    <a:pt x="570" y="744"/>
                  </a:lnTo>
                  <a:lnTo>
                    <a:pt x="607" y="751"/>
                  </a:lnTo>
                  <a:lnTo>
                    <a:pt x="644" y="756"/>
                  </a:lnTo>
                  <a:lnTo>
                    <a:pt x="682" y="760"/>
                  </a:lnTo>
                  <a:lnTo>
                    <a:pt x="721" y="762"/>
                  </a:lnTo>
                  <a:lnTo>
                    <a:pt x="759" y="764"/>
                  </a:lnTo>
                  <a:lnTo>
                    <a:pt x="759" y="604"/>
                  </a:lnTo>
                  <a:lnTo>
                    <a:pt x="759" y="604"/>
                  </a:lnTo>
                  <a:lnTo>
                    <a:pt x="721" y="603"/>
                  </a:lnTo>
                  <a:lnTo>
                    <a:pt x="682" y="601"/>
                  </a:lnTo>
                  <a:lnTo>
                    <a:pt x="644" y="596"/>
                  </a:lnTo>
                  <a:lnTo>
                    <a:pt x="607" y="592"/>
                  </a:lnTo>
                  <a:lnTo>
                    <a:pt x="570" y="585"/>
                  </a:lnTo>
                  <a:lnTo>
                    <a:pt x="534" y="577"/>
                  </a:lnTo>
                  <a:lnTo>
                    <a:pt x="499" y="568"/>
                  </a:lnTo>
                  <a:lnTo>
                    <a:pt x="463" y="556"/>
                  </a:lnTo>
                  <a:lnTo>
                    <a:pt x="431" y="543"/>
                  </a:lnTo>
                  <a:lnTo>
                    <a:pt x="397" y="531"/>
                  </a:lnTo>
                  <a:lnTo>
                    <a:pt x="365" y="516"/>
                  </a:lnTo>
                  <a:lnTo>
                    <a:pt x="335" y="500"/>
                  </a:lnTo>
                  <a:lnTo>
                    <a:pt x="306" y="484"/>
                  </a:lnTo>
                  <a:lnTo>
                    <a:pt x="277" y="466"/>
                  </a:lnTo>
                  <a:lnTo>
                    <a:pt x="250" y="447"/>
                  </a:lnTo>
                  <a:lnTo>
                    <a:pt x="224" y="426"/>
                  </a:lnTo>
                  <a:lnTo>
                    <a:pt x="198" y="405"/>
                  </a:lnTo>
                  <a:lnTo>
                    <a:pt x="174" y="384"/>
                  </a:lnTo>
                  <a:lnTo>
                    <a:pt x="151" y="362"/>
                  </a:lnTo>
                  <a:lnTo>
                    <a:pt x="130" y="338"/>
                  </a:lnTo>
                  <a:lnTo>
                    <a:pt x="111" y="313"/>
                  </a:lnTo>
                  <a:lnTo>
                    <a:pt x="92" y="288"/>
                  </a:lnTo>
                  <a:lnTo>
                    <a:pt x="76" y="262"/>
                  </a:lnTo>
                  <a:lnTo>
                    <a:pt x="60" y="235"/>
                  </a:lnTo>
                  <a:lnTo>
                    <a:pt x="47" y="207"/>
                  </a:lnTo>
                  <a:lnTo>
                    <a:pt x="36" y="180"/>
                  </a:lnTo>
                  <a:lnTo>
                    <a:pt x="24" y="151"/>
                  </a:lnTo>
                  <a:lnTo>
                    <a:pt x="16" y="122"/>
                  </a:lnTo>
                  <a:lnTo>
                    <a:pt x="10" y="92"/>
                  </a:lnTo>
                  <a:lnTo>
                    <a:pt x="5" y="61"/>
                  </a:lnTo>
                  <a:lnTo>
                    <a:pt x="2" y="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57150" tIns="28575" rIns="57150" bIns="28575" numCol="1" anchor="t" anchorCtr="0" compatLnSpc="1"/>
            <a:lstStyle/>
            <a:p>
              <a:endParaRPr lang="en-AU" sz="1125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35" name="Freeform: Shape 34"/>
            <p:cNvSpPr/>
            <p:nvPr/>
          </p:nvSpPr>
          <p:spPr bwMode="auto">
            <a:xfrm>
              <a:off x="13812696" y="7821588"/>
              <a:ext cx="2460067" cy="1537540"/>
            </a:xfrm>
            <a:custGeom>
              <a:avLst/>
              <a:gdLst>
                <a:gd name="connsiteX0" fmla="*/ 812141 w 2460067"/>
                <a:gd name="connsiteY0" fmla="*/ 0 h 1537540"/>
                <a:gd name="connsiteX1" fmla="*/ 812141 w 2460067"/>
                <a:gd name="connsiteY1" fmla="*/ 331941 h 1537540"/>
                <a:gd name="connsiteX2" fmla="*/ 812141 w 2460067"/>
                <a:gd name="connsiteY2" fmla="*/ 365616 h 1537540"/>
                <a:gd name="connsiteX3" fmla="*/ 820135 w 2460067"/>
                <a:gd name="connsiteY3" fmla="*/ 396084 h 1537540"/>
                <a:gd name="connsiteX4" fmla="*/ 831326 w 2460067"/>
                <a:gd name="connsiteY4" fmla="*/ 426552 h 1537540"/>
                <a:gd name="connsiteX5" fmla="*/ 844115 w 2460067"/>
                <a:gd name="connsiteY5" fmla="*/ 455416 h 1537540"/>
                <a:gd name="connsiteX6" fmla="*/ 858503 w 2460067"/>
                <a:gd name="connsiteY6" fmla="*/ 484281 h 1537540"/>
                <a:gd name="connsiteX7" fmla="*/ 879287 w 2460067"/>
                <a:gd name="connsiteY7" fmla="*/ 511542 h 1537540"/>
                <a:gd name="connsiteX8" fmla="*/ 903267 w 2460067"/>
                <a:gd name="connsiteY8" fmla="*/ 535595 h 1537540"/>
                <a:gd name="connsiteX9" fmla="*/ 928846 w 2460067"/>
                <a:gd name="connsiteY9" fmla="*/ 558045 h 1537540"/>
                <a:gd name="connsiteX10" fmla="*/ 957623 w 2460067"/>
                <a:gd name="connsiteY10" fmla="*/ 578892 h 1537540"/>
                <a:gd name="connsiteX11" fmla="*/ 987998 w 2460067"/>
                <a:gd name="connsiteY11" fmla="*/ 598135 h 1537540"/>
                <a:gd name="connsiteX12" fmla="*/ 1021571 w 2460067"/>
                <a:gd name="connsiteY12" fmla="*/ 612567 h 1537540"/>
                <a:gd name="connsiteX13" fmla="*/ 1056743 w 2460067"/>
                <a:gd name="connsiteY13" fmla="*/ 628603 h 1537540"/>
                <a:gd name="connsiteX14" fmla="*/ 1093513 w 2460067"/>
                <a:gd name="connsiteY14" fmla="*/ 638224 h 1537540"/>
                <a:gd name="connsiteX15" fmla="*/ 1131882 w 2460067"/>
                <a:gd name="connsiteY15" fmla="*/ 646242 h 1537540"/>
                <a:gd name="connsiteX16" fmla="*/ 1173448 w 2460067"/>
                <a:gd name="connsiteY16" fmla="*/ 651053 h 1537540"/>
                <a:gd name="connsiteX17" fmla="*/ 1213416 w 2460067"/>
                <a:gd name="connsiteY17" fmla="*/ 651053 h 1537540"/>
                <a:gd name="connsiteX18" fmla="*/ 1726531 w 2460067"/>
                <a:gd name="connsiteY18" fmla="*/ 651053 h 1537540"/>
                <a:gd name="connsiteX19" fmla="*/ 1726531 w 2460067"/>
                <a:gd name="connsiteY19" fmla="*/ 368368 h 1537540"/>
                <a:gd name="connsiteX20" fmla="*/ 2460067 w 2460067"/>
                <a:gd name="connsiteY20" fmla="*/ 952954 h 1537540"/>
                <a:gd name="connsiteX21" fmla="*/ 1726531 w 2460067"/>
                <a:gd name="connsiteY21" fmla="*/ 1537540 h 1537540"/>
                <a:gd name="connsiteX22" fmla="*/ 1726531 w 2460067"/>
                <a:gd name="connsiteY22" fmla="*/ 1303706 h 1537540"/>
                <a:gd name="connsiteX23" fmla="*/ 1726531 w 2460067"/>
                <a:gd name="connsiteY23" fmla="*/ 1300502 h 1537540"/>
                <a:gd name="connsiteX24" fmla="*/ 1213416 w 2460067"/>
                <a:gd name="connsiteY24" fmla="*/ 1300502 h 1537540"/>
                <a:gd name="connsiteX25" fmla="*/ 1152665 w 2460067"/>
                <a:gd name="connsiteY25" fmla="*/ 1298898 h 1537540"/>
                <a:gd name="connsiteX26" fmla="*/ 1090315 w 2460067"/>
                <a:gd name="connsiteY26" fmla="*/ 1295691 h 1537540"/>
                <a:gd name="connsiteX27" fmla="*/ 1029565 w 2460067"/>
                <a:gd name="connsiteY27" fmla="*/ 1287673 h 1537540"/>
                <a:gd name="connsiteX28" fmla="*/ 970413 w 2460067"/>
                <a:gd name="connsiteY28" fmla="*/ 1281259 h 1537540"/>
                <a:gd name="connsiteX29" fmla="*/ 911261 w 2460067"/>
                <a:gd name="connsiteY29" fmla="*/ 1270034 h 1537540"/>
                <a:gd name="connsiteX30" fmla="*/ 853707 w 2460067"/>
                <a:gd name="connsiteY30" fmla="*/ 1257205 h 1537540"/>
                <a:gd name="connsiteX31" fmla="*/ 797753 w 2460067"/>
                <a:gd name="connsiteY31" fmla="*/ 1242773 h 1537540"/>
                <a:gd name="connsiteX32" fmla="*/ 740199 w 2460067"/>
                <a:gd name="connsiteY32" fmla="*/ 1223530 h 1537540"/>
                <a:gd name="connsiteX33" fmla="*/ 689041 w 2460067"/>
                <a:gd name="connsiteY33" fmla="*/ 1202684 h 1537540"/>
                <a:gd name="connsiteX34" fmla="*/ 634685 w 2460067"/>
                <a:gd name="connsiteY34" fmla="*/ 1183441 h 1537540"/>
                <a:gd name="connsiteX35" fmla="*/ 583527 w 2460067"/>
                <a:gd name="connsiteY35" fmla="*/ 1159387 h 1537540"/>
                <a:gd name="connsiteX36" fmla="*/ 535566 w 2460067"/>
                <a:gd name="connsiteY36" fmla="*/ 1133730 h 1537540"/>
                <a:gd name="connsiteX37" fmla="*/ 489203 w 2460067"/>
                <a:gd name="connsiteY37" fmla="*/ 1108073 h 1537540"/>
                <a:gd name="connsiteX38" fmla="*/ 442841 w 2460067"/>
                <a:gd name="connsiteY38" fmla="*/ 1079208 h 1537540"/>
                <a:gd name="connsiteX39" fmla="*/ 399676 w 2460067"/>
                <a:gd name="connsiteY39" fmla="*/ 1048740 h 1537540"/>
                <a:gd name="connsiteX40" fmla="*/ 358109 w 2460067"/>
                <a:gd name="connsiteY40" fmla="*/ 1015065 h 1537540"/>
                <a:gd name="connsiteX41" fmla="*/ 316543 w 2460067"/>
                <a:gd name="connsiteY41" fmla="*/ 981390 h 1537540"/>
                <a:gd name="connsiteX42" fmla="*/ 278174 w 2460067"/>
                <a:gd name="connsiteY42" fmla="*/ 947715 h 1537540"/>
                <a:gd name="connsiteX43" fmla="*/ 241404 w 2460067"/>
                <a:gd name="connsiteY43" fmla="*/ 912436 h 1537540"/>
                <a:gd name="connsiteX44" fmla="*/ 207831 w 2460067"/>
                <a:gd name="connsiteY44" fmla="*/ 873950 h 1537540"/>
                <a:gd name="connsiteX45" fmla="*/ 177456 w 2460067"/>
                <a:gd name="connsiteY45" fmla="*/ 833861 h 1537540"/>
                <a:gd name="connsiteX46" fmla="*/ 147081 w 2460067"/>
                <a:gd name="connsiteY46" fmla="*/ 793771 h 1537540"/>
                <a:gd name="connsiteX47" fmla="*/ 121501 w 2460067"/>
                <a:gd name="connsiteY47" fmla="*/ 752078 h 1537540"/>
                <a:gd name="connsiteX48" fmla="*/ 95922 w 2460067"/>
                <a:gd name="connsiteY48" fmla="*/ 708782 h 1537540"/>
                <a:gd name="connsiteX49" fmla="*/ 75139 w 2460067"/>
                <a:gd name="connsiteY49" fmla="*/ 663882 h 1537540"/>
                <a:gd name="connsiteX50" fmla="*/ 57553 w 2460067"/>
                <a:gd name="connsiteY50" fmla="*/ 620585 h 1537540"/>
                <a:gd name="connsiteX51" fmla="*/ 38369 w 2460067"/>
                <a:gd name="connsiteY51" fmla="*/ 574081 h 1537540"/>
                <a:gd name="connsiteX52" fmla="*/ 25579 w 2460067"/>
                <a:gd name="connsiteY52" fmla="*/ 527577 h 1537540"/>
                <a:gd name="connsiteX53" fmla="*/ 15987 w 2460067"/>
                <a:gd name="connsiteY53" fmla="*/ 479470 h 1537540"/>
                <a:gd name="connsiteX54" fmla="*/ 7994 w 2460067"/>
                <a:gd name="connsiteY54" fmla="*/ 429759 h 1537540"/>
                <a:gd name="connsiteX55" fmla="*/ 3197 w 2460067"/>
                <a:gd name="connsiteY55" fmla="*/ 381652 h 1537540"/>
                <a:gd name="connsiteX56" fmla="*/ 0 w 2460067"/>
                <a:gd name="connsiteY56" fmla="*/ 331941 h 1537540"/>
                <a:gd name="connsiteX57" fmla="*/ 0 w 2460067"/>
                <a:gd name="connsiteY57" fmla="*/ 4811 h 1537540"/>
                <a:gd name="connsiteX58" fmla="*/ 401274 w 2460067"/>
                <a:gd name="connsiteY58" fmla="*/ 327130 h 1537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460067" h="1537540">
                  <a:moveTo>
                    <a:pt x="812141" y="0"/>
                  </a:moveTo>
                  <a:lnTo>
                    <a:pt x="812141" y="331941"/>
                  </a:lnTo>
                  <a:lnTo>
                    <a:pt x="812141" y="365616"/>
                  </a:lnTo>
                  <a:lnTo>
                    <a:pt x="820135" y="396084"/>
                  </a:lnTo>
                  <a:lnTo>
                    <a:pt x="831326" y="426552"/>
                  </a:lnTo>
                  <a:lnTo>
                    <a:pt x="844115" y="455416"/>
                  </a:lnTo>
                  <a:lnTo>
                    <a:pt x="858503" y="484281"/>
                  </a:lnTo>
                  <a:lnTo>
                    <a:pt x="879287" y="511542"/>
                  </a:lnTo>
                  <a:lnTo>
                    <a:pt x="903267" y="535595"/>
                  </a:lnTo>
                  <a:lnTo>
                    <a:pt x="928846" y="558045"/>
                  </a:lnTo>
                  <a:lnTo>
                    <a:pt x="957623" y="578892"/>
                  </a:lnTo>
                  <a:lnTo>
                    <a:pt x="987998" y="598135"/>
                  </a:lnTo>
                  <a:lnTo>
                    <a:pt x="1021571" y="612567"/>
                  </a:lnTo>
                  <a:lnTo>
                    <a:pt x="1056743" y="628603"/>
                  </a:lnTo>
                  <a:lnTo>
                    <a:pt x="1093513" y="638224"/>
                  </a:lnTo>
                  <a:lnTo>
                    <a:pt x="1131882" y="646242"/>
                  </a:lnTo>
                  <a:lnTo>
                    <a:pt x="1173448" y="651053"/>
                  </a:lnTo>
                  <a:lnTo>
                    <a:pt x="1213416" y="651053"/>
                  </a:lnTo>
                  <a:lnTo>
                    <a:pt x="1726531" y="651053"/>
                  </a:lnTo>
                  <a:lnTo>
                    <a:pt x="1726531" y="368368"/>
                  </a:lnTo>
                  <a:lnTo>
                    <a:pt x="2460067" y="952954"/>
                  </a:lnTo>
                  <a:lnTo>
                    <a:pt x="1726531" y="1537540"/>
                  </a:lnTo>
                  <a:lnTo>
                    <a:pt x="1726531" y="1303706"/>
                  </a:lnTo>
                  <a:lnTo>
                    <a:pt x="1726531" y="1300502"/>
                  </a:lnTo>
                  <a:lnTo>
                    <a:pt x="1213416" y="1300502"/>
                  </a:lnTo>
                  <a:lnTo>
                    <a:pt x="1152665" y="1298898"/>
                  </a:lnTo>
                  <a:lnTo>
                    <a:pt x="1090315" y="1295691"/>
                  </a:lnTo>
                  <a:lnTo>
                    <a:pt x="1029565" y="1287673"/>
                  </a:lnTo>
                  <a:lnTo>
                    <a:pt x="970413" y="1281259"/>
                  </a:lnTo>
                  <a:lnTo>
                    <a:pt x="911261" y="1270034"/>
                  </a:lnTo>
                  <a:lnTo>
                    <a:pt x="853707" y="1257205"/>
                  </a:lnTo>
                  <a:lnTo>
                    <a:pt x="797753" y="1242773"/>
                  </a:lnTo>
                  <a:lnTo>
                    <a:pt x="740199" y="1223530"/>
                  </a:lnTo>
                  <a:lnTo>
                    <a:pt x="689041" y="1202684"/>
                  </a:lnTo>
                  <a:lnTo>
                    <a:pt x="634685" y="1183441"/>
                  </a:lnTo>
                  <a:lnTo>
                    <a:pt x="583527" y="1159387"/>
                  </a:lnTo>
                  <a:lnTo>
                    <a:pt x="535566" y="1133730"/>
                  </a:lnTo>
                  <a:lnTo>
                    <a:pt x="489203" y="1108073"/>
                  </a:lnTo>
                  <a:lnTo>
                    <a:pt x="442841" y="1079208"/>
                  </a:lnTo>
                  <a:lnTo>
                    <a:pt x="399676" y="1048740"/>
                  </a:lnTo>
                  <a:lnTo>
                    <a:pt x="358109" y="1015065"/>
                  </a:lnTo>
                  <a:lnTo>
                    <a:pt x="316543" y="981390"/>
                  </a:lnTo>
                  <a:lnTo>
                    <a:pt x="278174" y="947715"/>
                  </a:lnTo>
                  <a:lnTo>
                    <a:pt x="241404" y="912436"/>
                  </a:lnTo>
                  <a:lnTo>
                    <a:pt x="207831" y="873950"/>
                  </a:lnTo>
                  <a:lnTo>
                    <a:pt x="177456" y="833861"/>
                  </a:lnTo>
                  <a:lnTo>
                    <a:pt x="147081" y="793771"/>
                  </a:lnTo>
                  <a:lnTo>
                    <a:pt x="121501" y="752078"/>
                  </a:lnTo>
                  <a:lnTo>
                    <a:pt x="95922" y="708782"/>
                  </a:lnTo>
                  <a:lnTo>
                    <a:pt x="75139" y="663882"/>
                  </a:lnTo>
                  <a:lnTo>
                    <a:pt x="57553" y="620585"/>
                  </a:lnTo>
                  <a:lnTo>
                    <a:pt x="38369" y="574081"/>
                  </a:lnTo>
                  <a:lnTo>
                    <a:pt x="25579" y="527577"/>
                  </a:lnTo>
                  <a:lnTo>
                    <a:pt x="15987" y="479470"/>
                  </a:lnTo>
                  <a:lnTo>
                    <a:pt x="7994" y="429759"/>
                  </a:lnTo>
                  <a:lnTo>
                    <a:pt x="3197" y="381652"/>
                  </a:lnTo>
                  <a:lnTo>
                    <a:pt x="0" y="331941"/>
                  </a:lnTo>
                  <a:lnTo>
                    <a:pt x="0" y="4811"/>
                  </a:lnTo>
                  <a:lnTo>
                    <a:pt x="401274" y="327130"/>
                  </a:lnTo>
                  <a:close/>
                </a:path>
              </a:pathLst>
            </a:custGeom>
            <a:gradFill>
              <a:gsLst>
                <a:gs pos="2000">
                  <a:schemeClr val="accent5"/>
                </a:gs>
                <a:gs pos="100000">
                  <a:schemeClr val="accent5">
                    <a:lumMod val="75000"/>
                  </a:schemeClr>
                </a:gs>
              </a:gsLst>
              <a:lin ang="2700000" scaled="1"/>
            </a:gradFill>
            <a:ln>
              <a:noFill/>
            </a:ln>
          </p:spPr>
          <p:txBody>
            <a:bodyPr vert="horz" wrap="square" lIns="57150" tIns="28575" rIns="57150" bIns="28575" numCol="1" anchor="t" anchorCtr="0" compatLnSpc="1">
              <a:noAutofit/>
            </a:bodyPr>
            <a:lstStyle/>
            <a:p>
              <a:endParaRPr lang="en-AU" sz="1125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29" name="Freeform 37"/>
            <p:cNvSpPr/>
            <p:nvPr/>
          </p:nvSpPr>
          <p:spPr bwMode="auto">
            <a:xfrm>
              <a:off x="13812696" y="7821588"/>
              <a:ext cx="1764968" cy="1300502"/>
            </a:xfrm>
            <a:custGeom>
              <a:avLst/>
              <a:gdLst>
                <a:gd name="T0" fmla="*/ 508 w 1104"/>
                <a:gd name="T1" fmla="*/ 207 h 811"/>
                <a:gd name="T2" fmla="*/ 508 w 1104"/>
                <a:gd name="T3" fmla="*/ 0 h 811"/>
                <a:gd name="T4" fmla="*/ 251 w 1104"/>
                <a:gd name="T5" fmla="*/ 204 h 811"/>
                <a:gd name="T6" fmla="*/ 0 w 1104"/>
                <a:gd name="T7" fmla="*/ 3 h 811"/>
                <a:gd name="T8" fmla="*/ 0 w 1104"/>
                <a:gd name="T9" fmla="*/ 207 h 811"/>
                <a:gd name="T10" fmla="*/ 0 w 1104"/>
                <a:gd name="T11" fmla="*/ 207 h 811"/>
                <a:gd name="T12" fmla="*/ 2 w 1104"/>
                <a:gd name="T13" fmla="*/ 238 h 811"/>
                <a:gd name="T14" fmla="*/ 5 w 1104"/>
                <a:gd name="T15" fmla="*/ 268 h 811"/>
                <a:gd name="T16" fmla="*/ 10 w 1104"/>
                <a:gd name="T17" fmla="*/ 299 h 811"/>
                <a:gd name="T18" fmla="*/ 16 w 1104"/>
                <a:gd name="T19" fmla="*/ 329 h 811"/>
                <a:gd name="T20" fmla="*/ 24 w 1104"/>
                <a:gd name="T21" fmla="*/ 358 h 811"/>
                <a:gd name="T22" fmla="*/ 36 w 1104"/>
                <a:gd name="T23" fmla="*/ 387 h 811"/>
                <a:gd name="T24" fmla="*/ 47 w 1104"/>
                <a:gd name="T25" fmla="*/ 414 h 811"/>
                <a:gd name="T26" fmla="*/ 60 w 1104"/>
                <a:gd name="T27" fmla="*/ 442 h 811"/>
                <a:gd name="T28" fmla="*/ 76 w 1104"/>
                <a:gd name="T29" fmla="*/ 469 h 811"/>
                <a:gd name="T30" fmla="*/ 92 w 1104"/>
                <a:gd name="T31" fmla="*/ 495 h 811"/>
                <a:gd name="T32" fmla="*/ 111 w 1104"/>
                <a:gd name="T33" fmla="*/ 520 h 811"/>
                <a:gd name="T34" fmla="*/ 130 w 1104"/>
                <a:gd name="T35" fmla="*/ 545 h 811"/>
                <a:gd name="T36" fmla="*/ 151 w 1104"/>
                <a:gd name="T37" fmla="*/ 569 h 811"/>
                <a:gd name="T38" fmla="*/ 174 w 1104"/>
                <a:gd name="T39" fmla="*/ 591 h 811"/>
                <a:gd name="T40" fmla="*/ 198 w 1104"/>
                <a:gd name="T41" fmla="*/ 612 h 811"/>
                <a:gd name="T42" fmla="*/ 224 w 1104"/>
                <a:gd name="T43" fmla="*/ 633 h 811"/>
                <a:gd name="T44" fmla="*/ 250 w 1104"/>
                <a:gd name="T45" fmla="*/ 654 h 811"/>
                <a:gd name="T46" fmla="*/ 277 w 1104"/>
                <a:gd name="T47" fmla="*/ 673 h 811"/>
                <a:gd name="T48" fmla="*/ 306 w 1104"/>
                <a:gd name="T49" fmla="*/ 691 h 811"/>
                <a:gd name="T50" fmla="*/ 335 w 1104"/>
                <a:gd name="T51" fmla="*/ 707 h 811"/>
                <a:gd name="T52" fmla="*/ 365 w 1104"/>
                <a:gd name="T53" fmla="*/ 723 h 811"/>
                <a:gd name="T54" fmla="*/ 397 w 1104"/>
                <a:gd name="T55" fmla="*/ 738 h 811"/>
                <a:gd name="T56" fmla="*/ 431 w 1104"/>
                <a:gd name="T57" fmla="*/ 750 h 811"/>
                <a:gd name="T58" fmla="*/ 463 w 1104"/>
                <a:gd name="T59" fmla="*/ 763 h 811"/>
                <a:gd name="T60" fmla="*/ 499 w 1104"/>
                <a:gd name="T61" fmla="*/ 775 h 811"/>
                <a:gd name="T62" fmla="*/ 534 w 1104"/>
                <a:gd name="T63" fmla="*/ 784 h 811"/>
                <a:gd name="T64" fmla="*/ 570 w 1104"/>
                <a:gd name="T65" fmla="*/ 792 h 811"/>
                <a:gd name="T66" fmla="*/ 607 w 1104"/>
                <a:gd name="T67" fmla="*/ 799 h 811"/>
                <a:gd name="T68" fmla="*/ 644 w 1104"/>
                <a:gd name="T69" fmla="*/ 803 h 811"/>
                <a:gd name="T70" fmla="*/ 682 w 1104"/>
                <a:gd name="T71" fmla="*/ 808 h 811"/>
                <a:gd name="T72" fmla="*/ 721 w 1104"/>
                <a:gd name="T73" fmla="*/ 810 h 811"/>
                <a:gd name="T74" fmla="*/ 759 w 1104"/>
                <a:gd name="T75" fmla="*/ 811 h 811"/>
                <a:gd name="T76" fmla="*/ 1104 w 1104"/>
                <a:gd name="T77" fmla="*/ 811 h 811"/>
                <a:gd name="T78" fmla="*/ 1104 w 1104"/>
                <a:gd name="T79" fmla="*/ 406 h 811"/>
                <a:gd name="T80" fmla="*/ 759 w 1104"/>
                <a:gd name="T81" fmla="*/ 406 h 811"/>
                <a:gd name="T82" fmla="*/ 759 w 1104"/>
                <a:gd name="T83" fmla="*/ 406 h 811"/>
                <a:gd name="T84" fmla="*/ 734 w 1104"/>
                <a:gd name="T85" fmla="*/ 406 h 811"/>
                <a:gd name="T86" fmla="*/ 708 w 1104"/>
                <a:gd name="T87" fmla="*/ 403 h 811"/>
                <a:gd name="T88" fmla="*/ 684 w 1104"/>
                <a:gd name="T89" fmla="*/ 398 h 811"/>
                <a:gd name="T90" fmla="*/ 661 w 1104"/>
                <a:gd name="T91" fmla="*/ 392 h 811"/>
                <a:gd name="T92" fmla="*/ 639 w 1104"/>
                <a:gd name="T93" fmla="*/ 382 h 811"/>
                <a:gd name="T94" fmla="*/ 618 w 1104"/>
                <a:gd name="T95" fmla="*/ 373 h 811"/>
                <a:gd name="T96" fmla="*/ 599 w 1104"/>
                <a:gd name="T97" fmla="*/ 361 h 811"/>
                <a:gd name="T98" fmla="*/ 581 w 1104"/>
                <a:gd name="T99" fmla="*/ 348 h 811"/>
                <a:gd name="T100" fmla="*/ 565 w 1104"/>
                <a:gd name="T101" fmla="*/ 334 h 811"/>
                <a:gd name="T102" fmla="*/ 550 w 1104"/>
                <a:gd name="T103" fmla="*/ 319 h 811"/>
                <a:gd name="T104" fmla="*/ 537 w 1104"/>
                <a:gd name="T105" fmla="*/ 302 h 811"/>
                <a:gd name="T106" fmla="*/ 528 w 1104"/>
                <a:gd name="T107" fmla="*/ 284 h 811"/>
                <a:gd name="T108" fmla="*/ 520 w 1104"/>
                <a:gd name="T109" fmla="*/ 266 h 811"/>
                <a:gd name="T110" fmla="*/ 513 w 1104"/>
                <a:gd name="T111" fmla="*/ 247 h 811"/>
                <a:gd name="T112" fmla="*/ 508 w 1104"/>
                <a:gd name="T113" fmla="*/ 228 h 811"/>
                <a:gd name="T114" fmla="*/ 508 w 1104"/>
                <a:gd name="T115" fmla="*/ 207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04" h="811">
                  <a:moveTo>
                    <a:pt x="508" y="207"/>
                  </a:moveTo>
                  <a:lnTo>
                    <a:pt x="508" y="0"/>
                  </a:lnTo>
                  <a:lnTo>
                    <a:pt x="251" y="204"/>
                  </a:lnTo>
                  <a:lnTo>
                    <a:pt x="0" y="3"/>
                  </a:lnTo>
                  <a:lnTo>
                    <a:pt x="0" y="207"/>
                  </a:lnTo>
                  <a:lnTo>
                    <a:pt x="0" y="207"/>
                  </a:lnTo>
                  <a:lnTo>
                    <a:pt x="2" y="238"/>
                  </a:lnTo>
                  <a:lnTo>
                    <a:pt x="5" y="268"/>
                  </a:lnTo>
                  <a:lnTo>
                    <a:pt x="10" y="299"/>
                  </a:lnTo>
                  <a:lnTo>
                    <a:pt x="16" y="329"/>
                  </a:lnTo>
                  <a:lnTo>
                    <a:pt x="24" y="358"/>
                  </a:lnTo>
                  <a:lnTo>
                    <a:pt x="36" y="387"/>
                  </a:lnTo>
                  <a:lnTo>
                    <a:pt x="47" y="414"/>
                  </a:lnTo>
                  <a:lnTo>
                    <a:pt x="60" y="442"/>
                  </a:lnTo>
                  <a:lnTo>
                    <a:pt x="76" y="469"/>
                  </a:lnTo>
                  <a:lnTo>
                    <a:pt x="92" y="495"/>
                  </a:lnTo>
                  <a:lnTo>
                    <a:pt x="111" y="520"/>
                  </a:lnTo>
                  <a:lnTo>
                    <a:pt x="130" y="545"/>
                  </a:lnTo>
                  <a:lnTo>
                    <a:pt x="151" y="569"/>
                  </a:lnTo>
                  <a:lnTo>
                    <a:pt x="174" y="591"/>
                  </a:lnTo>
                  <a:lnTo>
                    <a:pt x="198" y="612"/>
                  </a:lnTo>
                  <a:lnTo>
                    <a:pt x="224" y="633"/>
                  </a:lnTo>
                  <a:lnTo>
                    <a:pt x="250" y="654"/>
                  </a:lnTo>
                  <a:lnTo>
                    <a:pt x="277" y="673"/>
                  </a:lnTo>
                  <a:lnTo>
                    <a:pt x="306" y="691"/>
                  </a:lnTo>
                  <a:lnTo>
                    <a:pt x="335" y="707"/>
                  </a:lnTo>
                  <a:lnTo>
                    <a:pt x="365" y="723"/>
                  </a:lnTo>
                  <a:lnTo>
                    <a:pt x="397" y="738"/>
                  </a:lnTo>
                  <a:lnTo>
                    <a:pt x="431" y="750"/>
                  </a:lnTo>
                  <a:lnTo>
                    <a:pt x="463" y="763"/>
                  </a:lnTo>
                  <a:lnTo>
                    <a:pt x="499" y="775"/>
                  </a:lnTo>
                  <a:lnTo>
                    <a:pt x="534" y="784"/>
                  </a:lnTo>
                  <a:lnTo>
                    <a:pt x="570" y="792"/>
                  </a:lnTo>
                  <a:lnTo>
                    <a:pt x="607" y="799"/>
                  </a:lnTo>
                  <a:lnTo>
                    <a:pt x="644" y="803"/>
                  </a:lnTo>
                  <a:lnTo>
                    <a:pt x="682" y="808"/>
                  </a:lnTo>
                  <a:lnTo>
                    <a:pt x="721" y="810"/>
                  </a:lnTo>
                  <a:lnTo>
                    <a:pt x="759" y="811"/>
                  </a:lnTo>
                  <a:lnTo>
                    <a:pt x="1104" y="811"/>
                  </a:lnTo>
                  <a:lnTo>
                    <a:pt x="1104" y="406"/>
                  </a:lnTo>
                  <a:lnTo>
                    <a:pt x="759" y="406"/>
                  </a:lnTo>
                  <a:lnTo>
                    <a:pt x="759" y="406"/>
                  </a:lnTo>
                  <a:lnTo>
                    <a:pt x="734" y="406"/>
                  </a:lnTo>
                  <a:lnTo>
                    <a:pt x="708" y="403"/>
                  </a:lnTo>
                  <a:lnTo>
                    <a:pt x="684" y="398"/>
                  </a:lnTo>
                  <a:lnTo>
                    <a:pt x="661" y="392"/>
                  </a:lnTo>
                  <a:lnTo>
                    <a:pt x="639" y="382"/>
                  </a:lnTo>
                  <a:lnTo>
                    <a:pt x="618" y="373"/>
                  </a:lnTo>
                  <a:lnTo>
                    <a:pt x="599" y="361"/>
                  </a:lnTo>
                  <a:lnTo>
                    <a:pt x="581" y="348"/>
                  </a:lnTo>
                  <a:lnTo>
                    <a:pt x="565" y="334"/>
                  </a:lnTo>
                  <a:lnTo>
                    <a:pt x="550" y="319"/>
                  </a:lnTo>
                  <a:lnTo>
                    <a:pt x="537" y="302"/>
                  </a:lnTo>
                  <a:lnTo>
                    <a:pt x="528" y="284"/>
                  </a:lnTo>
                  <a:lnTo>
                    <a:pt x="520" y="266"/>
                  </a:lnTo>
                  <a:lnTo>
                    <a:pt x="513" y="247"/>
                  </a:lnTo>
                  <a:lnTo>
                    <a:pt x="508" y="228"/>
                  </a:lnTo>
                  <a:lnTo>
                    <a:pt x="508" y="20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57150" tIns="28575" rIns="57150" bIns="28575" numCol="1" anchor="t" anchorCtr="0" compatLnSpc="1"/>
            <a:lstStyle/>
            <a:p>
              <a:endParaRPr lang="en-AU" sz="1125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</p:grpSp>
      <p:grpSp>
        <p:nvGrpSpPr>
          <p:cNvPr id="46" name="Group 4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5182014" y="524246"/>
            <a:ext cx="2122549" cy="776125"/>
            <a:chOff x="14297371" y="1174010"/>
            <a:chExt cx="3396078" cy="1241800"/>
          </a:xfrm>
        </p:grpSpPr>
        <p:sp>
          <p:nvSpPr>
            <p:cNvPr id="47" name="Rectangle 46"/>
            <p:cNvSpPr/>
            <p:nvPr/>
          </p:nvSpPr>
          <p:spPr>
            <a:xfrm>
              <a:off x="14297371" y="1174010"/>
              <a:ext cx="3262289" cy="4555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50" dirty="0">
                  <a:solidFill>
                    <a:schemeClr val="tx2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rPr>
                <a:t>Your Text Here</a:t>
              </a: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14297371" y="1677146"/>
              <a:ext cx="3396078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000" dirty="0">
                  <a:solidFill>
                    <a:schemeClr val="tx2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rPr>
                <a:t>A wonderful serenity has taken possession of my entire soul</a:t>
              </a:r>
            </a:p>
          </p:txBody>
        </p:sp>
      </p:grpSp>
      <p:grpSp>
        <p:nvGrpSpPr>
          <p:cNvPr id="49" name="Group 4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7960467" y="1708322"/>
            <a:ext cx="2122549" cy="776125"/>
            <a:chOff x="14297371" y="1174010"/>
            <a:chExt cx="3396078" cy="1241800"/>
          </a:xfrm>
        </p:grpSpPr>
        <p:sp>
          <p:nvSpPr>
            <p:cNvPr id="50" name="Rectangle 49"/>
            <p:cNvSpPr/>
            <p:nvPr/>
          </p:nvSpPr>
          <p:spPr>
            <a:xfrm>
              <a:off x="14297371" y="1174010"/>
              <a:ext cx="3262289" cy="4555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50" dirty="0">
                  <a:solidFill>
                    <a:schemeClr val="tx2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rPr>
                <a:t>Your Text Here</a:t>
              </a: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14297371" y="1677146"/>
              <a:ext cx="3396078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000" dirty="0">
                  <a:solidFill>
                    <a:schemeClr val="tx2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rPr>
                <a:t>A wonderful serenity has taken possession of my entire soul</a:t>
              </a:r>
            </a:p>
          </p:txBody>
        </p:sp>
      </p:grpSp>
      <p:grpSp>
        <p:nvGrpSpPr>
          <p:cNvPr id="52" name="Group 5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 flipH="1">
            <a:off x="4693858" y="3081773"/>
            <a:ext cx="2122549" cy="776125"/>
            <a:chOff x="14297371" y="1174010"/>
            <a:chExt cx="3396078" cy="1241800"/>
          </a:xfrm>
        </p:grpSpPr>
        <p:sp>
          <p:nvSpPr>
            <p:cNvPr id="53" name="Rectangle 52"/>
            <p:cNvSpPr/>
            <p:nvPr/>
          </p:nvSpPr>
          <p:spPr>
            <a:xfrm>
              <a:off x="14297371" y="1174010"/>
              <a:ext cx="3262289" cy="4555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US" sz="1250" dirty="0">
                  <a:solidFill>
                    <a:schemeClr val="tx2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rPr>
                <a:t>Your Text Here</a:t>
              </a:r>
            </a:p>
          </p:txBody>
        </p:sp>
        <p:sp>
          <p:nvSpPr>
            <p:cNvPr id="54" name="Rectangle 53"/>
            <p:cNvSpPr/>
            <p:nvPr/>
          </p:nvSpPr>
          <p:spPr>
            <a:xfrm>
              <a:off x="14297371" y="1677146"/>
              <a:ext cx="3396078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>
                <a:lnSpc>
                  <a:spcPct val="120000"/>
                </a:lnSpc>
              </a:pPr>
              <a:r>
                <a:rPr lang="en-US" sz="1000" dirty="0">
                  <a:solidFill>
                    <a:schemeClr val="tx2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rPr>
                <a:t>A wonderful serenity has taken possession of my entire soul</a:t>
              </a:r>
            </a:p>
          </p:txBody>
        </p:sp>
      </p:grpSp>
      <p:grpSp>
        <p:nvGrpSpPr>
          <p:cNvPr id="55" name="Group 5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9401120" y="3642397"/>
            <a:ext cx="2122549" cy="776125"/>
            <a:chOff x="14297371" y="1174010"/>
            <a:chExt cx="3396078" cy="1241800"/>
          </a:xfrm>
        </p:grpSpPr>
        <p:sp>
          <p:nvSpPr>
            <p:cNvPr id="56" name="Rectangle 55"/>
            <p:cNvSpPr/>
            <p:nvPr/>
          </p:nvSpPr>
          <p:spPr>
            <a:xfrm>
              <a:off x="14297371" y="1174010"/>
              <a:ext cx="3262289" cy="4555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50" dirty="0">
                  <a:solidFill>
                    <a:schemeClr val="tx2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rPr>
                <a:t>Your Text Here</a:t>
              </a:r>
            </a:p>
          </p:txBody>
        </p:sp>
        <p:sp>
          <p:nvSpPr>
            <p:cNvPr id="57" name="Rectangle 56"/>
            <p:cNvSpPr/>
            <p:nvPr/>
          </p:nvSpPr>
          <p:spPr>
            <a:xfrm>
              <a:off x="14297371" y="1677146"/>
              <a:ext cx="3396078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000" dirty="0">
                  <a:solidFill>
                    <a:schemeClr val="tx2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rPr>
                <a:t>A wonderful serenity has taken possession of my entire soul</a:t>
              </a:r>
            </a:p>
          </p:txBody>
        </p:sp>
      </p:grpSp>
      <p:grpSp>
        <p:nvGrpSpPr>
          <p:cNvPr id="58" name="Group 5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 flipH="1">
            <a:off x="6217300" y="5033148"/>
            <a:ext cx="2122549" cy="776125"/>
            <a:chOff x="14297371" y="1174010"/>
            <a:chExt cx="3396078" cy="1241800"/>
          </a:xfrm>
        </p:grpSpPr>
        <p:sp>
          <p:nvSpPr>
            <p:cNvPr id="59" name="Rectangle 58"/>
            <p:cNvSpPr/>
            <p:nvPr/>
          </p:nvSpPr>
          <p:spPr>
            <a:xfrm>
              <a:off x="14297371" y="1174010"/>
              <a:ext cx="3262289" cy="4555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US" sz="1250" dirty="0">
                  <a:solidFill>
                    <a:schemeClr val="tx2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rPr>
                <a:t>Your Text Here</a:t>
              </a: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14297371" y="1677146"/>
              <a:ext cx="3396078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>
                <a:lnSpc>
                  <a:spcPct val="120000"/>
                </a:lnSpc>
              </a:pPr>
              <a:r>
                <a:rPr lang="en-US" sz="1000" dirty="0">
                  <a:solidFill>
                    <a:schemeClr val="tx2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rPr>
                <a:t>A wonderful serenity has taken possession of my entire soul</a:t>
              </a:r>
            </a:p>
          </p:txBody>
        </p:sp>
      </p:grpSp>
      <p:sp>
        <p:nvSpPr>
          <p:cNvPr id="63" name="Freeform 2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7917177" y="1220899"/>
            <a:ext cx="368995" cy="374228"/>
          </a:xfrm>
          <a:custGeom>
            <a:avLst/>
            <a:gdLst>
              <a:gd name="T0" fmla="*/ 211227 w 497"/>
              <a:gd name="T1" fmla="*/ 3596 h 505"/>
              <a:gd name="T2" fmla="*/ 211227 w 497"/>
              <a:gd name="T3" fmla="*/ 3596 h 505"/>
              <a:gd name="T4" fmla="*/ 203571 w 497"/>
              <a:gd name="T5" fmla="*/ 0 h 505"/>
              <a:gd name="T6" fmla="*/ 199518 w 497"/>
              <a:gd name="T7" fmla="*/ 7642 h 505"/>
              <a:gd name="T8" fmla="*/ 171594 w 497"/>
              <a:gd name="T9" fmla="*/ 75521 h 505"/>
              <a:gd name="T10" fmla="*/ 167541 w 497"/>
              <a:gd name="T11" fmla="*/ 63384 h 505"/>
              <a:gd name="T12" fmla="*/ 155831 w 497"/>
              <a:gd name="T13" fmla="*/ 59338 h 505"/>
              <a:gd name="T14" fmla="*/ 119350 w 497"/>
              <a:gd name="T15" fmla="*/ 59338 h 505"/>
              <a:gd name="T16" fmla="*/ 108091 w 497"/>
              <a:gd name="T17" fmla="*/ 63384 h 505"/>
              <a:gd name="T18" fmla="*/ 4053 w 497"/>
              <a:gd name="T19" fmla="*/ 134859 h 505"/>
              <a:gd name="T20" fmla="*/ 4053 w 497"/>
              <a:gd name="T21" fmla="*/ 151042 h 505"/>
              <a:gd name="T22" fmla="*/ 47740 w 497"/>
              <a:gd name="T23" fmla="*/ 218472 h 505"/>
              <a:gd name="T24" fmla="*/ 63954 w 497"/>
              <a:gd name="T25" fmla="*/ 222518 h 505"/>
              <a:gd name="T26" fmla="*/ 167541 w 497"/>
              <a:gd name="T27" fmla="*/ 146997 h 505"/>
              <a:gd name="T28" fmla="*/ 175648 w 497"/>
              <a:gd name="T29" fmla="*/ 138905 h 505"/>
              <a:gd name="T30" fmla="*/ 187357 w 497"/>
              <a:gd name="T31" fmla="*/ 102943 h 505"/>
              <a:gd name="T32" fmla="*/ 183754 w 497"/>
              <a:gd name="T33" fmla="*/ 91255 h 505"/>
              <a:gd name="T34" fmla="*/ 179701 w 497"/>
              <a:gd name="T35" fmla="*/ 83163 h 505"/>
              <a:gd name="T36" fmla="*/ 211227 w 497"/>
              <a:gd name="T37" fmla="*/ 3596 h 505"/>
              <a:gd name="T38" fmla="*/ 163487 w 497"/>
              <a:gd name="T39" fmla="*/ 111034 h 505"/>
              <a:gd name="T40" fmla="*/ 163487 w 497"/>
              <a:gd name="T41" fmla="*/ 111034 h 505"/>
              <a:gd name="T42" fmla="*/ 139617 w 497"/>
              <a:gd name="T43" fmla="*/ 102943 h 505"/>
              <a:gd name="T44" fmla="*/ 143671 w 497"/>
              <a:gd name="T45" fmla="*/ 79117 h 505"/>
              <a:gd name="T46" fmla="*/ 163487 w 497"/>
              <a:gd name="T47" fmla="*/ 79117 h 505"/>
              <a:gd name="T48" fmla="*/ 159884 w 497"/>
              <a:gd name="T49" fmla="*/ 83163 h 505"/>
              <a:gd name="T50" fmla="*/ 155831 w 497"/>
              <a:gd name="T51" fmla="*/ 91255 h 505"/>
              <a:gd name="T52" fmla="*/ 159884 w 497"/>
              <a:gd name="T53" fmla="*/ 95301 h 505"/>
              <a:gd name="T54" fmla="*/ 163487 w 497"/>
              <a:gd name="T55" fmla="*/ 95301 h 505"/>
              <a:gd name="T56" fmla="*/ 171594 w 497"/>
              <a:gd name="T57" fmla="*/ 91255 h 505"/>
              <a:gd name="T58" fmla="*/ 163487 w 497"/>
              <a:gd name="T59" fmla="*/ 111034 h 505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497" h="505">
                <a:moveTo>
                  <a:pt x="469" y="8"/>
                </a:moveTo>
                <a:lnTo>
                  <a:pt x="469" y="8"/>
                </a:lnTo>
                <a:cubicBezTo>
                  <a:pt x="469" y="8"/>
                  <a:pt x="461" y="0"/>
                  <a:pt x="452" y="0"/>
                </a:cubicBezTo>
                <a:cubicBezTo>
                  <a:pt x="443" y="8"/>
                  <a:pt x="443" y="17"/>
                  <a:pt x="443" y="17"/>
                </a:cubicBezTo>
                <a:cubicBezTo>
                  <a:pt x="461" y="88"/>
                  <a:pt x="416" y="141"/>
                  <a:pt x="381" y="168"/>
                </a:cubicBezTo>
                <a:cubicBezTo>
                  <a:pt x="372" y="141"/>
                  <a:pt x="372" y="141"/>
                  <a:pt x="372" y="141"/>
                </a:cubicBezTo>
                <a:cubicBezTo>
                  <a:pt x="363" y="141"/>
                  <a:pt x="355" y="132"/>
                  <a:pt x="346" y="132"/>
                </a:cubicBezTo>
                <a:cubicBezTo>
                  <a:pt x="265" y="132"/>
                  <a:pt x="265" y="132"/>
                  <a:pt x="265" y="132"/>
                </a:cubicBezTo>
                <a:cubicBezTo>
                  <a:pt x="257" y="132"/>
                  <a:pt x="248" y="132"/>
                  <a:pt x="240" y="141"/>
                </a:cubicBezTo>
                <a:cubicBezTo>
                  <a:pt x="9" y="300"/>
                  <a:pt x="9" y="300"/>
                  <a:pt x="9" y="300"/>
                </a:cubicBezTo>
                <a:cubicBezTo>
                  <a:pt x="0" y="309"/>
                  <a:pt x="0" y="327"/>
                  <a:pt x="9" y="336"/>
                </a:cubicBezTo>
                <a:cubicBezTo>
                  <a:pt x="106" y="486"/>
                  <a:pt x="106" y="486"/>
                  <a:pt x="106" y="486"/>
                </a:cubicBezTo>
                <a:cubicBezTo>
                  <a:pt x="115" y="504"/>
                  <a:pt x="133" y="495"/>
                  <a:pt x="142" y="495"/>
                </a:cubicBezTo>
                <a:cubicBezTo>
                  <a:pt x="372" y="327"/>
                  <a:pt x="372" y="327"/>
                  <a:pt x="372" y="327"/>
                </a:cubicBezTo>
                <a:cubicBezTo>
                  <a:pt x="381" y="327"/>
                  <a:pt x="390" y="309"/>
                  <a:pt x="390" y="309"/>
                </a:cubicBezTo>
                <a:cubicBezTo>
                  <a:pt x="416" y="229"/>
                  <a:pt x="416" y="229"/>
                  <a:pt x="416" y="229"/>
                </a:cubicBezTo>
                <a:cubicBezTo>
                  <a:pt x="416" y="221"/>
                  <a:pt x="416" y="212"/>
                  <a:pt x="408" y="203"/>
                </a:cubicBezTo>
                <a:cubicBezTo>
                  <a:pt x="399" y="185"/>
                  <a:pt x="399" y="185"/>
                  <a:pt x="399" y="185"/>
                </a:cubicBezTo>
                <a:cubicBezTo>
                  <a:pt x="452" y="150"/>
                  <a:pt x="496" y="88"/>
                  <a:pt x="469" y="8"/>
                </a:cubicBezTo>
                <a:close/>
                <a:moveTo>
                  <a:pt x="363" y="247"/>
                </a:moveTo>
                <a:lnTo>
                  <a:pt x="363" y="247"/>
                </a:lnTo>
                <a:cubicBezTo>
                  <a:pt x="346" y="256"/>
                  <a:pt x="319" y="256"/>
                  <a:pt x="310" y="229"/>
                </a:cubicBezTo>
                <a:cubicBezTo>
                  <a:pt x="293" y="212"/>
                  <a:pt x="301" y="194"/>
                  <a:pt x="319" y="176"/>
                </a:cubicBezTo>
                <a:cubicBezTo>
                  <a:pt x="328" y="168"/>
                  <a:pt x="346" y="168"/>
                  <a:pt x="363" y="176"/>
                </a:cubicBezTo>
                <a:cubicBezTo>
                  <a:pt x="355" y="185"/>
                  <a:pt x="355" y="185"/>
                  <a:pt x="355" y="185"/>
                </a:cubicBezTo>
                <a:cubicBezTo>
                  <a:pt x="346" y="185"/>
                  <a:pt x="337" y="194"/>
                  <a:pt x="346" y="203"/>
                </a:cubicBezTo>
                <a:cubicBezTo>
                  <a:pt x="346" y="212"/>
                  <a:pt x="355" y="212"/>
                  <a:pt x="355" y="212"/>
                </a:cubicBezTo>
                <a:cubicBezTo>
                  <a:pt x="363" y="212"/>
                  <a:pt x="363" y="212"/>
                  <a:pt x="363" y="212"/>
                </a:cubicBezTo>
                <a:cubicBezTo>
                  <a:pt x="372" y="212"/>
                  <a:pt x="372" y="212"/>
                  <a:pt x="381" y="203"/>
                </a:cubicBezTo>
                <a:cubicBezTo>
                  <a:pt x="381" y="221"/>
                  <a:pt x="372" y="238"/>
                  <a:pt x="363" y="247"/>
                </a:cubicBezTo>
                <a:close/>
              </a:path>
            </a:pathLst>
          </a:custGeom>
          <a:gradFill>
            <a:gsLst>
              <a:gs pos="200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2700000" scaled="1"/>
          </a:gradFill>
          <a:ln>
            <a:noFill/>
          </a:ln>
          <a:effectLst/>
        </p:spPr>
        <p:txBody>
          <a:bodyPr wrap="none" lIns="21431" tIns="10716" rIns="21431" bIns="10716" anchor="ctr"/>
          <a:lstStyle/>
          <a:p>
            <a:endParaRPr lang="en-US" sz="1125" dirty="0">
              <a:solidFill>
                <a:schemeClr val="tx2"/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64" name="Freeform 2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4693859" y="732746"/>
            <a:ext cx="329739" cy="340207"/>
          </a:xfrm>
          <a:custGeom>
            <a:avLst/>
            <a:gdLst>
              <a:gd name="T0" fmla="*/ 111726 w 444"/>
              <a:gd name="T1" fmla="*/ 150538 h 462"/>
              <a:gd name="T2" fmla="*/ 111726 w 444"/>
              <a:gd name="T3" fmla="*/ 150538 h 462"/>
              <a:gd name="T4" fmla="*/ 144162 w 444"/>
              <a:gd name="T5" fmla="*/ 114802 h 462"/>
              <a:gd name="T6" fmla="*/ 199574 w 444"/>
              <a:gd name="T7" fmla="*/ 31716 h 462"/>
              <a:gd name="T8" fmla="*/ 191916 w 444"/>
              <a:gd name="T9" fmla="*/ 23675 h 462"/>
              <a:gd name="T10" fmla="*/ 155875 w 444"/>
              <a:gd name="T11" fmla="*/ 23675 h 462"/>
              <a:gd name="T12" fmla="*/ 100013 w 444"/>
              <a:gd name="T13" fmla="*/ 0 h 462"/>
              <a:gd name="T14" fmla="*/ 44150 w 444"/>
              <a:gd name="T15" fmla="*/ 23675 h 462"/>
              <a:gd name="T16" fmla="*/ 8109 w 444"/>
              <a:gd name="T17" fmla="*/ 23675 h 462"/>
              <a:gd name="T18" fmla="*/ 0 w 444"/>
              <a:gd name="T19" fmla="*/ 31716 h 462"/>
              <a:gd name="T20" fmla="*/ 55863 w 444"/>
              <a:gd name="T21" fmla="*/ 114802 h 462"/>
              <a:gd name="T22" fmla="*/ 87849 w 444"/>
              <a:gd name="T23" fmla="*/ 150538 h 462"/>
              <a:gd name="T24" fmla="*/ 87849 w 444"/>
              <a:gd name="T25" fmla="*/ 166172 h 462"/>
              <a:gd name="T26" fmla="*/ 48204 w 444"/>
              <a:gd name="T27" fmla="*/ 185827 h 462"/>
              <a:gd name="T28" fmla="*/ 100013 w 444"/>
              <a:gd name="T29" fmla="*/ 205928 h 462"/>
              <a:gd name="T30" fmla="*/ 147766 w 444"/>
              <a:gd name="T31" fmla="*/ 185827 h 462"/>
              <a:gd name="T32" fmla="*/ 111726 w 444"/>
              <a:gd name="T33" fmla="*/ 166172 h 462"/>
              <a:gd name="T34" fmla="*/ 111726 w 444"/>
              <a:gd name="T35" fmla="*/ 150538 h 462"/>
              <a:gd name="T36" fmla="*/ 144162 w 444"/>
              <a:gd name="T37" fmla="*/ 94700 h 462"/>
              <a:gd name="T38" fmla="*/ 144162 w 444"/>
              <a:gd name="T39" fmla="*/ 94700 h 462"/>
              <a:gd name="T40" fmla="*/ 155875 w 444"/>
              <a:gd name="T41" fmla="*/ 39756 h 462"/>
              <a:gd name="T42" fmla="*/ 183807 w 444"/>
              <a:gd name="T43" fmla="*/ 39756 h 462"/>
              <a:gd name="T44" fmla="*/ 144162 w 444"/>
              <a:gd name="T45" fmla="*/ 94700 h 462"/>
              <a:gd name="T46" fmla="*/ 100013 w 444"/>
              <a:gd name="T47" fmla="*/ 16081 h 462"/>
              <a:gd name="T48" fmla="*/ 100013 w 444"/>
              <a:gd name="T49" fmla="*/ 16081 h 462"/>
              <a:gd name="T50" fmla="*/ 144162 w 444"/>
              <a:gd name="T51" fmla="*/ 31716 h 462"/>
              <a:gd name="T52" fmla="*/ 100013 w 444"/>
              <a:gd name="T53" fmla="*/ 51370 h 462"/>
              <a:gd name="T54" fmla="*/ 55863 w 444"/>
              <a:gd name="T55" fmla="*/ 31716 h 462"/>
              <a:gd name="T56" fmla="*/ 100013 w 444"/>
              <a:gd name="T57" fmla="*/ 16081 h 462"/>
              <a:gd name="T58" fmla="*/ 16218 w 444"/>
              <a:gd name="T59" fmla="*/ 39756 h 462"/>
              <a:gd name="T60" fmla="*/ 16218 w 444"/>
              <a:gd name="T61" fmla="*/ 39756 h 462"/>
              <a:gd name="T62" fmla="*/ 44150 w 444"/>
              <a:gd name="T63" fmla="*/ 39756 h 462"/>
              <a:gd name="T64" fmla="*/ 55863 w 444"/>
              <a:gd name="T65" fmla="*/ 94700 h 462"/>
              <a:gd name="T66" fmla="*/ 16218 w 444"/>
              <a:gd name="T67" fmla="*/ 39756 h 46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442" h="462">
                <a:moveTo>
                  <a:pt x="248" y="337"/>
                </a:moveTo>
                <a:lnTo>
                  <a:pt x="248" y="337"/>
                </a:lnTo>
                <a:cubicBezTo>
                  <a:pt x="248" y="302"/>
                  <a:pt x="275" y="283"/>
                  <a:pt x="320" y="257"/>
                </a:cubicBezTo>
                <a:cubicBezTo>
                  <a:pt x="373" y="221"/>
                  <a:pt x="443" y="177"/>
                  <a:pt x="443" y="71"/>
                </a:cubicBezTo>
                <a:cubicBezTo>
                  <a:pt x="443" y="62"/>
                  <a:pt x="434" y="53"/>
                  <a:pt x="426" y="53"/>
                </a:cubicBezTo>
                <a:cubicBezTo>
                  <a:pt x="346" y="53"/>
                  <a:pt x="346" y="53"/>
                  <a:pt x="346" y="53"/>
                </a:cubicBezTo>
                <a:cubicBezTo>
                  <a:pt x="328" y="27"/>
                  <a:pt x="293" y="0"/>
                  <a:pt x="222" y="0"/>
                </a:cubicBezTo>
                <a:cubicBezTo>
                  <a:pt x="151" y="0"/>
                  <a:pt x="116" y="27"/>
                  <a:pt x="98" y="53"/>
                </a:cubicBezTo>
                <a:cubicBezTo>
                  <a:pt x="18" y="53"/>
                  <a:pt x="18" y="53"/>
                  <a:pt x="18" y="53"/>
                </a:cubicBezTo>
                <a:cubicBezTo>
                  <a:pt x="9" y="53"/>
                  <a:pt x="0" y="62"/>
                  <a:pt x="0" y="71"/>
                </a:cubicBezTo>
                <a:cubicBezTo>
                  <a:pt x="0" y="177"/>
                  <a:pt x="62" y="221"/>
                  <a:pt x="124" y="257"/>
                </a:cubicBezTo>
                <a:cubicBezTo>
                  <a:pt x="169" y="283"/>
                  <a:pt x="195" y="302"/>
                  <a:pt x="195" y="337"/>
                </a:cubicBezTo>
                <a:cubicBezTo>
                  <a:pt x="195" y="372"/>
                  <a:pt x="195" y="372"/>
                  <a:pt x="195" y="372"/>
                </a:cubicBezTo>
                <a:cubicBezTo>
                  <a:pt x="142" y="381"/>
                  <a:pt x="107" y="399"/>
                  <a:pt x="107" y="416"/>
                </a:cubicBezTo>
                <a:cubicBezTo>
                  <a:pt x="107" y="443"/>
                  <a:pt x="160" y="461"/>
                  <a:pt x="222" y="461"/>
                </a:cubicBezTo>
                <a:cubicBezTo>
                  <a:pt x="283" y="461"/>
                  <a:pt x="328" y="443"/>
                  <a:pt x="328" y="416"/>
                </a:cubicBezTo>
                <a:cubicBezTo>
                  <a:pt x="328" y="399"/>
                  <a:pt x="302" y="381"/>
                  <a:pt x="248" y="372"/>
                </a:cubicBezTo>
                <a:lnTo>
                  <a:pt x="248" y="337"/>
                </a:lnTo>
                <a:close/>
                <a:moveTo>
                  <a:pt x="320" y="212"/>
                </a:moveTo>
                <a:lnTo>
                  <a:pt x="320" y="212"/>
                </a:lnTo>
                <a:cubicBezTo>
                  <a:pt x="337" y="186"/>
                  <a:pt x="346" y="142"/>
                  <a:pt x="346" y="89"/>
                </a:cubicBezTo>
                <a:cubicBezTo>
                  <a:pt x="408" y="89"/>
                  <a:pt x="408" y="89"/>
                  <a:pt x="408" y="89"/>
                </a:cubicBezTo>
                <a:cubicBezTo>
                  <a:pt x="399" y="151"/>
                  <a:pt x="364" y="186"/>
                  <a:pt x="320" y="212"/>
                </a:cubicBezTo>
                <a:close/>
                <a:moveTo>
                  <a:pt x="222" y="36"/>
                </a:moveTo>
                <a:lnTo>
                  <a:pt x="222" y="36"/>
                </a:lnTo>
                <a:cubicBezTo>
                  <a:pt x="293" y="36"/>
                  <a:pt x="320" y="62"/>
                  <a:pt x="320" y="71"/>
                </a:cubicBezTo>
                <a:cubicBezTo>
                  <a:pt x="320" y="80"/>
                  <a:pt x="293" y="106"/>
                  <a:pt x="222" y="115"/>
                </a:cubicBezTo>
                <a:cubicBezTo>
                  <a:pt x="151" y="106"/>
                  <a:pt x="124" y="80"/>
                  <a:pt x="124" y="71"/>
                </a:cubicBezTo>
                <a:cubicBezTo>
                  <a:pt x="124" y="62"/>
                  <a:pt x="151" y="36"/>
                  <a:pt x="222" y="36"/>
                </a:cubicBezTo>
                <a:close/>
                <a:moveTo>
                  <a:pt x="36" y="89"/>
                </a:moveTo>
                <a:lnTo>
                  <a:pt x="36" y="89"/>
                </a:lnTo>
                <a:cubicBezTo>
                  <a:pt x="98" y="89"/>
                  <a:pt x="98" y="89"/>
                  <a:pt x="98" y="89"/>
                </a:cubicBezTo>
                <a:cubicBezTo>
                  <a:pt x="98" y="142"/>
                  <a:pt x="107" y="186"/>
                  <a:pt x="124" y="212"/>
                </a:cubicBezTo>
                <a:cubicBezTo>
                  <a:pt x="80" y="186"/>
                  <a:pt x="36" y="151"/>
                  <a:pt x="36" y="89"/>
                </a:cubicBezTo>
                <a:close/>
              </a:path>
            </a:pathLst>
          </a:custGeom>
          <a:gradFill>
            <a:gsLst>
              <a:gs pos="2000">
                <a:schemeClr val="accent1"/>
              </a:gs>
              <a:gs pos="100000">
                <a:schemeClr val="accent1">
                  <a:lumMod val="75000"/>
                </a:schemeClr>
              </a:gs>
            </a:gsLst>
            <a:lin ang="2700000" scaled="1"/>
          </a:gradFill>
          <a:ln>
            <a:noFill/>
          </a:ln>
          <a:effectLst/>
        </p:spPr>
        <p:txBody>
          <a:bodyPr wrap="none" lIns="21431" tIns="10716" rIns="21431" bIns="10716" anchor="ctr"/>
          <a:lstStyle/>
          <a:p>
            <a:endParaRPr lang="en-US" sz="1125" dirty="0">
              <a:solidFill>
                <a:schemeClr val="tx2"/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65" name="Freeform 7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9411132" y="3194543"/>
            <a:ext cx="353293" cy="355908"/>
          </a:xfrm>
          <a:custGeom>
            <a:avLst/>
            <a:gdLst>
              <a:gd name="T0" fmla="*/ 106933 w 479"/>
              <a:gd name="T1" fmla="*/ 0 h 479"/>
              <a:gd name="T2" fmla="*/ 106933 w 479"/>
              <a:gd name="T3" fmla="*/ 0 h 479"/>
              <a:gd name="T4" fmla="*/ 0 w 479"/>
              <a:gd name="T5" fmla="*/ 107725 h 479"/>
              <a:gd name="T6" fmla="*/ 106933 w 479"/>
              <a:gd name="T7" fmla="*/ 215449 h 479"/>
              <a:gd name="T8" fmla="*/ 213866 w 479"/>
              <a:gd name="T9" fmla="*/ 107725 h 479"/>
              <a:gd name="T10" fmla="*/ 106933 w 479"/>
              <a:gd name="T11" fmla="*/ 0 h 479"/>
              <a:gd name="T12" fmla="*/ 198206 w 479"/>
              <a:gd name="T13" fmla="*/ 107725 h 479"/>
              <a:gd name="T14" fmla="*/ 198206 w 479"/>
              <a:gd name="T15" fmla="*/ 107725 h 479"/>
              <a:gd name="T16" fmla="*/ 178520 w 479"/>
              <a:gd name="T17" fmla="*/ 163615 h 479"/>
              <a:gd name="T18" fmla="*/ 174493 w 479"/>
              <a:gd name="T19" fmla="*/ 147840 h 479"/>
              <a:gd name="T20" fmla="*/ 178520 w 479"/>
              <a:gd name="T21" fmla="*/ 115838 h 479"/>
              <a:gd name="T22" fmla="*/ 166439 w 479"/>
              <a:gd name="T23" fmla="*/ 91949 h 479"/>
              <a:gd name="T24" fmla="*/ 142726 w 479"/>
              <a:gd name="T25" fmla="*/ 80230 h 479"/>
              <a:gd name="T26" fmla="*/ 154806 w 479"/>
              <a:gd name="T27" fmla="*/ 39664 h 479"/>
              <a:gd name="T28" fmla="*/ 131093 w 479"/>
              <a:gd name="T29" fmla="*/ 27945 h 479"/>
              <a:gd name="T30" fmla="*/ 134673 w 479"/>
              <a:gd name="T31" fmla="*/ 23889 h 479"/>
              <a:gd name="T32" fmla="*/ 198206 w 479"/>
              <a:gd name="T33" fmla="*/ 107725 h 479"/>
              <a:gd name="T34" fmla="*/ 94853 w 479"/>
              <a:gd name="T35" fmla="*/ 19832 h 479"/>
              <a:gd name="T36" fmla="*/ 94853 w 479"/>
              <a:gd name="T37" fmla="*/ 19832 h 479"/>
              <a:gd name="T38" fmla="*/ 83220 w 479"/>
              <a:gd name="T39" fmla="*/ 27945 h 479"/>
              <a:gd name="T40" fmla="*/ 67113 w 479"/>
              <a:gd name="T41" fmla="*/ 39664 h 479"/>
              <a:gd name="T42" fmla="*/ 51453 w 479"/>
              <a:gd name="T43" fmla="*/ 59947 h 479"/>
              <a:gd name="T44" fmla="*/ 59507 w 479"/>
              <a:gd name="T45" fmla="*/ 71666 h 479"/>
              <a:gd name="T46" fmla="*/ 79193 w 479"/>
              <a:gd name="T47" fmla="*/ 71666 h 479"/>
              <a:gd name="T48" fmla="*/ 110960 w 479"/>
              <a:gd name="T49" fmla="*/ 107725 h 479"/>
              <a:gd name="T50" fmla="*/ 83220 w 479"/>
              <a:gd name="T51" fmla="*/ 131613 h 479"/>
              <a:gd name="T52" fmla="*/ 79193 w 479"/>
              <a:gd name="T53" fmla="*/ 151896 h 479"/>
              <a:gd name="T54" fmla="*/ 79193 w 479"/>
              <a:gd name="T55" fmla="*/ 175785 h 479"/>
              <a:gd name="T56" fmla="*/ 59507 w 479"/>
              <a:gd name="T57" fmla="*/ 155502 h 479"/>
              <a:gd name="T58" fmla="*/ 55480 w 479"/>
              <a:gd name="T59" fmla="*/ 128008 h 479"/>
              <a:gd name="T60" fmla="*/ 39373 w 479"/>
              <a:gd name="T61" fmla="*/ 107725 h 479"/>
              <a:gd name="T62" fmla="*/ 47426 w 479"/>
              <a:gd name="T63" fmla="*/ 83836 h 479"/>
              <a:gd name="T64" fmla="*/ 23713 w 479"/>
              <a:gd name="T65" fmla="*/ 76173 h 479"/>
              <a:gd name="T66" fmla="*/ 94853 w 479"/>
              <a:gd name="T67" fmla="*/ 19832 h 479"/>
              <a:gd name="T68" fmla="*/ 79193 w 479"/>
              <a:gd name="T69" fmla="*/ 195617 h 479"/>
              <a:gd name="T70" fmla="*/ 79193 w 479"/>
              <a:gd name="T71" fmla="*/ 195617 h 479"/>
              <a:gd name="T72" fmla="*/ 91273 w 479"/>
              <a:gd name="T73" fmla="*/ 187504 h 479"/>
              <a:gd name="T74" fmla="*/ 106933 w 479"/>
              <a:gd name="T75" fmla="*/ 183447 h 479"/>
              <a:gd name="T76" fmla="*/ 131093 w 479"/>
              <a:gd name="T77" fmla="*/ 175785 h 479"/>
              <a:gd name="T78" fmla="*/ 158386 w 479"/>
              <a:gd name="T79" fmla="*/ 183447 h 479"/>
              <a:gd name="T80" fmla="*/ 106933 w 479"/>
              <a:gd name="T81" fmla="*/ 199674 h 479"/>
              <a:gd name="T82" fmla="*/ 79193 w 479"/>
              <a:gd name="T83" fmla="*/ 195617 h 479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479" h="479">
                <a:moveTo>
                  <a:pt x="239" y="0"/>
                </a:moveTo>
                <a:lnTo>
                  <a:pt x="239" y="0"/>
                </a:lnTo>
                <a:cubicBezTo>
                  <a:pt x="106" y="0"/>
                  <a:pt x="0" y="106"/>
                  <a:pt x="0" y="239"/>
                </a:cubicBezTo>
                <a:cubicBezTo>
                  <a:pt x="0" y="372"/>
                  <a:pt x="106" y="478"/>
                  <a:pt x="239" y="478"/>
                </a:cubicBezTo>
                <a:cubicBezTo>
                  <a:pt x="372" y="478"/>
                  <a:pt x="478" y="372"/>
                  <a:pt x="478" y="239"/>
                </a:cubicBezTo>
                <a:cubicBezTo>
                  <a:pt x="478" y="106"/>
                  <a:pt x="372" y="0"/>
                  <a:pt x="239" y="0"/>
                </a:cubicBezTo>
                <a:close/>
                <a:moveTo>
                  <a:pt x="443" y="239"/>
                </a:moveTo>
                <a:lnTo>
                  <a:pt x="443" y="239"/>
                </a:lnTo>
                <a:cubicBezTo>
                  <a:pt x="443" y="292"/>
                  <a:pt x="425" y="328"/>
                  <a:pt x="399" y="363"/>
                </a:cubicBezTo>
                <a:cubicBezTo>
                  <a:pt x="390" y="363"/>
                  <a:pt x="381" y="345"/>
                  <a:pt x="390" y="328"/>
                </a:cubicBezTo>
                <a:cubicBezTo>
                  <a:pt x="399" y="310"/>
                  <a:pt x="399" y="275"/>
                  <a:pt x="399" y="257"/>
                </a:cubicBezTo>
                <a:cubicBezTo>
                  <a:pt x="399" y="239"/>
                  <a:pt x="390" y="204"/>
                  <a:pt x="372" y="204"/>
                </a:cubicBezTo>
                <a:cubicBezTo>
                  <a:pt x="346" y="204"/>
                  <a:pt x="337" y="204"/>
                  <a:pt x="319" y="178"/>
                </a:cubicBezTo>
                <a:cubicBezTo>
                  <a:pt x="301" y="124"/>
                  <a:pt x="372" y="115"/>
                  <a:pt x="346" y="88"/>
                </a:cubicBezTo>
                <a:cubicBezTo>
                  <a:pt x="337" y="80"/>
                  <a:pt x="301" y="115"/>
                  <a:pt x="293" y="62"/>
                </a:cubicBezTo>
                <a:lnTo>
                  <a:pt x="301" y="53"/>
                </a:lnTo>
                <a:cubicBezTo>
                  <a:pt x="381" y="80"/>
                  <a:pt x="443" y="150"/>
                  <a:pt x="443" y="239"/>
                </a:cubicBezTo>
                <a:close/>
                <a:moveTo>
                  <a:pt x="212" y="44"/>
                </a:moveTo>
                <a:lnTo>
                  <a:pt x="212" y="44"/>
                </a:lnTo>
                <a:cubicBezTo>
                  <a:pt x="204" y="53"/>
                  <a:pt x="194" y="53"/>
                  <a:pt x="186" y="62"/>
                </a:cubicBezTo>
                <a:cubicBezTo>
                  <a:pt x="168" y="80"/>
                  <a:pt x="159" y="71"/>
                  <a:pt x="150" y="88"/>
                </a:cubicBezTo>
                <a:cubicBezTo>
                  <a:pt x="141" y="106"/>
                  <a:pt x="115" y="124"/>
                  <a:pt x="115" y="133"/>
                </a:cubicBezTo>
                <a:cubicBezTo>
                  <a:pt x="115" y="142"/>
                  <a:pt x="133" y="159"/>
                  <a:pt x="133" y="159"/>
                </a:cubicBezTo>
                <a:cubicBezTo>
                  <a:pt x="141" y="150"/>
                  <a:pt x="159" y="150"/>
                  <a:pt x="177" y="159"/>
                </a:cubicBezTo>
                <a:cubicBezTo>
                  <a:pt x="186" y="159"/>
                  <a:pt x="275" y="169"/>
                  <a:pt x="248" y="239"/>
                </a:cubicBezTo>
                <a:cubicBezTo>
                  <a:pt x="239" y="266"/>
                  <a:pt x="194" y="257"/>
                  <a:pt x="186" y="292"/>
                </a:cubicBezTo>
                <a:cubicBezTo>
                  <a:pt x="186" y="301"/>
                  <a:pt x="186" y="328"/>
                  <a:pt x="177" y="337"/>
                </a:cubicBezTo>
                <a:cubicBezTo>
                  <a:pt x="177" y="345"/>
                  <a:pt x="186" y="390"/>
                  <a:pt x="177" y="390"/>
                </a:cubicBezTo>
                <a:cubicBezTo>
                  <a:pt x="168" y="390"/>
                  <a:pt x="133" y="345"/>
                  <a:pt x="133" y="345"/>
                </a:cubicBezTo>
                <a:cubicBezTo>
                  <a:pt x="133" y="337"/>
                  <a:pt x="124" y="310"/>
                  <a:pt x="124" y="284"/>
                </a:cubicBezTo>
                <a:cubicBezTo>
                  <a:pt x="124" y="266"/>
                  <a:pt x="88" y="266"/>
                  <a:pt x="88" y="239"/>
                </a:cubicBezTo>
                <a:cubicBezTo>
                  <a:pt x="88" y="213"/>
                  <a:pt x="106" y="195"/>
                  <a:pt x="106" y="186"/>
                </a:cubicBezTo>
                <a:cubicBezTo>
                  <a:pt x="97" y="169"/>
                  <a:pt x="62" y="169"/>
                  <a:pt x="53" y="169"/>
                </a:cubicBezTo>
                <a:cubicBezTo>
                  <a:pt x="80" y="97"/>
                  <a:pt x="141" y="53"/>
                  <a:pt x="212" y="44"/>
                </a:cubicBezTo>
                <a:close/>
                <a:moveTo>
                  <a:pt x="177" y="434"/>
                </a:moveTo>
                <a:lnTo>
                  <a:pt x="177" y="434"/>
                </a:lnTo>
                <a:cubicBezTo>
                  <a:pt x="186" y="425"/>
                  <a:pt x="186" y="416"/>
                  <a:pt x="204" y="416"/>
                </a:cubicBezTo>
                <a:cubicBezTo>
                  <a:pt x="212" y="416"/>
                  <a:pt x="221" y="416"/>
                  <a:pt x="239" y="407"/>
                </a:cubicBezTo>
                <a:cubicBezTo>
                  <a:pt x="248" y="407"/>
                  <a:pt x="275" y="398"/>
                  <a:pt x="293" y="390"/>
                </a:cubicBezTo>
                <a:cubicBezTo>
                  <a:pt x="310" y="390"/>
                  <a:pt x="346" y="398"/>
                  <a:pt x="354" y="407"/>
                </a:cubicBezTo>
                <a:cubicBezTo>
                  <a:pt x="319" y="434"/>
                  <a:pt x="284" y="443"/>
                  <a:pt x="239" y="443"/>
                </a:cubicBezTo>
                <a:cubicBezTo>
                  <a:pt x="221" y="443"/>
                  <a:pt x="194" y="443"/>
                  <a:pt x="177" y="434"/>
                </a:cubicBezTo>
                <a:close/>
              </a:path>
            </a:pathLst>
          </a:custGeom>
          <a:gradFill>
            <a:gsLst>
              <a:gs pos="200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2700000" scaled="1"/>
          </a:gradFill>
          <a:ln>
            <a:noFill/>
          </a:ln>
          <a:effectLst/>
        </p:spPr>
        <p:txBody>
          <a:bodyPr wrap="none" lIns="21431" tIns="10716" rIns="21431" bIns="10716" anchor="ctr"/>
          <a:lstStyle/>
          <a:p>
            <a:endParaRPr lang="en-US" sz="1125" dirty="0">
              <a:solidFill>
                <a:schemeClr val="tx2"/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66" name="Freeform 11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7911113" y="4563037"/>
            <a:ext cx="368995" cy="329739"/>
          </a:xfrm>
          <a:custGeom>
            <a:avLst/>
            <a:gdLst>
              <a:gd name="T0" fmla="*/ 199518 w 497"/>
              <a:gd name="T1" fmla="*/ 31535 h 444"/>
              <a:gd name="T2" fmla="*/ 199518 w 497"/>
              <a:gd name="T3" fmla="*/ 31535 h 444"/>
              <a:gd name="T4" fmla="*/ 191861 w 497"/>
              <a:gd name="T5" fmla="*/ 31535 h 444"/>
              <a:gd name="T6" fmla="*/ 191861 w 497"/>
              <a:gd name="T7" fmla="*/ 199574 h 444"/>
              <a:gd name="T8" fmla="*/ 199518 w 497"/>
              <a:gd name="T9" fmla="*/ 199574 h 444"/>
              <a:gd name="T10" fmla="*/ 223388 w 497"/>
              <a:gd name="T11" fmla="*/ 179302 h 444"/>
              <a:gd name="T12" fmla="*/ 223388 w 497"/>
              <a:gd name="T13" fmla="*/ 55863 h 444"/>
              <a:gd name="T14" fmla="*/ 199518 w 497"/>
              <a:gd name="T15" fmla="*/ 31535 h 444"/>
              <a:gd name="T16" fmla="*/ 0 w 497"/>
              <a:gd name="T17" fmla="*/ 55863 h 444"/>
              <a:gd name="T18" fmla="*/ 0 w 497"/>
              <a:gd name="T19" fmla="*/ 55863 h 444"/>
              <a:gd name="T20" fmla="*/ 0 w 497"/>
              <a:gd name="T21" fmla="*/ 179302 h 444"/>
              <a:gd name="T22" fmla="*/ 23870 w 497"/>
              <a:gd name="T23" fmla="*/ 199574 h 444"/>
              <a:gd name="T24" fmla="*/ 31977 w 497"/>
              <a:gd name="T25" fmla="*/ 199574 h 444"/>
              <a:gd name="T26" fmla="*/ 31977 w 497"/>
              <a:gd name="T27" fmla="*/ 31535 h 444"/>
              <a:gd name="T28" fmla="*/ 23870 w 497"/>
              <a:gd name="T29" fmla="*/ 31535 h 444"/>
              <a:gd name="T30" fmla="*/ 0 w 497"/>
              <a:gd name="T31" fmla="*/ 55863 h 444"/>
              <a:gd name="T32" fmla="*/ 151777 w 497"/>
              <a:gd name="T33" fmla="*/ 11713 h 444"/>
              <a:gd name="T34" fmla="*/ 151777 w 497"/>
              <a:gd name="T35" fmla="*/ 11713 h 444"/>
              <a:gd name="T36" fmla="*/ 111694 w 497"/>
              <a:gd name="T37" fmla="*/ 0 h 444"/>
              <a:gd name="T38" fmla="*/ 72061 w 497"/>
              <a:gd name="T39" fmla="*/ 11713 h 444"/>
              <a:gd name="T40" fmla="*/ 72061 w 497"/>
              <a:gd name="T41" fmla="*/ 31535 h 444"/>
              <a:gd name="T42" fmla="*/ 48190 w 497"/>
              <a:gd name="T43" fmla="*/ 31535 h 444"/>
              <a:gd name="T44" fmla="*/ 48190 w 497"/>
              <a:gd name="T45" fmla="*/ 199574 h 444"/>
              <a:gd name="T46" fmla="*/ 175648 w 497"/>
              <a:gd name="T47" fmla="*/ 199574 h 444"/>
              <a:gd name="T48" fmla="*/ 175648 w 497"/>
              <a:gd name="T49" fmla="*/ 31535 h 444"/>
              <a:gd name="T50" fmla="*/ 151777 w 497"/>
              <a:gd name="T51" fmla="*/ 31535 h 444"/>
              <a:gd name="T52" fmla="*/ 151777 w 497"/>
              <a:gd name="T53" fmla="*/ 11713 h 444"/>
              <a:gd name="T54" fmla="*/ 135564 w 497"/>
              <a:gd name="T55" fmla="*/ 31535 h 444"/>
              <a:gd name="T56" fmla="*/ 135564 w 497"/>
              <a:gd name="T57" fmla="*/ 31535 h 444"/>
              <a:gd name="T58" fmla="*/ 87824 w 497"/>
              <a:gd name="T59" fmla="*/ 31535 h 444"/>
              <a:gd name="T60" fmla="*/ 87824 w 497"/>
              <a:gd name="T61" fmla="*/ 19822 h 444"/>
              <a:gd name="T62" fmla="*/ 111694 w 497"/>
              <a:gd name="T63" fmla="*/ 11713 h 444"/>
              <a:gd name="T64" fmla="*/ 135564 w 497"/>
              <a:gd name="T65" fmla="*/ 19822 h 444"/>
              <a:gd name="T66" fmla="*/ 135564 w 497"/>
              <a:gd name="T67" fmla="*/ 31535 h 444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497" h="442">
                <a:moveTo>
                  <a:pt x="443" y="70"/>
                </a:moveTo>
                <a:lnTo>
                  <a:pt x="443" y="70"/>
                </a:lnTo>
                <a:cubicBezTo>
                  <a:pt x="426" y="70"/>
                  <a:pt x="426" y="70"/>
                  <a:pt x="426" y="70"/>
                </a:cubicBezTo>
                <a:cubicBezTo>
                  <a:pt x="426" y="443"/>
                  <a:pt x="426" y="443"/>
                  <a:pt x="426" y="443"/>
                </a:cubicBezTo>
                <a:cubicBezTo>
                  <a:pt x="443" y="443"/>
                  <a:pt x="443" y="443"/>
                  <a:pt x="443" y="443"/>
                </a:cubicBezTo>
                <a:cubicBezTo>
                  <a:pt x="479" y="443"/>
                  <a:pt x="496" y="425"/>
                  <a:pt x="496" y="398"/>
                </a:cubicBezTo>
                <a:cubicBezTo>
                  <a:pt x="496" y="124"/>
                  <a:pt x="496" y="124"/>
                  <a:pt x="496" y="124"/>
                </a:cubicBezTo>
                <a:cubicBezTo>
                  <a:pt x="496" y="97"/>
                  <a:pt x="479" y="70"/>
                  <a:pt x="443" y="70"/>
                </a:cubicBezTo>
                <a:close/>
                <a:moveTo>
                  <a:pt x="0" y="124"/>
                </a:moveTo>
                <a:lnTo>
                  <a:pt x="0" y="124"/>
                </a:lnTo>
                <a:cubicBezTo>
                  <a:pt x="0" y="398"/>
                  <a:pt x="0" y="398"/>
                  <a:pt x="0" y="398"/>
                </a:cubicBezTo>
                <a:cubicBezTo>
                  <a:pt x="0" y="425"/>
                  <a:pt x="26" y="443"/>
                  <a:pt x="53" y="443"/>
                </a:cubicBezTo>
                <a:cubicBezTo>
                  <a:pt x="71" y="443"/>
                  <a:pt x="71" y="443"/>
                  <a:pt x="71" y="443"/>
                </a:cubicBezTo>
                <a:cubicBezTo>
                  <a:pt x="71" y="70"/>
                  <a:pt x="71" y="70"/>
                  <a:pt x="71" y="70"/>
                </a:cubicBezTo>
                <a:cubicBezTo>
                  <a:pt x="53" y="70"/>
                  <a:pt x="53" y="70"/>
                  <a:pt x="53" y="70"/>
                </a:cubicBezTo>
                <a:cubicBezTo>
                  <a:pt x="26" y="70"/>
                  <a:pt x="0" y="97"/>
                  <a:pt x="0" y="124"/>
                </a:cubicBezTo>
                <a:close/>
                <a:moveTo>
                  <a:pt x="337" y="26"/>
                </a:moveTo>
                <a:lnTo>
                  <a:pt x="337" y="26"/>
                </a:lnTo>
                <a:cubicBezTo>
                  <a:pt x="319" y="17"/>
                  <a:pt x="292" y="0"/>
                  <a:pt x="248" y="0"/>
                </a:cubicBezTo>
                <a:cubicBezTo>
                  <a:pt x="204" y="0"/>
                  <a:pt x="177" y="17"/>
                  <a:pt x="160" y="26"/>
                </a:cubicBezTo>
                <a:cubicBezTo>
                  <a:pt x="160" y="70"/>
                  <a:pt x="160" y="70"/>
                  <a:pt x="160" y="70"/>
                </a:cubicBezTo>
                <a:cubicBezTo>
                  <a:pt x="107" y="70"/>
                  <a:pt x="107" y="70"/>
                  <a:pt x="107" y="70"/>
                </a:cubicBezTo>
                <a:cubicBezTo>
                  <a:pt x="107" y="443"/>
                  <a:pt x="107" y="443"/>
                  <a:pt x="107" y="443"/>
                </a:cubicBezTo>
                <a:cubicBezTo>
                  <a:pt x="390" y="443"/>
                  <a:pt x="390" y="443"/>
                  <a:pt x="390" y="443"/>
                </a:cubicBezTo>
                <a:cubicBezTo>
                  <a:pt x="390" y="70"/>
                  <a:pt x="390" y="70"/>
                  <a:pt x="390" y="70"/>
                </a:cubicBezTo>
                <a:cubicBezTo>
                  <a:pt x="337" y="70"/>
                  <a:pt x="337" y="70"/>
                  <a:pt x="337" y="70"/>
                </a:cubicBezTo>
                <a:lnTo>
                  <a:pt x="337" y="26"/>
                </a:lnTo>
                <a:close/>
                <a:moveTo>
                  <a:pt x="301" y="70"/>
                </a:moveTo>
                <a:lnTo>
                  <a:pt x="301" y="70"/>
                </a:lnTo>
                <a:cubicBezTo>
                  <a:pt x="195" y="70"/>
                  <a:pt x="195" y="70"/>
                  <a:pt x="195" y="70"/>
                </a:cubicBezTo>
                <a:cubicBezTo>
                  <a:pt x="195" y="44"/>
                  <a:pt x="195" y="44"/>
                  <a:pt x="195" y="44"/>
                </a:cubicBezTo>
                <a:cubicBezTo>
                  <a:pt x="204" y="35"/>
                  <a:pt x="222" y="26"/>
                  <a:pt x="248" y="26"/>
                </a:cubicBezTo>
                <a:cubicBezTo>
                  <a:pt x="275" y="26"/>
                  <a:pt x="292" y="35"/>
                  <a:pt x="301" y="44"/>
                </a:cubicBezTo>
                <a:lnTo>
                  <a:pt x="301" y="70"/>
                </a:lnTo>
                <a:close/>
              </a:path>
            </a:pathLst>
          </a:custGeom>
          <a:gradFill>
            <a:gsLst>
              <a:gs pos="2000">
                <a:schemeClr val="accent5"/>
              </a:gs>
              <a:gs pos="100000">
                <a:schemeClr val="accent5">
                  <a:lumMod val="75000"/>
                </a:schemeClr>
              </a:gs>
            </a:gsLst>
            <a:lin ang="2700000" scaled="1"/>
          </a:gradFill>
          <a:ln>
            <a:noFill/>
          </a:ln>
          <a:effectLst/>
        </p:spPr>
        <p:txBody>
          <a:bodyPr wrap="none" lIns="21431" tIns="10716" rIns="21431" bIns="10716" anchor="ctr"/>
          <a:lstStyle/>
          <a:p>
            <a:endParaRPr lang="en-US" sz="1125" dirty="0">
              <a:solidFill>
                <a:schemeClr val="tx2"/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67" name="Freeform 12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6323261" y="2645584"/>
            <a:ext cx="334973" cy="342823"/>
          </a:xfrm>
          <a:custGeom>
            <a:avLst/>
            <a:gdLst>
              <a:gd name="T0" fmla="*/ 123628 w 452"/>
              <a:gd name="T1" fmla="*/ 135490 h 462"/>
              <a:gd name="T2" fmla="*/ 123628 w 452"/>
              <a:gd name="T3" fmla="*/ 135490 h 462"/>
              <a:gd name="T4" fmla="*/ 195108 w 452"/>
              <a:gd name="T5" fmla="*/ 11703 h 462"/>
              <a:gd name="T6" fmla="*/ 195108 w 452"/>
              <a:gd name="T7" fmla="*/ 8102 h 462"/>
              <a:gd name="T8" fmla="*/ 191062 w 452"/>
              <a:gd name="T9" fmla="*/ 8102 h 462"/>
              <a:gd name="T10" fmla="*/ 71480 w 452"/>
              <a:gd name="T11" fmla="*/ 80124 h 462"/>
              <a:gd name="T12" fmla="*/ 4046 w 452"/>
              <a:gd name="T13" fmla="*/ 135490 h 462"/>
              <a:gd name="T14" fmla="*/ 15735 w 452"/>
              <a:gd name="T15" fmla="*/ 147644 h 462"/>
              <a:gd name="T16" fmla="*/ 39561 w 452"/>
              <a:gd name="T17" fmla="*/ 139542 h 462"/>
              <a:gd name="T18" fmla="*/ 67883 w 452"/>
              <a:gd name="T19" fmla="*/ 167450 h 462"/>
              <a:gd name="T20" fmla="*/ 59791 w 452"/>
              <a:gd name="T21" fmla="*/ 191307 h 462"/>
              <a:gd name="T22" fmla="*/ 67883 w 452"/>
              <a:gd name="T23" fmla="*/ 203461 h 462"/>
              <a:gd name="T24" fmla="*/ 123628 w 452"/>
              <a:gd name="T25" fmla="*/ 135490 h 462"/>
              <a:gd name="T26" fmla="*/ 135317 w 452"/>
              <a:gd name="T27" fmla="*/ 67520 h 462"/>
              <a:gd name="T28" fmla="*/ 135317 w 452"/>
              <a:gd name="T29" fmla="*/ 67520 h 462"/>
              <a:gd name="T30" fmla="*/ 135317 w 452"/>
              <a:gd name="T31" fmla="*/ 43663 h 462"/>
              <a:gd name="T32" fmla="*/ 159143 w 452"/>
              <a:gd name="T33" fmla="*/ 43663 h 462"/>
              <a:gd name="T34" fmla="*/ 159143 w 452"/>
              <a:gd name="T35" fmla="*/ 67520 h 462"/>
              <a:gd name="T36" fmla="*/ 135317 w 452"/>
              <a:gd name="T37" fmla="*/ 67520 h 46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452" h="462">
                <a:moveTo>
                  <a:pt x="275" y="301"/>
                </a:moveTo>
                <a:lnTo>
                  <a:pt x="275" y="301"/>
                </a:lnTo>
                <a:cubicBezTo>
                  <a:pt x="275" y="301"/>
                  <a:pt x="451" y="169"/>
                  <a:pt x="434" y="26"/>
                </a:cubicBezTo>
                <a:lnTo>
                  <a:pt x="434" y="18"/>
                </a:lnTo>
                <a:cubicBezTo>
                  <a:pt x="425" y="18"/>
                  <a:pt x="425" y="18"/>
                  <a:pt x="425" y="18"/>
                </a:cubicBezTo>
                <a:cubicBezTo>
                  <a:pt x="284" y="0"/>
                  <a:pt x="159" y="178"/>
                  <a:pt x="159" y="178"/>
                </a:cubicBezTo>
                <a:cubicBezTo>
                  <a:pt x="53" y="159"/>
                  <a:pt x="62" y="186"/>
                  <a:pt x="9" y="301"/>
                </a:cubicBezTo>
                <a:cubicBezTo>
                  <a:pt x="0" y="328"/>
                  <a:pt x="18" y="328"/>
                  <a:pt x="35" y="328"/>
                </a:cubicBezTo>
                <a:cubicBezTo>
                  <a:pt x="53" y="319"/>
                  <a:pt x="88" y="310"/>
                  <a:pt x="88" y="310"/>
                </a:cubicBezTo>
                <a:cubicBezTo>
                  <a:pt x="151" y="372"/>
                  <a:pt x="151" y="372"/>
                  <a:pt x="151" y="372"/>
                </a:cubicBezTo>
                <a:cubicBezTo>
                  <a:pt x="151" y="372"/>
                  <a:pt x="141" y="407"/>
                  <a:pt x="133" y="425"/>
                </a:cubicBezTo>
                <a:cubicBezTo>
                  <a:pt x="124" y="443"/>
                  <a:pt x="133" y="461"/>
                  <a:pt x="151" y="452"/>
                </a:cubicBezTo>
                <a:cubicBezTo>
                  <a:pt x="266" y="398"/>
                  <a:pt x="292" y="407"/>
                  <a:pt x="275" y="301"/>
                </a:cubicBezTo>
                <a:close/>
                <a:moveTo>
                  <a:pt x="301" y="150"/>
                </a:moveTo>
                <a:lnTo>
                  <a:pt x="301" y="150"/>
                </a:lnTo>
                <a:cubicBezTo>
                  <a:pt x="284" y="133"/>
                  <a:pt x="284" y="115"/>
                  <a:pt x="301" y="97"/>
                </a:cubicBezTo>
                <a:cubicBezTo>
                  <a:pt x="319" y="80"/>
                  <a:pt x="345" y="80"/>
                  <a:pt x="354" y="97"/>
                </a:cubicBezTo>
                <a:cubicBezTo>
                  <a:pt x="372" y="115"/>
                  <a:pt x="372" y="133"/>
                  <a:pt x="354" y="150"/>
                </a:cubicBezTo>
                <a:cubicBezTo>
                  <a:pt x="345" y="169"/>
                  <a:pt x="319" y="169"/>
                  <a:pt x="301" y="150"/>
                </a:cubicBezTo>
                <a:close/>
              </a:path>
            </a:pathLst>
          </a:custGeom>
          <a:gradFill>
            <a:gsLst>
              <a:gs pos="200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lin ang="2700000" scaled="1"/>
          </a:gradFill>
          <a:ln>
            <a:noFill/>
          </a:ln>
          <a:effectLst/>
        </p:spPr>
        <p:txBody>
          <a:bodyPr wrap="none" lIns="21431" tIns="10716" rIns="21431" bIns="10716" anchor="ctr"/>
          <a:lstStyle/>
          <a:p>
            <a:endParaRPr lang="en-US" sz="1125" dirty="0">
              <a:solidFill>
                <a:schemeClr val="tx2"/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68" name="Text Placeholder 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1108091" y="1905809"/>
            <a:ext cx="3209076" cy="1182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80000"/>
              </a:lnSpc>
              <a:defRPr sz="44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>
                <a:latin typeface="方正综艺简体" panose="03000509000000000000" pitchFamily="65" charset="-122"/>
                <a:cs typeface="思源黑体 CN Regular" panose="020B0500000000000000" charset="-122"/>
              </a:rPr>
              <a:t>Process </a:t>
            </a:r>
            <a:r>
              <a:rPr lang="en-US" dirty="0">
                <a:solidFill>
                  <a:schemeClr val="tx2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Infographic</a:t>
            </a:r>
            <a:endParaRPr lang="id-ID" dirty="0">
              <a:solidFill>
                <a:schemeClr val="tx2"/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grpSp>
        <p:nvGrpSpPr>
          <p:cNvPr id="71" name="Group 7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1242545" y="3172420"/>
            <a:ext cx="451293" cy="94511"/>
            <a:chOff x="1464244" y="3674277"/>
            <a:chExt cx="1830619" cy="383373"/>
          </a:xfrm>
        </p:grpSpPr>
        <p:sp>
          <p:nvSpPr>
            <p:cNvPr id="72" name="Arc 71"/>
            <p:cNvSpPr/>
            <p:nvPr/>
          </p:nvSpPr>
          <p:spPr>
            <a:xfrm>
              <a:off x="2911491" y="3674277"/>
              <a:ext cx="383372" cy="383373"/>
            </a:xfrm>
            <a:prstGeom prst="arc">
              <a:avLst>
                <a:gd name="adj1" fmla="val 16200000"/>
                <a:gd name="adj2" fmla="val 5435974"/>
              </a:avLst>
            </a:prstGeom>
            <a:ln w="31750" cap="rnd"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d-ID" sz="1125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3" name="Arc 72"/>
            <p:cNvSpPr/>
            <p:nvPr/>
          </p:nvSpPr>
          <p:spPr>
            <a:xfrm>
              <a:off x="2187866" y="3674277"/>
              <a:ext cx="383372" cy="383373"/>
            </a:xfrm>
            <a:prstGeom prst="arc">
              <a:avLst>
                <a:gd name="adj1" fmla="val 16200000"/>
                <a:gd name="adj2" fmla="val 5435974"/>
              </a:avLst>
            </a:prstGeom>
            <a:ln w="31750" cap="rnd">
              <a:solidFill>
                <a:schemeClr val="accent1">
                  <a:alpha val="2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d-ID" sz="1125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4" name="Arc 73"/>
            <p:cNvSpPr/>
            <p:nvPr/>
          </p:nvSpPr>
          <p:spPr>
            <a:xfrm>
              <a:off x="1464244" y="3674277"/>
              <a:ext cx="383372" cy="383373"/>
            </a:xfrm>
            <a:prstGeom prst="arc">
              <a:avLst>
                <a:gd name="adj1" fmla="val 16200000"/>
                <a:gd name="adj2" fmla="val 5435974"/>
              </a:avLst>
            </a:prstGeom>
            <a:ln w="31750" cap="rnd">
              <a:solidFill>
                <a:schemeClr val="accent1">
                  <a:alpha val="1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d-ID" sz="1125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</p:grpSp>
      <p:sp>
        <p:nvSpPr>
          <p:cNvPr id="75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1174957" y="3602021"/>
            <a:ext cx="2707496" cy="1523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>
                <a:solidFill>
                  <a:schemeClr val="tx2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. This is a sample text. insert your desired text here. Again. this is a dummy text. enter your own text here.”</a:t>
            </a:r>
          </a:p>
        </p:txBody>
      </p:sp>
      <p:sp>
        <p:nvSpPr>
          <p:cNvPr id="76" name="Rectangle: Rounded Corners 2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108823" y="5464529"/>
            <a:ext cx="1402161" cy="38237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5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  <a:effectLst>
            <a:outerShdw blurRad="787400" dist="101600" dir="5400000" sx="80000" sy="80000" algn="t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200" dirty="0">
                <a:latin typeface="方正综艺简体" panose="03000509000000000000" pitchFamily="65" charset="-122"/>
                <a:cs typeface="思源黑体 CN Regular" panose="020B0500000000000000" charset="-122"/>
              </a:rPr>
              <a:t>Read Her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9" name="Group 69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 rot="10800000" flipH="1">
            <a:off x="7829550" y="2345420"/>
            <a:ext cx="869837" cy="772431"/>
            <a:chOff x="0" y="0"/>
            <a:chExt cx="1739673" cy="1544860"/>
          </a:xfrm>
        </p:grpSpPr>
        <p:sp>
          <p:nvSpPr>
            <p:cNvPr id="686" name="Shape 686"/>
            <p:cNvSpPr/>
            <p:nvPr/>
          </p:nvSpPr>
          <p:spPr>
            <a:xfrm>
              <a:off x="0" y="0"/>
              <a:ext cx="1739674" cy="15448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9847"/>
                  </a:moveTo>
                  <a:lnTo>
                    <a:pt x="1796" y="20374"/>
                  </a:lnTo>
                  <a:cubicBezTo>
                    <a:pt x="1796" y="20374"/>
                    <a:pt x="3515" y="20662"/>
                    <a:pt x="3610" y="20764"/>
                  </a:cubicBezTo>
                  <a:cubicBezTo>
                    <a:pt x="3704" y="20865"/>
                    <a:pt x="5402" y="20971"/>
                    <a:pt x="5402" y="20971"/>
                  </a:cubicBezTo>
                  <a:cubicBezTo>
                    <a:pt x="5402" y="20971"/>
                    <a:pt x="6612" y="21078"/>
                    <a:pt x="6708" y="21078"/>
                  </a:cubicBezTo>
                  <a:cubicBezTo>
                    <a:pt x="6804" y="21078"/>
                    <a:pt x="8782" y="21219"/>
                    <a:pt x="8782" y="21219"/>
                  </a:cubicBezTo>
                  <a:lnTo>
                    <a:pt x="9857" y="21529"/>
                  </a:lnTo>
                  <a:lnTo>
                    <a:pt x="10574" y="21600"/>
                  </a:lnTo>
                  <a:lnTo>
                    <a:pt x="14169" y="21356"/>
                  </a:lnTo>
                  <a:lnTo>
                    <a:pt x="15332" y="21144"/>
                  </a:lnTo>
                  <a:cubicBezTo>
                    <a:pt x="15332" y="21144"/>
                    <a:pt x="16084" y="20932"/>
                    <a:pt x="16213" y="20932"/>
                  </a:cubicBezTo>
                  <a:cubicBezTo>
                    <a:pt x="16342" y="20932"/>
                    <a:pt x="17466" y="20932"/>
                    <a:pt x="17466" y="20932"/>
                  </a:cubicBezTo>
                  <a:cubicBezTo>
                    <a:pt x="17466" y="20932"/>
                    <a:pt x="18449" y="21034"/>
                    <a:pt x="18578" y="20932"/>
                  </a:cubicBezTo>
                  <a:cubicBezTo>
                    <a:pt x="18707" y="20830"/>
                    <a:pt x="19606" y="20826"/>
                    <a:pt x="19688" y="20724"/>
                  </a:cubicBezTo>
                  <a:cubicBezTo>
                    <a:pt x="19769" y="20622"/>
                    <a:pt x="20916" y="20551"/>
                    <a:pt x="20916" y="20551"/>
                  </a:cubicBezTo>
                  <a:lnTo>
                    <a:pt x="21600" y="20232"/>
                  </a:lnTo>
                  <a:lnTo>
                    <a:pt x="21354" y="18157"/>
                  </a:lnTo>
                  <a:cubicBezTo>
                    <a:pt x="21354" y="18157"/>
                    <a:pt x="21094" y="16985"/>
                    <a:pt x="21000" y="16299"/>
                  </a:cubicBezTo>
                  <a:cubicBezTo>
                    <a:pt x="20906" y="15612"/>
                    <a:pt x="20418" y="14559"/>
                    <a:pt x="20418" y="14559"/>
                  </a:cubicBezTo>
                  <a:lnTo>
                    <a:pt x="19800" y="14134"/>
                  </a:lnTo>
                  <a:lnTo>
                    <a:pt x="19543" y="14343"/>
                  </a:lnTo>
                  <a:lnTo>
                    <a:pt x="19072" y="13930"/>
                  </a:lnTo>
                  <a:lnTo>
                    <a:pt x="18290" y="13718"/>
                  </a:lnTo>
                  <a:lnTo>
                    <a:pt x="17870" y="12700"/>
                  </a:lnTo>
                  <a:lnTo>
                    <a:pt x="17151" y="12382"/>
                  </a:lnTo>
                  <a:lnTo>
                    <a:pt x="16637" y="11408"/>
                  </a:lnTo>
                  <a:lnTo>
                    <a:pt x="15904" y="11514"/>
                  </a:lnTo>
                  <a:lnTo>
                    <a:pt x="15562" y="10328"/>
                  </a:lnTo>
                  <a:lnTo>
                    <a:pt x="15243" y="9841"/>
                  </a:lnTo>
                  <a:lnTo>
                    <a:pt x="14491" y="6253"/>
                  </a:lnTo>
                  <a:lnTo>
                    <a:pt x="14002" y="6358"/>
                  </a:lnTo>
                  <a:lnTo>
                    <a:pt x="13662" y="4823"/>
                  </a:lnTo>
                  <a:lnTo>
                    <a:pt x="12858" y="3840"/>
                  </a:lnTo>
                  <a:lnTo>
                    <a:pt x="12275" y="4752"/>
                  </a:lnTo>
                  <a:lnTo>
                    <a:pt x="11967" y="4858"/>
                  </a:lnTo>
                  <a:lnTo>
                    <a:pt x="11740" y="2385"/>
                  </a:lnTo>
                  <a:lnTo>
                    <a:pt x="10943" y="1960"/>
                  </a:lnTo>
                  <a:lnTo>
                    <a:pt x="10315" y="739"/>
                  </a:lnTo>
                  <a:lnTo>
                    <a:pt x="9612" y="0"/>
                  </a:lnTo>
                  <a:cubicBezTo>
                    <a:pt x="9612" y="0"/>
                    <a:pt x="9090" y="106"/>
                    <a:pt x="9008" y="212"/>
                  </a:cubicBezTo>
                  <a:cubicBezTo>
                    <a:pt x="8926" y="319"/>
                    <a:pt x="8603" y="810"/>
                    <a:pt x="8603" y="810"/>
                  </a:cubicBezTo>
                  <a:lnTo>
                    <a:pt x="7955" y="1124"/>
                  </a:lnTo>
                  <a:lnTo>
                    <a:pt x="6981" y="2362"/>
                  </a:lnTo>
                  <a:lnTo>
                    <a:pt x="6493" y="3876"/>
                  </a:lnTo>
                  <a:lnTo>
                    <a:pt x="5877" y="4398"/>
                  </a:lnTo>
                  <a:lnTo>
                    <a:pt x="5571" y="4154"/>
                  </a:lnTo>
                  <a:lnTo>
                    <a:pt x="5168" y="4469"/>
                  </a:lnTo>
                  <a:lnTo>
                    <a:pt x="4513" y="8919"/>
                  </a:lnTo>
                  <a:lnTo>
                    <a:pt x="4275" y="10220"/>
                  </a:lnTo>
                  <a:lnTo>
                    <a:pt x="3835" y="10605"/>
                  </a:lnTo>
                  <a:lnTo>
                    <a:pt x="3362" y="10181"/>
                  </a:lnTo>
                  <a:lnTo>
                    <a:pt x="3022" y="10181"/>
                  </a:lnTo>
                  <a:lnTo>
                    <a:pt x="2454" y="10464"/>
                  </a:lnTo>
                  <a:lnTo>
                    <a:pt x="2227" y="10955"/>
                  </a:lnTo>
                  <a:lnTo>
                    <a:pt x="1932" y="11729"/>
                  </a:lnTo>
                  <a:lnTo>
                    <a:pt x="1592" y="12637"/>
                  </a:lnTo>
                  <a:lnTo>
                    <a:pt x="73" y="18463"/>
                  </a:lnTo>
                  <a:lnTo>
                    <a:pt x="0" y="19847"/>
                  </a:lnTo>
                  <a:close/>
                </a:path>
              </a:pathLst>
            </a:custGeom>
            <a:solidFill>
              <a:schemeClr val="accent3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687" name="Shape 687"/>
            <p:cNvSpPr/>
            <p:nvPr/>
          </p:nvSpPr>
          <p:spPr>
            <a:xfrm>
              <a:off x="1217" y="350977"/>
              <a:ext cx="803717" cy="11502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277" y="21600"/>
                  </a:moveTo>
                  <a:cubicBezTo>
                    <a:pt x="21277" y="21600"/>
                    <a:pt x="5549" y="20459"/>
                    <a:pt x="3142" y="19936"/>
                  </a:cubicBezTo>
                  <a:cubicBezTo>
                    <a:pt x="736" y="19414"/>
                    <a:pt x="0" y="19271"/>
                    <a:pt x="0" y="19271"/>
                  </a:cubicBezTo>
                  <a:cubicBezTo>
                    <a:pt x="0" y="19271"/>
                    <a:pt x="1364" y="18113"/>
                    <a:pt x="1875" y="17839"/>
                  </a:cubicBezTo>
                  <a:cubicBezTo>
                    <a:pt x="2385" y="17566"/>
                    <a:pt x="3763" y="15813"/>
                    <a:pt x="3763" y="15813"/>
                  </a:cubicBezTo>
                  <a:lnTo>
                    <a:pt x="4606" y="13727"/>
                  </a:lnTo>
                  <a:lnTo>
                    <a:pt x="3941" y="13067"/>
                  </a:lnTo>
                  <a:cubicBezTo>
                    <a:pt x="3941" y="13067"/>
                    <a:pt x="2385" y="15349"/>
                    <a:pt x="2177" y="15628"/>
                  </a:cubicBezTo>
                  <a:cubicBezTo>
                    <a:pt x="1968" y="15907"/>
                    <a:pt x="763" y="17185"/>
                    <a:pt x="763" y="17185"/>
                  </a:cubicBezTo>
                  <a:lnTo>
                    <a:pt x="3099" y="12729"/>
                  </a:lnTo>
                  <a:cubicBezTo>
                    <a:pt x="3099" y="12729"/>
                    <a:pt x="3692" y="11345"/>
                    <a:pt x="3799" y="11065"/>
                  </a:cubicBezTo>
                  <a:cubicBezTo>
                    <a:pt x="3905" y="10786"/>
                    <a:pt x="4535" y="9598"/>
                    <a:pt x="4535" y="9598"/>
                  </a:cubicBezTo>
                  <a:lnTo>
                    <a:pt x="5019" y="10014"/>
                  </a:lnTo>
                  <a:lnTo>
                    <a:pt x="5444" y="8927"/>
                  </a:lnTo>
                  <a:lnTo>
                    <a:pt x="6073" y="9444"/>
                  </a:lnTo>
                  <a:lnTo>
                    <a:pt x="6486" y="8641"/>
                  </a:lnTo>
                  <a:lnTo>
                    <a:pt x="6805" y="9866"/>
                  </a:lnTo>
                  <a:cubicBezTo>
                    <a:pt x="6805" y="9866"/>
                    <a:pt x="5710" y="11559"/>
                    <a:pt x="5604" y="11934"/>
                  </a:cubicBezTo>
                  <a:cubicBezTo>
                    <a:pt x="5498" y="12309"/>
                    <a:pt x="5710" y="13575"/>
                    <a:pt x="5710" y="13575"/>
                  </a:cubicBezTo>
                  <a:lnTo>
                    <a:pt x="6588" y="13480"/>
                  </a:lnTo>
                  <a:lnTo>
                    <a:pt x="6783" y="11310"/>
                  </a:lnTo>
                  <a:lnTo>
                    <a:pt x="7762" y="11168"/>
                  </a:lnTo>
                  <a:lnTo>
                    <a:pt x="8676" y="11917"/>
                  </a:lnTo>
                  <a:lnTo>
                    <a:pt x="9101" y="10556"/>
                  </a:lnTo>
                  <a:lnTo>
                    <a:pt x="9341" y="9449"/>
                  </a:lnTo>
                  <a:cubicBezTo>
                    <a:pt x="9341" y="9449"/>
                    <a:pt x="10502" y="9883"/>
                    <a:pt x="10502" y="10156"/>
                  </a:cubicBezTo>
                  <a:cubicBezTo>
                    <a:pt x="10502" y="10430"/>
                    <a:pt x="9119" y="12290"/>
                    <a:pt x="8942" y="12664"/>
                  </a:cubicBezTo>
                  <a:cubicBezTo>
                    <a:pt x="8765" y="13039"/>
                    <a:pt x="8340" y="13752"/>
                    <a:pt x="8340" y="14311"/>
                  </a:cubicBezTo>
                  <a:cubicBezTo>
                    <a:pt x="8340" y="14869"/>
                    <a:pt x="8690" y="15154"/>
                    <a:pt x="8690" y="15154"/>
                  </a:cubicBezTo>
                  <a:lnTo>
                    <a:pt x="9962" y="12706"/>
                  </a:lnTo>
                  <a:lnTo>
                    <a:pt x="10871" y="11951"/>
                  </a:lnTo>
                  <a:cubicBezTo>
                    <a:pt x="10871" y="11951"/>
                    <a:pt x="11261" y="11655"/>
                    <a:pt x="11363" y="11381"/>
                  </a:cubicBezTo>
                  <a:cubicBezTo>
                    <a:pt x="11465" y="11107"/>
                    <a:pt x="12383" y="10067"/>
                    <a:pt x="12383" y="10067"/>
                  </a:cubicBezTo>
                  <a:lnTo>
                    <a:pt x="13513" y="7951"/>
                  </a:lnTo>
                  <a:cubicBezTo>
                    <a:pt x="13513" y="7951"/>
                    <a:pt x="13895" y="7143"/>
                    <a:pt x="13615" y="7143"/>
                  </a:cubicBezTo>
                  <a:cubicBezTo>
                    <a:pt x="13335" y="7143"/>
                    <a:pt x="11780" y="7001"/>
                    <a:pt x="11780" y="7001"/>
                  </a:cubicBezTo>
                  <a:lnTo>
                    <a:pt x="9905" y="6858"/>
                  </a:lnTo>
                  <a:cubicBezTo>
                    <a:pt x="9905" y="6858"/>
                    <a:pt x="10579" y="1214"/>
                    <a:pt x="11177" y="607"/>
                  </a:cubicBezTo>
                  <a:cubicBezTo>
                    <a:pt x="11776" y="0"/>
                    <a:pt x="12051" y="0"/>
                    <a:pt x="12051" y="0"/>
                  </a:cubicBezTo>
                  <a:lnTo>
                    <a:pt x="11838" y="1213"/>
                  </a:lnTo>
                  <a:lnTo>
                    <a:pt x="12259" y="1629"/>
                  </a:lnTo>
                  <a:lnTo>
                    <a:pt x="12751" y="1107"/>
                  </a:lnTo>
                  <a:lnTo>
                    <a:pt x="13177" y="114"/>
                  </a:lnTo>
                  <a:lnTo>
                    <a:pt x="13696" y="399"/>
                  </a:lnTo>
                  <a:lnTo>
                    <a:pt x="14507" y="263"/>
                  </a:lnTo>
                  <a:lnTo>
                    <a:pt x="13881" y="1565"/>
                  </a:lnTo>
                  <a:lnTo>
                    <a:pt x="14369" y="1939"/>
                  </a:lnTo>
                  <a:lnTo>
                    <a:pt x="14157" y="3027"/>
                  </a:lnTo>
                  <a:lnTo>
                    <a:pt x="13452" y="3918"/>
                  </a:lnTo>
                  <a:lnTo>
                    <a:pt x="13554" y="5054"/>
                  </a:lnTo>
                  <a:lnTo>
                    <a:pt x="14073" y="4769"/>
                  </a:lnTo>
                  <a:lnTo>
                    <a:pt x="14774" y="3206"/>
                  </a:lnTo>
                  <a:lnTo>
                    <a:pt x="15053" y="4383"/>
                  </a:lnTo>
                  <a:lnTo>
                    <a:pt x="14521" y="6510"/>
                  </a:lnTo>
                  <a:lnTo>
                    <a:pt x="13435" y="9482"/>
                  </a:lnTo>
                  <a:lnTo>
                    <a:pt x="13151" y="11122"/>
                  </a:lnTo>
                  <a:lnTo>
                    <a:pt x="13045" y="12875"/>
                  </a:lnTo>
                  <a:lnTo>
                    <a:pt x="14774" y="11788"/>
                  </a:lnTo>
                  <a:lnTo>
                    <a:pt x="14774" y="10659"/>
                  </a:lnTo>
                  <a:lnTo>
                    <a:pt x="15341" y="8995"/>
                  </a:lnTo>
                  <a:lnTo>
                    <a:pt x="16041" y="8097"/>
                  </a:lnTo>
                  <a:lnTo>
                    <a:pt x="16321" y="7105"/>
                  </a:lnTo>
                  <a:lnTo>
                    <a:pt x="17451" y="5839"/>
                  </a:lnTo>
                  <a:lnTo>
                    <a:pt x="18404" y="6831"/>
                  </a:lnTo>
                  <a:cubicBezTo>
                    <a:pt x="18404" y="6831"/>
                    <a:pt x="18931" y="8447"/>
                    <a:pt x="18829" y="8864"/>
                  </a:cubicBezTo>
                  <a:cubicBezTo>
                    <a:pt x="18727" y="9280"/>
                    <a:pt x="18231" y="10314"/>
                    <a:pt x="18231" y="10314"/>
                  </a:cubicBezTo>
                  <a:cubicBezTo>
                    <a:pt x="18231" y="10314"/>
                    <a:pt x="18443" y="11544"/>
                    <a:pt x="18443" y="11824"/>
                  </a:cubicBezTo>
                  <a:cubicBezTo>
                    <a:pt x="18443" y="12103"/>
                    <a:pt x="18337" y="13417"/>
                    <a:pt x="18337" y="13417"/>
                  </a:cubicBezTo>
                  <a:lnTo>
                    <a:pt x="18762" y="14451"/>
                  </a:lnTo>
                  <a:lnTo>
                    <a:pt x="19081" y="15824"/>
                  </a:lnTo>
                  <a:lnTo>
                    <a:pt x="19959" y="15729"/>
                  </a:lnTo>
                  <a:lnTo>
                    <a:pt x="19959" y="14505"/>
                  </a:lnTo>
                  <a:cubicBezTo>
                    <a:pt x="19959" y="14505"/>
                    <a:pt x="19006" y="13216"/>
                    <a:pt x="19006" y="12942"/>
                  </a:cubicBezTo>
                  <a:cubicBezTo>
                    <a:pt x="19006" y="12668"/>
                    <a:pt x="19499" y="12383"/>
                    <a:pt x="19499" y="12383"/>
                  </a:cubicBezTo>
                  <a:cubicBezTo>
                    <a:pt x="19499" y="12383"/>
                    <a:pt x="20261" y="11592"/>
                    <a:pt x="19880" y="11497"/>
                  </a:cubicBezTo>
                  <a:cubicBezTo>
                    <a:pt x="19499" y="11402"/>
                    <a:pt x="18789" y="10868"/>
                    <a:pt x="18789" y="10594"/>
                  </a:cubicBezTo>
                  <a:cubicBezTo>
                    <a:pt x="18789" y="10320"/>
                    <a:pt x="19742" y="9755"/>
                    <a:pt x="19742" y="9755"/>
                  </a:cubicBezTo>
                  <a:lnTo>
                    <a:pt x="20682" y="10320"/>
                  </a:lnTo>
                  <a:lnTo>
                    <a:pt x="21139" y="9666"/>
                  </a:lnTo>
                  <a:lnTo>
                    <a:pt x="21210" y="13558"/>
                  </a:lnTo>
                  <a:cubicBezTo>
                    <a:pt x="21210" y="13558"/>
                    <a:pt x="21600" y="16219"/>
                    <a:pt x="21600" y="16499"/>
                  </a:cubicBezTo>
                  <a:cubicBezTo>
                    <a:pt x="21600" y="16778"/>
                    <a:pt x="21600" y="20385"/>
                    <a:pt x="21600" y="20385"/>
                  </a:cubicBezTo>
                  <a:lnTo>
                    <a:pt x="21277" y="21600"/>
                  </a:lnTo>
                  <a:close/>
                </a:path>
              </a:pathLst>
            </a:custGeom>
            <a:solidFill>
              <a:srgbClr val="9CB2CB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688" name="Shape 688"/>
            <p:cNvSpPr/>
            <p:nvPr/>
          </p:nvSpPr>
          <p:spPr>
            <a:xfrm>
              <a:off x="781456" y="140692"/>
              <a:ext cx="96982" cy="54338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314" y="0"/>
                  </a:moveTo>
                  <a:lnTo>
                    <a:pt x="12196" y="5397"/>
                  </a:lnTo>
                  <a:lnTo>
                    <a:pt x="16312" y="8504"/>
                  </a:lnTo>
                  <a:lnTo>
                    <a:pt x="21600" y="12014"/>
                  </a:lnTo>
                  <a:lnTo>
                    <a:pt x="21600" y="16014"/>
                  </a:lnTo>
                  <a:lnTo>
                    <a:pt x="16312" y="19523"/>
                  </a:lnTo>
                  <a:lnTo>
                    <a:pt x="11645" y="21600"/>
                  </a:lnTo>
                  <a:lnTo>
                    <a:pt x="9037" y="19813"/>
                  </a:lnTo>
                  <a:lnTo>
                    <a:pt x="14289" y="16002"/>
                  </a:lnTo>
                  <a:cubicBezTo>
                    <a:pt x="14289" y="16002"/>
                    <a:pt x="15171" y="13977"/>
                    <a:pt x="15171" y="13386"/>
                  </a:cubicBezTo>
                  <a:cubicBezTo>
                    <a:pt x="15171" y="12795"/>
                    <a:pt x="12563" y="11586"/>
                    <a:pt x="12563" y="10995"/>
                  </a:cubicBezTo>
                  <a:cubicBezTo>
                    <a:pt x="12563" y="10404"/>
                    <a:pt x="4958" y="10493"/>
                    <a:pt x="4958" y="8291"/>
                  </a:cubicBezTo>
                  <a:cubicBezTo>
                    <a:pt x="4958" y="6090"/>
                    <a:pt x="4079" y="4693"/>
                    <a:pt x="4079" y="4693"/>
                  </a:cubicBezTo>
                  <a:lnTo>
                    <a:pt x="0" y="1611"/>
                  </a:lnTo>
                  <a:lnTo>
                    <a:pt x="2314" y="0"/>
                  </a:lnTo>
                  <a:close/>
                </a:path>
              </a:pathLst>
            </a:custGeom>
            <a:solidFill>
              <a:srgbClr val="9CB2CB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689" name="Shape 689"/>
            <p:cNvSpPr/>
            <p:nvPr/>
          </p:nvSpPr>
          <p:spPr>
            <a:xfrm>
              <a:off x="765309" y="441612"/>
              <a:ext cx="52447" cy="2496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928" y="655"/>
                  </a:moveTo>
                  <a:lnTo>
                    <a:pt x="21600" y="0"/>
                  </a:lnTo>
                  <a:lnTo>
                    <a:pt x="21600" y="6954"/>
                  </a:lnTo>
                  <a:lnTo>
                    <a:pt x="13997" y="21600"/>
                  </a:lnTo>
                  <a:lnTo>
                    <a:pt x="0" y="17851"/>
                  </a:lnTo>
                  <a:lnTo>
                    <a:pt x="1626" y="2821"/>
                  </a:lnTo>
                  <a:lnTo>
                    <a:pt x="5366" y="13251"/>
                  </a:lnTo>
                  <a:lnTo>
                    <a:pt x="11210" y="7225"/>
                  </a:lnTo>
                  <a:lnTo>
                    <a:pt x="10928" y="655"/>
                  </a:lnTo>
                  <a:close/>
                </a:path>
              </a:pathLst>
            </a:custGeom>
            <a:solidFill>
              <a:srgbClr val="9CB2CB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690" name="Shape 690"/>
            <p:cNvSpPr/>
            <p:nvPr/>
          </p:nvSpPr>
          <p:spPr>
            <a:xfrm>
              <a:off x="660523" y="79871"/>
              <a:ext cx="61513" cy="349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278" y="0"/>
                  </a:moveTo>
                  <a:lnTo>
                    <a:pt x="13893" y="7460"/>
                  </a:lnTo>
                  <a:lnTo>
                    <a:pt x="12501" y="12279"/>
                  </a:lnTo>
                  <a:lnTo>
                    <a:pt x="20266" y="14434"/>
                  </a:lnTo>
                  <a:lnTo>
                    <a:pt x="21600" y="21600"/>
                  </a:lnTo>
                  <a:lnTo>
                    <a:pt x="11412" y="17565"/>
                  </a:lnTo>
                  <a:lnTo>
                    <a:pt x="3075" y="12260"/>
                  </a:lnTo>
                  <a:lnTo>
                    <a:pt x="7243" y="7737"/>
                  </a:lnTo>
                  <a:lnTo>
                    <a:pt x="0" y="4974"/>
                  </a:lnTo>
                  <a:lnTo>
                    <a:pt x="4278" y="0"/>
                  </a:lnTo>
                  <a:close/>
                </a:path>
              </a:pathLst>
            </a:custGeom>
            <a:solidFill>
              <a:srgbClr val="9CB2CB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691" name="Shape 691"/>
            <p:cNvSpPr/>
            <p:nvPr/>
          </p:nvSpPr>
          <p:spPr>
            <a:xfrm>
              <a:off x="546906" y="157920"/>
              <a:ext cx="186260" cy="4924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86" y="4859"/>
                  </a:moveTo>
                  <a:lnTo>
                    <a:pt x="6884" y="0"/>
                  </a:lnTo>
                  <a:lnTo>
                    <a:pt x="9754" y="5387"/>
                  </a:lnTo>
                  <a:lnTo>
                    <a:pt x="9295" y="10037"/>
                  </a:lnTo>
                  <a:lnTo>
                    <a:pt x="11895" y="12022"/>
                  </a:lnTo>
                  <a:lnTo>
                    <a:pt x="14136" y="8150"/>
                  </a:lnTo>
                  <a:lnTo>
                    <a:pt x="16394" y="11217"/>
                  </a:lnTo>
                  <a:lnTo>
                    <a:pt x="16394" y="14522"/>
                  </a:lnTo>
                  <a:lnTo>
                    <a:pt x="19361" y="14842"/>
                  </a:lnTo>
                  <a:lnTo>
                    <a:pt x="21600" y="14189"/>
                  </a:lnTo>
                  <a:lnTo>
                    <a:pt x="21600" y="18922"/>
                  </a:lnTo>
                  <a:lnTo>
                    <a:pt x="20666" y="21600"/>
                  </a:lnTo>
                  <a:lnTo>
                    <a:pt x="16571" y="19713"/>
                  </a:lnTo>
                  <a:lnTo>
                    <a:pt x="12764" y="15104"/>
                  </a:lnTo>
                  <a:lnTo>
                    <a:pt x="9032" y="12590"/>
                  </a:lnTo>
                  <a:lnTo>
                    <a:pt x="5856" y="8659"/>
                  </a:lnTo>
                  <a:lnTo>
                    <a:pt x="900" y="7451"/>
                  </a:lnTo>
                  <a:lnTo>
                    <a:pt x="0" y="3691"/>
                  </a:lnTo>
                  <a:lnTo>
                    <a:pt x="2564" y="1065"/>
                  </a:lnTo>
                  <a:lnTo>
                    <a:pt x="5986" y="4859"/>
                  </a:lnTo>
                  <a:close/>
                </a:path>
              </a:pathLst>
            </a:custGeom>
            <a:solidFill>
              <a:srgbClr val="9CB2CB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692" name="Shape 692"/>
            <p:cNvSpPr/>
            <p:nvPr/>
          </p:nvSpPr>
          <p:spPr>
            <a:xfrm>
              <a:off x="559787" y="402117"/>
              <a:ext cx="86119" cy="3088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1211" y="2479"/>
                  </a:lnTo>
                  <a:lnTo>
                    <a:pt x="17707" y="8610"/>
                  </a:lnTo>
                  <a:lnTo>
                    <a:pt x="21600" y="13835"/>
                  </a:lnTo>
                  <a:lnTo>
                    <a:pt x="15023" y="16821"/>
                  </a:lnTo>
                  <a:lnTo>
                    <a:pt x="7452" y="21600"/>
                  </a:lnTo>
                  <a:lnTo>
                    <a:pt x="7452" y="15979"/>
                  </a:lnTo>
                  <a:lnTo>
                    <a:pt x="11673" y="13231"/>
                  </a:lnTo>
                  <a:lnTo>
                    <a:pt x="10020" y="6302"/>
                  </a:lnTo>
                  <a:lnTo>
                    <a:pt x="2278" y="38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CB2CB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693" name="Shape 693"/>
            <p:cNvSpPr/>
            <p:nvPr/>
          </p:nvSpPr>
          <p:spPr>
            <a:xfrm>
              <a:off x="988981" y="300064"/>
              <a:ext cx="64155" cy="2724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324" y="0"/>
                  </a:moveTo>
                  <a:lnTo>
                    <a:pt x="21600" y="9985"/>
                  </a:lnTo>
                  <a:lnTo>
                    <a:pt x="17603" y="21600"/>
                  </a:lnTo>
                  <a:lnTo>
                    <a:pt x="12277" y="12121"/>
                  </a:lnTo>
                  <a:lnTo>
                    <a:pt x="6056" y="20124"/>
                  </a:lnTo>
                  <a:lnTo>
                    <a:pt x="2168" y="16986"/>
                  </a:lnTo>
                  <a:lnTo>
                    <a:pt x="0" y="5371"/>
                  </a:lnTo>
                  <a:lnTo>
                    <a:pt x="7780" y="7554"/>
                  </a:lnTo>
                  <a:lnTo>
                    <a:pt x="16324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694" name="Shape 694"/>
            <p:cNvSpPr/>
            <p:nvPr/>
          </p:nvSpPr>
          <p:spPr>
            <a:xfrm>
              <a:off x="990391" y="684501"/>
              <a:ext cx="34949" cy="10122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589" h="21600" extrusionOk="0">
                  <a:moveTo>
                    <a:pt x="5796" y="0"/>
                  </a:moveTo>
                  <a:cubicBezTo>
                    <a:pt x="5796" y="0"/>
                    <a:pt x="-4011" y="16745"/>
                    <a:pt x="1889" y="18362"/>
                  </a:cubicBezTo>
                  <a:cubicBezTo>
                    <a:pt x="7790" y="19978"/>
                    <a:pt x="13683" y="21600"/>
                    <a:pt x="13683" y="21600"/>
                  </a:cubicBezTo>
                  <a:lnTo>
                    <a:pt x="17589" y="10931"/>
                  </a:lnTo>
                  <a:lnTo>
                    <a:pt x="5796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695" name="Shape 695"/>
            <p:cNvSpPr/>
            <p:nvPr/>
          </p:nvSpPr>
          <p:spPr>
            <a:xfrm>
              <a:off x="1131550" y="472080"/>
              <a:ext cx="75241" cy="2212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29"/>
                  </a:moveTo>
                  <a:lnTo>
                    <a:pt x="21600" y="21600"/>
                  </a:lnTo>
                  <a:lnTo>
                    <a:pt x="8346" y="0"/>
                  </a:lnTo>
                  <a:lnTo>
                    <a:pt x="0" y="1829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696" name="Shape 696"/>
            <p:cNvSpPr/>
            <p:nvPr/>
          </p:nvSpPr>
          <p:spPr>
            <a:xfrm>
              <a:off x="1448507" y="1057375"/>
              <a:ext cx="146326" cy="3623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013" y="3264"/>
                  </a:moveTo>
                  <a:lnTo>
                    <a:pt x="6013" y="0"/>
                  </a:lnTo>
                  <a:lnTo>
                    <a:pt x="0" y="0"/>
                  </a:lnTo>
                  <a:lnTo>
                    <a:pt x="0" y="7810"/>
                  </a:lnTo>
                  <a:lnTo>
                    <a:pt x="1168" y="13809"/>
                  </a:lnTo>
                  <a:lnTo>
                    <a:pt x="7525" y="18636"/>
                  </a:lnTo>
                  <a:lnTo>
                    <a:pt x="11302" y="21600"/>
                  </a:lnTo>
                  <a:lnTo>
                    <a:pt x="18336" y="20561"/>
                  </a:lnTo>
                  <a:lnTo>
                    <a:pt x="21015" y="18034"/>
                  </a:lnTo>
                  <a:lnTo>
                    <a:pt x="21600" y="12789"/>
                  </a:lnTo>
                  <a:lnTo>
                    <a:pt x="20042" y="7525"/>
                  </a:lnTo>
                  <a:lnTo>
                    <a:pt x="18312" y="14961"/>
                  </a:lnTo>
                  <a:lnTo>
                    <a:pt x="16754" y="17604"/>
                  </a:lnTo>
                  <a:lnTo>
                    <a:pt x="15587" y="10531"/>
                  </a:lnTo>
                  <a:lnTo>
                    <a:pt x="12734" y="7550"/>
                  </a:lnTo>
                  <a:lnTo>
                    <a:pt x="8086" y="11605"/>
                  </a:lnTo>
                  <a:lnTo>
                    <a:pt x="5967" y="9983"/>
                  </a:lnTo>
                  <a:lnTo>
                    <a:pt x="11543" y="3868"/>
                  </a:lnTo>
                  <a:lnTo>
                    <a:pt x="8498" y="1944"/>
                  </a:lnTo>
                  <a:lnTo>
                    <a:pt x="6013" y="3264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697" name="Shape 697"/>
            <p:cNvSpPr/>
            <p:nvPr/>
          </p:nvSpPr>
          <p:spPr>
            <a:xfrm>
              <a:off x="1571934" y="1064864"/>
              <a:ext cx="79514" cy="3288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1780" y="7588"/>
                  </a:lnTo>
                  <a:lnTo>
                    <a:pt x="12856" y="15861"/>
                  </a:lnTo>
                  <a:lnTo>
                    <a:pt x="13888" y="21102"/>
                  </a:lnTo>
                  <a:lnTo>
                    <a:pt x="20524" y="21600"/>
                  </a:lnTo>
                  <a:cubicBezTo>
                    <a:pt x="20524" y="21600"/>
                    <a:pt x="21600" y="15450"/>
                    <a:pt x="21600" y="13993"/>
                  </a:cubicBezTo>
                  <a:cubicBezTo>
                    <a:pt x="21600" y="12536"/>
                    <a:pt x="21600" y="6404"/>
                    <a:pt x="21600" y="6404"/>
                  </a:cubicBezTo>
                  <a:lnTo>
                    <a:pt x="15150" y="3432"/>
                  </a:lnTo>
                  <a:lnTo>
                    <a:pt x="8829" y="24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698" name="Shape 698"/>
            <p:cNvSpPr/>
            <p:nvPr/>
          </p:nvSpPr>
          <p:spPr>
            <a:xfrm>
              <a:off x="1070024" y="353939"/>
              <a:ext cx="51348" cy="3044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994" y="0"/>
                  </a:moveTo>
                  <a:lnTo>
                    <a:pt x="0" y="15424"/>
                  </a:lnTo>
                  <a:lnTo>
                    <a:pt x="10769" y="16501"/>
                  </a:lnTo>
                  <a:lnTo>
                    <a:pt x="10144" y="21600"/>
                  </a:lnTo>
                  <a:lnTo>
                    <a:pt x="21600" y="20523"/>
                  </a:lnTo>
                  <a:lnTo>
                    <a:pt x="10925" y="9411"/>
                  </a:lnTo>
                  <a:lnTo>
                    <a:pt x="4994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</p:grpSp>
      <p:grpSp>
        <p:nvGrpSpPr>
          <p:cNvPr id="715" name="Group 7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4107518" y="1896440"/>
            <a:ext cx="3556001" cy="4083053"/>
            <a:chOff x="0" y="-1"/>
            <a:chExt cx="7112000" cy="8166105"/>
          </a:xfrm>
        </p:grpSpPr>
        <p:sp>
          <p:nvSpPr>
            <p:cNvPr id="702" name="Shape 702"/>
            <p:cNvSpPr/>
            <p:nvPr/>
          </p:nvSpPr>
          <p:spPr>
            <a:xfrm rot="10800000" flipH="1">
              <a:off x="0" y="-1"/>
              <a:ext cx="7112000" cy="81661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05" extrusionOk="0">
                  <a:moveTo>
                    <a:pt x="0" y="19744"/>
                  </a:moveTo>
                  <a:lnTo>
                    <a:pt x="1796" y="20273"/>
                  </a:lnTo>
                  <a:cubicBezTo>
                    <a:pt x="1796" y="20273"/>
                    <a:pt x="3515" y="20562"/>
                    <a:pt x="3610" y="20664"/>
                  </a:cubicBezTo>
                  <a:cubicBezTo>
                    <a:pt x="3704" y="20767"/>
                    <a:pt x="5402" y="20873"/>
                    <a:pt x="5402" y="20873"/>
                  </a:cubicBezTo>
                  <a:cubicBezTo>
                    <a:pt x="5402" y="20873"/>
                    <a:pt x="6612" y="20980"/>
                    <a:pt x="6708" y="20980"/>
                  </a:cubicBezTo>
                  <a:cubicBezTo>
                    <a:pt x="6804" y="20980"/>
                    <a:pt x="8782" y="21122"/>
                    <a:pt x="8782" y="21122"/>
                  </a:cubicBezTo>
                  <a:lnTo>
                    <a:pt x="9857" y="21434"/>
                  </a:lnTo>
                  <a:lnTo>
                    <a:pt x="10574" y="21505"/>
                  </a:lnTo>
                  <a:lnTo>
                    <a:pt x="14169" y="21260"/>
                  </a:lnTo>
                  <a:lnTo>
                    <a:pt x="15332" y="21047"/>
                  </a:lnTo>
                  <a:cubicBezTo>
                    <a:pt x="15332" y="21047"/>
                    <a:pt x="16084" y="20834"/>
                    <a:pt x="16213" y="20834"/>
                  </a:cubicBezTo>
                  <a:cubicBezTo>
                    <a:pt x="16342" y="20834"/>
                    <a:pt x="17466" y="20834"/>
                    <a:pt x="17466" y="20834"/>
                  </a:cubicBezTo>
                  <a:cubicBezTo>
                    <a:pt x="17466" y="20834"/>
                    <a:pt x="18449" y="20936"/>
                    <a:pt x="18578" y="20834"/>
                  </a:cubicBezTo>
                  <a:cubicBezTo>
                    <a:pt x="18707" y="20731"/>
                    <a:pt x="19606" y="20727"/>
                    <a:pt x="19688" y="20624"/>
                  </a:cubicBezTo>
                  <a:cubicBezTo>
                    <a:pt x="19769" y="20522"/>
                    <a:pt x="20916" y="20451"/>
                    <a:pt x="20916" y="20451"/>
                  </a:cubicBezTo>
                  <a:lnTo>
                    <a:pt x="21600" y="20131"/>
                  </a:lnTo>
                  <a:lnTo>
                    <a:pt x="21354" y="18045"/>
                  </a:lnTo>
                  <a:cubicBezTo>
                    <a:pt x="21354" y="18045"/>
                    <a:pt x="21434" y="16726"/>
                    <a:pt x="21340" y="16036"/>
                  </a:cubicBezTo>
                  <a:cubicBezTo>
                    <a:pt x="21246" y="15347"/>
                    <a:pt x="21340" y="14858"/>
                    <a:pt x="21340" y="14858"/>
                  </a:cubicBezTo>
                  <a:lnTo>
                    <a:pt x="20909" y="13807"/>
                  </a:lnTo>
                  <a:lnTo>
                    <a:pt x="20392" y="13470"/>
                  </a:lnTo>
                  <a:lnTo>
                    <a:pt x="19789" y="12545"/>
                  </a:lnTo>
                  <a:lnTo>
                    <a:pt x="19301" y="12515"/>
                  </a:lnTo>
                  <a:lnTo>
                    <a:pt x="18812" y="11157"/>
                  </a:lnTo>
                  <a:lnTo>
                    <a:pt x="18554" y="10063"/>
                  </a:lnTo>
                  <a:lnTo>
                    <a:pt x="17865" y="8927"/>
                  </a:lnTo>
                  <a:lnTo>
                    <a:pt x="17146" y="8464"/>
                  </a:lnTo>
                  <a:lnTo>
                    <a:pt x="16629" y="7160"/>
                  </a:lnTo>
                  <a:lnTo>
                    <a:pt x="15883" y="6193"/>
                  </a:lnTo>
                  <a:lnTo>
                    <a:pt x="15538" y="4931"/>
                  </a:lnTo>
                  <a:lnTo>
                    <a:pt x="14002" y="6188"/>
                  </a:lnTo>
                  <a:lnTo>
                    <a:pt x="13662" y="4645"/>
                  </a:lnTo>
                  <a:lnTo>
                    <a:pt x="12858" y="3658"/>
                  </a:lnTo>
                  <a:lnTo>
                    <a:pt x="12275" y="4574"/>
                  </a:lnTo>
                  <a:lnTo>
                    <a:pt x="12235" y="2925"/>
                  </a:lnTo>
                  <a:lnTo>
                    <a:pt x="11740" y="2196"/>
                  </a:lnTo>
                  <a:lnTo>
                    <a:pt x="11151" y="934"/>
                  </a:lnTo>
                  <a:lnTo>
                    <a:pt x="10315" y="541"/>
                  </a:lnTo>
                  <a:lnTo>
                    <a:pt x="9851" y="556"/>
                  </a:lnTo>
                  <a:cubicBezTo>
                    <a:pt x="9851" y="556"/>
                    <a:pt x="9090" y="-95"/>
                    <a:pt x="9008" y="12"/>
                  </a:cubicBezTo>
                  <a:cubicBezTo>
                    <a:pt x="8926" y="119"/>
                    <a:pt x="8603" y="612"/>
                    <a:pt x="8603" y="612"/>
                  </a:cubicBezTo>
                  <a:lnTo>
                    <a:pt x="7955" y="51"/>
                  </a:lnTo>
                  <a:lnTo>
                    <a:pt x="6921" y="934"/>
                  </a:lnTo>
                  <a:lnTo>
                    <a:pt x="6394" y="1650"/>
                  </a:lnTo>
                  <a:lnTo>
                    <a:pt x="6187" y="2196"/>
                  </a:lnTo>
                  <a:lnTo>
                    <a:pt x="5399" y="2491"/>
                  </a:lnTo>
                  <a:lnTo>
                    <a:pt x="5168" y="4290"/>
                  </a:lnTo>
                  <a:lnTo>
                    <a:pt x="4129" y="6361"/>
                  </a:lnTo>
                  <a:lnTo>
                    <a:pt x="3589" y="7960"/>
                  </a:lnTo>
                  <a:lnTo>
                    <a:pt x="3589" y="9095"/>
                  </a:lnTo>
                  <a:lnTo>
                    <a:pt x="3362" y="10029"/>
                  </a:lnTo>
                  <a:lnTo>
                    <a:pt x="3022" y="10029"/>
                  </a:lnTo>
                  <a:lnTo>
                    <a:pt x="2454" y="10314"/>
                  </a:lnTo>
                  <a:lnTo>
                    <a:pt x="1779" y="10904"/>
                  </a:lnTo>
                  <a:lnTo>
                    <a:pt x="1111" y="11703"/>
                  </a:lnTo>
                  <a:lnTo>
                    <a:pt x="386" y="13807"/>
                  </a:lnTo>
                  <a:lnTo>
                    <a:pt x="73" y="18353"/>
                  </a:lnTo>
                  <a:lnTo>
                    <a:pt x="0" y="19744"/>
                  </a:lnTo>
                  <a:close/>
                </a:path>
              </a:pathLst>
            </a:custGeom>
            <a:solidFill>
              <a:schemeClr val="accent3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>
              <a:outerShdw blurRad="1270000" dir="2700000" rotWithShape="0">
                <a:srgbClr val="EEF3F4"/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03" name="Shape 703"/>
            <p:cNvSpPr/>
            <p:nvPr/>
          </p:nvSpPr>
          <p:spPr>
            <a:xfrm rot="10800000" flipH="1">
              <a:off x="4975" y="232898"/>
              <a:ext cx="3285692" cy="61370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277" y="21600"/>
                  </a:moveTo>
                  <a:cubicBezTo>
                    <a:pt x="21277" y="21600"/>
                    <a:pt x="5549" y="20459"/>
                    <a:pt x="3142" y="19936"/>
                  </a:cubicBezTo>
                  <a:cubicBezTo>
                    <a:pt x="736" y="19414"/>
                    <a:pt x="0" y="19271"/>
                    <a:pt x="0" y="19271"/>
                  </a:cubicBezTo>
                  <a:cubicBezTo>
                    <a:pt x="0" y="19271"/>
                    <a:pt x="1364" y="18113"/>
                    <a:pt x="1875" y="17839"/>
                  </a:cubicBezTo>
                  <a:cubicBezTo>
                    <a:pt x="2385" y="17566"/>
                    <a:pt x="3763" y="15813"/>
                    <a:pt x="3763" y="15813"/>
                  </a:cubicBezTo>
                  <a:lnTo>
                    <a:pt x="4606" y="13727"/>
                  </a:lnTo>
                  <a:lnTo>
                    <a:pt x="3941" y="13067"/>
                  </a:lnTo>
                  <a:cubicBezTo>
                    <a:pt x="3941" y="13067"/>
                    <a:pt x="2385" y="15349"/>
                    <a:pt x="2177" y="15628"/>
                  </a:cubicBezTo>
                  <a:cubicBezTo>
                    <a:pt x="1968" y="15907"/>
                    <a:pt x="763" y="17185"/>
                    <a:pt x="763" y="17185"/>
                  </a:cubicBezTo>
                  <a:lnTo>
                    <a:pt x="3099" y="12729"/>
                  </a:lnTo>
                  <a:cubicBezTo>
                    <a:pt x="3099" y="12729"/>
                    <a:pt x="3692" y="11345"/>
                    <a:pt x="3799" y="11066"/>
                  </a:cubicBezTo>
                  <a:cubicBezTo>
                    <a:pt x="3905" y="10786"/>
                    <a:pt x="4535" y="9598"/>
                    <a:pt x="4535" y="9598"/>
                  </a:cubicBezTo>
                  <a:lnTo>
                    <a:pt x="5019" y="10014"/>
                  </a:lnTo>
                  <a:lnTo>
                    <a:pt x="5444" y="8927"/>
                  </a:lnTo>
                  <a:lnTo>
                    <a:pt x="6073" y="9444"/>
                  </a:lnTo>
                  <a:lnTo>
                    <a:pt x="6486" y="8641"/>
                  </a:lnTo>
                  <a:lnTo>
                    <a:pt x="6805" y="9866"/>
                  </a:lnTo>
                  <a:cubicBezTo>
                    <a:pt x="6805" y="9866"/>
                    <a:pt x="5710" y="11559"/>
                    <a:pt x="5604" y="11934"/>
                  </a:cubicBezTo>
                  <a:cubicBezTo>
                    <a:pt x="5498" y="12309"/>
                    <a:pt x="5710" y="13575"/>
                    <a:pt x="5710" y="13575"/>
                  </a:cubicBezTo>
                  <a:lnTo>
                    <a:pt x="6588" y="13480"/>
                  </a:lnTo>
                  <a:lnTo>
                    <a:pt x="6783" y="11310"/>
                  </a:lnTo>
                  <a:lnTo>
                    <a:pt x="7762" y="11168"/>
                  </a:lnTo>
                  <a:lnTo>
                    <a:pt x="8676" y="11917"/>
                  </a:lnTo>
                  <a:lnTo>
                    <a:pt x="9101" y="10556"/>
                  </a:lnTo>
                  <a:lnTo>
                    <a:pt x="9341" y="9449"/>
                  </a:lnTo>
                  <a:cubicBezTo>
                    <a:pt x="9341" y="9449"/>
                    <a:pt x="10502" y="9883"/>
                    <a:pt x="10502" y="10156"/>
                  </a:cubicBezTo>
                  <a:cubicBezTo>
                    <a:pt x="10502" y="10430"/>
                    <a:pt x="9119" y="12290"/>
                    <a:pt x="8942" y="12664"/>
                  </a:cubicBezTo>
                  <a:cubicBezTo>
                    <a:pt x="8765" y="13039"/>
                    <a:pt x="8340" y="13752"/>
                    <a:pt x="8340" y="14311"/>
                  </a:cubicBezTo>
                  <a:cubicBezTo>
                    <a:pt x="8340" y="14869"/>
                    <a:pt x="8690" y="15154"/>
                    <a:pt x="8690" y="15154"/>
                  </a:cubicBezTo>
                  <a:lnTo>
                    <a:pt x="9962" y="12706"/>
                  </a:lnTo>
                  <a:lnTo>
                    <a:pt x="10871" y="11951"/>
                  </a:lnTo>
                  <a:cubicBezTo>
                    <a:pt x="10871" y="11951"/>
                    <a:pt x="11261" y="11655"/>
                    <a:pt x="11363" y="11381"/>
                  </a:cubicBezTo>
                  <a:cubicBezTo>
                    <a:pt x="11465" y="11107"/>
                    <a:pt x="12383" y="10067"/>
                    <a:pt x="12383" y="10067"/>
                  </a:cubicBezTo>
                  <a:lnTo>
                    <a:pt x="13513" y="7951"/>
                  </a:lnTo>
                  <a:cubicBezTo>
                    <a:pt x="13513" y="7951"/>
                    <a:pt x="13895" y="7143"/>
                    <a:pt x="13615" y="7143"/>
                  </a:cubicBezTo>
                  <a:cubicBezTo>
                    <a:pt x="13335" y="7143"/>
                    <a:pt x="11780" y="7001"/>
                    <a:pt x="11780" y="7001"/>
                  </a:cubicBezTo>
                  <a:lnTo>
                    <a:pt x="9905" y="6858"/>
                  </a:lnTo>
                  <a:cubicBezTo>
                    <a:pt x="9905" y="6858"/>
                    <a:pt x="10579" y="1214"/>
                    <a:pt x="11177" y="607"/>
                  </a:cubicBezTo>
                  <a:cubicBezTo>
                    <a:pt x="11776" y="0"/>
                    <a:pt x="12051" y="0"/>
                    <a:pt x="12051" y="0"/>
                  </a:cubicBezTo>
                  <a:lnTo>
                    <a:pt x="11838" y="1213"/>
                  </a:lnTo>
                  <a:lnTo>
                    <a:pt x="12259" y="1629"/>
                  </a:lnTo>
                  <a:lnTo>
                    <a:pt x="12751" y="1107"/>
                  </a:lnTo>
                  <a:lnTo>
                    <a:pt x="13177" y="114"/>
                  </a:lnTo>
                  <a:lnTo>
                    <a:pt x="13696" y="399"/>
                  </a:lnTo>
                  <a:lnTo>
                    <a:pt x="14507" y="263"/>
                  </a:lnTo>
                  <a:lnTo>
                    <a:pt x="13881" y="1565"/>
                  </a:lnTo>
                  <a:lnTo>
                    <a:pt x="14369" y="1939"/>
                  </a:lnTo>
                  <a:lnTo>
                    <a:pt x="14157" y="3027"/>
                  </a:lnTo>
                  <a:lnTo>
                    <a:pt x="13452" y="3918"/>
                  </a:lnTo>
                  <a:lnTo>
                    <a:pt x="13554" y="5054"/>
                  </a:lnTo>
                  <a:lnTo>
                    <a:pt x="14073" y="4769"/>
                  </a:lnTo>
                  <a:lnTo>
                    <a:pt x="14774" y="3206"/>
                  </a:lnTo>
                  <a:lnTo>
                    <a:pt x="15053" y="4383"/>
                  </a:lnTo>
                  <a:lnTo>
                    <a:pt x="14521" y="6510"/>
                  </a:lnTo>
                  <a:lnTo>
                    <a:pt x="13435" y="9482"/>
                  </a:lnTo>
                  <a:lnTo>
                    <a:pt x="13151" y="11122"/>
                  </a:lnTo>
                  <a:lnTo>
                    <a:pt x="13045" y="12875"/>
                  </a:lnTo>
                  <a:lnTo>
                    <a:pt x="14774" y="11788"/>
                  </a:lnTo>
                  <a:lnTo>
                    <a:pt x="14774" y="10659"/>
                  </a:lnTo>
                  <a:lnTo>
                    <a:pt x="15341" y="8995"/>
                  </a:lnTo>
                  <a:lnTo>
                    <a:pt x="16041" y="8097"/>
                  </a:lnTo>
                  <a:lnTo>
                    <a:pt x="16321" y="7105"/>
                  </a:lnTo>
                  <a:lnTo>
                    <a:pt x="17451" y="5839"/>
                  </a:lnTo>
                  <a:lnTo>
                    <a:pt x="18404" y="6831"/>
                  </a:lnTo>
                  <a:cubicBezTo>
                    <a:pt x="18404" y="6831"/>
                    <a:pt x="18931" y="8447"/>
                    <a:pt x="18829" y="8864"/>
                  </a:cubicBezTo>
                  <a:cubicBezTo>
                    <a:pt x="18727" y="9280"/>
                    <a:pt x="18231" y="10314"/>
                    <a:pt x="18231" y="10314"/>
                  </a:cubicBezTo>
                  <a:cubicBezTo>
                    <a:pt x="18231" y="10314"/>
                    <a:pt x="18443" y="11544"/>
                    <a:pt x="18443" y="11824"/>
                  </a:cubicBezTo>
                  <a:cubicBezTo>
                    <a:pt x="18443" y="12103"/>
                    <a:pt x="18337" y="13417"/>
                    <a:pt x="18337" y="13417"/>
                  </a:cubicBezTo>
                  <a:lnTo>
                    <a:pt x="18762" y="14451"/>
                  </a:lnTo>
                  <a:lnTo>
                    <a:pt x="19081" y="15824"/>
                  </a:lnTo>
                  <a:lnTo>
                    <a:pt x="19959" y="15729"/>
                  </a:lnTo>
                  <a:lnTo>
                    <a:pt x="19959" y="14505"/>
                  </a:lnTo>
                  <a:cubicBezTo>
                    <a:pt x="19959" y="14505"/>
                    <a:pt x="19006" y="13216"/>
                    <a:pt x="19006" y="12942"/>
                  </a:cubicBezTo>
                  <a:cubicBezTo>
                    <a:pt x="19006" y="12668"/>
                    <a:pt x="19499" y="12383"/>
                    <a:pt x="19499" y="12383"/>
                  </a:cubicBezTo>
                  <a:cubicBezTo>
                    <a:pt x="19499" y="12383"/>
                    <a:pt x="20261" y="11592"/>
                    <a:pt x="19880" y="11497"/>
                  </a:cubicBezTo>
                  <a:cubicBezTo>
                    <a:pt x="19499" y="11402"/>
                    <a:pt x="18789" y="10868"/>
                    <a:pt x="18789" y="10594"/>
                  </a:cubicBezTo>
                  <a:cubicBezTo>
                    <a:pt x="18789" y="10320"/>
                    <a:pt x="19742" y="9755"/>
                    <a:pt x="19742" y="9755"/>
                  </a:cubicBezTo>
                  <a:lnTo>
                    <a:pt x="20682" y="10320"/>
                  </a:lnTo>
                  <a:lnTo>
                    <a:pt x="21139" y="9666"/>
                  </a:lnTo>
                  <a:lnTo>
                    <a:pt x="21210" y="13558"/>
                  </a:lnTo>
                  <a:cubicBezTo>
                    <a:pt x="21210" y="13558"/>
                    <a:pt x="21600" y="16219"/>
                    <a:pt x="21600" y="16499"/>
                  </a:cubicBezTo>
                  <a:cubicBezTo>
                    <a:pt x="21600" y="16778"/>
                    <a:pt x="21600" y="20385"/>
                    <a:pt x="21600" y="20385"/>
                  </a:cubicBezTo>
                  <a:lnTo>
                    <a:pt x="21277" y="21600"/>
                  </a:lnTo>
                  <a:close/>
                </a:path>
              </a:pathLst>
            </a:custGeom>
            <a:solidFill>
              <a:schemeClr val="accent2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04" name="Shape 704"/>
            <p:cNvSpPr/>
            <p:nvPr/>
          </p:nvSpPr>
          <p:spPr>
            <a:xfrm rot="10800000" flipH="1">
              <a:off x="3194687" y="4592711"/>
              <a:ext cx="396470" cy="28992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314" y="0"/>
                  </a:moveTo>
                  <a:lnTo>
                    <a:pt x="12196" y="5397"/>
                  </a:lnTo>
                  <a:lnTo>
                    <a:pt x="16312" y="8504"/>
                  </a:lnTo>
                  <a:lnTo>
                    <a:pt x="21600" y="12014"/>
                  </a:lnTo>
                  <a:lnTo>
                    <a:pt x="21600" y="16014"/>
                  </a:lnTo>
                  <a:lnTo>
                    <a:pt x="16312" y="19523"/>
                  </a:lnTo>
                  <a:lnTo>
                    <a:pt x="11644" y="21600"/>
                  </a:lnTo>
                  <a:lnTo>
                    <a:pt x="9037" y="19813"/>
                  </a:lnTo>
                  <a:lnTo>
                    <a:pt x="14289" y="16002"/>
                  </a:lnTo>
                  <a:cubicBezTo>
                    <a:pt x="14289" y="16002"/>
                    <a:pt x="15171" y="13977"/>
                    <a:pt x="15171" y="13386"/>
                  </a:cubicBezTo>
                  <a:cubicBezTo>
                    <a:pt x="15171" y="12795"/>
                    <a:pt x="12563" y="11586"/>
                    <a:pt x="12563" y="10995"/>
                  </a:cubicBezTo>
                  <a:cubicBezTo>
                    <a:pt x="12563" y="10404"/>
                    <a:pt x="4958" y="10493"/>
                    <a:pt x="4958" y="8291"/>
                  </a:cubicBezTo>
                  <a:cubicBezTo>
                    <a:pt x="4958" y="6090"/>
                    <a:pt x="4079" y="4693"/>
                    <a:pt x="4079" y="4693"/>
                  </a:cubicBezTo>
                  <a:lnTo>
                    <a:pt x="0" y="1611"/>
                  </a:lnTo>
                  <a:lnTo>
                    <a:pt x="2314" y="0"/>
                  </a:lnTo>
                  <a:close/>
                </a:path>
              </a:pathLst>
            </a:custGeom>
            <a:solidFill>
              <a:schemeClr val="accent3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05" name="Shape 705"/>
            <p:cNvSpPr/>
            <p:nvPr/>
          </p:nvSpPr>
          <p:spPr>
            <a:xfrm rot="10800000" flipH="1">
              <a:off x="3128678" y="4554276"/>
              <a:ext cx="214404" cy="13320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928" y="655"/>
                  </a:moveTo>
                  <a:lnTo>
                    <a:pt x="21600" y="0"/>
                  </a:lnTo>
                  <a:lnTo>
                    <a:pt x="21600" y="6954"/>
                  </a:lnTo>
                  <a:lnTo>
                    <a:pt x="13997" y="21600"/>
                  </a:lnTo>
                  <a:lnTo>
                    <a:pt x="0" y="17851"/>
                  </a:lnTo>
                  <a:lnTo>
                    <a:pt x="1626" y="2821"/>
                  </a:lnTo>
                  <a:lnTo>
                    <a:pt x="5366" y="13251"/>
                  </a:lnTo>
                  <a:lnTo>
                    <a:pt x="11210" y="7225"/>
                  </a:lnTo>
                  <a:lnTo>
                    <a:pt x="10928" y="655"/>
                  </a:lnTo>
                  <a:close/>
                </a:path>
              </a:pathLst>
            </a:custGeom>
            <a:solidFill>
              <a:srgbClr val="9CB2CB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06" name="Shape 706"/>
            <p:cNvSpPr/>
            <p:nvPr/>
          </p:nvSpPr>
          <p:spPr>
            <a:xfrm rot="10800000" flipH="1">
              <a:off x="2700300" y="5953964"/>
              <a:ext cx="251473" cy="18624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278" y="0"/>
                  </a:moveTo>
                  <a:lnTo>
                    <a:pt x="13893" y="7460"/>
                  </a:lnTo>
                  <a:lnTo>
                    <a:pt x="12501" y="12279"/>
                  </a:lnTo>
                  <a:lnTo>
                    <a:pt x="20266" y="14434"/>
                  </a:lnTo>
                  <a:lnTo>
                    <a:pt x="21600" y="21600"/>
                  </a:lnTo>
                  <a:lnTo>
                    <a:pt x="11412" y="17565"/>
                  </a:lnTo>
                  <a:lnTo>
                    <a:pt x="3075" y="12260"/>
                  </a:lnTo>
                  <a:lnTo>
                    <a:pt x="7243" y="7737"/>
                  </a:lnTo>
                  <a:lnTo>
                    <a:pt x="0" y="4974"/>
                  </a:lnTo>
                  <a:lnTo>
                    <a:pt x="4278" y="0"/>
                  </a:lnTo>
                  <a:close/>
                </a:path>
              </a:pathLst>
            </a:custGeom>
            <a:solidFill>
              <a:schemeClr val="accent2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07" name="Shape 707"/>
            <p:cNvSpPr/>
            <p:nvPr/>
          </p:nvSpPr>
          <p:spPr>
            <a:xfrm rot="10800000" flipH="1">
              <a:off x="2235821" y="4772592"/>
              <a:ext cx="761452" cy="2627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86" y="4859"/>
                  </a:moveTo>
                  <a:lnTo>
                    <a:pt x="6884" y="0"/>
                  </a:lnTo>
                  <a:lnTo>
                    <a:pt x="9754" y="5387"/>
                  </a:lnTo>
                  <a:lnTo>
                    <a:pt x="9295" y="10037"/>
                  </a:lnTo>
                  <a:lnTo>
                    <a:pt x="11895" y="12022"/>
                  </a:lnTo>
                  <a:lnTo>
                    <a:pt x="14136" y="8150"/>
                  </a:lnTo>
                  <a:lnTo>
                    <a:pt x="16394" y="11217"/>
                  </a:lnTo>
                  <a:lnTo>
                    <a:pt x="16394" y="14522"/>
                  </a:lnTo>
                  <a:lnTo>
                    <a:pt x="19361" y="14842"/>
                  </a:lnTo>
                  <a:lnTo>
                    <a:pt x="21600" y="14189"/>
                  </a:lnTo>
                  <a:lnTo>
                    <a:pt x="21600" y="18922"/>
                  </a:lnTo>
                  <a:lnTo>
                    <a:pt x="20665" y="21600"/>
                  </a:lnTo>
                  <a:lnTo>
                    <a:pt x="16571" y="19713"/>
                  </a:lnTo>
                  <a:lnTo>
                    <a:pt x="12764" y="15104"/>
                  </a:lnTo>
                  <a:lnTo>
                    <a:pt x="9032" y="12590"/>
                  </a:lnTo>
                  <a:lnTo>
                    <a:pt x="5856" y="8659"/>
                  </a:lnTo>
                  <a:lnTo>
                    <a:pt x="900" y="7451"/>
                  </a:lnTo>
                  <a:lnTo>
                    <a:pt x="0" y="3691"/>
                  </a:lnTo>
                  <a:lnTo>
                    <a:pt x="2564" y="1065"/>
                  </a:lnTo>
                  <a:lnTo>
                    <a:pt x="5986" y="4859"/>
                  </a:lnTo>
                  <a:close/>
                </a:path>
              </a:pathLst>
            </a:custGeom>
            <a:solidFill>
              <a:schemeClr val="accent2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08" name="Shape 708"/>
            <p:cNvSpPr/>
            <p:nvPr/>
          </p:nvSpPr>
          <p:spPr>
            <a:xfrm rot="10800000" flipH="1">
              <a:off x="2288481" y="4448990"/>
              <a:ext cx="352062" cy="16480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1211" y="2479"/>
                  </a:lnTo>
                  <a:lnTo>
                    <a:pt x="17707" y="8610"/>
                  </a:lnTo>
                  <a:lnTo>
                    <a:pt x="21600" y="13834"/>
                  </a:lnTo>
                  <a:lnTo>
                    <a:pt x="15023" y="16821"/>
                  </a:lnTo>
                  <a:lnTo>
                    <a:pt x="7452" y="21600"/>
                  </a:lnTo>
                  <a:lnTo>
                    <a:pt x="7452" y="15979"/>
                  </a:lnTo>
                  <a:lnTo>
                    <a:pt x="11673" y="13231"/>
                  </a:lnTo>
                  <a:lnTo>
                    <a:pt x="10020" y="6302"/>
                  </a:lnTo>
                  <a:lnTo>
                    <a:pt x="2278" y="38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09" name="Shape 709"/>
            <p:cNvSpPr/>
            <p:nvPr/>
          </p:nvSpPr>
          <p:spPr>
            <a:xfrm rot="10800000" flipH="1">
              <a:off x="4043077" y="5187959"/>
              <a:ext cx="262270" cy="14536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324" y="0"/>
                  </a:moveTo>
                  <a:lnTo>
                    <a:pt x="21600" y="9985"/>
                  </a:lnTo>
                  <a:lnTo>
                    <a:pt x="17603" y="21600"/>
                  </a:lnTo>
                  <a:lnTo>
                    <a:pt x="12276" y="12121"/>
                  </a:lnTo>
                  <a:lnTo>
                    <a:pt x="6056" y="20124"/>
                  </a:lnTo>
                  <a:lnTo>
                    <a:pt x="2168" y="16986"/>
                  </a:lnTo>
                  <a:lnTo>
                    <a:pt x="0" y="5371"/>
                  </a:lnTo>
                  <a:lnTo>
                    <a:pt x="7780" y="7554"/>
                  </a:lnTo>
                  <a:lnTo>
                    <a:pt x="16324" y="0"/>
                  </a:lnTo>
                  <a:close/>
                </a:path>
              </a:pathLst>
            </a:custGeom>
            <a:solidFill>
              <a:schemeClr val="accent6">
                <a:lumMod val="25000"/>
                <a:alpha val="2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10" name="Shape 710"/>
            <p:cNvSpPr/>
            <p:nvPr/>
          </p:nvSpPr>
          <p:spPr>
            <a:xfrm rot="10800000" flipH="1">
              <a:off x="4048845" y="4050341"/>
              <a:ext cx="142872" cy="5400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589" h="21600" extrusionOk="0">
                  <a:moveTo>
                    <a:pt x="5796" y="0"/>
                  </a:moveTo>
                  <a:cubicBezTo>
                    <a:pt x="5796" y="0"/>
                    <a:pt x="-4011" y="16745"/>
                    <a:pt x="1889" y="18362"/>
                  </a:cubicBezTo>
                  <a:cubicBezTo>
                    <a:pt x="7790" y="19978"/>
                    <a:pt x="13683" y="21600"/>
                    <a:pt x="13683" y="21600"/>
                  </a:cubicBezTo>
                  <a:lnTo>
                    <a:pt x="17589" y="10931"/>
                  </a:lnTo>
                  <a:lnTo>
                    <a:pt x="5796" y="0"/>
                  </a:lnTo>
                  <a:close/>
                </a:path>
              </a:pathLst>
            </a:custGeom>
            <a:solidFill>
              <a:schemeClr val="accent6">
                <a:lumMod val="25000"/>
                <a:alpha val="2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11" name="Shape 711"/>
            <p:cNvSpPr/>
            <p:nvPr/>
          </p:nvSpPr>
          <p:spPr>
            <a:xfrm rot="10800000" flipH="1">
              <a:off x="4625921" y="4543488"/>
              <a:ext cx="307591" cy="11803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29"/>
                  </a:moveTo>
                  <a:lnTo>
                    <a:pt x="21600" y="21600"/>
                  </a:lnTo>
                  <a:lnTo>
                    <a:pt x="8346" y="0"/>
                  </a:lnTo>
                  <a:lnTo>
                    <a:pt x="0" y="1829"/>
                  </a:lnTo>
                  <a:close/>
                </a:path>
              </a:pathLst>
            </a:custGeom>
            <a:solidFill>
              <a:schemeClr val="accent6">
                <a:lumMod val="25000"/>
                <a:alpha val="2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12" name="Shape 712"/>
            <p:cNvSpPr/>
            <p:nvPr/>
          </p:nvSpPr>
          <p:spPr>
            <a:xfrm rot="10800000" flipH="1">
              <a:off x="5921678" y="667711"/>
              <a:ext cx="598193" cy="19332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013" y="3264"/>
                  </a:moveTo>
                  <a:lnTo>
                    <a:pt x="6013" y="0"/>
                  </a:lnTo>
                  <a:lnTo>
                    <a:pt x="0" y="0"/>
                  </a:lnTo>
                  <a:lnTo>
                    <a:pt x="0" y="7810"/>
                  </a:lnTo>
                  <a:lnTo>
                    <a:pt x="1168" y="13809"/>
                  </a:lnTo>
                  <a:lnTo>
                    <a:pt x="7525" y="18636"/>
                  </a:lnTo>
                  <a:lnTo>
                    <a:pt x="11302" y="21600"/>
                  </a:lnTo>
                  <a:lnTo>
                    <a:pt x="18336" y="20561"/>
                  </a:lnTo>
                  <a:lnTo>
                    <a:pt x="21015" y="18034"/>
                  </a:lnTo>
                  <a:lnTo>
                    <a:pt x="21600" y="12789"/>
                  </a:lnTo>
                  <a:lnTo>
                    <a:pt x="20042" y="7525"/>
                  </a:lnTo>
                  <a:lnTo>
                    <a:pt x="18312" y="14961"/>
                  </a:lnTo>
                  <a:lnTo>
                    <a:pt x="16754" y="17604"/>
                  </a:lnTo>
                  <a:lnTo>
                    <a:pt x="15587" y="10531"/>
                  </a:lnTo>
                  <a:lnTo>
                    <a:pt x="12734" y="7550"/>
                  </a:lnTo>
                  <a:lnTo>
                    <a:pt x="8086" y="11605"/>
                  </a:lnTo>
                  <a:lnTo>
                    <a:pt x="5967" y="9983"/>
                  </a:lnTo>
                  <a:lnTo>
                    <a:pt x="11543" y="3868"/>
                  </a:lnTo>
                  <a:lnTo>
                    <a:pt x="8498" y="1944"/>
                  </a:lnTo>
                  <a:lnTo>
                    <a:pt x="6013" y="3264"/>
                  </a:lnTo>
                  <a:close/>
                </a:path>
              </a:pathLst>
            </a:custGeom>
            <a:solidFill>
              <a:schemeClr val="accent6">
                <a:lumMod val="25000"/>
                <a:alpha val="2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13" name="Shape 713"/>
            <p:cNvSpPr/>
            <p:nvPr/>
          </p:nvSpPr>
          <p:spPr>
            <a:xfrm rot="10800000" flipH="1">
              <a:off x="6426263" y="806576"/>
              <a:ext cx="325062" cy="17544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1780" y="7588"/>
                  </a:lnTo>
                  <a:lnTo>
                    <a:pt x="12856" y="15861"/>
                  </a:lnTo>
                  <a:lnTo>
                    <a:pt x="13888" y="21102"/>
                  </a:lnTo>
                  <a:lnTo>
                    <a:pt x="20524" y="21600"/>
                  </a:lnTo>
                  <a:cubicBezTo>
                    <a:pt x="20524" y="21600"/>
                    <a:pt x="21600" y="15450"/>
                    <a:pt x="21600" y="13993"/>
                  </a:cubicBezTo>
                  <a:cubicBezTo>
                    <a:pt x="21600" y="12536"/>
                    <a:pt x="21600" y="6404"/>
                    <a:pt x="21600" y="6404"/>
                  </a:cubicBezTo>
                  <a:lnTo>
                    <a:pt x="15150" y="3432"/>
                  </a:lnTo>
                  <a:lnTo>
                    <a:pt x="8829" y="24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25000"/>
                <a:alpha val="2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14" name="Shape 714"/>
            <p:cNvSpPr/>
            <p:nvPr/>
          </p:nvSpPr>
          <p:spPr>
            <a:xfrm rot="10800000" flipH="1">
              <a:off x="4374389" y="4729903"/>
              <a:ext cx="209914" cy="16242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994" y="0"/>
                  </a:moveTo>
                  <a:lnTo>
                    <a:pt x="0" y="15424"/>
                  </a:lnTo>
                  <a:lnTo>
                    <a:pt x="10769" y="16501"/>
                  </a:lnTo>
                  <a:lnTo>
                    <a:pt x="10144" y="21600"/>
                  </a:lnTo>
                  <a:lnTo>
                    <a:pt x="21600" y="20523"/>
                  </a:lnTo>
                  <a:lnTo>
                    <a:pt x="10925" y="9411"/>
                  </a:lnTo>
                  <a:lnTo>
                    <a:pt x="4994" y="0"/>
                  </a:lnTo>
                  <a:close/>
                </a:path>
              </a:pathLst>
            </a:custGeom>
            <a:solidFill>
              <a:schemeClr val="accent6">
                <a:lumMod val="25000"/>
                <a:alpha val="2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</p:grpSp>
      <p:grpSp>
        <p:nvGrpSpPr>
          <p:cNvPr id="734" name="Group 73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4105097" y="768375"/>
            <a:ext cx="3558950" cy="1648834"/>
            <a:chOff x="0" y="0"/>
            <a:chExt cx="7117898" cy="3297665"/>
          </a:xfrm>
        </p:grpSpPr>
        <p:grpSp>
          <p:nvGrpSpPr>
            <p:cNvPr id="732" name="Group 732"/>
            <p:cNvGrpSpPr/>
            <p:nvPr/>
          </p:nvGrpSpPr>
          <p:grpSpPr>
            <a:xfrm>
              <a:off x="0" y="0"/>
              <a:ext cx="7117899" cy="3297666"/>
              <a:chOff x="0" y="0"/>
              <a:chExt cx="7117898" cy="3297665"/>
            </a:xfrm>
          </p:grpSpPr>
          <p:sp>
            <p:nvSpPr>
              <p:cNvPr id="719" name="Shape 719"/>
              <p:cNvSpPr/>
              <p:nvPr/>
            </p:nvSpPr>
            <p:spPr>
              <a:xfrm>
                <a:off x="0" y="0"/>
                <a:ext cx="7117899" cy="329766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9847"/>
                    </a:moveTo>
                    <a:lnTo>
                      <a:pt x="1796" y="20374"/>
                    </a:lnTo>
                    <a:cubicBezTo>
                      <a:pt x="1796" y="20374"/>
                      <a:pt x="3515" y="20662"/>
                      <a:pt x="3610" y="20764"/>
                    </a:cubicBezTo>
                    <a:cubicBezTo>
                      <a:pt x="3704" y="20865"/>
                      <a:pt x="5402" y="20971"/>
                      <a:pt x="5402" y="20971"/>
                    </a:cubicBezTo>
                    <a:cubicBezTo>
                      <a:pt x="5402" y="20971"/>
                      <a:pt x="6612" y="21078"/>
                      <a:pt x="6708" y="21078"/>
                    </a:cubicBezTo>
                    <a:cubicBezTo>
                      <a:pt x="6804" y="21078"/>
                      <a:pt x="8782" y="21219"/>
                      <a:pt x="8782" y="21219"/>
                    </a:cubicBezTo>
                    <a:lnTo>
                      <a:pt x="9857" y="21529"/>
                    </a:lnTo>
                    <a:lnTo>
                      <a:pt x="10574" y="21600"/>
                    </a:lnTo>
                    <a:lnTo>
                      <a:pt x="14169" y="21356"/>
                    </a:lnTo>
                    <a:lnTo>
                      <a:pt x="15332" y="21144"/>
                    </a:lnTo>
                    <a:cubicBezTo>
                      <a:pt x="15332" y="21144"/>
                      <a:pt x="16084" y="20932"/>
                      <a:pt x="16213" y="20932"/>
                    </a:cubicBezTo>
                    <a:cubicBezTo>
                      <a:pt x="16342" y="20932"/>
                      <a:pt x="17466" y="20932"/>
                      <a:pt x="17466" y="20932"/>
                    </a:cubicBezTo>
                    <a:cubicBezTo>
                      <a:pt x="17466" y="20932"/>
                      <a:pt x="18449" y="21034"/>
                      <a:pt x="18578" y="20932"/>
                    </a:cubicBezTo>
                    <a:cubicBezTo>
                      <a:pt x="18707" y="20830"/>
                      <a:pt x="19606" y="20826"/>
                      <a:pt x="19688" y="20724"/>
                    </a:cubicBezTo>
                    <a:cubicBezTo>
                      <a:pt x="19769" y="20622"/>
                      <a:pt x="20916" y="20551"/>
                      <a:pt x="20916" y="20551"/>
                    </a:cubicBezTo>
                    <a:lnTo>
                      <a:pt x="21600" y="20232"/>
                    </a:lnTo>
                    <a:lnTo>
                      <a:pt x="21354" y="18157"/>
                    </a:lnTo>
                    <a:cubicBezTo>
                      <a:pt x="21354" y="18157"/>
                      <a:pt x="21094" y="16985"/>
                      <a:pt x="21000" y="16299"/>
                    </a:cubicBezTo>
                    <a:cubicBezTo>
                      <a:pt x="20906" y="15612"/>
                      <a:pt x="20418" y="14559"/>
                      <a:pt x="20418" y="14559"/>
                    </a:cubicBezTo>
                    <a:lnTo>
                      <a:pt x="19800" y="14134"/>
                    </a:lnTo>
                    <a:lnTo>
                      <a:pt x="19544" y="14343"/>
                    </a:lnTo>
                    <a:lnTo>
                      <a:pt x="19072" y="13930"/>
                    </a:lnTo>
                    <a:lnTo>
                      <a:pt x="18290" y="13718"/>
                    </a:lnTo>
                    <a:lnTo>
                      <a:pt x="17870" y="12700"/>
                    </a:lnTo>
                    <a:lnTo>
                      <a:pt x="17151" y="12382"/>
                    </a:lnTo>
                    <a:lnTo>
                      <a:pt x="16637" y="11408"/>
                    </a:lnTo>
                    <a:lnTo>
                      <a:pt x="15904" y="11514"/>
                    </a:lnTo>
                    <a:lnTo>
                      <a:pt x="15562" y="10328"/>
                    </a:lnTo>
                    <a:lnTo>
                      <a:pt x="15243" y="9841"/>
                    </a:lnTo>
                    <a:lnTo>
                      <a:pt x="14491" y="6253"/>
                    </a:lnTo>
                    <a:lnTo>
                      <a:pt x="14002" y="6358"/>
                    </a:lnTo>
                    <a:lnTo>
                      <a:pt x="13662" y="4823"/>
                    </a:lnTo>
                    <a:lnTo>
                      <a:pt x="12858" y="3840"/>
                    </a:lnTo>
                    <a:lnTo>
                      <a:pt x="12275" y="4752"/>
                    </a:lnTo>
                    <a:lnTo>
                      <a:pt x="11967" y="4858"/>
                    </a:lnTo>
                    <a:lnTo>
                      <a:pt x="11740" y="2385"/>
                    </a:lnTo>
                    <a:lnTo>
                      <a:pt x="10943" y="1960"/>
                    </a:lnTo>
                    <a:lnTo>
                      <a:pt x="10315" y="739"/>
                    </a:lnTo>
                    <a:lnTo>
                      <a:pt x="9612" y="0"/>
                    </a:lnTo>
                    <a:cubicBezTo>
                      <a:pt x="9612" y="0"/>
                      <a:pt x="9090" y="106"/>
                      <a:pt x="9008" y="212"/>
                    </a:cubicBezTo>
                    <a:cubicBezTo>
                      <a:pt x="8926" y="319"/>
                      <a:pt x="8603" y="810"/>
                      <a:pt x="8603" y="810"/>
                    </a:cubicBezTo>
                    <a:lnTo>
                      <a:pt x="7955" y="1124"/>
                    </a:lnTo>
                    <a:lnTo>
                      <a:pt x="6981" y="2362"/>
                    </a:lnTo>
                    <a:lnTo>
                      <a:pt x="6493" y="3876"/>
                    </a:lnTo>
                    <a:lnTo>
                      <a:pt x="5877" y="4398"/>
                    </a:lnTo>
                    <a:lnTo>
                      <a:pt x="5571" y="4154"/>
                    </a:lnTo>
                    <a:lnTo>
                      <a:pt x="5168" y="4469"/>
                    </a:lnTo>
                    <a:lnTo>
                      <a:pt x="4513" y="8919"/>
                    </a:lnTo>
                    <a:lnTo>
                      <a:pt x="4275" y="10220"/>
                    </a:lnTo>
                    <a:lnTo>
                      <a:pt x="3835" y="10605"/>
                    </a:lnTo>
                    <a:lnTo>
                      <a:pt x="3362" y="10181"/>
                    </a:lnTo>
                    <a:lnTo>
                      <a:pt x="3022" y="10181"/>
                    </a:lnTo>
                    <a:lnTo>
                      <a:pt x="2454" y="10464"/>
                    </a:lnTo>
                    <a:lnTo>
                      <a:pt x="2227" y="10955"/>
                    </a:lnTo>
                    <a:lnTo>
                      <a:pt x="1932" y="11729"/>
                    </a:lnTo>
                    <a:lnTo>
                      <a:pt x="1592" y="12637"/>
                    </a:lnTo>
                    <a:lnTo>
                      <a:pt x="73" y="18463"/>
                    </a:lnTo>
                    <a:lnTo>
                      <a:pt x="0" y="19847"/>
                    </a:lnTo>
                    <a:close/>
                  </a:path>
                </a:pathLst>
              </a:custGeom>
              <a:solidFill>
                <a:schemeClr val="accent6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lvl="0"/>
                <a:endParaRPr sz="900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720" name="Shape 720"/>
              <p:cNvSpPr/>
              <p:nvPr/>
            </p:nvSpPr>
            <p:spPr>
              <a:xfrm>
                <a:off x="4979" y="749198"/>
                <a:ext cx="3288416" cy="245529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277" y="21600"/>
                    </a:moveTo>
                    <a:cubicBezTo>
                      <a:pt x="21277" y="21600"/>
                      <a:pt x="5549" y="20459"/>
                      <a:pt x="3142" y="19936"/>
                    </a:cubicBezTo>
                    <a:cubicBezTo>
                      <a:pt x="736" y="19414"/>
                      <a:pt x="0" y="19271"/>
                      <a:pt x="0" y="19271"/>
                    </a:cubicBezTo>
                    <a:cubicBezTo>
                      <a:pt x="0" y="19271"/>
                      <a:pt x="1364" y="18113"/>
                      <a:pt x="1875" y="17839"/>
                    </a:cubicBezTo>
                    <a:cubicBezTo>
                      <a:pt x="2385" y="17566"/>
                      <a:pt x="3763" y="15813"/>
                      <a:pt x="3763" y="15813"/>
                    </a:cubicBezTo>
                    <a:lnTo>
                      <a:pt x="4606" y="13727"/>
                    </a:lnTo>
                    <a:lnTo>
                      <a:pt x="3941" y="13067"/>
                    </a:lnTo>
                    <a:cubicBezTo>
                      <a:pt x="3941" y="13067"/>
                      <a:pt x="2385" y="15349"/>
                      <a:pt x="2177" y="15628"/>
                    </a:cubicBezTo>
                    <a:cubicBezTo>
                      <a:pt x="1968" y="15907"/>
                      <a:pt x="763" y="17185"/>
                      <a:pt x="763" y="17185"/>
                    </a:cubicBezTo>
                    <a:lnTo>
                      <a:pt x="3099" y="12729"/>
                    </a:lnTo>
                    <a:cubicBezTo>
                      <a:pt x="3099" y="12729"/>
                      <a:pt x="3692" y="11345"/>
                      <a:pt x="3799" y="11065"/>
                    </a:cubicBezTo>
                    <a:cubicBezTo>
                      <a:pt x="3905" y="10786"/>
                      <a:pt x="4535" y="9598"/>
                      <a:pt x="4535" y="9598"/>
                    </a:cubicBezTo>
                    <a:lnTo>
                      <a:pt x="5019" y="10014"/>
                    </a:lnTo>
                    <a:lnTo>
                      <a:pt x="5444" y="8927"/>
                    </a:lnTo>
                    <a:lnTo>
                      <a:pt x="6073" y="9444"/>
                    </a:lnTo>
                    <a:lnTo>
                      <a:pt x="6486" y="8641"/>
                    </a:lnTo>
                    <a:lnTo>
                      <a:pt x="6805" y="9866"/>
                    </a:lnTo>
                    <a:cubicBezTo>
                      <a:pt x="6805" y="9866"/>
                      <a:pt x="5710" y="11559"/>
                      <a:pt x="5604" y="11934"/>
                    </a:cubicBezTo>
                    <a:cubicBezTo>
                      <a:pt x="5498" y="12309"/>
                      <a:pt x="5710" y="13575"/>
                      <a:pt x="5710" y="13575"/>
                    </a:cubicBezTo>
                    <a:lnTo>
                      <a:pt x="6588" y="13480"/>
                    </a:lnTo>
                    <a:lnTo>
                      <a:pt x="6783" y="11310"/>
                    </a:lnTo>
                    <a:lnTo>
                      <a:pt x="7762" y="11168"/>
                    </a:lnTo>
                    <a:lnTo>
                      <a:pt x="8676" y="11917"/>
                    </a:lnTo>
                    <a:lnTo>
                      <a:pt x="9101" y="10556"/>
                    </a:lnTo>
                    <a:lnTo>
                      <a:pt x="9341" y="9449"/>
                    </a:lnTo>
                    <a:cubicBezTo>
                      <a:pt x="9341" y="9449"/>
                      <a:pt x="10502" y="9883"/>
                      <a:pt x="10502" y="10156"/>
                    </a:cubicBezTo>
                    <a:cubicBezTo>
                      <a:pt x="10502" y="10430"/>
                      <a:pt x="9119" y="12290"/>
                      <a:pt x="8942" y="12664"/>
                    </a:cubicBezTo>
                    <a:cubicBezTo>
                      <a:pt x="8765" y="13039"/>
                      <a:pt x="8340" y="13752"/>
                      <a:pt x="8340" y="14311"/>
                    </a:cubicBezTo>
                    <a:cubicBezTo>
                      <a:pt x="8340" y="14869"/>
                      <a:pt x="8690" y="15154"/>
                      <a:pt x="8690" y="15154"/>
                    </a:cubicBezTo>
                    <a:lnTo>
                      <a:pt x="9962" y="12706"/>
                    </a:lnTo>
                    <a:lnTo>
                      <a:pt x="10871" y="11951"/>
                    </a:lnTo>
                    <a:cubicBezTo>
                      <a:pt x="10871" y="11951"/>
                      <a:pt x="11261" y="11655"/>
                      <a:pt x="11363" y="11381"/>
                    </a:cubicBezTo>
                    <a:cubicBezTo>
                      <a:pt x="11465" y="11107"/>
                      <a:pt x="12383" y="10067"/>
                      <a:pt x="12383" y="10067"/>
                    </a:cubicBezTo>
                    <a:lnTo>
                      <a:pt x="13513" y="7951"/>
                    </a:lnTo>
                    <a:cubicBezTo>
                      <a:pt x="13513" y="7951"/>
                      <a:pt x="13895" y="7143"/>
                      <a:pt x="13615" y="7143"/>
                    </a:cubicBezTo>
                    <a:cubicBezTo>
                      <a:pt x="13335" y="7143"/>
                      <a:pt x="11780" y="7001"/>
                      <a:pt x="11780" y="7001"/>
                    </a:cubicBezTo>
                    <a:lnTo>
                      <a:pt x="9905" y="6858"/>
                    </a:lnTo>
                    <a:cubicBezTo>
                      <a:pt x="9905" y="6858"/>
                      <a:pt x="10579" y="1214"/>
                      <a:pt x="11177" y="607"/>
                    </a:cubicBezTo>
                    <a:cubicBezTo>
                      <a:pt x="11776" y="0"/>
                      <a:pt x="12051" y="0"/>
                      <a:pt x="12051" y="0"/>
                    </a:cubicBezTo>
                    <a:lnTo>
                      <a:pt x="11838" y="1213"/>
                    </a:lnTo>
                    <a:lnTo>
                      <a:pt x="12259" y="1629"/>
                    </a:lnTo>
                    <a:lnTo>
                      <a:pt x="12751" y="1107"/>
                    </a:lnTo>
                    <a:lnTo>
                      <a:pt x="13177" y="114"/>
                    </a:lnTo>
                    <a:lnTo>
                      <a:pt x="13696" y="399"/>
                    </a:lnTo>
                    <a:lnTo>
                      <a:pt x="14507" y="263"/>
                    </a:lnTo>
                    <a:lnTo>
                      <a:pt x="13881" y="1565"/>
                    </a:lnTo>
                    <a:lnTo>
                      <a:pt x="14369" y="1939"/>
                    </a:lnTo>
                    <a:lnTo>
                      <a:pt x="14157" y="3027"/>
                    </a:lnTo>
                    <a:lnTo>
                      <a:pt x="13452" y="3918"/>
                    </a:lnTo>
                    <a:lnTo>
                      <a:pt x="13554" y="5054"/>
                    </a:lnTo>
                    <a:lnTo>
                      <a:pt x="14073" y="4769"/>
                    </a:lnTo>
                    <a:lnTo>
                      <a:pt x="14774" y="3206"/>
                    </a:lnTo>
                    <a:lnTo>
                      <a:pt x="15053" y="4383"/>
                    </a:lnTo>
                    <a:lnTo>
                      <a:pt x="14521" y="6510"/>
                    </a:lnTo>
                    <a:lnTo>
                      <a:pt x="13435" y="9482"/>
                    </a:lnTo>
                    <a:lnTo>
                      <a:pt x="13151" y="11122"/>
                    </a:lnTo>
                    <a:lnTo>
                      <a:pt x="13045" y="12875"/>
                    </a:lnTo>
                    <a:lnTo>
                      <a:pt x="14774" y="11788"/>
                    </a:lnTo>
                    <a:lnTo>
                      <a:pt x="14774" y="10659"/>
                    </a:lnTo>
                    <a:lnTo>
                      <a:pt x="15341" y="8995"/>
                    </a:lnTo>
                    <a:lnTo>
                      <a:pt x="16041" y="8097"/>
                    </a:lnTo>
                    <a:lnTo>
                      <a:pt x="16321" y="7105"/>
                    </a:lnTo>
                    <a:lnTo>
                      <a:pt x="17451" y="5839"/>
                    </a:lnTo>
                    <a:lnTo>
                      <a:pt x="18404" y="6831"/>
                    </a:lnTo>
                    <a:cubicBezTo>
                      <a:pt x="18404" y="6831"/>
                      <a:pt x="18931" y="8447"/>
                      <a:pt x="18829" y="8864"/>
                    </a:cubicBezTo>
                    <a:cubicBezTo>
                      <a:pt x="18727" y="9280"/>
                      <a:pt x="18231" y="10314"/>
                      <a:pt x="18231" y="10314"/>
                    </a:cubicBezTo>
                    <a:cubicBezTo>
                      <a:pt x="18231" y="10314"/>
                      <a:pt x="18443" y="11544"/>
                      <a:pt x="18443" y="11824"/>
                    </a:cubicBezTo>
                    <a:cubicBezTo>
                      <a:pt x="18443" y="12103"/>
                      <a:pt x="18337" y="13417"/>
                      <a:pt x="18337" y="13417"/>
                    </a:cubicBezTo>
                    <a:lnTo>
                      <a:pt x="18762" y="14451"/>
                    </a:lnTo>
                    <a:lnTo>
                      <a:pt x="19081" y="15824"/>
                    </a:lnTo>
                    <a:lnTo>
                      <a:pt x="19959" y="15729"/>
                    </a:lnTo>
                    <a:lnTo>
                      <a:pt x="19959" y="14505"/>
                    </a:lnTo>
                    <a:cubicBezTo>
                      <a:pt x="19959" y="14505"/>
                      <a:pt x="19006" y="13216"/>
                      <a:pt x="19006" y="12942"/>
                    </a:cubicBezTo>
                    <a:cubicBezTo>
                      <a:pt x="19006" y="12668"/>
                      <a:pt x="19499" y="12383"/>
                      <a:pt x="19499" y="12383"/>
                    </a:cubicBezTo>
                    <a:cubicBezTo>
                      <a:pt x="19499" y="12383"/>
                      <a:pt x="20261" y="11592"/>
                      <a:pt x="19880" y="11497"/>
                    </a:cubicBezTo>
                    <a:cubicBezTo>
                      <a:pt x="19499" y="11402"/>
                      <a:pt x="18789" y="10868"/>
                      <a:pt x="18789" y="10594"/>
                    </a:cubicBezTo>
                    <a:cubicBezTo>
                      <a:pt x="18789" y="10320"/>
                      <a:pt x="19742" y="9755"/>
                      <a:pt x="19742" y="9755"/>
                    </a:cubicBezTo>
                    <a:lnTo>
                      <a:pt x="20682" y="10320"/>
                    </a:lnTo>
                    <a:lnTo>
                      <a:pt x="21139" y="9666"/>
                    </a:lnTo>
                    <a:lnTo>
                      <a:pt x="21210" y="13558"/>
                    </a:lnTo>
                    <a:cubicBezTo>
                      <a:pt x="21210" y="13558"/>
                      <a:pt x="21600" y="16219"/>
                      <a:pt x="21600" y="16499"/>
                    </a:cubicBezTo>
                    <a:cubicBezTo>
                      <a:pt x="21600" y="16778"/>
                      <a:pt x="21600" y="20385"/>
                      <a:pt x="21600" y="20385"/>
                    </a:cubicBezTo>
                    <a:lnTo>
                      <a:pt x="21277" y="21600"/>
                    </a:lnTo>
                    <a:close/>
                  </a:path>
                </a:pathLst>
              </a:custGeom>
              <a:solidFill>
                <a:schemeClr val="accent3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lvl="0"/>
                <a:endParaRPr sz="900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721" name="Shape 721"/>
              <p:cNvSpPr/>
              <p:nvPr/>
            </p:nvSpPr>
            <p:spPr>
              <a:xfrm>
                <a:off x="3197337" y="300323"/>
                <a:ext cx="396800" cy="115990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314" y="0"/>
                    </a:moveTo>
                    <a:lnTo>
                      <a:pt x="12196" y="5397"/>
                    </a:lnTo>
                    <a:lnTo>
                      <a:pt x="16312" y="8504"/>
                    </a:lnTo>
                    <a:lnTo>
                      <a:pt x="21600" y="12014"/>
                    </a:lnTo>
                    <a:lnTo>
                      <a:pt x="21600" y="16014"/>
                    </a:lnTo>
                    <a:lnTo>
                      <a:pt x="16312" y="19523"/>
                    </a:lnTo>
                    <a:lnTo>
                      <a:pt x="11644" y="21600"/>
                    </a:lnTo>
                    <a:lnTo>
                      <a:pt x="9037" y="19813"/>
                    </a:lnTo>
                    <a:lnTo>
                      <a:pt x="14289" y="16002"/>
                    </a:lnTo>
                    <a:cubicBezTo>
                      <a:pt x="14289" y="16002"/>
                      <a:pt x="15171" y="13977"/>
                      <a:pt x="15171" y="13386"/>
                    </a:cubicBezTo>
                    <a:cubicBezTo>
                      <a:pt x="15171" y="12795"/>
                      <a:pt x="12563" y="11586"/>
                      <a:pt x="12563" y="10995"/>
                    </a:cubicBezTo>
                    <a:cubicBezTo>
                      <a:pt x="12563" y="10404"/>
                      <a:pt x="4958" y="10493"/>
                      <a:pt x="4958" y="8291"/>
                    </a:cubicBezTo>
                    <a:cubicBezTo>
                      <a:pt x="4958" y="6090"/>
                      <a:pt x="4079" y="4693"/>
                      <a:pt x="4079" y="4693"/>
                    </a:cubicBezTo>
                    <a:lnTo>
                      <a:pt x="0" y="1611"/>
                    </a:lnTo>
                    <a:lnTo>
                      <a:pt x="2314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lvl="0"/>
                <a:endParaRPr sz="900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722" name="Shape 722"/>
              <p:cNvSpPr/>
              <p:nvPr/>
            </p:nvSpPr>
            <p:spPr>
              <a:xfrm>
                <a:off x="3131275" y="942667"/>
                <a:ext cx="214582" cy="53293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928" y="655"/>
                    </a:moveTo>
                    <a:lnTo>
                      <a:pt x="21600" y="0"/>
                    </a:lnTo>
                    <a:lnTo>
                      <a:pt x="21600" y="6954"/>
                    </a:lnTo>
                    <a:lnTo>
                      <a:pt x="13997" y="21600"/>
                    </a:lnTo>
                    <a:lnTo>
                      <a:pt x="0" y="17851"/>
                    </a:lnTo>
                    <a:lnTo>
                      <a:pt x="1626" y="2821"/>
                    </a:lnTo>
                    <a:lnTo>
                      <a:pt x="5366" y="13251"/>
                    </a:lnTo>
                    <a:lnTo>
                      <a:pt x="11210" y="7225"/>
                    </a:lnTo>
                    <a:lnTo>
                      <a:pt x="10928" y="655"/>
                    </a:lnTo>
                    <a:close/>
                  </a:path>
                </a:pathLst>
              </a:custGeom>
              <a:solidFill>
                <a:schemeClr val="accent3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lvl="0"/>
                <a:endParaRPr sz="900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723" name="Shape 723"/>
              <p:cNvSpPr/>
              <p:nvPr/>
            </p:nvSpPr>
            <p:spPr>
              <a:xfrm>
                <a:off x="2702539" y="170493"/>
                <a:ext cx="251681" cy="74512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4278" y="0"/>
                    </a:moveTo>
                    <a:lnTo>
                      <a:pt x="13893" y="7460"/>
                    </a:lnTo>
                    <a:lnTo>
                      <a:pt x="12501" y="12279"/>
                    </a:lnTo>
                    <a:lnTo>
                      <a:pt x="20266" y="14434"/>
                    </a:lnTo>
                    <a:lnTo>
                      <a:pt x="21600" y="21600"/>
                    </a:lnTo>
                    <a:lnTo>
                      <a:pt x="11412" y="17565"/>
                    </a:lnTo>
                    <a:lnTo>
                      <a:pt x="3075" y="12260"/>
                    </a:lnTo>
                    <a:lnTo>
                      <a:pt x="7243" y="7737"/>
                    </a:lnTo>
                    <a:lnTo>
                      <a:pt x="0" y="4974"/>
                    </a:lnTo>
                    <a:lnTo>
                      <a:pt x="4278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lvl="0"/>
                <a:endParaRPr sz="900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724" name="Shape 724"/>
              <p:cNvSpPr/>
              <p:nvPr/>
            </p:nvSpPr>
            <p:spPr>
              <a:xfrm>
                <a:off x="2237675" y="337096"/>
                <a:ext cx="762084" cy="105116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986" y="4859"/>
                    </a:moveTo>
                    <a:lnTo>
                      <a:pt x="6884" y="0"/>
                    </a:lnTo>
                    <a:lnTo>
                      <a:pt x="9754" y="5387"/>
                    </a:lnTo>
                    <a:lnTo>
                      <a:pt x="9295" y="10037"/>
                    </a:lnTo>
                    <a:lnTo>
                      <a:pt x="11895" y="12022"/>
                    </a:lnTo>
                    <a:lnTo>
                      <a:pt x="14136" y="8150"/>
                    </a:lnTo>
                    <a:lnTo>
                      <a:pt x="16394" y="11217"/>
                    </a:lnTo>
                    <a:lnTo>
                      <a:pt x="16394" y="14522"/>
                    </a:lnTo>
                    <a:lnTo>
                      <a:pt x="19361" y="14842"/>
                    </a:lnTo>
                    <a:lnTo>
                      <a:pt x="21600" y="14189"/>
                    </a:lnTo>
                    <a:lnTo>
                      <a:pt x="21600" y="18922"/>
                    </a:lnTo>
                    <a:lnTo>
                      <a:pt x="20665" y="21600"/>
                    </a:lnTo>
                    <a:lnTo>
                      <a:pt x="16571" y="19713"/>
                    </a:lnTo>
                    <a:lnTo>
                      <a:pt x="12764" y="15104"/>
                    </a:lnTo>
                    <a:lnTo>
                      <a:pt x="9032" y="12590"/>
                    </a:lnTo>
                    <a:lnTo>
                      <a:pt x="5856" y="8659"/>
                    </a:lnTo>
                    <a:lnTo>
                      <a:pt x="900" y="7451"/>
                    </a:lnTo>
                    <a:lnTo>
                      <a:pt x="0" y="3691"/>
                    </a:lnTo>
                    <a:lnTo>
                      <a:pt x="2564" y="1065"/>
                    </a:lnTo>
                    <a:lnTo>
                      <a:pt x="5986" y="4859"/>
                    </a:lnTo>
                    <a:close/>
                  </a:path>
                </a:pathLst>
              </a:custGeom>
              <a:solidFill>
                <a:schemeClr val="accent3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lvl="0"/>
                <a:endParaRPr sz="900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725" name="Shape 725"/>
              <p:cNvSpPr/>
              <p:nvPr/>
            </p:nvSpPr>
            <p:spPr>
              <a:xfrm>
                <a:off x="2290378" y="858363"/>
                <a:ext cx="352354" cy="65936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11211" y="2479"/>
                    </a:lnTo>
                    <a:lnTo>
                      <a:pt x="17707" y="8610"/>
                    </a:lnTo>
                    <a:lnTo>
                      <a:pt x="21600" y="13835"/>
                    </a:lnTo>
                    <a:lnTo>
                      <a:pt x="15023" y="16821"/>
                    </a:lnTo>
                    <a:lnTo>
                      <a:pt x="7452" y="21600"/>
                    </a:lnTo>
                    <a:lnTo>
                      <a:pt x="7452" y="15979"/>
                    </a:lnTo>
                    <a:lnTo>
                      <a:pt x="11673" y="13231"/>
                    </a:lnTo>
                    <a:lnTo>
                      <a:pt x="10020" y="6302"/>
                    </a:lnTo>
                    <a:lnTo>
                      <a:pt x="2278" y="386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lvl="0"/>
                <a:endParaRPr sz="900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726" name="Shape 726"/>
              <p:cNvSpPr/>
              <p:nvPr/>
            </p:nvSpPr>
            <p:spPr>
              <a:xfrm>
                <a:off x="4046432" y="640520"/>
                <a:ext cx="262488" cy="58156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324" y="0"/>
                    </a:moveTo>
                    <a:lnTo>
                      <a:pt x="21600" y="9985"/>
                    </a:lnTo>
                    <a:lnTo>
                      <a:pt x="17603" y="21600"/>
                    </a:lnTo>
                    <a:lnTo>
                      <a:pt x="12276" y="12121"/>
                    </a:lnTo>
                    <a:lnTo>
                      <a:pt x="6056" y="20124"/>
                    </a:lnTo>
                    <a:lnTo>
                      <a:pt x="2168" y="16986"/>
                    </a:lnTo>
                    <a:lnTo>
                      <a:pt x="0" y="5371"/>
                    </a:lnTo>
                    <a:lnTo>
                      <a:pt x="7780" y="7554"/>
                    </a:lnTo>
                    <a:lnTo>
                      <a:pt x="16324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  <a:alpha val="60000"/>
                </a:scheme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lvl="0"/>
                <a:endParaRPr sz="900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727" name="Shape 727"/>
              <p:cNvSpPr/>
              <p:nvPr/>
            </p:nvSpPr>
            <p:spPr>
              <a:xfrm>
                <a:off x="4052202" y="1461137"/>
                <a:ext cx="142991" cy="21608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7589" h="21600" extrusionOk="0">
                    <a:moveTo>
                      <a:pt x="5796" y="0"/>
                    </a:moveTo>
                    <a:cubicBezTo>
                      <a:pt x="5796" y="0"/>
                      <a:pt x="-4011" y="16745"/>
                      <a:pt x="1889" y="18362"/>
                    </a:cubicBezTo>
                    <a:cubicBezTo>
                      <a:pt x="7790" y="19978"/>
                      <a:pt x="13683" y="21600"/>
                      <a:pt x="13683" y="21600"/>
                    </a:cubicBezTo>
                    <a:lnTo>
                      <a:pt x="17589" y="10931"/>
                    </a:lnTo>
                    <a:lnTo>
                      <a:pt x="579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  <a:alpha val="60000"/>
                </a:scheme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lvl="0"/>
                <a:endParaRPr sz="900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728" name="Shape 728"/>
              <p:cNvSpPr/>
              <p:nvPr/>
            </p:nvSpPr>
            <p:spPr>
              <a:xfrm>
                <a:off x="4629757" y="1007704"/>
                <a:ext cx="307847" cy="47221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829"/>
                    </a:moveTo>
                    <a:lnTo>
                      <a:pt x="21600" y="21600"/>
                    </a:lnTo>
                    <a:lnTo>
                      <a:pt x="8346" y="0"/>
                    </a:lnTo>
                    <a:lnTo>
                      <a:pt x="0" y="1829"/>
                    </a:lnTo>
                    <a:close/>
                  </a:path>
                </a:pathLst>
              </a:custGeom>
              <a:solidFill>
                <a:schemeClr val="bg1">
                  <a:lumMod val="95000"/>
                  <a:alpha val="60000"/>
                </a:scheme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lvl="0"/>
                <a:endParaRPr sz="900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729" name="Shape 729"/>
              <p:cNvSpPr/>
              <p:nvPr/>
            </p:nvSpPr>
            <p:spPr>
              <a:xfrm>
                <a:off x="5926593" y="2257078"/>
                <a:ext cx="598688" cy="77345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013" y="3264"/>
                    </a:moveTo>
                    <a:lnTo>
                      <a:pt x="6013" y="0"/>
                    </a:lnTo>
                    <a:lnTo>
                      <a:pt x="0" y="0"/>
                    </a:lnTo>
                    <a:lnTo>
                      <a:pt x="0" y="7810"/>
                    </a:lnTo>
                    <a:lnTo>
                      <a:pt x="1168" y="13809"/>
                    </a:lnTo>
                    <a:lnTo>
                      <a:pt x="7525" y="18636"/>
                    </a:lnTo>
                    <a:lnTo>
                      <a:pt x="11302" y="21600"/>
                    </a:lnTo>
                    <a:lnTo>
                      <a:pt x="18336" y="20561"/>
                    </a:lnTo>
                    <a:lnTo>
                      <a:pt x="21015" y="18034"/>
                    </a:lnTo>
                    <a:lnTo>
                      <a:pt x="21600" y="12789"/>
                    </a:lnTo>
                    <a:lnTo>
                      <a:pt x="20042" y="7525"/>
                    </a:lnTo>
                    <a:lnTo>
                      <a:pt x="18312" y="14961"/>
                    </a:lnTo>
                    <a:lnTo>
                      <a:pt x="16754" y="17604"/>
                    </a:lnTo>
                    <a:lnTo>
                      <a:pt x="15587" y="10531"/>
                    </a:lnTo>
                    <a:lnTo>
                      <a:pt x="12734" y="7550"/>
                    </a:lnTo>
                    <a:lnTo>
                      <a:pt x="8086" y="11605"/>
                    </a:lnTo>
                    <a:lnTo>
                      <a:pt x="5967" y="9983"/>
                    </a:lnTo>
                    <a:lnTo>
                      <a:pt x="11543" y="3868"/>
                    </a:lnTo>
                    <a:lnTo>
                      <a:pt x="8498" y="1944"/>
                    </a:lnTo>
                    <a:lnTo>
                      <a:pt x="6013" y="3264"/>
                    </a:lnTo>
                    <a:close/>
                  </a:path>
                </a:pathLst>
              </a:custGeom>
              <a:solidFill>
                <a:schemeClr val="bg1">
                  <a:lumMod val="95000"/>
                  <a:alpha val="60000"/>
                </a:scheme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lvl="0"/>
                <a:endParaRPr sz="900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730" name="Shape 730"/>
              <p:cNvSpPr/>
              <p:nvPr/>
            </p:nvSpPr>
            <p:spPr>
              <a:xfrm>
                <a:off x="6431593" y="2273063"/>
                <a:ext cx="325331" cy="70191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11780" y="7588"/>
                    </a:lnTo>
                    <a:lnTo>
                      <a:pt x="12856" y="15861"/>
                    </a:lnTo>
                    <a:lnTo>
                      <a:pt x="13888" y="21102"/>
                    </a:lnTo>
                    <a:lnTo>
                      <a:pt x="20524" y="21600"/>
                    </a:lnTo>
                    <a:cubicBezTo>
                      <a:pt x="20524" y="21600"/>
                      <a:pt x="21600" y="15450"/>
                      <a:pt x="21600" y="13993"/>
                    </a:cubicBezTo>
                    <a:cubicBezTo>
                      <a:pt x="21600" y="12536"/>
                      <a:pt x="21600" y="6404"/>
                      <a:pt x="21600" y="6404"/>
                    </a:cubicBezTo>
                    <a:lnTo>
                      <a:pt x="15150" y="3432"/>
                    </a:lnTo>
                    <a:lnTo>
                      <a:pt x="8829" y="247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  <a:alpha val="60000"/>
                </a:scheme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lvl="0"/>
                <a:endParaRPr sz="900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731" name="Shape 731"/>
              <p:cNvSpPr/>
              <p:nvPr/>
            </p:nvSpPr>
            <p:spPr>
              <a:xfrm>
                <a:off x="4378017" y="755520"/>
                <a:ext cx="210089" cy="64982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4994" y="0"/>
                    </a:moveTo>
                    <a:lnTo>
                      <a:pt x="0" y="15424"/>
                    </a:lnTo>
                    <a:lnTo>
                      <a:pt x="10769" y="16501"/>
                    </a:lnTo>
                    <a:lnTo>
                      <a:pt x="10144" y="21600"/>
                    </a:lnTo>
                    <a:lnTo>
                      <a:pt x="21600" y="20523"/>
                    </a:lnTo>
                    <a:lnTo>
                      <a:pt x="10925" y="9411"/>
                    </a:lnTo>
                    <a:lnTo>
                      <a:pt x="4994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  <a:alpha val="60000"/>
                </a:scheme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lvl="0"/>
                <a:endParaRPr sz="900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</p:grpSp>
        <p:sp>
          <p:nvSpPr>
            <p:cNvPr id="733" name="Shape 733"/>
            <p:cNvSpPr/>
            <p:nvPr/>
          </p:nvSpPr>
          <p:spPr>
            <a:xfrm>
              <a:off x="3364071" y="1776645"/>
              <a:ext cx="2441728" cy="143055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16" y="11035"/>
                  </a:moveTo>
                  <a:lnTo>
                    <a:pt x="309" y="21600"/>
                  </a:lnTo>
                  <a:lnTo>
                    <a:pt x="2131" y="21355"/>
                  </a:lnTo>
                  <a:cubicBezTo>
                    <a:pt x="2131" y="21355"/>
                    <a:pt x="4206" y="20144"/>
                    <a:pt x="4505" y="20144"/>
                  </a:cubicBezTo>
                  <a:cubicBezTo>
                    <a:pt x="4805" y="20144"/>
                    <a:pt x="8166" y="20144"/>
                    <a:pt x="8166" y="20144"/>
                  </a:cubicBezTo>
                  <a:lnTo>
                    <a:pt x="11012" y="20389"/>
                  </a:lnTo>
                  <a:lnTo>
                    <a:pt x="14756" y="20155"/>
                  </a:lnTo>
                  <a:lnTo>
                    <a:pt x="17188" y="19910"/>
                  </a:lnTo>
                  <a:lnTo>
                    <a:pt x="20084" y="19665"/>
                  </a:lnTo>
                  <a:lnTo>
                    <a:pt x="20084" y="18454"/>
                  </a:lnTo>
                  <a:lnTo>
                    <a:pt x="21600" y="16673"/>
                  </a:lnTo>
                  <a:lnTo>
                    <a:pt x="20683" y="13598"/>
                  </a:lnTo>
                  <a:lnTo>
                    <a:pt x="18149" y="9536"/>
                  </a:lnTo>
                  <a:lnTo>
                    <a:pt x="18862" y="14412"/>
                  </a:lnTo>
                  <a:lnTo>
                    <a:pt x="19505" y="15360"/>
                  </a:lnTo>
                  <a:lnTo>
                    <a:pt x="18793" y="16969"/>
                  </a:lnTo>
                  <a:lnTo>
                    <a:pt x="17888" y="16633"/>
                  </a:lnTo>
                  <a:lnTo>
                    <a:pt x="16825" y="15259"/>
                  </a:lnTo>
                  <a:lnTo>
                    <a:pt x="15762" y="16236"/>
                  </a:lnTo>
                  <a:lnTo>
                    <a:pt x="15310" y="17213"/>
                  </a:lnTo>
                  <a:lnTo>
                    <a:pt x="12865" y="17295"/>
                  </a:lnTo>
                  <a:cubicBezTo>
                    <a:pt x="12865" y="17295"/>
                    <a:pt x="12521" y="15656"/>
                    <a:pt x="12967" y="15187"/>
                  </a:cubicBezTo>
                  <a:cubicBezTo>
                    <a:pt x="13413" y="14718"/>
                    <a:pt x="14285" y="14240"/>
                    <a:pt x="14686" y="14240"/>
                  </a:cubicBezTo>
                  <a:cubicBezTo>
                    <a:pt x="15088" y="14240"/>
                    <a:pt x="15699" y="13099"/>
                    <a:pt x="15699" y="13099"/>
                  </a:cubicBezTo>
                  <a:lnTo>
                    <a:pt x="15546" y="11236"/>
                  </a:lnTo>
                  <a:lnTo>
                    <a:pt x="12949" y="10748"/>
                  </a:lnTo>
                  <a:lnTo>
                    <a:pt x="12796" y="8875"/>
                  </a:lnTo>
                  <a:lnTo>
                    <a:pt x="11020" y="7908"/>
                  </a:lnTo>
                  <a:cubicBezTo>
                    <a:pt x="11020" y="7908"/>
                    <a:pt x="11166" y="8693"/>
                    <a:pt x="11313" y="9100"/>
                  </a:cubicBezTo>
                  <a:cubicBezTo>
                    <a:pt x="11460" y="9507"/>
                    <a:pt x="11912" y="12907"/>
                    <a:pt x="11912" y="12907"/>
                  </a:cubicBezTo>
                  <a:lnTo>
                    <a:pt x="11453" y="16298"/>
                  </a:lnTo>
                  <a:lnTo>
                    <a:pt x="10129" y="17418"/>
                  </a:lnTo>
                  <a:cubicBezTo>
                    <a:pt x="10129" y="17418"/>
                    <a:pt x="9524" y="17390"/>
                    <a:pt x="9524" y="16197"/>
                  </a:cubicBezTo>
                  <a:cubicBezTo>
                    <a:pt x="9524" y="15005"/>
                    <a:pt x="9524" y="14272"/>
                    <a:pt x="9524" y="14272"/>
                  </a:cubicBezTo>
                  <a:cubicBezTo>
                    <a:pt x="9524" y="14272"/>
                    <a:pt x="8754" y="13549"/>
                    <a:pt x="8149" y="13549"/>
                  </a:cubicBezTo>
                  <a:cubicBezTo>
                    <a:pt x="8149" y="13549"/>
                    <a:pt x="7245" y="11758"/>
                    <a:pt x="7092" y="11116"/>
                  </a:cubicBezTo>
                  <a:cubicBezTo>
                    <a:pt x="6940" y="10474"/>
                    <a:pt x="6679" y="9569"/>
                    <a:pt x="6227" y="8602"/>
                  </a:cubicBezTo>
                  <a:cubicBezTo>
                    <a:pt x="5775" y="7634"/>
                    <a:pt x="5316" y="6648"/>
                    <a:pt x="5316" y="6169"/>
                  </a:cubicBezTo>
                  <a:cubicBezTo>
                    <a:pt x="5316" y="5689"/>
                    <a:pt x="5322" y="3267"/>
                    <a:pt x="4870" y="3267"/>
                  </a:cubicBezTo>
                  <a:cubicBezTo>
                    <a:pt x="4418" y="3267"/>
                    <a:pt x="2992" y="4162"/>
                    <a:pt x="2992" y="4162"/>
                  </a:cubicBezTo>
                  <a:lnTo>
                    <a:pt x="2178" y="5953"/>
                  </a:lnTo>
                  <a:lnTo>
                    <a:pt x="1222" y="5436"/>
                  </a:lnTo>
                  <a:lnTo>
                    <a:pt x="0" y="0"/>
                  </a:lnTo>
                  <a:lnTo>
                    <a:pt x="316" y="11035"/>
                  </a:lnTo>
                  <a:close/>
                </a:path>
              </a:pathLst>
            </a:custGeom>
            <a:solidFill>
              <a:schemeClr val="bg1">
                <a:lumMod val="95000"/>
                <a:alpha val="5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</p:grpSp>
      <p:sp>
        <p:nvSpPr>
          <p:cNvPr id="735" name="Shape 73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3486142" y="2290053"/>
            <a:ext cx="2394656" cy="33558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701" h="16978" extrusionOk="0">
                <a:moveTo>
                  <a:pt x="3161" y="0"/>
                </a:moveTo>
                <a:cubicBezTo>
                  <a:pt x="3161" y="0"/>
                  <a:pt x="-1421" y="5515"/>
                  <a:pt x="6377" y="10491"/>
                </a:cubicBezTo>
                <a:cubicBezTo>
                  <a:pt x="14175" y="15467"/>
                  <a:pt x="19701" y="12322"/>
                  <a:pt x="19701" y="12322"/>
                </a:cubicBezTo>
                <a:cubicBezTo>
                  <a:pt x="19701" y="12322"/>
                  <a:pt x="6838" y="21600"/>
                  <a:pt x="2470" y="13963"/>
                </a:cubicBezTo>
                <a:cubicBezTo>
                  <a:pt x="-1899" y="6326"/>
                  <a:pt x="295" y="1072"/>
                  <a:pt x="3161" y="0"/>
                </a:cubicBezTo>
                <a:close/>
              </a:path>
            </a:pathLst>
          </a:custGeom>
          <a:solidFill>
            <a:schemeClr val="bg1">
              <a:alpha val="40000"/>
            </a:schemeClr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/>
            <a:endParaRPr sz="9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736" name="Shape 73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344826" y="2342312"/>
            <a:ext cx="2668865" cy="3647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8903" h="20158" extrusionOk="0">
                <a:moveTo>
                  <a:pt x="7" y="20157"/>
                </a:moveTo>
                <a:cubicBezTo>
                  <a:pt x="-396" y="20298"/>
                  <a:pt x="18426" y="9937"/>
                  <a:pt x="17517" y="4317"/>
                </a:cubicBezTo>
                <a:cubicBezTo>
                  <a:pt x="16607" y="-1302"/>
                  <a:pt x="16548" y="176"/>
                  <a:pt x="16548" y="176"/>
                </a:cubicBezTo>
                <a:cubicBezTo>
                  <a:pt x="16548" y="176"/>
                  <a:pt x="18797" y="575"/>
                  <a:pt x="18816" y="3608"/>
                </a:cubicBezTo>
                <a:cubicBezTo>
                  <a:pt x="18835" y="6642"/>
                  <a:pt x="21204" y="12710"/>
                  <a:pt x="7" y="20157"/>
                </a:cubicBezTo>
                <a:close/>
              </a:path>
            </a:pathLst>
          </a:custGeom>
          <a:solidFill>
            <a:schemeClr val="bg1">
              <a:alpha val="40000"/>
            </a:schemeClr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/>
            <a:endParaRPr sz="9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737" name="Shape 73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590877" y="2730355"/>
            <a:ext cx="2630953" cy="1555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66" h="11685" extrusionOk="0">
                <a:moveTo>
                  <a:pt x="12" y="6066"/>
                </a:moveTo>
                <a:cubicBezTo>
                  <a:pt x="-334" y="5624"/>
                  <a:pt x="7152" y="10914"/>
                  <a:pt x="13688" y="6066"/>
                </a:cubicBezTo>
                <a:cubicBezTo>
                  <a:pt x="20224" y="1217"/>
                  <a:pt x="21266" y="0"/>
                  <a:pt x="21266" y="0"/>
                </a:cubicBezTo>
                <a:cubicBezTo>
                  <a:pt x="21266" y="0"/>
                  <a:pt x="12181" y="21600"/>
                  <a:pt x="12" y="6066"/>
                </a:cubicBezTo>
                <a:close/>
              </a:path>
            </a:pathLst>
          </a:custGeom>
          <a:solidFill>
            <a:schemeClr val="bg1">
              <a:alpha val="40000"/>
            </a:schemeClr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/>
            <a:endParaRPr sz="9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grpSp>
        <p:nvGrpSpPr>
          <p:cNvPr id="751" name="Group 75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7829551" y="1936751"/>
            <a:ext cx="869951" cy="521061"/>
            <a:chOff x="0" y="0"/>
            <a:chExt cx="1739900" cy="1042120"/>
          </a:xfrm>
        </p:grpSpPr>
        <p:sp>
          <p:nvSpPr>
            <p:cNvPr id="738" name="Shape 738"/>
            <p:cNvSpPr/>
            <p:nvPr/>
          </p:nvSpPr>
          <p:spPr>
            <a:xfrm>
              <a:off x="0" y="0"/>
              <a:ext cx="1739901" cy="10421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9847"/>
                  </a:moveTo>
                  <a:lnTo>
                    <a:pt x="1796" y="20374"/>
                  </a:lnTo>
                  <a:cubicBezTo>
                    <a:pt x="1796" y="20374"/>
                    <a:pt x="3515" y="20662"/>
                    <a:pt x="3610" y="20764"/>
                  </a:cubicBezTo>
                  <a:cubicBezTo>
                    <a:pt x="3704" y="20865"/>
                    <a:pt x="5402" y="20971"/>
                    <a:pt x="5402" y="20971"/>
                  </a:cubicBezTo>
                  <a:cubicBezTo>
                    <a:pt x="5402" y="20971"/>
                    <a:pt x="6612" y="21078"/>
                    <a:pt x="6708" y="21078"/>
                  </a:cubicBezTo>
                  <a:cubicBezTo>
                    <a:pt x="6804" y="21078"/>
                    <a:pt x="8782" y="21219"/>
                    <a:pt x="8782" y="21219"/>
                  </a:cubicBezTo>
                  <a:lnTo>
                    <a:pt x="9857" y="21529"/>
                  </a:lnTo>
                  <a:lnTo>
                    <a:pt x="10574" y="21600"/>
                  </a:lnTo>
                  <a:lnTo>
                    <a:pt x="14169" y="21356"/>
                  </a:lnTo>
                  <a:lnTo>
                    <a:pt x="15332" y="21144"/>
                  </a:lnTo>
                  <a:cubicBezTo>
                    <a:pt x="15332" y="21144"/>
                    <a:pt x="16084" y="20932"/>
                    <a:pt x="16213" y="20932"/>
                  </a:cubicBezTo>
                  <a:cubicBezTo>
                    <a:pt x="16342" y="20932"/>
                    <a:pt x="17466" y="20932"/>
                    <a:pt x="17466" y="20932"/>
                  </a:cubicBezTo>
                  <a:cubicBezTo>
                    <a:pt x="17466" y="20932"/>
                    <a:pt x="18449" y="21034"/>
                    <a:pt x="18578" y="20932"/>
                  </a:cubicBezTo>
                  <a:cubicBezTo>
                    <a:pt x="18707" y="20830"/>
                    <a:pt x="19606" y="20826"/>
                    <a:pt x="19688" y="20724"/>
                  </a:cubicBezTo>
                  <a:cubicBezTo>
                    <a:pt x="19769" y="20622"/>
                    <a:pt x="20916" y="20551"/>
                    <a:pt x="20916" y="20551"/>
                  </a:cubicBezTo>
                  <a:lnTo>
                    <a:pt x="21600" y="20232"/>
                  </a:lnTo>
                  <a:lnTo>
                    <a:pt x="21354" y="18157"/>
                  </a:lnTo>
                  <a:cubicBezTo>
                    <a:pt x="21354" y="18157"/>
                    <a:pt x="21094" y="16985"/>
                    <a:pt x="21000" y="16299"/>
                  </a:cubicBezTo>
                  <a:cubicBezTo>
                    <a:pt x="20906" y="15612"/>
                    <a:pt x="20418" y="14559"/>
                    <a:pt x="20418" y="14559"/>
                  </a:cubicBezTo>
                  <a:lnTo>
                    <a:pt x="19800" y="14134"/>
                  </a:lnTo>
                  <a:lnTo>
                    <a:pt x="19543" y="14343"/>
                  </a:lnTo>
                  <a:lnTo>
                    <a:pt x="19072" y="13930"/>
                  </a:lnTo>
                  <a:lnTo>
                    <a:pt x="18290" y="13718"/>
                  </a:lnTo>
                  <a:lnTo>
                    <a:pt x="17870" y="12700"/>
                  </a:lnTo>
                  <a:lnTo>
                    <a:pt x="17151" y="12382"/>
                  </a:lnTo>
                  <a:lnTo>
                    <a:pt x="16637" y="11408"/>
                  </a:lnTo>
                  <a:lnTo>
                    <a:pt x="15904" y="11514"/>
                  </a:lnTo>
                  <a:lnTo>
                    <a:pt x="15562" y="10328"/>
                  </a:lnTo>
                  <a:lnTo>
                    <a:pt x="15243" y="9841"/>
                  </a:lnTo>
                  <a:lnTo>
                    <a:pt x="14491" y="6253"/>
                  </a:lnTo>
                  <a:lnTo>
                    <a:pt x="14002" y="6358"/>
                  </a:lnTo>
                  <a:lnTo>
                    <a:pt x="13662" y="4823"/>
                  </a:lnTo>
                  <a:lnTo>
                    <a:pt x="12858" y="3840"/>
                  </a:lnTo>
                  <a:lnTo>
                    <a:pt x="12275" y="4752"/>
                  </a:lnTo>
                  <a:lnTo>
                    <a:pt x="11967" y="4858"/>
                  </a:lnTo>
                  <a:lnTo>
                    <a:pt x="11740" y="2385"/>
                  </a:lnTo>
                  <a:lnTo>
                    <a:pt x="10943" y="1960"/>
                  </a:lnTo>
                  <a:lnTo>
                    <a:pt x="10315" y="739"/>
                  </a:lnTo>
                  <a:lnTo>
                    <a:pt x="9612" y="0"/>
                  </a:lnTo>
                  <a:cubicBezTo>
                    <a:pt x="9612" y="0"/>
                    <a:pt x="9090" y="106"/>
                    <a:pt x="9008" y="212"/>
                  </a:cubicBezTo>
                  <a:cubicBezTo>
                    <a:pt x="8926" y="319"/>
                    <a:pt x="8603" y="810"/>
                    <a:pt x="8603" y="810"/>
                  </a:cubicBezTo>
                  <a:lnTo>
                    <a:pt x="7955" y="1124"/>
                  </a:lnTo>
                  <a:lnTo>
                    <a:pt x="6981" y="2362"/>
                  </a:lnTo>
                  <a:lnTo>
                    <a:pt x="6493" y="3876"/>
                  </a:lnTo>
                  <a:lnTo>
                    <a:pt x="5877" y="4398"/>
                  </a:lnTo>
                  <a:lnTo>
                    <a:pt x="5571" y="4154"/>
                  </a:lnTo>
                  <a:lnTo>
                    <a:pt x="5168" y="4469"/>
                  </a:lnTo>
                  <a:lnTo>
                    <a:pt x="4513" y="8919"/>
                  </a:lnTo>
                  <a:lnTo>
                    <a:pt x="4275" y="10220"/>
                  </a:lnTo>
                  <a:lnTo>
                    <a:pt x="3835" y="10605"/>
                  </a:lnTo>
                  <a:lnTo>
                    <a:pt x="3362" y="10181"/>
                  </a:lnTo>
                  <a:lnTo>
                    <a:pt x="3022" y="10181"/>
                  </a:lnTo>
                  <a:lnTo>
                    <a:pt x="2454" y="10464"/>
                  </a:lnTo>
                  <a:lnTo>
                    <a:pt x="2227" y="10955"/>
                  </a:lnTo>
                  <a:lnTo>
                    <a:pt x="1932" y="11729"/>
                  </a:lnTo>
                  <a:lnTo>
                    <a:pt x="1592" y="12637"/>
                  </a:lnTo>
                  <a:lnTo>
                    <a:pt x="73" y="18463"/>
                  </a:lnTo>
                  <a:lnTo>
                    <a:pt x="0" y="19847"/>
                  </a:lnTo>
                  <a:close/>
                </a:path>
              </a:pathLst>
            </a:custGeom>
            <a:solidFill>
              <a:schemeClr val="accent6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39" name="Shape 739"/>
            <p:cNvSpPr/>
            <p:nvPr/>
          </p:nvSpPr>
          <p:spPr>
            <a:xfrm>
              <a:off x="1217" y="236760"/>
              <a:ext cx="803822" cy="7759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277" y="21600"/>
                  </a:moveTo>
                  <a:cubicBezTo>
                    <a:pt x="21277" y="21600"/>
                    <a:pt x="5549" y="20459"/>
                    <a:pt x="3142" y="19936"/>
                  </a:cubicBezTo>
                  <a:cubicBezTo>
                    <a:pt x="736" y="19414"/>
                    <a:pt x="0" y="19271"/>
                    <a:pt x="0" y="19271"/>
                  </a:cubicBezTo>
                  <a:cubicBezTo>
                    <a:pt x="0" y="19271"/>
                    <a:pt x="1364" y="18113"/>
                    <a:pt x="1875" y="17839"/>
                  </a:cubicBezTo>
                  <a:cubicBezTo>
                    <a:pt x="2385" y="17566"/>
                    <a:pt x="3763" y="15813"/>
                    <a:pt x="3763" y="15813"/>
                  </a:cubicBezTo>
                  <a:lnTo>
                    <a:pt x="4606" y="13727"/>
                  </a:lnTo>
                  <a:lnTo>
                    <a:pt x="3941" y="13067"/>
                  </a:lnTo>
                  <a:cubicBezTo>
                    <a:pt x="3941" y="13067"/>
                    <a:pt x="2385" y="15349"/>
                    <a:pt x="2177" y="15628"/>
                  </a:cubicBezTo>
                  <a:cubicBezTo>
                    <a:pt x="1968" y="15907"/>
                    <a:pt x="763" y="17185"/>
                    <a:pt x="763" y="17185"/>
                  </a:cubicBezTo>
                  <a:lnTo>
                    <a:pt x="3099" y="12729"/>
                  </a:lnTo>
                  <a:cubicBezTo>
                    <a:pt x="3099" y="12729"/>
                    <a:pt x="3692" y="11345"/>
                    <a:pt x="3799" y="11065"/>
                  </a:cubicBezTo>
                  <a:cubicBezTo>
                    <a:pt x="3905" y="10786"/>
                    <a:pt x="4535" y="9598"/>
                    <a:pt x="4535" y="9598"/>
                  </a:cubicBezTo>
                  <a:lnTo>
                    <a:pt x="5019" y="10014"/>
                  </a:lnTo>
                  <a:lnTo>
                    <a:pt x="5444" y="8927"/>
                  </a:lnTo>
                  <a:lnTo>
                    <a:pt x="6073" y="9444"/>
                  </a:lnTo>
                  <a:lnTo>
                    <a:pt x="6486" y="8641"/>
                  </a:lnTo>
                  <a:lnTo>
                    <a:pt x="6805" y="9866"/>
                  </a:lnTo>
                  <a:cubicBezTo>
                    <a:pt x="6805" y="9866"/>
                    <a:pt x="5710" y="11559"/>
                    <a:pt x="5604" y="11934"/>
                  </a:cubicBezTo>
                  <a:cubicBezTo>
                    <a:pt x="5498" y="12309"/>
                    <a:pt x="5710" y="13575"/>
                    <a:pt x="5710" y="13575"/>
                  </a:cubicBezTo>
                  <a:lnTo>
                    <a:pt x="6588" y="13480"/>
                  </a:lnTo>
                  <a:lnTo>
                    <a:pt x="6783" y="11310"/>
                  </a:lnTo>
                  <a:lnTo>
                    <a:pt x="7762" y="11168"/>
                  </a:lnTo>
                  <a:lnTo>
                    <a:pt x="8676" y="11917"/>
                  </a:lnTo>
                  <a:lnTo>
                    <a:pt x="9101" y="10556"/>
                  </a:lnTo>
                  <a:lnTo>
                    <a:pt x="9341" y="9449"/>
                  </a:lnTo>
                  <a:cubicBezTo>
                    <a:pt x="9341" y="9449"/>
                    <a:pt x="10502" y="9883"/>
                    <a:pt x="10502" y="10156"/>
                  </a:cubicBezTo>
                  <a:cubicBezTo>
                    <a:pt x="10502" y="10430"/>
                    <a:pt x="9119" y="12290"/>
                    <a:pt x="8942" y="12664"/>
                  </a:cubicBezTo>
                  <a:cubicBezTo>
                    <a:pt x="8765" y="13039"/>
                    <a:pt x="8340" y="13752"/>
                    <a:pt x="8340" y="14311"/>
                  </a:cubicBezTo>
                  <a:cubicBezTo>
                    <a:pt x="8340" y="14869"/>
                    <a:pt x="8690" y="15154"/>
                    <a:pt x="8690" y="15154"/>
                  </a:cubicBezTo>
                  <a:lnTo>
                    <a:pt x="9962" y="12706"/>
                  </a:lnTo>
                  <a:lnTo>
                    <a:pt x="10871" y="11951"/>
                  </a:lnTo>
                  <a:cubicBezTo>
                    <a:pt x="10871" y="11951"/>
                    <a:pt x="11261" y="11655"/>
                    <a:pt x="11363" y="11381"/>
                  </a:cubicBezTo>
                  <a:cubicBezTo>
                    <a:pt x="11465" y="11107"/>
                    <a:pt x="12383" y="10067"/>
                    <a:pt x="12383" y="10067"/>
                  </a:cubicBezTo>
                  <a:lnTo>
                    <a:pt x="13513" y="7951"/>
                  </a:lnTo>
                  <a:cubicBezTo>
                    <a:pt x="13513" y="7951"/>
                    <a:pt x="13895" y="7143"/>
                    <a:pt x="13615" y="7143"/>
                  </a:cubicBezTo>
                  <a:cubicBezTo>
                    <a:pt x="13335" y="7143"/>
                    <a:pt x="11780" y="7001"/>
                    <a:pt x="11780" y="7001"/>
                  </a:cubicBezTo>
                  <a:lnTo>
                    <a:pt x="9905" y="6858"/>
                  </a:lnTo>
                  <a:cubicBezTo>
                    <a:pt x="9905" y="6858"/>
                    <a:pt x="10579" y="1214"/>
                    <a:pt x="11177" y="607"/>
                  </a:cubicBezTo>
                  <a:cubicBezTo>
                    <a:pt x="11776" y="0"/>
                    <a:pt x="12051" y="0"/>
                    <a:pt x="12051" y="0"/>
                  </a:cubicBezTo>
                  <a:lnTo>
                    <a:pt x="11838" y="1213"/>
                  </a:lnTo>
                  <a:lnTo>
                    <a:pt x="12259" y="1629"/>
                  </a:lnTo>
                  <a:lnTo>
                    <a:pt x="12751" y="1107"/>
                  </a:lnTo>
                  <a:lnTo>
                    <a:pt x="13177" y="114"/>
                  </a:lnTo>
                  <a:lnTo>
                    <a:pt x="13696" y="399"/>
                  </a:lnTo>
                  <a:lnTo>
                    <a:pt x="14507" y="263"/>
                  </a:lnTo>
                  <a:lnTo>
                    <a:pt x="13881" y="1565"/>
                  </a:lnTo>
                  <a:lnTo>
                    <a:pt x="14369" y="1939"/>
                  </a:lnTo>
                  <a:lnTo>
                    <a:pt x="14157" y="3027"/>
                  </a:lnTo>
                  <a:lnTo>
                    <a:pt x="13452" y="3918"/>
                  </a:lnTo>
                  <a:lnTo>
                    <a:pt x="13554" y="5054"/>
                  </a:lnTo>
                  <a:lnTo>
                    <a:pt x="14073" y="4769"/>
                  </a:lnTo>
                  <a:lnTo>
                    <a:pt x="14774" y="3206"/>
                  </a:lnTo>
                  <a:lnTo>
                    <a:pt x="15053" y="4383"/>
                  </a:lnTo>
                  <a:lnTo>
                    <a:pt x="14521" y="6510"/>
                  </a:lnTo>
                  <a:lnTo>
                    <a:pt x="13435" y="9482"/>
                  </a:lnTo>
                  <a:lnTo>
                    <a:pt x="13151" y="11122"/>
                  </a:lnTo>
                  <a:lnTo>
                    <a:pt x="13045" y="12875"/>
                  </a:lnTo>
                  <a:lnTo>
                    <a:pt x="14774" y="11788"/>
                  </a:lnTo>
                  <a:lnTo>
                    <a:pt x="14774" y="10659"/>
                  </a:lnTo>
                  <a:lnTo>
                    <a:pt x="15341" y="8995"/>
                  </a:lnTo>
                  <a:lnTo>
                    <a:pt x="16041" y="8097"/>
                  </a:lnTo>
                  <a:lnTo>
                    <a:pt x="16321" y="7105"/>
                  </a:lnTo>
                  <a:lnTo>
                    <a:pt x="17451" y="5839"/>
                  </a:lnTo>
                  <a:lnTo>
                    <a:pt x="18404" y="6831"/>
                  </a:lnTo>
                  <a:cubicBezTo>
                    <a:pt x="18404" y="6831"/>
                    <a:pt x="18931" y="8447"/>
                    <a:pt x="18829" y="8864"/>
                  </a:cubicBezTo>
                  <a:cubicBezTo>
                    <a:pt x="18727" y="9280"/>
                    <a:pt x="18231" y="10314"/>
                    <a:pt x="18231" y="10314"/>
                  </a:cubicBezTo>
                  <a:cubicBezTo>
                    <a:pt x="18231" y="10314"/>
                    <a:pt x="18443" y="11544"/>
                    <a:pt x="18443" y="11824"/>
                  </a:cubicBezTo>
                  <a:cubicBezTo>
                    <a:pt x="18443" y="12103"/>
                    <a:pt x="18337" y="13417"/>
                    <a:pt x="18337" y="13417"/>
                  </a:cubicBezTo>
                  <a:lnTo>
                    <a:pt x="18762" y="14451"/>
                  </a:lnTo>
                  <a:lnTo>
                    <a:pt x="19081" y="15824"/>
                  </a:lnTo>
                  <a:lnTo>
                    <a:pt x="19959" y="15729"/>
                  </a:lnTo>
                  <a:lnTo>
                    <a:pt x="19959" y="14505"/>
                  </a:lnTo>
                  <a:cubicBezTo>
                    <a:pt x="19959" y="14505"/>
                    <a:pt x="19006" y="13216"/>
                    <a:pt x="19006" y="12942"/>
                  </a:cubicBezTo>
                  <a:cubicBezTo>
                    <a:pt x="19006" y="12668"/>
                    <a:pt x="19499" y="12383"/>
                    <a:pt x="19499" y="12383"/>
                  </a:cubicBezTo>
                  <a:cubicBezTo>
                    <a:pt x="19499" y="12383"/>
                    <a:pt x="20261" y="11592"/>
                    <a:pt x="19880" y="11497"/>
                  </a:cubicBezTo>
                  <a:cubicBezTo>
                    <a:pt x="19499" y="11402"/>
                    <a:pt x="18789" y="10868"/>
                    <a:pt x="18789" y="10594"/>
                  </a:cubicBezTo>
                  <a:cubicBezTo>
                    <a:pt x="18789" y="10320"/>
                    <a:pt x="19742" y="9755"/>
                    <a:pt x="19742" y="9755"/>
                  </a:cubicBezTo>
                  <a:lnTo>
                    <a:pt x="20682" y="10320"/>
                  </a:lnTo>
                  <a:lnTo>
                    <a:pt x="21139" y="9666"/>
                  </a:lnTo>
                  <a:lnTo>
                    <a:pt x="21210" y="13558"/>
                  </a:lnTo>
                  <a:cubicBezTo>
                    <a:pt x="21210" y="13558"/>
                    <a:pt x="21600" y="16219"/>
                    <a:pt x="21600" y="16499"/>
                  </a:cubicBezTo>
                  <a:cubicBezTo>
                    <a:pt x="21600" y="16778"/>
                    <a:pt x="21600" y="20385"/>
                    <a:pt x="21600" y="20385"/>
                  </a:cubicBezTo>
                  <a:lnTo>
                    <a:pt x="21277" y="21600"/>
                  </a:lnTo>
                  <a:close/>
                </a:path>
              </a:pathLst>
            </a:custGeom>
            <a:solidFill>
              <a:schemeClr val="accent3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40" name="Shape 740"/>
            <p:cNvSpPr/>
            <p:nvPr/>
          </p:nvSpPr>
          <p:spPr>
            <a:xfrm>
              <a:off x="781558" y="94907"/>
              <a:ext cx="96994" cy="3665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314" y="0"/>
                  </a:moveTo>
                  <a:lnTo>
                    <a:pt x="12196" y="5397"/>
                  </a:lnTo>
                  <a:lnTo>
                    <a:pt x="16312" y="8504"/>
                  </a:lnTo>
                  <a:lnTo>
                    <a:pt x="21600" y="12014"/>
                  </a:lnTo>
                  <a:lnTo>
                    <a:pt x="21600" y="16014"/>
                  </a:lnTo>
                  <a:lnTo>
                    <a:pt x="16312" y="19523"/>
                  </a:lnTo>
                  <a:lnTo>
                    <a:pt x="11644" y="21600"/>
                  </a:lnTo>
                  <a:lnTo>
                    <a:pt x="9037" y="19813"/>
                  </a:lnTo>
                  <a:lnTo>
                    <a:pt x="14289" y="16002"/>
                  </a:lnTo>
                  <a:cubicBezTo>
                    <a:pt x="14289" y="16002"/>
                    <a:pt x="15171" y="13977"/>
                    <a:pt x="15171" y="13386"/>
                  </a:cubicBezTo>
                  <a:cubicBezTo>
                    <a:pt x="15171" y="12795"/>
                    <a:pt x="12563" y="11586"/>
                    <a:pt x="12563" y="10995"/>
                  </a:cubicBezTo>
                  <a:cubicBezTo>
                    <a:pt x="12563" y="10404"/>
                    <a:pt x="4958" y="10493"/>
                    <a:pt x="4958" y="8291"/>
                  </a:cubicBezTo>
                  <a:cubicBezTo>
                    <a:pt x="4958" y="6090"/>
                    <a:pt x="4079" y="4693"/>
                    <a:pt x="4079" y="4693"/>
                  </a:cubicBezTo>
                  <a:lnTo>
                    <a:pt x="0" y="1611"/>
                  </a:lnTo>
                  <a:lnTo>
                    <a:pt x="2314" y="0"/>
                  </a:lnTo>
                  <a:close/>
                </a:path>
              </a:pathLst>
            </a:custGeom>
            <a:solidFill>
              <a:schemeClr val="accent3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41" name="Shape 741"/>
            <p:cNvSpPr/>
            <p:nvPr/>
          </p:nvSpPr>
          <p:spPr>
            <a:xfrm>
              <a:off x="765409" y="297899"/>
              <a:ext cx="52453" cy="1684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928" y="655"/>
                  </a:moveTo>
                  <a:lnTo>
                    <a:pt x="21600" y="0"/>
                  </a:lnTo>
                  <a:lnTo>
                    <a:pt x="21600" y="6954"/>
                  </a:lnTo>
                  <a:lnTo>
                    <a:pt x="13997" y="21600"/>
                  </a:lnTo>
                  <a:lnTo>
                    <a:pt x="0" y="17851"/>
                  </a:lnTo>
                  <a:lnTo>
                    <a:pt x="1626" y="2821"/>
                  </a:lnTo>
                  <a:lnTo>
                    <a:pt x="5366" y="13251"/>
                  </a:lnTo>
                  <a:lnTo>
                    <a:pt x="11210" y="7225"/>
                  </a:lnTo>
                  <a:lnTo>
                    <a:pt x="10928" y="655"/>
                  </a:lnTo>
                  <a:close/>
                </a:path>
              </a:pathLst>
            </a:custGeom>
            <a:solidFill>
              <a:schemeClr val="accent3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42" name="Shape 742"/>
            <p:cNvSpPr/>
            <p:nvPr/>
          </p:nvSpPr>
          <p:spPr>
            <a:xfrm>
              <a:off x="660608" y="53878"/>
              <a:ext cx="61522" cy="2354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278" y="0"/>
                  </a:moveTo>
                  <a:lnTo>
                    <a:pt x="13893" y="7460"/>
                  </a:lnTo>
                  <a:lnTo>
                    <a:pt x="12501" y="12279"/>
                  </a:lnTo>
                  <a:lnTo>
                    <a:pt x="20266" y="14434"/>
                  </a:lnTo>
                  <a:lnTo>
                    <a:pt x="21600" y="21600"/>
                  </a:lnTo>
                  <a:lnTo>
                    <a:pt x="11412" y="17565"/>
                  </a:lnTo>
                  <a:lnTo>
                    <a:pt x="3075" y="12260"/>
                  </a:lnTo>
                  <a:lnTo>
                    <a:pt x="7243" y="7737"/>
                  </a:lnTo>
                  <a:lnTo>
                    <a:pt x="0" y="4974"/>
                  </a:lnTo>
                  <a:lnTo>
                    <a:pt x="4278" y="0"/>
                  </a:lnTo>
                  <a:close/>
                </a:path>
              </a:pathLst>
            </a:custGeom>
            <a:solidFill>
              <a:schemeClr val="accent3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43" name="Shape 743"/>
            <p:cNvSpPr/>
            <p:nvPr/>
          </p:nvSpPr>
          <p:spPr>
            <a:xfrm>
              <a:off x="546977" y="106528"/>
              <a:ext cx="186285" cy="3321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86" y="4859"/>
                  </a:moveTo>
                  <a:lnTo>
                    <a:pt x="6884" y="0"/>
                  </a:lnTo>
                  <a:lnTo>
                    <a:pt x="9755" y="5387"/>
                  </a:lnTo>
                  <a:lnTo>
                    <a:pt x="9295" y="10037"/>
                  </a:lnTo>
                  <a:lnTo>
                    <a:pt x="11895" y="12022"/>
                  </a:lnTo>
                  <a:lnTo>
                    <a:pt x="14136" y="8150"/>
                  </a:lnTo>
                  <a:lnTo>
                    <a:pt x="16394" y="11217"/>
                  </a:lnTo>
                  <a:lnTo>
                    <a:pt x="16394" y="14522"/>
                  </a:lnTo>
                  <a:lnTo>
                    <a:pt x="19361" y="14842"/>
                  </a:lnTo>
                  <a:lnTo>
                    <a:pt x="21600" y="14189"/>
                  </a:lnTo>
                  <a:lnTo>
                    <a:pt x="21600" y="18922"/>
                  </a:lnTo>
                  <a:lnTo>
                    <a:pt x="20666" y="21600"/>
                  </a:lnTo>
                  <a:lnTo>
                    <a:pt x="16571" y="19713"/>
                  </a:lnTo>
                  <a:lnTo>
                    <a:pt x="12764" y="15104"/>
                  </a:lnTo>
                  <a:lnTo>
                    <a:pt x="9032" y="12590"/>
                  </a:lnTo>
                  <a:lnTo>
                    <a:pt x="5856" y="8659"/>
                  </a:lnTo>
                  <a:lnTo>
                    <a:pt x="900" y="7451"/>
                  </a:lnTo>
                  <a:lnTo>
                    <a:pt x="0" y="3691"/>
                  </a:lnTo>
                  <a:lnTo>
                    <a:pt x="2564" y="1065"/>
                  </a:lnTo>
                  <a:lnTo>
                    <a:pt x="5986" y="4859"/>
                  </a:lnTo>
                  <a:close/>
                </a:path>
              </a:pathLst>
            </a:custGeom>
            <a:solidFill>
              <a:schemeClr val="accent3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44" name="Shape 744"/>
            <p:cNvSpPr/>
            <p:nvPr/>
          </p:nvSpPr>
          <p:spPr>
            <a:xfrm>
              <a:off x="559860" y="271258"/>
              <a:ext cx="86130" cy="2083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1211" y="2479"/>
                  </a:lnTo>
                  <a:lnTo>
                    <a:pt x="17707" y="8610"/>
                  </a:lnTo>
                  <a:lnTo>
                    <a:pt x="21600" y="13835"/>
                  </a:lnTo>
                  <a:lnTo>
                    <a:pt x="15023" y="16821"/>
                  </a:lnTo>
                  <a:lnTo>
                    <a:pt x="7452" y="21600"/>
                  </a:lnTo>
                  <a:lnTo>
                    <a:pt x="7452" y="15979"/>
                  </a:lnTo>
                  <a:lnTo>
                    <a:pt x="11673" y="13231"/>
                  </a:lnTo>
                  <a:lnTo>
                    <a:pt x="10020" y="6302"/>
                  </a:lnTo>
                  <a:lnTo>
                    <a:pt x="2278" y="38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45" name="Shape 745"/>
            <p:cNvSpPr/>
            <p:nvPr/>
          </p:nvSpPr>
          <p:spPr>
            <a:xfrm>
              <a:off x="989109" y="202415"/>
              <a:ext cx="64164" cy="1837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324" y="0"/>
                  </a:moveTo>
                  <a:lnTo>
                    <a:pt x="21600" y="9985"/>
                  </a:lnTo>
                  <a:lnTo>
                    <a:pt x="17603" y="21600"/>
                  </a:lnTo>
                  <a:lnTo>
                    <a:pt x="12277" y="12121"/>
                  </a:lnTo>
                  <a:lnTo>
                    <a:pt x="6056" y="20124"/>
                  </a:lnTo>
                  <a:lnTo>
                    <a:pt x="2168" y="16986"/>
                  </a:lnTo>
                  <a:lnTo>
                    <a:pt x="0" y="5371"/>
                  </a:lnTo>
                  <a:lnTo>
                    <a:pt x="7780" y="7554"/>
                  </a:lnTo>
                  <a:lnTo>
                    <a:pt x="16324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46" name="Shape 746"/>
            <p:cNvSpPr/>
            <p:nvPr/>
          </p:nvSpPr>
          <p:spPr>
            <a:xfrm>
              <a:off x="990521" y="461745"/>
              <a:ext cx="34953" cy="682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589" h="21600" extrusionOk="0">
                  <a:moveTo>
                    <a:pt x="5796" y="0"/>
                  </a:moveTo>
                  <a:cubicBezTo>
                    <a:pt x="5796" y="0"/>
                    <a:pt x="-4011" y="16745"/>
                    <a:pt x="1889" y="18362"/>
                  </a:cubicBezTo>
                  <a:cubicBezTo>
                    <a:pt x="7790" y="19978"/>
                    <a:pt x="13683" y="21600"/>
                    <a:pt x="13683" y="21600"/>
                  </a:cubicBezTo>
                  <a:lnTo>
                    <a:pt x="17589" y="10931"/>
                  </a:lnTo>
                  <a:lnTo>
                    <a:pt x="5796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47" name="Shape 747"/>
            <p:cNvSpPr/>
            <p:nvPr/>
          </p:nvSpPr>
          <p:spPr>
            <a:xfrm>
              <a:off x="1131698" y="318452"/>
              <a:ext cx="75251" cy="1492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29"/>
                  </a:moveTo>
                  <a:lnTo>
                    <a:pt x="21600" y="21600"/>
                  </a:lnTo>
                  <a:lnTo>
                    <a:pt x="8346" y="0"/>
                  </a:lnTo>
                  <a:lnTo>
                    <a:pt x="0" y="1829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48" name="Shape 748"/>
            <p:cNvSpPr/>
            <p:nvPr/>
          </p:nvSpPr>
          <p:spPr>
            <a:xfrm>
              <a:off x="1448697" y="713276"/>
              <a:ext cx="146344" cy="244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013" y="3264"/>
                  </a:moveTo>
                  <a:lnTo>
                    <a:pt x="6013" y="0"/>
                  </a:lnTo>
                  <a:lnTo>
                    <a:pt x="0" y="0"/>
                  </a:lnTo>
                  <a:lnTo>
                    <a:pt x="0" y="7810"/>
                  </a:lnTo>
                  <a:lnTo>
                    <a:pt x="1168" y="13809"/>
                  </a:lnTo>
                  <a:lnTo>
                    <a:pt x="7525" y="18636"/>
                  </a:lnTo>
                  <a:lnTo>
                    <a:pt x="11302" y="21600"/>
                  </a:lnTo>
                  <a:lnTo>
                    <a:pt x="18336" y="20561"/>
                  </a:lnTo>
                  <a:lnTo>
                    <a:pt x="21015" y="18034"/>
                  </a:lnTo>
                  <a:lnTo>
                    <a:pt x="21600" y="12789"/>
                  </a:lnTo>
                  <a:lnTo>
                    <a:pt x="20042" y="7525"/>
                  </a:lnTo>
                  <a:lnTo>
                    <a:pt x="18312" y="14961"/>
                  </a:lnTo>
                  <a:lnTo>
                    <a:pt x="16754" y="17604"/>
                  </a:lnTo>
                  <a:lnTo>
                    <a:pt x="15587" y="10531"/>
                  </a:lnTo>
                  <a:lnTo>
                    <a:pt x="12734" y="7550"/>
                  </a:lnTo>
                  <a:lnTo>
                    <a:pt x="8086" y="11605"/>
                  </a:lnTo>
                  <a:lnTo>
                    <a:pt x="5967" y="9983"/>
                  </a:lnTo>
                  <a:lnTo>
                    <a:pt x="11543" y="3868"/>
                  </a:lnTo>
                  <a:lnTo>
                    <a:pt x="8498" y="1944"/>
                  </a:lnTo>
                  <a:lnTo>
                    <a:pt x="6013" y="3264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49" name="Shape 749"/>
            <p:cNvSpPr/>
            <p:nvPr/>
          </p:nvSpPr>
          <p:spPr>
            <a:xfrm>
              <a:off x="1572139" y="718328"/>
              <a:ext cx="79525" cy="22181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1780" y="7588"/>
                  </a:lnTo>
                  <a:lnTo>
                    <a:pt x="12856" y="15861"/>
                  </a:lnTo>
                  <a:lnTo>
                    <a:pt x="13888" y="21102"/>
                  </a:lnTo>
                  <a:lnTo>
                    <a:pt x="20524" y="21600"/>
                  </a:lnTo>
                  <a:cubicBezTo>
                    <a:pt x="20524" y="21600"/>
                    <a:pt x="21600" y="15450"/>
                    <a:pt x="21600" y="13993"/>
                  </a:cubicBezTo>
                  <a:cubicBezTo>
                    <a:pt x="21600" y="12536"/>
                    <a:pt x="21600" y="6404"/>
                    <a:pt x="21600" y="6404"/>
                  </a:cubicBezTo>
                  <a:lnTo>
                    <a:pt x="15150" y="3432"/>
                  </a:lnTo>
                  <a:lnTo>
                    <a:pt x="8829" y="24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50" name="Shape 750"/>
            <p:cNvSpPr/>
            <p:nvPr/>
          </p:nvSpPr>
          <p:spPr>
            <a:xfrm>
              <a:off x="1070163" y="238757"/>
              <a:ext cx="51355" cy="2053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994" y="0"/>
                  </a:moveTo>
                  <a:lnTo>
                    <a:pt x="0" y="15424"/>
                  </a:lnTo>
                  <a:lnTo>
                    <a:pt x="10769" y="16501"/>
                  </a:lnTo>
                  <a:lnTo>
                    <a:pt x="10144" y="21600"/>
                  </a:lnTo>
                  <a:lnTo>
                    <a:pt x="21600" y="20523"/>
                  </a:lnTo>
                  <a:lnTo>
                    <a:pt x="10925" y="9411"/>
                  </a:lnTo>
                  <a:lnTo>
                    <a:pt x="4994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</p:grpSp>
      <p:pic>
        <p:nvPicPr>
          <p:cNvPr id="762" name="Picture 76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>
            <a:off x="6954956" y="1092541"/>
            <a:ext cx="717059" cy="500042"/>
          </a:xfrm>
          <a:prstGeom prst="rect">
            <a:avLst/>
          </a:prstGeom>
        </p:spPr>
      </p:pic>
      <p:sp>
        <p:nvSpPr>
          <p:cNvPr id="716" name="Shape 71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0" y="2235200"/>
            <a:ext cx="12185650" cy="4635500"/>
          </a:xfrm>
          <a:prstGeom prst="rect">
            <a:avLst/>
          </a:prstGeom>
          <a:gradFill>
            <a:gsLst>
              <a:gs pos="0">
                <a:schemeClr val="accent1">
                  <a:lumMod val="60000"/>
                  <a:lumOff val="40000"/>
                  <a:alpha val="50000"/>
                </a:schemeClr>
              </a:gs>
              <a:gs pos="100000">
                <a:schemeClr val="accent1">
                  <a:alpha val="50000"/>
                </a:schemeClr>
              </a:gs>
            </a:gsLst>
            <a:lin ang="5400000"/>
          </a:gra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/>
            <a:endParaRPr sz="2000" dirty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700" name="Shape 70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31496" y="3429001"/>
            <a:ext cx="10801353" cy="2"/>
          </a:xfrm>
          <a:prstGeom prst="line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custDash>
              <a:ds d="200000" sp="200000"/>
            </a:custDash>
            <a:miter lim="400000"/>
          </a:ln>
        </p:spPr>
        <p:txBody>
          <a:bodyPr lIns="0" tIns="0" rIns="0" bIns="0" anchor="ctr"/>
          <a:lstStyle/>
          <a:p>
            <a:pPr defTabSz="2286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600">
              <a:latin typeface="等线" panose="02010600030101010101" charset="-122"/>
              <a:ea typeface="等线" panose="02010600030101010101" charset="-122"/>
              <a:cs typeface="等线" panose="02010600030101010101" charset="-122"/>
              <a:sym typeface="等线" panose="02010600030101010101" charset="-122"/>
            </a:endParaRPr>
          </a:p>
        </p:txBody>
      </p:sp>
      <p:sp>
        <p:nvSpPr>
          <p:cNvPr id="701" name="Shape 70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31496" y="4527550"/>
            <a:ext cx="10801353" cy="1"/>
          </a:xfrm>
          <a:prstGeom prst="line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custDash>
              <a:ds d="200000" sp="200000"/>
            </a:custDash>
            <a:miter lim="400000"/>
          </a:ln>
        </p:spPr>
        <p:txBody>
          <a:bodyPr lIns="0" tIns="0" rIns="0" bIns="0" anchor="ctr"/>
          <a:lstStyle/>
          <a:p>
            <a:pPr defTabSz="2286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600">
              <a:latin typeface="等线" panose="02010600030101010101" charset="-122"/>
              <a:ea typeface="等线" panose="02010600030101010101" charset="-122"/>
              <a:cs typeface="等线" panose="02010600030101010101" charset="-122"/>
              <a:sym typeface="等线" panose="02010600030101010101" charset="-122"/>
            </a:endParaRPr>
          </a:p>
        </p:txBody>
      </p:sp>
      <p:sp>
        <p:nvSpPr>
          <p:cNvPr id="717" name="Shape 71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1157347" y="6350352"/>
            <a:ext cx="182742" cy="189796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>
            <a:lvl1pPr>
              <a:defRPr sz="2400" b="1">
                <a:solidFill>
                  <a:srgbClr val="444444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21</a:t>
            </a:r>
          </a:p>
        </p:txBody>
      </p:sp>
      <p:sp>
        <p:nvSpPr>
          <p:cNvPr id="80" name="Shape 71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42591" y="458836"/>
            <a:ext cx="3472425" cy="6428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80000"/>
              </a:lnSpc>
            </a:pPr>
            <a:r>
              <a:rPr sz="4400" dirty="0">
                <a:solidFill>
                  <a:schemeClr val="accent1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The Iceberg </a:t>
            </a:r>
          </a:p>
        </p:txBody>
      </p:sp>
      <p:sp>
        <p:nvSpPr>
          <p:cNvPr id="82" name="Shape 75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466850" y="2707740"/>
            <a:ext cx="1968500" cy="445571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/>
          <a:p>
            <a:pPr lvl="0" algn="l">
              <a:lnSpc>
                <a:spcPct val="70000"/>
              </a:lnSpc>
              <a:defRPr sz="1800"/>
            </a:pPr>
            <a:r>
              <a:rPr b="1" dirty="0">
                <a:solidFill>
                  <a:schemeClr val="tx2">
                    <a:lumMod val="7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The Marketing</a:t>
            </a:r>
          </a:p>
          <a:p>
            <a:pPr lvl="0" algn="l">
              <a:lnSpc>
                <a:spcPct val="70000"/>
              </a:lnSpc>
              <a:defRPr sz="1800"/>
            </a:pPr>
            <a:r>
              <a:rPr dirty="0">
                <a:solidFill>
                  <a:schemeClr val="tx2">
                    <a:lumMod val="7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Challenge</a:t>
            </a:r>
          </a:p>
        </p:txBody>
      </p:sp>
      <p:sp>
        <p:nvSpPr>
          <p:cNvPr id="83" name="Shape 75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89000" y="2659155"/>
            <a:ext cx="307777" cy="460191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>
            <a:lvl1pPr algn="l">
              <a:lnSpc>
                <a:spcPct val="70000"/>
              </a:lnSpc>
              <a:defRPr sz="7200">
                <a:solidFill>
                  <a:srgbClr val="304A4B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3600" dirty="0">
                <a:solidFill>
                  <a:schemeClr val="tx2">
                    <a:lumMod val="7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1</a:t>
            </a:r>
          </a:p>
        </p:txBody>
      </p:sp>
      <p:sp>
        <p:nvSpPr>
          <p:cNvPr id="84" name="Shape 75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466850" y="3758665"/>
            <a:ext cx="1968500" cy="445571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/>
          <a:p>
            <a:pPr lvl="0" algn="l">
              <a:lnSpc>
                <a:spcPct val="70000"/>
              </a:lnSpc>
              <a:defRPr sz="1800"/>
            </a:pPr>
            <a:r>
              <a:rPr b="1" dirty="0">
                <a:solidFill>
                  <a:schemeClr val="tx2">
                    <a:lumMod val="7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Distribution</a:t>
            </a:r>
            <a:endParaRPr dirty="0">
              <a:solidFill>
                <a:schemeClr val="tx2">
                  <a:lumMod val="75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  <a:p>
            <a:pPr lvl="0" algn="l">
              <a:lnSpc>
                <a:spcPct val="70000"/>
              </a:lnSpc>
              <a:defRPr sz="1800"/>
            </a:pPr>
            <a:r>
              <a:rPr dirty="0">
                <a:solidFill>
                  <a:schemeClr val="tx2">
                    <a:lumMod val="7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Challenge</a:t>
            </a:r>
          </a:p>
        </p:txBody>
      </p:sp>
      <p:sp>
        <p:nvSpPr>
          <p:cNvPr id="85" name="Shape 75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89000" y="3751355"/>
            <a:ext cx="307777" cy="460191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>
            <a:lvl1pPr algn="l">
              <a:lnSpc>
                <a:spcPct val="70000"/>
              </a:lnSpc>
              <a:defRPr sz="7200">
                <a:solidFill>
                  <a:srgbClr val="304A4B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3600" dirty="0">
                <a:solidFill>
                  <a:schemeClr val="tx2">
                    <a:lumMod val="7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2</a:t>
            </a:r>
          </a:p>
        </p:txBody>
      </p:sp>
      <p:sp>
        <p:nvSpPr>
          <p:cNvPr id="86" name="Shape 75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466850" y="4781015"/>
            <a:ext cx="2406650" cy="445571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/>
          <a:p>
            <a:pPr lvl="0" algn="l">
              <a:lnSpc>
                <a:spcPct val="70000"/>
              </a:lnSpc>
              <a:defRPr sz="1800"/>
            </a:pPr>
            <a:r>
              <a:rPr b="1" dirty="0">
                <a:solidFill>
                  <a:schemeClr val="tx2">
                    <a:lumMod val="7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Customer Services</a:t>
            </a:r>
            <a:endParaRPr dirty="0">
              <a:solidFill>
                <a:schemeClr val="tx2">
                  <a:lumMod val="75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  <a:p>
            <a:pPr lvl="0" algn="l">
              <a:lnSpc>
                <a:spcPct val="70000"/>
              </a:lnSpc>
              <a:defRPr sz="1800"/>
            </a:pPr>
            <a:r>
              <a:rPr dirty="0">
                <a:solidFill>
                  <a:schemeClr val="tx2">
                    <a:lumMod val="7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problem</a:t>
            </a:r>
          </a:p>
        </p:txBody>
      </p:sp>
      <p:sp>
        <p:nvSpPr>
          <p:cNvPr id="87" name="Shape 75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89000" y="4773705"/>
            <a:ext cx="307777" cy="460191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>
            <a:lvl1pPr algn="l">
              <a:lnSpc>
                <a:spcPct val="70000"/>
              </a:lnSpc>
              <a:defRPr sz="7200">
                <a:solidFill>
                  <a:srgbClr val="304A4B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3600" dirty="0">
                <a:solidFill>
                  <a:schemeClr val="tx2">
                    <a:lumMod val="7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3</a:t>
            </a:r>
          </a:p>
        </p:txBody>
      </p:sp>
      <p:sp>
        <p:nvSpPr>
          <p:cNvPr id="88" name="Shape 76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816850" y="898964"/>
            <a:ext cx="2552700" cy="697627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 algn="l">
              <a:defRPr sz="2100" b="1">
                <a:solidFill>
                  <a:srgbClr val="444444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1400" dirty="0">
                <a:solidFill>
                  <a:schemeClr val="tx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We only see simple problem, but the real problems is deep inside the frozen water</a:t>
            </a:r>
          </a:p>
        </p:txBody>
      </p:sp>
      <p:sp>
        <p:nvSpPr>
          <p:cNvPr id="89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8804950" y="2449850"/>
            <a:ext cx="2767458" cy="730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>
                <a:solidFill>
                  <a:schemeClr val="tx2">
                    <a:lumMod val="7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</a:t>
            </a:r>
          </a:p>
        </p:txBody>
      </p:sp>
      <p:sp>
        <p:nvSpPr>
          <p:cNvPr id="90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8792458" y="3591601"/>
            <a:ext cx="2767458" cy="730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>
                <a:solidFill>
                  <a:schemeClr val="tx2">
                    <a:lumMod val="7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</a:t>
            </a:r>
          </a:p>
        </p:txBody>
      </p:sp>
      <p:sp>
        <p:nvSpPr>
          <p:cNvPr id="91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8779966" y="4658401"/>
            <a:ext cx="2767458" cy="730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>
                <a:solidFill>
                  <a:schemeClr val="tx2">
                    <a:lumMod val="7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503275" y="540017"/>
            <a:ext cx="720581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>
                <a:solidFill>
                  <a:schemeClr val="tx2">
                    <a:lumMod val="7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World Map Infographic Analysis</a:t>
            </a:r>
          </a:p>
        </p:txBody>
      </p:sp>
      <p:grpSp>
        <p:nvGrpSpPr>
          <p:cNvPr id="8" name="Group 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5083443" y="1600200"/>
            <a:ext cx="7170153" cy="4514650"/>
            <a:chOff x="2976146" y="1594008"/>
            <a:chExt cx="6239709" cy="3928801"/>
          </a:xfrm>
          <a:solidFill>
            <a:schemeClr val="bg1">
              <a:lumMod val="85000"/>
            </a:schemeClr>
          </a:solidFill>
        </p:grpSpPr>
        <p:sp>
          <p:nvSpPr>
            <p:cNvPr id="9" name="Freeform 53"/>
            <p:cNvSpPr>
              <a:spLocks noChangeAspect="1"/>
            </p:cNvSpPr>
            <p:nvPr/>
          </p:nvSpPr>
          <p:spPr bwMode="gray">
            <a:xfrm>
              <a:off x="8420785" y="5108976"/>
              <a:ext cx="63606" cy="75084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20" y="11"/>
                </a:cxn>
                <a:cxn ang="0">
                  <a:pos x="30" y="7"/>
                </a:cxn>
                <a:cxn ang="0">
                  <a:pos x="68" y="32"/>
                </a:cxn>
                <a:cxn ang="0">
                  <a:pos x="105" y="36"/>
                </a:cxn>
                <a:cxn ang="0">
                  <a:pos x="127" y="23"/>
                </a:cxn>
                <a:cxn ang="0">
                  <a:pos x="148" y="22"/>
                </a:cxn>
                <a:cxn ang="0">
                  <a:pos x="165" y="13"/>
                </a:cxn>
                <a:cxn ang="0">
                  <a:pos x="176" y="7"/>
                </a:cxn>
                <a:cxn ang="0">
                  <a:pos x="193" y="22"/>
                </a:cxn>
                <a:cxn ang="0">
                  <a:pos x="198" y="54"/>
                </a:cxn>
                <a:cxn ang="0">
                  <a:pos x="196" y="85"/>
                </a:cxn>
                <a:cxn ang="0">
                  <a:pos x="201" y="109"/>
                </a:cxn>
                <a:cxn ang="0">
                  <a:pos x="198" y="112"/>
                </a:cxn>
                <a:cxn ang="0">
                  <a:pos x="194" y="94"/>
                </a:cxn>
                <a:cxn ang="0">
                  <a:pos x="182" y="119"/>
                </a:cxn>
                <a:cxn ang="0">
                  <a:pos x="177" y="135"/>
                </a:cxn>
                <a:cxn ang="0">
                  <a:pos x="172" y="157"/>
                </a:cxn>
                <a:cxn ang="0">
                  <a:pos x="156" y="155"/>
                </a:cxn>
                <a:cxn ang="0">
                  <a:pos x="154" y="167"/>
                </a:cxn>
                <a:cxn ang="0">
                  <a:pos x="143" y="179"/>
                </a:cxn>
                <a:cxn ang="0">
                  <a:pos x="137" y="184"/>
                </a:cxn>
                <a:cxn ang="0">
                  <a:pos x="127" y="187"/>
                </a:cxn>
                <a:cxn ang="0">
                  <a:pos x="124" y="206"/>
                </a:cxn>
                <a:cxn ang="0">
                  <a:pos x="111" y="216"/>
                </a:cxn>
                <a:cxn ang="0">
                  <a:pos x="99" y="209"/>
                </a:cxn>
                <a:cxn ang="0">
                  <a:pos x="83" y="208"/>
                </a:cxn>
                <a:cxn ang="0">
                  <a:pos x="69" y="201"/>
                </a:cxn>
                <a:cxn ang="0">
                  <a:pos x="80" y="193"/>
                </a:cxn>
                <a:cxn ang="0">
                  <a:pos x="62" y="188"/>
                </a:cxn>
                <a:cxn ang="0">
                  <a:pos x="41" y="157"/>
                </a:cxn>
                <a:cxn ang="0">
                  <a:pos x="25" y="107"/>
                </a:cxn>
                <a:cxn ang="0">
                  <a:pos x="45" y="118"/>
                </a:cxn>
                <a:cxn ang="0">
                  <a:pos x="25" y="92"/>
                </a:cxn>
                <a:cxn ang="0">
                  <a:pos x="2" y="24"/>
                </a:cxn>
              </a:cxnLst>
              <a:rect l="0" t="0" r="r" b="b"/>
              <a:pathLst>
                <a:path w="201" h="216">
                  <a:moveTo>
                    <a:pt x="2" y="0"/>
                  </a:moveTo>
                  <a:lnTo>
                    <a:pt x="4" y="4"/>
                  </a:lnTo>
                  <a:lnTo>
                    <a:pt x="13" y="6"/>
                  </a:lnTo>
                  <a:lnTo>
                    <a:pt x="20" y="11"/>
                  </a:lnTo>
                  <a:lnTo>
                    <a:pt x="26" y="7"/>
                  </a:lnTo>
                  <a:lnTo>
                    <a:pt x="30" y="7"/>
                  </a:lnTo>
                  <a:lnTo>
                    <a:pt x="43" y="13"/>
                  </a:lnTo>
                  <a:lnTo>
                    <a:pt x="68" y="32"/>
                  </a:lnTo>
                  <a:lnTo>
                    <a:pt x="100" y="36"/>
                  </a:lnTo>
                  <a:lnTo>
                    <a:pt x="105" y="36"/>
                  </a:lnTo>
                  <a:lnTo>
                    <a:pt x="116" y="28"/>
                  </a:lnTo>
                  <a:lnTo>
                    <a:pt x="127" y="23"/>
                  </a:lnTo>
                  <a:lnTo>
                    <a:pt x="137" y="24"/>
                  </a:lnTo>
                  <a:lnTo>
                    <a:pt x="148" y="22"/>
                  </a:lnTo>
                  <a:lnTo>
                    <a:pt x="159" y="11"/>
                  </a:lnTo>
                  <a:lnTo>
                    <a:pt x="165" y="13"/>
                  </a:lnTo>
                  <a:lnTo>
                    <a:pt x="172" y="16"/>
                  </a:lnTo>
                  <a:lnTo>
                    <a:pt x="176" y="7"/>
                  </a:lnTo>
                  <a:lnTo>
                    <a:pt x="185" y="11"/>
                  </a:lnTo>
                  <a:lnTo>
                    <a:pt x="193" y="22"/>
                  </a:lnTo>
                  <a:lnTo>
                    <a:pt x="197" y="44"/>
                  </a:lnTo>
                  <a:lnTo>
                    <a:pt x="198" y="54"/>
                  </a:lnTo>
                  <a:lnTo>
                    <a:pt x="196" y="65"/>
                  </a:lnTo>
                  <a:lnTo>
                    <a:pt x="196" y="85"/>
                  </a:lnTo>
                  <a:lnTo>
                    <a:pt x="198" y="103"/>
                  </a:lnTo>
                  <a:lnTo>
                    <a:pt x="201" y="109"/>
                  </a:lnTo>
                  <a:lnTo>
                    <a:pt x="198" y="122"/>
                  </a:lnTo>
                  <a:lnTo>
                    <a:pt x="198" y="112"/>
                  </a:lnTo>
                  <a:lnTo>
                    <a:pt x="197" y="102"/>
                  </a:lnTo>
                  <a:lnTo>
                    <a:pt x="194" y="94"/>
                  </a:lnTo>
                  <a:lnTo>
                    <a:pt x="192" y="101"/>
                  </a:lnTo>
                  <a:lnTo>
                    <a:pt x="182" y="119"/>
                  </a:lnTo>
                  <a:lnTo>
                    <a:pt x="182" y="134"/>
                  </a:lnTo>
                  <a:lnTo>
                    <a:pt x="177" y="135"/>
                  </a:lnTo>
                  <a:lnTo>
                    <a:pt x="177" y="153"/>
                  </a:lnTo>
                  <a:lnTo>
                    <a:pt x="172" y="157"/>
                  </a:lnTo>
                  <a:lnTo>
                    <a:pt x="166" y="157"/>
                  </a:lnTo>
                  <a:lnTo>
                    <a:pt x="156" y="155"/>
                  </a:lnTo>
                  <a:lnTo>
                    <a:pt x="154" y="158"/>
                  </a:lnTo>
                  <a:lnTo>
                    <a:pt x="154" y="167"/>
                  </a:lnTo>
                  <a:lnTo>
                    <a:pt x="150" y="176"/>
                  </a:lnTo>
                  <a:lnTo>
                    <a:pt x="143" y="179"/>
                  </a:lnTo>
                  <a:lnTo>
                    <a:pt x="140" y="190"/>
                  </a:lnTo>
                  <a:lnTo>
                    <a:pt x="137" y="184"/>
                  </a:lnTo>
                  <a:lnTo>
                    <a:pt x="131" y="182"/>
                  </a:lnTo>
                  <a:lnTo>
                    <a:pt x="127" y="187"/>
                  </a:lnTo>
                  <a:lnTo>
                    <a:pt x="124" y="198"/>
                  </a:lnTo>
                  <a:lnTo>
                    <a:pt x="124" y="206"/>
                  </a:lnTo>
                  <a:lnTo>
                    <a:pt x="117" y="215"/>
                  </a:lnTo>
                  <a:lnTo>
                    <a:pt x="111" y="216"/>
                  </a:lnTo>
                  <a:lnTo>
                    <a:pt x="105" y="211"/>
                  </a:lnTo>
                  <a:lnTo>
                    <a:pt x="99" y="209"/>
                  </a:lnTo>
                  <a:lnTo>
                    <a:pt x="94" y="212"/>
                  </a:lnTo>
                  <a:lnTo>
                    <a:pt x="83" y="208"/>
                  </a:lnTo>
                  <a:lnTo>
                    <a:pt x="73" y="208"/>
                  </a:lnTo>
                  <a:lnTo>
                    <a:pt x="69" y="201"/>
                  </a:lnTo>
                  <a:lnTo>
                    <a:pt x="77" y="200"/>
                  </a:lnTo>
                  <a:lnTo>
                    <a:pt x="80" y="193"/>
                  </a:lnTo>
                  <a:lnTo>
                    <a:pt x="70" y="193"/>
                  </a:lnTo>
                  <a:lnTo>
                    <a:pt x="62" y="188"/>
                  </a:lnTo>
                  <a:lnTo>
                    <a:pt x="49" y="165"/>
                  </a:lnTo>
                  <a:lnTo>
                    <a:pt x="41" y="157"/>
                  </a:lnTo>
                  <a:lnTo>
                    <a:pt x="37" y="151"/>
                  </a:lnTo>
                  <a:lnTo>
                    <a:pt x="25" y="107"/>
                  </a:lnTo>
                  <a:lnTo>
                    <a:pt x="37" y="129"/>
                  </a:lnTo>
                  <a:lnTo>
                    <a:pt x="45" y="118"/>
                  </a:lnTo>
                  <a:lnTo>
                    <a:pt x="37" y="113"/>
                  </a:lnTo>
                  <a:lnTo>
                    <a:pt x="25" y="92"/>
                  </a:lnTo>
                  <a:lnTo>
                    <a:pt x="0" y="39"/>
                  </a:lnTo>
                  <a:lnTo>
                    <a:pt x="2" y="24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0" name="Freeform 54"/>
            <p:cNvSpPr>
              <a:spLocks noChangeAspect="1"/>
            </p:cNvSpPr>
            <p:nvPr/>
          </p:nvSpPr>
          <p:spPr bwMode="gray">
            <a:xfrm>
              <a:off x="7869006" y="4464652"/>
              <a:ext cx="706022" cy="605909"/>
            </a:xfrm>
            <a:custGeom>
              <a:avLst/>
              <a:gdLst/>
              <a:ahLst/>
              <a:cxnLst>
                <a:cxn ang="0">
                  <a:pos x="80" y="633"/>
                </a:cxn>
                <a:cxn ang="0">
                  <a:pos x="198" y="560"/>
                </a:cxn>
                <a:cxn ang="0">
                  <a:pos x="357" y="522"/>
                </a:cxn>
                <a:cxn ang="0">
                  <a:pos x="497" y="418"/>
                </a:cxn>
                <a:cxn ang="0">
                  <a:pos x="533" y="330"/>
                </a:cxn>
                <a:cxn ang="0">
                  <a:pos x="566" y="326"/>
                </a:cxn>
                <a:cxn ang="0">
                  <a:pos x="634" y="262"/>
                </a:cxn>
                <a:cxn ang="0">
                  <a:pos x="688" y="222"/>
                </a:cxn>
                <a:cxn ang="0">
                  <a:pos x="739" y="187"/>
                </a:cxn>
                <a:cxn ang="0">
                  <a:pos x="818" y="257"/>
                </a:cxn>
                <a:cxn ang="0">
                  <a:pos x="898" y="254"/>
                </a:cxn>
                <a:cxn ang="0">
                  <a:pos x="921" y="160"/>
                </a:cxn>
                <a:cxn ang="0">
                  <a:pos x="974" y="108"/>
                </a:cxn>
                <a:cxn ang="0">
                  <a:pos x="1045" y="48"/>
                </a:cxn>
                <a:cxn ang="0">
                  <a:pos x="1044" y="29"/>
                </a:cxn>
                <a:cxn ang="0">
                  <a:pos x="1116" y="65"/>
                </a:cxn>
                <a:cxn ang="0">
                  <a:pos x="1205" y="90"/>
                </a:cxn>
                <a:cxn ang="0">
                  <a:pos x="1264" y="90"/>
                </a:cxn>
                <a:cxn ang="0">
                  <a:pos x="1279" y="118"/>
                </a:cxn>
                <a:cxn ang="0">
                  <a:pos x="1243" y="165"/>
                </a:cxn>
                <a:cxn ang="0">
                  <a:pos x="1269" y="264"/>
                </a:cxn>
                <a:cxn ang="0">
                  <a:pos x="1384" y="339"/>
                </a:cxn>
                <a:cxn ang="0">
                  <a:pos x="1553" y="270"/>
                </a:cxn>
                <a:cxn ang="0">
                  <a:pos x="1575" y="72"/>
                </a:cxn>
                <a:cxn ang="0">
                  <a:pos x="1623" y="17"/>
                </a:cxn>
                <a:cxn ang="0">
                  <a:pos x="1667" y="171"/>
                </a:cxn>
                <a:cxn ang="0">
                  <a:pos x="1761" y="252"/>
                </a:cxn>
                <a:cxn ang="0">
                  <a:pos x="1806" y="416"/>
                </a:cxn>
                <a:cxn ang="0">
                  <a:pos x="1851" y="485"/>
                </a:cxn>
                <a:cxn ang="0">
                  <a:pos x="1954" y="540"/>
                </a:cxn>
                <a:cxn ang="0">
                  <a:pos x="1994" y="645"/>
                </a:cxn>
                <a:cxn ang="0">
                  <a:pos x="2054" y="661"/>
                </a:cxn>
                <a:cxn ang="0">
                  <a:pos x="2132" y="791"/>
                </a:cxn>
                <a:cxn ang="0">
                  <a:pos x="2191" y="911"/>
                </a:cxn>
                <a:cxn ang="0">
                  <a:pos x="2206" y="1090"/>
                </a:cxn>
                <a:cxn ang="0">
                  <a:pos x="2158" y="1285"/>
                </a:cxn>
                <a:cxn ang="0">
                  <a:pos x="2089" y="1365"/>
                </a:cxn>
                <a:cxn ang="0">
                  <a:pos x="2034" y="1506"/>
                </a:cxn>
                <a:cxn ang="0">
                  <a:pos x="2008" y="1625"/>
                </a:cxn>
                <a:cxn ang="0">
                  <a:pos x="1823" y="1705"/>
                </a:cxn>
                <a:cxn ang="0">
                  <a:pos x="1785" y="1704"/>
                </a:cxn>
                <a:cxn ang="0">
                  <a:pos x="1715" y="1661"/>
                </a:cxn>
                <a:cxn ang="0">
                  <a:pos x="1572" y="1674"/>
                </a:cxn>
                <a:cxn ang="0">
                  <a:pos x="1453" y="1530"/>
                </a:cxn>
                <a:cxn ang="0">
                  <a:pos x="1376" y="1406"/>
                </a:cxn>
                <a:cxn ang="0">
                  <a:pos x="1330" y="1443"/>
                </a:cxn>
                <a:cxn ang="0">
                  <a:pos x="1358" y="1317"/>
                </a:cxn>
                <a:cxn ang="0">
                  <a:pos x="1302" y="1370"/>
                </a:cxn>
                <a:cxn ang="0">
                  <a:pos x="1220" y="1433"/>
                </a:cxn>
                <a:cxn ang="0">
                  <a:pos x="1177" y="1335"/>
                </a:cxn>
                <a:cxn ang="0">
                  <a:pos x="1062" y="1253"/>
                </a:cxn>
                <a:cxn ang="0">
                  <a:pos x="779" y="1270"/>
                </a:cxn>
                <a:cxn ang="0">
                  <a:pos x="587" y="1354"/>
                </a:cxn>
                <a:cxn ang="0">
                  <a:pos x="419" y="1379"/>
                </a:cxn>
                <a:cxn ang="0">
                  <a:pos x="271" y="1452"/>
                </a:cxn>
                <a:cxn ang="0">
                  <a:pos x="130" y="1405"/>
                </a:cxn>
                <a:cxn ang="0">
                  <a:pos x="142" y="1286"/>
                </a:cxn>
                <a:cxn ang="0">
                  <a:pos x="66" y="1024"/>
                </a:cxn>
                <a:cxn ang="0">
                  <a:pos x="12" y="897"/>
                </a:cxn>
                <a:cxn ang="0">
                  <a:pos x="35" y="884"/>
                </a:cxn>
                <a:cxn ang="0">
                  <a:pos x="8" y="758"/>
                </a:cxn>
              </a:cxnLst>
              <a:rect l="0" t="0" r="r" b="b"/>
              <a:pathLst>
                <a:path w="2217" h="1735">
                  <a:moveTo>
                    <a:pt x="43" y="634"/>
                  </a:moveTo>
                  <a:lnTo>
                    <a:pt x="49" y="629"/>
                  </a:lnTo>
                  <a:lnTo>
                    <a:pt x="48" y="645"/>
                  </a:lnTo>
                  <a:lnTo>
                    <a:pt x="48" y="647"/>
                  </a:lnTo>
                  <a:lnTo>
                    <a:pt x="45" y="651"/>
                  </a:lnTo>
                  <a:lnTo>
                    <a:pt x="44" y="656"/>
                  </a:lnTo>
                  <a:lnTo>
                    <a:pt x="48" y="658"/>
                  </a:lnTo>
                  <a:lnTo>
                    <a:pt x="46" y="666"/>
                  </a:lnTo>
                  <a:lnTo>
                    <a:pt x="45" y="671"/>
                  </a:lnTo>
                  <a:lnTo>
                    <a:pt x="50" y="673"/>
                  </a:lnTo>
                  <a:lnTo>
                    <a:pt x="59" y="666"/>
                  </a:lnTo>
                  <a:lnTo>
                    <a:pt x="62" y="652"/>
                  </a:lnTo>
                  <a:lnTo>
                    <a:pt x="72" y="636"/>
                  </a:lnTo>
                  <a:lnTo>
                    <a:pt x="80" y="633"/>
                  </a:lnTo>
                  <a:lnTo>
                    <a:pt x="87" y="628"/>
                  </a:lnTo>
                  <a:lnTo>
                    <a:pt x="94" y="626"/>
                  </a:lnTo>
                  <a:lnTo>
                    <a:pt x="102" y="620"/>
                  </a:lnTo>
                  <a:lnTo>
                    <a:pt x="120" y="617"/>
                  </a:lnTo>
                  <a:lnTo>
                    <a:pt x="125" y="608"/>
                  </a:lnTo>
                  <a:lnTo>
                    <a:pt x="132" y="601"/>
                  </a:lnTo>
                  <a:lnTo>
                    <a:pt x="140" y="596"/>
                  </a:lnTo>
                  <a:lnTo>
                    <a:pt x="146" y="586"/>
                  </a:lnTo>
                  <a:lnTo>
                    <a:pt x="161" y="580"/>
                  </a:lnTo>
                  <a:lnTo>
                    <a:pt x="167" y="575"/>
                  </a:lnTo>
                  <a:lnTo>
                    <a:pt x="174" y="571"/>
                  </a:lnTo>
                  <a:lnTo>
                    <a:pt x="191" y="559"/>
                  </a:lnTo>
                  <a:lnTo>
                    <a:pt x="195" y="558"/>
                  </a:lnTo>
                  <a:lnTo>
                    <a:pt x="198" y="560"/>
                  </a:lnTo>
                  <a:lnTo>
                    <a:pt x="214" y="561"/>
                  </a:lnTo>
                  <a:lnTo>
                    <a:pt x="222" y="564"/>
                  </a:lnTo>
                  <a:lnTo>
                    <a:pt x="232" y="565"/>
                  </a:lnTo>
                  <a:lnTo>
                    <a:pt x="241" y="564"/>
                  </a:lnTo>
                  <a:lnTo>
                    <a:pt x="249" y="561"/>
                  </a:lnTo>
                  <a:lnTo>
                    <a:pt x="260" y="553"/>
                  </a:lnTo>
                  <a:lnTo>
                    <a:pt x="270" y="547"/>
                  </a:lnTo>
                  <a:lnTo>
                    <a:pt x="280" y="544"/>
                  </a:lnTo>
                  <a:lnTo>
                    <a:pt x="291" y="544"/>
                  </a:lnTo>
                  <a:lnTo>
                    <a:pt x="301" y="542"/>
                  </a:lnTo>
                  <a:lnTo>
                    <a:pt x="322" y="522"/>
                  </a:lnTo>
                  <a:lnTo>
                    <a:pt x="335" y="522"/>
                  </a:lnTo>
                  <a:lnTo>
                    <a:pt x="345" y="527"/>
                  </a:lnTo>
                  <a:lnTo>
                    <a:pt x="357" y="522"/>
                  </a:lnTo>
                  <a:lnTo>
                    <a:pt x="370" y="522"/>
                  </a:lnTo>
                  <a:lnTo>
                    <a:pt x="378" y="520"/>
                  </a:lnTo>
                  <a:lnTo>
                    <a:pt x="388" y="515"/>
                  </a:lnTo>
                  <a:lnTo>
                    <a:pt x="413" y="510"/>
                  </a:lnTo>
                  <a:lnTo>
                    <a:pt x="424" y="504"/>
                  </a:lnTo>
                  <a:lnTo>
                    <a:pt x="432" y="499"/>
                  </a:lnTo>
                  <a:lnTo>
                    <a:pt x="454" y="478"/>
                  </a:lnTo>
                  <a:lnTo>
                    <a:pt x="458" y="470"/>
                  </a:lnTo>
                  <a:lnTo>
                    <a:pt x="459" y="461"/>
                  </a:lnTo>
                  <a:lnTo>
                    <a:pt x="467" y="450"/>
                  </a:lnTo>
                  <a:lnTo>
                    <a:pt x="469" y="445"/>
                  </a:lnTo>
                  <a:lnTo>
                    <a:pt x="469" y="439"/>
                  </a:lnTo>
                  <a:lnTo>
                    <a:pt x="476" y="440"/>
                  </a:lnTo>
                  <a:lnTo>
                    <a:pt x="497" y="418"/>
                  </a:lnTo>
                  <a:lnTo>
                    <a:pt x="500" y="413"/>
                  </a:lnTo>
                  <a:lnTo>
                    <a:pt x="497" y="410"/>
                  </a:lnTo>
                  <a:lnTo>
                    <a:pt x="490" y="381"/>
                  </a:lnTo>
                  <a:lnTo>
                    <a:pt x="491" y="369"/>
                  </a:lnTo>
                  <a:lnTo>
                    <a:pt x="499" y="355"/>
                  </a:lnTo>
                  <a:lnTo>
                    <a:pt x="502" y="353"/>
                  </a:lnTo>
                  <a:lnTo>
                    <a:pt x="508" y="353"/>
                  </a:lnTo>
                  <a:lnTo>
                    <a:pt x="512" y="345"/>
                  </a:lnTo>
                  <a:lnTo>
                    <a:pt x="521" y="338"/>
                  </a:lnTo>
                  <a:lnTo>
                    <a:pt x="524" y="338"/>
                  </a:lnTo>
                  <a:lnTo>
                    <a:pt x="523" y="333"/>
                  </a:lnTo>
                  <a:lnTo>
                    <a:pt x="528" y="322"/>
                  </a:lnTo>
                  <a:lnTo>
                    <a:pt x="530" y="321"/>
                  </a:lnTo>
                  <a:lnTo>
                    <a:pt x="533" y="330"/>
                  </a:lnTo>
                  <a:lnTo>
                    <a:pt x="537" y="337"/>
                  </a:lnTo>
                  <a:lnTo>
                    <a:pt x="543" y="353"/>
                  </a:lnTo>
                  <a:lnTo>
                    <a:pt x="549" y="365"/>
                  </a:lnTo>
                  <a:lnTo>
                    <a:pt x="555" y="372"/>
                  </a:lnTo>
                  <a:lnTo>
                    <a:pt x="560" y="381"/>
                  </a:lnTo>
                  <a:lnTo>
                    <a:pt x="564" y="386"/>
                  </a:lnTo>
                  <a:lnTo>
                    <a:pt x="569" y="375"/>
                  </a:lnTo>
                  <a:lnTo>
                    <a:pt x="569" y="360"/>
                  </a:lnTo>
                  <a:lnTo>
                    <a:pt x="571" y="360"/>
                  </a:lnTo>
                  <a:lnTo>
                    <a:pt x="578" y="359"/>
                  </a:lnTo>
                  <a:lnTo>
                    <a:pt x="576" y="346"/>
                  </a:lnTo>
                  <a:lnTo>
                    <a:pt x="570" y="335"/>
                  </a:lnTo>
                  <a:lnTo>
                    <a:pt x="564" y="330"/>
                  </a:lnTo>
                  <a:lnTo>
                    <a:pt x="566" y="326"/>
                  </a:lnTo>
                  <a:lnTo>
                    <a:pt x="565" y="310"/>
                  </a:lnTo>
                  <a:lnTo>
                    <a:pt x="570" y="305"/>
                  </a:lnTo>
                  <a:lnTo>
                    <a:pt x="580" y="310"/>
                  </a:lnTo>
                  <a:lnTo>
                    <a:pt x="588" y="308"/>
                  </a:lnTo>
                  <a:lnTo>
                    <a:pt x="601" y="324"/>
                  </a:lnTo>
                  <a:lnTo>
                    <a:pt x="618" y="327"/>
                  </a:lnTo>
                  <a:lnTo>
                    <a:pt x="619" y="319"/>
                  </a:lnTo>
                  <a:lnTo>
                    <a:pt x="610" y="316"/>
                  </a:lnTo>
                  <a:lnTo>
                    <a:pt x="613" y="303"/>
                  </a:lnTo>
                  <a:lnTo>
                    <a:pt x="623" y="294"/>
                  </a:lnTo>
                  <a:lnTo>
                    <a:pt x="625" y="287"/>
                  </a:lnTo>
                  <a:lnTo>
                    <a:pt x="620" y="270"/>
                  </a:lnTo>
                  <a:lnTo>
                    <a:pt x="625" y="264"/>
                  </a:lnTo>
                  <a:lnTo>
                    <a:pt x="634" y="262"/>
                  </a:lnTo>
                  <a:lnTo>
                    <a:pt x="645" y="268"/>
                  </a:lnTo>
                  <a:lnTo>
                    <a:pt x="647" y="265"/>
                  </a:lnTo>
                  <a:lnTo>
                    <a:pt x="641" y="253"/>
                  </a:lnTo>
                  <a:lnTo>
                    <a:pt x="642" y="247"/>
                  </a:lnTo>
                  <a:lnTo>
                    <a:pt x="646" y="242"/>
                  </a:lnTo>
                  <a:lnTo>
                    <a:pt x="663" y="248"/>
                  </a:lnTo>
                  <a:lnTo>
                    <a:pt x="663" y="243"/>
                  </a:lnTo>
                  <a:lnTo>
                    <a:pt x="657" y="233"/>
                  </a:lnTo>
                  <a:lnTo>
                    <a:pt x="657" y="221"/>
                  </a:lnTo>
                  <a:lnTo>
                    <a:pt x="666" y="217"/>
                  </a:lnTo>
                  <a:lnTo>
                    <a:pt x="671" y="217"/>
                  </a:lnTo>
                  <a:lnTo>
                    <a:pt x="677" y="215"/>
                  </a:lnTo>
                  <a:lnTo>
                    <a:pt x="687" y="214"/>
                  </a:lnTo>
                  <a:lnTo>
                    <a:pt x="688" y="222"/>
                  </a:lnTo>
                  <a:lnTo>
                    <a:pt x="693" y="220"/>
                  </a:lnTo>
                  <a:lnTo>
                    <a:pt x="700" y="214"/>
                  </a:lnTo>
                  <a:lnTo>
                    <a:pt x="705" y="201"/>
                  </a:lnTo>
                  <a:lnTo>
                    <a:pt x="705" y="197"/>
                  </a:lnTo>
                  <a:lnTo>
                    <a:pt x="699" y="189"/>
                  </a:lnTo>
                  <a:lnTo>
                    <a:pt x="702" y="183"/>
                  </a:lnTo>
                  <a:lnTo>
                    <a:pt x="707" y="189"/>
                  </a:lnTo>
                  <a:lnTo>
                    <a:pt x="709" y="198"/>
                  </a:lnTo>
                  <a:lnTo>
                    <a:pt x="715" y="194"/>
                  </a:lnTo>
                  <a:lnTo>
                    <a:pt x="718" y="188"/>
                  </a:lnTo>
                  <a:lnTo>
                    <a:pt x="721" y="189"/>
                  </a:lnTo>
                  <a:lnTo>
                    <a:pt x="722" y="194"/>
                  </a:lnTo>
                  <a:lnTo>
                    <a:pt x="728" y="193"/>
                  </a:lnTo>
                  <a:lnTo>
                    <a:pt x="739" y="187"/>
                  </a:lnTo>
                  <a:lnTo>
                    <a:pt x="743" y="183"/>
                  </a:lnTo>
                  <a:lnTo>
                    <a:pt x="741" y="176"/>
                  </a:lnTo>
                  <a:lnTo>
                    <a:pt x="749" y="174"/>
                  </a:lnTo>
                  <a:lnTo>
                    <a:pt x="753" y="177"/>
                  </a:lnTo>
                  <a:lnTo>
                    <a:pt x="761" y="181"/>
                  </a:lnTo>
                  <a:lnTo>
                    <a:pt x="770" y="181"/>
                  </a:lnTo>
                  <a:lnTo>
                    <a:pt x="780" y="187"/>
                  </a:lnTo>
                  <a:lnTo>
                    <a:pt x="788" y="193"/>
                  </a:lnTo>
                  <a:lnTo>
                    <a:pt x="804" y="215"/>
                  </a:lnTo>
                  <a:lnTo>
                    <a:pt x="818" y="226"/>
                  </a:lnTo>
                  <a:lnTo>
                    <a:pt x="814" y="242"/>
                  </a:lnTo>
                  <a:lnTo>
                    <a:pt x="814" y="253"/>
                  </a:lnTo>
                  <a:lnTo>
                    <a:pt x="815" y="255"/>
                  </a:lnTo>
                  <a:lnTo>
                    <a:pt x="818" y="257"/>
                  </a:lnTo>
                  <a:lnTo>
                    <a:pt x="819" y="254"/>
                  </a:lnTo>
                  <a:lnTo>
                    <a:pt x="822" y="247"/>
                  </a:lnTo>
                  <a:lnTo>
                    <a:pt x="820" y="243"/>
                  </a:lnTo>
                  <a:lnTo>
                    <a:pt x="825" y="238"/>
                  </a:lnTo>
                  <a:lnTo>
                    <a:pt x="829" y="240"/>
                  </a:lnTo>
                  <a:lnTo>
                    <a:pt x="830" y="237"/>
                  </a:lnTo>
                  <a:lnTo>
                    <a:pt x="836" y="240"/>
                  </a:lnTo>
                  <a:lnTo>
                    <a:pt x="836" y="232"/>
                  </a:lnTo>
                  <a:lnTo>
                    <a:pt x="839" y="231"/>
                  </a:lnTo>
                  <a:lnTo>
                    <a:pt x="849" y="233"/>
                  </a:lnTo>
                  <a:lnTo>
                    <a:pt x="862" y="233"/>
                  </a:lnTo>
                  <a:lnTo>
                    <a:pt x="873" y="232"/>
                  </a:lnTo>
                  <a:lnTo>
                    <a:pt x="881" y="236"/>
                  </a:lnTo>
                  <a:lnTo>
                    <a:pt x="898" y="254"/>
                  </a:lnTo>
                  <a:lnTo>
                    <a:pt x="903" y="253"/>
                  </a:lnTo>
                  <a:lnTo>
                    <a:pt x="903" y="249"/>
                  </a:lnTo>
                  <a:lnTo>
                    <a:pt x="899" y="237"/>
                  </a:lnTo>
                  <a:lnTo>
                    <a:pt x="906" y="233"/>
                  </a:lnTo>
                  <a:lnTo>
                    <a:pt x="908" y="232"/>
                  </a:lnTo>
                  <a:lnTo>
                    <a:pt x="894" y="217"/>
                  </a:lnTo>
                  <a:lnTo>
                    <a:pt x="886" y="205"/>
                  </a:lnTo>
                  <a:lnTo>
                    <a:pt x="890" y="189"/>
                  </a:lnTo>
                  <a:lnTo>
                    <a:pt x="893" y="192"/>
                  </a:lnTo>
                  <a:lnTo>
                    <a:pt x="898" y="189"/>
                  </a:lnTo>
                  <a:lnTo>
                    <a:pt x="909" y="172"/>
                  </a:lnTo>
                  <a:lnTo>
                    <a:pt x="909" y="165"/>
                  </a:lnTo>
                  <a:lnTo>
                    <a:pt x="914" y="158"/>
                  </a:lnTo>
                  <a:lnTo>
                    <a:pt x="921" y="160"/>
                  </a:lnTo>
                  <a:lnTo>
                    <a:pt x="931" y="160"/>
                  </a:lnTo>
                  <a:lnTo>
                    <a:pt x="937" y="154"/>
                  </a:lnTo>
                  <a:lnTo>
                    <a:pt x="936" y="141"/>
                  </a:lnTo>
                  <a:lnTo>
                    <a:pt x="929" y="141"/>
                  </a:lnTo>
                  <a:lnTo>
                    <a:pt x="930" y="135"/>
                  </a:lnTo>
                  <a:lnTo>
                    <a:pt x="931" y="125"/>
                  </a:lnTo>
                  <a:lnTo>
                    <a:pt x="935" y="115"/>
                  </a:lnTo>
                  <a:lnTo>
                    <a:pt x="944" y="113"/>
                  </a:lnTo>
                  <a:lnTo>
                    <a:pt x="953" y="109"/>
                  </a:lnTo>
                  <a:lnTo>
                    <a:pt x="954" y="102"/>
                  </a:lnTo>
                  <a:lnTo>
                    <a:pt x="962" y="103"/>
                  </a:lnTo>
                  <a:lnTo>
                    <a:pt x="969" y="108"/>
                  </a:lnTo>
                  <a:lnTo>
                    <a:pt x="973" y="115"/>
                  </a:lnTo>
                  <a:lnTo>
                    <a:pt x="974" y="108"/>
                  </a:lnTo>
                  <a:lnTo>
                    <a:pt x="968" y="98"/>
                  </a:lnTo>
                  <a:lnTo>
                    <a:pt x="971" y="96"/>
                  </a:lnTo>
                  <a:lnTo>
                    <a:pt x="978" y="88"/>
                  </a:lnTo>
                  <a:lnTo>
                    <a:pt x="991" y="92"/>
                  </a:lnTo>
                  <a:lnTo>
                    <a:pt x="992" y="87"/>
                  </a:lnTo>
                  <a:lnTo>
                    <a:pt x="1003" y="90"/>
                  </a:lnTo>
                  <a:lnTo>
                    <a:pt x="1016" y="88"/>
                  </a:lnTo>
                  <a:lnTo>
                    <a:pt x="1026" y="91"/>
                  </a:lnTo>
                  <a:lnTo>
                    <a:pt x="1034" y="91"/>
                  </a:lnTo>
                  <a:lnTo>
                    <a:pt x="1054" y="85"/>
                  </a:lnTo>
                  <a:lnTo>
                    <a:pt x="1062" y="79"/>
                  </a:lnTo>
                  <a:lnTo>
                    <a:pt x="1062" y="55"/>
                  </a:lnTo>
                  <a:lnTo>
                    <a:pt x="1056" y="49"/>
                  </a:lnTo>
                  <a:lnTo>
                    <a:pt x="1045" y="48"/>
                  </a:lnTo>
                  <a:lnTo>
                    <a:pt x="1038" y="49"/>
                  </a:lnTo>
                  <a:lnTo>
                    <a:pt x="1030" y="44"/>
                  </a:lnTo>
                  <a:lnTo>
                    <a:pt x="1026" y="38"/>
                  </a:lnTo>
                  <a:lnTo>
                    <a:pt x="1017" y="34"/>
                  </a:lnTo>
                  <a:lnTo>
                    <a:pt x="1017" y="33"/>
                  </a:lnTo>
                  <a:lnTo>
                    <a:pt x="1021" y="32"/>
                  </a:lnTo>
                  <a:lnTo>
                    <a:pt x="1024" y="34"/>
                  </a:lnTo>
                  <a:lnTo>
                    <a:pt x="1027" y="29"/>
                  </a:lnTo>
                  <a:lnTo>
                    <a:pt x="1029" y="27"/>
                  </a:lnTo>
                  <a:lnTo>
                    <a:pt x="1032" y="31"/>
                  </a:lnTo>
                  <a:lnTo>
                    <a:pt x="1035" y="45"/>
                  </a:lnTo>
                  <a:lnTo>
                    <a:pt x="1039" y="38"/>
                  </a:lnTo>
                  <a:lnTo>
                    <a:pt x="1039" y="29"/>
                  </a:lnTo>
                  <a:lnTo>
                    <a:pt x="1044" y="29"/>
                  </a:lnTo>
                  <a:lnTo>
                    <a:pt x="1046" y="33"/>
                  </a:lnTo>
                  <a:lnTo>
                    <a:pt x="1051" y="32"/>
                  </a:lnTo>
                  <a:lnTo>
                    <a:pt x="1055" y="38"/>
                  </a:lnTo>
                  <a:lnTo>
                    <a:pt x="1059" y="43"/>
                  </a:lnTo>
                  <a:lnTo>
                    <a:pt x="1067" y="49"/>
                  </a:lnTo>
                  <a:lnTo>
                    <a:pt x="1070" y="42"/>
                  </a:lnTo>
                  <a:lnTo>
                    <a:pt x="1075" y="41"/>
                  </a:lnTo>
                  <a:lnTo>
                    <a:pt x="1080" y="44"/>
                  </a:lnTo>
                  <a:lnTo>
                    <a:pt x="1082" y="50"/>
                  </a:lnTo>
                  <a:lnTo>
                    <a:pt x="1089" y="58"/>
                  </a:lnTo>
                  <a:lnTo>
                    <a:pt x="1104" y="61"/>
                  </a:lnTo>
                  <a:lnTo>
                    <a:pt x="1108" y="61"/>
                  </a:lnTo>
                  <a:lnTo>
                    <a:pt x="1113" y="63"/>
                  </a:lnTo>
                  <a:lnTo>
                    <a:pt x="1116" y="65"/>
                  </a:lnTo>
                  <a:lnTo>
                    <a:pt x="1123" y="60"/>
                  </a:lnTo>
                  <a:lnTo>
                    <a:pt x="1126" y="59"/>
                  </a:lnTo>
                  <a:lnTo>
                    <a:pt x="1126" y="66"/>
                  </a:lnTo>
                  <a:lnTo>
                    <a:pt x="1131" y="69"/>
                  </a:lnTo>
                  <a:lnTo>
                    <a:pt x="1141" y="69"/>
                  </a:lnTo>
                  <a:lnTo>
                    <a:pt x="1151" y="76"/>
                  </a:lnTo>
                  <a:lnTo>
                    <a:pt x="1159" y="75"/>
                  </a:lnTo>
                  <a:lnTo>
                    <a:pt x="1167" y="79"/>
                  </a:lnTo>
                  <a:lnTo>
                    <a:pt x="1177" y="74"/>
                  </a:lnTo>
                  <a:lnTo>
                    <a:pt x="1179" y="74"/>
                  </a:lnTo>
                  <a:lnTo>
                    <a:pt x="1184" y="81"/>
                  </a:lnTo>
                  <a:lnTo>
                    <a:pt x="1195" y="81"/>
                  </a:lnTo>
                  <a:lnTo>
                    <a:pt x="1200" y="84"/>
                  </a:lnTo>
                  <a:lnTo>
                    <a:pt x="1205" y="90"/>
                  </a:lnTo>
                  <a:lnTo>
                    <a:pt x="1216" y="79"/>
                  </a:lnTo>
                  <a:lnTo>
                    <a:pt x="1221" y="76"/>
                  </a:lnTo>
                  <a:lnTo>
                    <a:pt x="1225" y="75"/>
                  </a:lnTo>
                  <a:lnTo>
                    <a:pt x="1234" y="76"/>
                  </a:lnTo>
                  <a:lnTo>
                    <a:pt x="1244" y="71"/>
                  </a:lnTo>
                  <a:lnTo>
                    <a:pt x="1238" y="82"/>
                  </a:lnTo>
                  <a:lnTo>
                    <a:pt x="1241" y="85"/>
                  </a:lnTo>
                  <a:lnTo>
                    <a:pt x="1243" y="86"/>
                  </a:lnTo>
                  <a:lnTo>
                    <a:pt x="1248" y="81"/>
                  </a:lnTo>
                  <a:lnTo>
                    <a:pt x="1249" y="85"/>
                  </a:lnTo>
                  <a:lnTo>
                    <a:pt x="1248" y="101"/>
                  </a:lnTo>
                  <a:lnTo>
                    <a:pt x="1249" y="104"/>
                  </a:lnTo>
                  <a:lnTo>
                    <a:pt x="1259" y="101"/>
                  </a:lnTo>
                  <a:lnTo>
                    <a:pt x="1264" y="90"/>
                  </a:lnTo>
                  <a:lnTo>
                    <a:pt x="1263" y="88"/>
                  </a:lnTo>
                  <a:lnTo>
                    <a:pt x="1264" y="79"/>
                  </a:lnTo>
                  <a:lnTo>
                    <a:pt x="1274" y="70"/>
                  </a:lnTo>
                  <a:lnTo>
                    <a:pt x="1276" y="72"/>
                  </a:lnTo>
                  <a:lnTo>
                    <a:pt x="1279" y="77"/>
                  </a:lnTo>
                  <a:lnTo>
                    <a:pt x="1280" y="92"/>
                  </a:lnTo>
                  <a:lnTo>
                    <a:pt x="1288" y="87"/>
                  </a:lnTo>
                  <a:lnTo>
                    <a:pt x="1295" y="87"/>
                  </a:lnTo>
                  <a:lnTo>
                    <a:pt x="1299" y="91"/>
                  </a:lnTo>
                  <a:lnTo>
                    <a:pt x="1297" y="96"/>
                  </a:lnTo>
                  <a:lnTo>
                    <a:pt x="1293" y="106"/>
                  </a:lnTo>
                  <a:lnTo>
                    <a:pt x="1287" y="115"/>
                  </a:lnTo>
                  <a:lnTo>
                    <a:pt x="1284" y="119"/>
                  </a:lnTo>
                  <a:lnTo>
                    <a:pt x="1279" y="118"/>
                  </a:lnTo>
                  <a:lnTo>
                    <a:pt x="1277" y="122"/>
                  </a:lnTo>
                  <a:lnTo>
                    <a:pt x="1284" y="130"/>
                  </a:lnTo>
                  <a:lnTo>
                    <a:pt x="1276" y="141"/>
                  </a:lnTo>
                  <a:lnTo>
                    <a:pt x="1272" y="144"/>
                  </a:lnTo>
                  <a:lnTo>
                    <a:pt x="1264" y="141"/>
                  </a:lnTo>
                  <a:lnTo>
                    <a:pt x="1263" y="136"/>
                  </a:lnTo>
                  <a:lnTo>
                    <a:pt x="1258" y="142"/>
                  </a:lnTo>
                  <a:lnTo>
                    <a:pt x="1259" y="151"/>
                  </a:lnTo>
                  <a:lnTo>
                    <a:pt x="1261" y="156"/>
                  </a:lnTo>
                  <a:lnTo>
                    <a:pt x="1258" y="152"/>
                  </a:lnTo>
                  <a:lnTo>
                    <a:pt x="1253" y="145"/>
                  </a:lnTo>
                  <a:lnTo>
                    <a:pt x="1248" y="144"/>
                  </a:lnTo>
                  <a:lnTo>
                    <a:pt x="1247" y="156"/>
                  </a:lnTo>
                  <a:lnTo>
                    <a:pt x="1243" y="165"/>
                  </a:lnTo>
                  <a:lnTo>
                    <a:pt x="1243" y="171"/>
                  </a:lnTo>
                  <a:lnTo>
                    <a:pt x="1253" y="168"/>
                  </a:lnTo>
                  <a:lnTo>
                    <a:pt x="1248" y="187"/>
                  </a:lnTo>
                  <a:lnTo>
                    <a:pt x="1248" y="190"/>
                  </a:lnTo>
                  <a:lnTo>
                    <a:pt x="1238" y="210"/>
                  </a:lnTo>
                  <a:lnTo>
                    <a:pt x="1234" y="221"/>
                  </a:lnTo>
                  <a:lnTo>
                    <a:pt x="1232" y="225"/>
                  </a:lnTo>
                  <a:lnTo>
                    <a:pt x="1228" y="231"/>
                  </a:lnTo>
                  <a:lnTo>
                    <a:pt x="1228" y="242"/>
                  </a:lnTo>
                  <a:lnTo>
                    <a:pt x="1234" y="246"/>
                  </a:lnTo>
                  <a:lnTo>
                    <a:pt x="1238" y="252"/>
                  </a:lnTo>
                  <a:lnTo>
                    <a:pt x="1245" y="251"/>
                  </a:lnTo>
                  <a:lnTo>
                    <a:pt x="1254" y="258"/>
                  </a:lnTo>
                  <a:lnTo>
                    <a:pt x="1269" y="264"/>
                  </a:lnTo>
                  <a:lnTo>
                    <a:pt x="1271" y="274"/>
                  </a:lnTo>
                  <a:lnTo>
                    <a:pt x="1275" y="283"/>
                  </a:lnTo>
                  <a:lnTo>
                    <a:pt x="1275" y="297"/>
                  </a:lnTo>
                  <a:lnTo>
                    <a:pt x="1285" y="290"/>
                  </a:lnTo>
                  <a:lnTo>
                    <a:pt x="1307" y="296"/>
                  </a:lnTo>
                  <a:lnTo>
                    <a:pt x="1320" y="295"/>
                  </a:lnTo>
                  <a:lnTo>
                    <a:pt x="1324" y="302"/>
                  </a:lnTo>
                  <a:lnTo>
                    <a:pt x="1335" y="308"/>
                  </a:lnTo>
                  <a:lnTo>
                    <a:pt x="1345" y="313"/>
                  </a:lnTo>
                  <a:lnTo>
                    <a:pt x="1355" y="319"/>
                  </a:lnTo>
                  <a:lnTo>
                    <a:pt x="1361" y="327"/>
                  </a:lnTo>
                  <a:lnTo>
                    <a:pt x="1370" y="334"/>
                  </a:lnTo>
                  <a:lnTo>
                    <a:pt x="1377" y="335"/>
                  </a:lnTo>
                  <a:lnTo>
                    <a:pt x="1384" y="339"/>
                  </a:lnTo>
                  <a:lnTo>
                    <a:pt x="1411" y="346"/>
                  </a:lnTo>
                  <a:lnTo>
                    <a:pt x="1421" y="354"/>
                  </a:lnTo>
                  <a:lnTo>
                    <a:pt x="1425" y="365"/>
                  </a:lnTo>
                  <a:lnTo>
                    <a:pt x="1430" y="371"/>
                  </a:lnTo>
                  <a:lnTo>
                    <a:pt x="1460" y="392"/>
                  </a:lnTo>
                  <a:lnTo>
                    <a:pt x="1475" y="398"/>
                  </a:lnTo>
                  <a:lnTo>
                    <a:pt x="1487" y="394"/>
                  </a:lnTo>
                  <a:lnTo>
                    <a:pt x="1498" y="389"/>
                  </a:lnTo>
                  <a:lnTo>
                    <a:pt x="1516" y="384"/>
                  </a:lnTo>
                  <a:lnTo>
                    <a:pt x="1521" y="377"/>
                  </a:lnTo>
                  <a:lnTo>
                    <a:pt x="1524" y="356"/>
                  </a:lnTo>
                  <a:lnTo>
                    <a:pt x="1537" y="333"/>
                  </a:lnTo>
                  <a:lnTo>
                    <a:pt x="1548" y="287"/>
                  </a:lnTo>
                  <a:lnTo>
                    <a:pt x="1553" y="270"/>
                  </a:lnTo>
                  <a:lnTo>
                    <a:pt x="1557" y="258"/>
                  </a:lnTo>
                  <a:lnTo>
                    <a:pt x="1560" y="246"/>
                  </a:lnTo>
                  <a:lnTo>
                    <a:pt x="1559" y="231"/>
                  </a:lnTo>
                  <a:lnTo>
                    <a:pt x="1553" y="213"/>
                  </a:lnTo>
                  <a:lnTo>
                    <a:pt x="1555" y="197"/>
                  </a:lnTo>
                  <a:lnTo>
                    <a:pt x="1553" y="165"/>
                  </a:lnTo>
                  <a:lnTo>
                    <a:pt x="1561" y="145"/>
                  </a:lnTo>
                  <a:lnTo>
                    <a:pt x="1560" y="128"/>
                  </a:lnTo>
                  <a:lnTo>
                    <a:pt x="1565" y="118"/>
                  </a:lnTo>
                  <a:lnTo>
                    <a:pt x="1566" y="108"/>
                  </a:lnTo>
                  <a:lnTo>
                    <a:pt x="1559" y="106"/>
                  </a:lnTo>
                  <a:lnTo>
                    <a:pt x="1560" y="95"/>
                  </a:lnTo>
                  <a:lnTo>
                    <a:pt x="1564" y="76"/>
                  </a:lnTo>
                  <a:lnTo>
                    <a:pt x="1575" y="72"/>
                  </a:lnTo>
                  <a:lnTo>
                    <a:pt x="1578" y="64"/>
                  </a:lnTo>
                  <a:lnTo>
                    <a:pt x="1583" y="45"/>
                  </a:lnTo>
                  <a:lnTo>
                    <a:pt x="1596" y="29"/>
                  </a:lnTo>
                  <a:lnTo>
                    <a:pt x="1596" y="16"/>
                  </a:lnTo>
                  <a:lnTo>
                    <a:pt x="1596" y="15"/>
                  </a:lnTo>
                  <a:lnTo>
                    <a:pt x="1599" y="11"/>
                  </a:lnTo>
                  <a:lnTo>
                    <a:pt x="1604" y="10"/>
                  </a:lnTo>
                  <a:lnTo>
                    <a:pt x="1613" y="5"/>
                  </a:lnTo>
                  <a:lnTo>
                    <a:pt x="1616" y="0"/>
                  </a:lnTo>
                  <a:lnTo>
                    <a:pt x="1623" y="2"/>
                  </a:lnTo>
                  <a:lnTo>
                    <a:pt x="1623" y="7"/>
                  </a:lnTo>
                  <a:lnTo>
                    <a:pt x="1624" y="16"/>
                  </a:lnTo>
                  <a:lnTo>
                    <a:pt x="1623" y="16"/>
                  </a:lnTo>
                  <a:lnTo>
                    <a:pt x="1623" y="17"/>
                  </a:lnTo>
                  <a:lnTo>
                    <a:pt x="1625" y="31"/>
                  </a:lnTo>
                  <a:lnTo>
                    <a:pt x="1625" y="58"/>
                  </a:lnTo>
                  <a:lnTo>
                    <a:pt x="1629" y="68"/>
                  </a:lnTo>
                  <a:lnTo>
                    <a:pt x="1639" y="68"/>
                  </a:lnTo>
                  <a:lnTo>
                    <a:pt x="1641" y="74"/>
                  </a:lnTo>
                  <a:lnTo>
                    <a:pt x="1640" y="88"/>
                  </a:lnTo>
                  <a:lnTo>
                    <a:pt x="1646" y="93"/>
                  </a:lnTo>
                  <a:lnTo>
                    <a:pt x="1650" y="103"/>
                  </a:lnTo>
                  <a:lnTo>
                    <a:pt x="1655" y="107"/>
                  </a:lnTo>
                  <a:lnTo>
                    <a:pt x="1656" y="122"/>
                  </a:lnTo>
                  <a:lnTo>
                    <a:pt x="1661" y="124"/>
                  </a:lnTo>
                  <a:lnTo>
                    <a:pt x="1663" y="139"/>
                  </a:lnTo>
                  <a:lnTo>
                    <a:pt x="1667" y="151"/>
                  </a:lnTo>
                  <a:lnTo>
                    <a:pt x="1667" y="171"/>
                  </a:lnTo>
                  <a:lnTo>
                    <a:pt x="1670" y="179"/>
                  </a:lnTo>
                  <a:lnTo>
                    <a:pt x="1672" y="189"/>
                  </a:lnTo>
                  <a:lnTo>
                    <a:pt x="1677" y="199"/>
                  </a:lnTo>
                  <a:lnTo>
                    <a:pt x="1684" y="208"/>
                  </a:lnTo>
                  <a:lnTo>
                    <a:pt x="1693" y="211"/>
                  </a:lnTo>
                  <a:lnTo>
                    <a:pt x="1705" y="200"/>
                  </a:lnTo>
                  <a:lnTo>
                    <a:pt x="1715" y="198"/>
                  </a:lnTo>
                  <a:lnTo>
                    <a:pt x="1723" y="199"/>
                  </a:lnTo>
                  <a:lnTo>
                    <a:pt x="1729" y="215"/>
                  </a:lnTo>
                  <a:lnTo>
                    <a:pt x="1739" y="219"/>
                  </a:lnTo>
                  <a:lnTo>
                    <a:pt x="1747" y="228"/>
                  </a:lnTo>
                  <a:lnTo>
                    <a:pt x="1755" y="232"/>
                  </a:lnTo>
                  <a:lnTo>
                    <a:pt x="1764" y="242"/>
                  </a:lnTo>
                  <a:lnTo>
                    <a:pt x="1761" y="252"/>
                  </a:lnTo>
                  <a:lnTo>
                    <a:pt x="1764" y="258"/>
                  </a:lnTo>
                  <a:lnTo>
                    <a:pt x="1763" y="276"/>
                  </a:lnTo>
                  <a:lnTo>
                    <a:pt x="1766" y="286"/>
                  </a:lnTo>
                  <a:lnTo>
                    <a:pt x="1766" y="295"/>
                  </a:lnTo>
                  <a:lnTo>
                    <a:pt x="1771" y="303"/>
                  </a:lnTo>
                  <a:lnTo>
                    <a:pt x="1771" y="319"/>
                  </a:lnTo>
                  <a:lnTo>
                    <a:pt x="1775" y="332"/>
                  </a:lnTo>
                  <a:lnTo>
                    <a:pt x="1787" y="349"/>
                  </a:lnTo>
                  <a:lnTo>
                    <a:pt x="1796" y="349"/>
                  </a:lnTo>
                  <a:lnTo>
                    <a:pt x="1797" y="361"/>
                  </a:lnTo>
                  <a:lnTo>
                    <a:pt x="1804" y="381"/>
                  </a:lnTo>
                  <a:lnTo>
                    <a:pt x="1807" y="393"/>
                  </a:lnTo>
                  <a:lnTo>
                    <a:pt x="1808" y="409"/>
                  </a:lnTo>
                  <a:lnTo>
                    <a:pt x="1806" y="416"/>
                  </a:lnTo>
                  <a:lnTo>
                    <a:pt x="1806" y="426"/>
                  </a:lnTo>
                  <a:lnTo>
                    <a:pt x="1808" y="437"/>
                  </a:lnTo>
                  <a:lnTo>
                    <a:pt x="1814" y="443"/>
                  </a:lnTo>
                  <a:lnTo>
                    <a:pt x="1819" y="445"/>
                  </a:lnTo>
                  <a:lnTo>
                    <a:pt x="1818" y="448"/>
                  </a:lnTo>
                  <a:lnTo>
                    <a:pt x="1822" y="445"/>
                  </a:lnTo>
                  <a:lnTo>
                    <a:pt x="1822" y="447"/>
                  </a:lnTo>
                  <a:lnTo>
                    <a:pt x="1819" y="452"/>
                  </a:lnTo>
                  <a:lnTo>
                    <a:pt x="1820" y="454"/>
                  </a:lnTo>
                  <a:lnTo>
                    <a:pt x="1820" y="461"/>
                  </a:lnTo>
                  <a:lnTo>
                    <a:pt x="1824" y="470"/>
                  </a:lnTo>
                  <a:lnTo>
                    <a:pt x="1838" y="475"/>
                  </a:lnTo>
                  <a:lnTo>
                    <a:pt x="1841" y="480"/>
                  </a:lnTo>
                  <a:lnTo>
                    <a:pt x="1851" y="485"/>
                  </a:lnTo>
                  <a:lnTo>
                    <a:pt x="1871" y="490"/>
                  </a:lnTo>
                  <a:lnTo>
                    <a:pt x="1874" y="489"/>
                  </a:lnTo>
                  <a:lnTo>
                    <a:pt x="1881" y="485"/>
                  </a:lnTo>
                  <a:lnTo>
                    <a:pt x="1884" y="502"/>
                  </a:lnTo>
                  <a:lnTo>
                    <a:pt x="1888" y="511"/>
                  </a:lnTo>
                  <a:lnTo>
                    <a:pt x="1893" y="515"/>
                  </a:lnTo>
                  <a:lnTo>
                    <a:pt x="1903" y="512"/>
                  </a:lnTo>
                  <a:lnTo>
                    <a:pt x="1911" y="517"/>
                  </a:lnTo>
                  <a:lnTo>
                    <a:pt x="1920" y="518"/>
                  </a:lnTo>
                  <a:lnTo>
                    <a:pt x="1925" y="527"/>
                  </a:lnTo>
                  <a:lnTo>
                    <a:pt x="1931" y="533"/>
                  </a:lnTo>
                  <a:lnTo>
                    <a:pt x="1937" y="529"/>
                  </a:lnTo>
                  <a:lnTo>
                    <a:pt x="1942" y="533"/>
                  </a:lnTo>
                  <a:lnTo>
                    <a:pt x="1954" y="540"/>
                  </a:lnTo>
                  <a:lnTo>
                    <a:pt x="1958" y="545"/>
                  </a:lnTo>
                  <a:lnTo>
                    <a:pt x="1960" y="556"/>
                  </a:lnTo>
                  <a:lnTo>
                    <a:pt x="1953" y="554"/>
                  </a:lnTo>
                  <a:lnTo>
                    <a:pt x="1952" y="566"/>
                  </a:lnTo>
                  <a:lnTo>
                    <a:pt x="1958" y="572"/>
                  </a:lnTo>
                  <a:lnTo>
                    <a:pt x="1968" y="574"/>
                  </a:lnTo>
                  <a:lnTo>
                    <a:pt x="1970" y="580"/>
                  </a:lnTo>
                  <a:lnTo>
                    <a:pt x="1978" y="588"/>
                  </a:lnTo>
                  <a:lnTo>
                    <a:pt x="1980" y="597"/>
                  </a:lnTo>
                  <a:lnTo>
                    <a:pt x="1983" y="603"/>
                  </a:lnTo>
                  <a:lnTo>
                    <a:pt x="1985" y="610"/>
                  </a:lnTo>
                  <a:lnTo>
                    <a:pt x="1992" y="612"/>
                  </a:lnTo>
                  <a:lnTo>
                    <a:pt x="1994" y="619"/>
                  </a:lnTo>
                  <a:lnTo>
                    <a:pt x="1994" y="645"/>
                  </a:lnTo>
                  <a:lnTo>
                    <a:pt x="1996" y="651"/>
                  </a:lnTo>
                  <a:lnTo>
                    <a:pt x="1997" y="658"/>
                  </a:lnTo>
                  <a:lnTo>
                    <a:pt x="2002" y="662"/>
                  </a:lnTo>
                  <a:lnTo>
                    <a:pt x="2005" y="671"/>
                  </a:lnTo>
                  <a:lnTo>
                    <a:pt x="2007" y="672"/>
                  </a:lnTo>
                  <a:lnTo>
                    <a:pt x="2011" y="669"/>
                  </a:lnTo>
                  <a:lnTo>
                    <a:pt x="2017" y="669"/>
                  </a:lnTo>
                  <a:lnTo>
                    <a:pt x="2017" y="655"/>
                  </a:lnTo>
                  <a:lnTo>
                    <a:pt x="2023" y="650"/>
                  </a:lnTo>
                  <a:lnTo>
                    <a:pt x="2027" y="660"/>
                  </a:lnTo>
                  <a:lnTo>
                    <a:pt x="2032" y="665"/>
                  </a:lnTo>
                  <a:lnTo>
                    <a:pt x="2043" y="669"/>
                  </a:lnTo>
                  <a:lnTo>
                    <a:pt x="2051" y="676"/>
                  </a:lnTo>
                  <a:lnTo>
                    <a:pt x="2054" y="661"/>
                  </a:lnTo>
                  <a:lnTo>
                    <a:pt x="2057" y="665"/>
                  </a:lnTo>
                  <a:lnTo>
                    <a:pt x="2059" y="671"/>
                  </a:lnTo>
                  <a:lnTo>
                    <a:pt x="2061" y="674"/>
                  </a:lnTo>
                  <a:lnTo>
                    <a:pt x="2065" y="690"/>
                  </a:lnTo>
                  <a:lnTo>
                    <a:pt x="2065" y="720"/>
                  </a:lnTo>
                  <a:lnTo>
                    <a:pt x="2068" y="733"/>
                  </a:lnTo>
                  <a:lnTo>
                    <a:pt x="2077" y="739"/>
                  </a:lnTo>
                  <a:lnTo>
                    <a:pt x="2083" y="748"/>
                  </a:lnTo>
                  <a:lnTo>
                    <a:pt x="2098" y="760"/>
                  </a:lnTo>
                  <a:lnTo>
                    <a:pt x="2110" y="760"/>
                  </a:lnTo>
                  <a:lnTo>
                    <a:pt x="2118" y="766"/>
                  </a:lnTo>
                  <a:lnTo>
                    <a:pt x="2124" y="774"/>
                  </a:lnTo>
                  <a:lnTo>
                    <a:pt x="2130" y="785"/>
                  </a:lnTo>
                  <a:lnTo>
                    <a:pt x="2132" y="791"/>
                  </a:lnTo>
                  <a:lnTo>
                    <a:pt x="2141" y="800"/>
                  </a:lnTo>
                  <a:lnTo>
                    <a:pt x="2151" y="802"/>
                  </a:lnTo>
                  <a:lnTo>
                    <a:pt x="2151" y="806"/>
                  </a:lnTo>
                  <a:lnTo>
                    <a:pt x="2163" y="824"/>
                  </a:lnTo>
                  <a:lnTo>
                    <a:pt x="2162" y="830"/>
                  </a:lnTo>
                  <a:lnTo>
                    <a:pt x="2173" y="835"/>
                  </a:lnTo>
                  <a:lnTo>
                    <a:pt x="2177" y="844"/>
                  </a:lnTo>
                  <a:lnTo>
                    <a:pt x="2178" y="862"/>
                  </a:lnTo>
                  <a:lnTo>
                    <a:pt x="2184" y="872"/>
                  </a:lnTo>
                  <a:lnTo>
                    <a:pt x="2186" y="876"/>
                  </a:lnTo>
                  <a:lnTo>
                    <a:pt x="2190" y="871"/>
                  </a:lnTo>
                  <a:lnTo>
                    <a:pt x="2191" y="886"/>
                  </a:lnTo>
                  <a:lnTo>
                    <a:pt x="2189" y="900"/>
                  </a:lnTo>
                  <a:lnTo>
                    <a:pt x="2191" y="911"/>
                  </a:lnTo>
                  <a:lnTo>
                    <a:pt x="2194" y="938"/>
                  </a:lnTo>
                  <a:lnTo>
                    <a:pt x="2197" y="948"/>
                  </a:lnTo>
                  <a:lnTo>
                    <a:pt x="2193" y="945"/>
                  </a:lnTo>
                  <a:lnTo>
                    <a:pt x="2191" y="952"/>
                  </a:lnTo>
                  <a:lnTo>
                    <a:pt x="2193" y="956"/>
                  </a:lnTo>
                  <a:lnTo>
                    <a:pt x="2194" y="963"/>
                  </a:lnTo>
                  <a:lnTo>
                    <a:pt x="2197" y="967"/>
                  </a:lnTo>
                  <a:lnTo>
                    <a:pt x="2200" y="979"/>
                  </a:lnTo>
                  <a:lnTo>
                    <a:pt x="2207" y="995"/>
                  </a:lnTo>
                  <a:lnTo>
                    <a:pt x="2216" y="1023"/>
                  </a:lnTo>
                  <a:lnTo>
                    <a:pt x="2217" y="1050"/>
                  </a:lnTo>
                  <a:lnTo>
                    <a:pt x="2215" y="1066"/>
                  </a:lnTo>
                  <a:lnTo>
                    <a:pt x="2211" y="1074"/>
                  </a:lnTo>
                  <a:lnTo>
                    <a:pt x="2206" y="1090"/>
                  </a:lnTo>
                  <a:lnTo>
                    <a:pt x="2204" y="1110"/>
                  </a:lnTo>
                  <a:lnTo>
                    <a:pt x="2199" y="1142"/>
                  </a:lnTo>
                  <a:lnTo>
                    <a:pt x="2196" y="1145"/>
                  </a:lnTo>
                  <a:lnTo>
                    <a:pt x="2189" y="1164"/>
                  </a:lnTo>
                  <a:lnTo>
                    <a:pt x="2188" y="1182"/>
                  </a:lnTo>
                  <a:lnTo>
                    <a:pt x="2190" y="1201"/>
                  </a:lnTo>
                  <a:lnTo>
                    <a:pt x="2186" y="1207"/>
                  </a:lnTo>
                  <a:lnTo>
                    <a:pt x="2186" y="1214"/>
                  </a:lnTo>
                  <a:lnTo>
                    <a:pt x="2172" y="1252"/>
                  </a:lnTo>
                  <a:lnTo>
                    <a:pt x="2167" y="1258"/>
                  </a:lnTo>
                  <a:lnTo>
                    <a:pt x="2162" y="1266"/>
                  </a:lnTo>
                  <a:lnTo>
                    <a:pt x="2156" y="1273"/>
                  </a:lnTo>
                  <a:lnTo>
                    <a:pt x="2156" y="1280"/>
                  </a:lnTo>
                  <a:lnTo>
                    <a:pt x="2158" y="1285"/>
                  </a:lnTo>
                  <a:lnTo>
                    <a:pt x="2153" y="1291"/>
                  </a:lnTo>
                  <a:lnTo>
                    <a:pt x="2145" y="1302"/>
                  </a:lnTo>
                  <a:lnTo>
                    <a:pt x="2137" y="1302"/>
                  </a:lnTo>
                  <a:lnTo>
                    <a:pt x="2135" y="1306"/>
                  </a:lnTo>
                  <a:lnTo>
                    <a:pt x="2141" y="1308"/>
                  </a:lnTo>
                  <a:lnTo>
                    <a:pt x="2130" y="1312"/>
                  </a:lnTo>
                  <a:lnTo>
                    <a:pt x="2123" y="1316"/>
                  </a:lnTo>
                  <a:lnTo>
                    <a:pt x="2120" y="1323"/>
                  </a:lnTo>
                  <a:lnTo>
                    <a:pt x="2114" y="1331"/>
                  </a:lnTo>
                  <a:lnTo>
                    <a:pt x="2108" y="1346"/>
                  </a:lnTo>
                  <a:lnTo>
                    <a:pt x="2100" y="1357"/>
                  </a:lnTo>
                  <a:lnTo>
                    <a:pt x="2094" y="1359"/>
                  </a:lnTo>
                  <a:lnTo>
                    <a:pt x="2091" y="1360"/>
                  </a:lnTo>
                  <a:lnTo>
                    <a:pt x="2089" y="1365"/>
                  </a:lnTo>
                  <a:lnTo>
                    <a:pt x="2097" y="1367"/>
                  </a:lnTo>
                  <a:lnTo>
                    <a:pt x="2096" y="1379"/>
                  </a:lnTo>
                  <a:lnTo>
                    <a:pt x="2091" y="1392"/>
                  </a:lnTo>
                  <a:lnTo>
                    <a:pt x="2088" y="1392"/>
                  </a:lnTo>
                  <a:lnTo>
                    <a:pt x="2087" y="1400"/>
                  </a:lnTo>
                  <a:lnTo>
                    <a:pt x="2078" y="1411"/>
                  </a:lnTo>
                  <a:lnTo>
                    <a:pt x="2065" y="1458"/>
                  </a:lnTo>
                  <a:lnTo>
                    <a:pt x="2065" y="1468"/>
                  </a:lnTo>
                  <a:lnTo>
                    <a:pt x="2056" y="1462"/>
                  </a:lnTo>
                  <a:lnTo>
                    <a:pt x="2049" y="1481"/>
                  </a:lnTo>
                  <a:lnTo>
                    <a:pt x="2044" y="1487"/>
                  </a:lnTo>
                  <a:lnTo>
                    <a:pt x="2041" y="1497"/>
                  </a:lnTo>
                  <a:lnTo>
                    <a:pt x="2038" y="1500"/>
                  </a:lnTo>
                  <a:lnTo>
                    <a:pt x="2034" y="1506"/>
                  </a:lnTo>
                  <a:lnTo>
                    <a:pt x="2033" y="1521"/>
                  </a:lnTo>
                  <a:lnTo>
                    <a:pt x="2029" y="1538"/>
                  </a:lnTo>
                  <a:lnTo>
                    <a:pt x="2033" y="1546"/>
                  </a:lnTo>
                  <a:lnTo>
                    <a:pt x="2030" y="1550"/>
                  </a:lnTo>
                  <a:lnTo>
                    <a:pt x="2029" y="1562"/>
                  </a:lnTo>
                  <a:lnTo>
                    <a:pt x="2023" y="1577"/>
                  </a:lnTo>
                  <a:lnTo>
                    <a:pt x="2021" y="1587"/>
                  </a:lnTo>
                  <a:lnTo>
                    <a:pt x="2021" y="1593"/>
                  </a:lnTo>
                  <a:lnTo>
                    <a:pt x="2024" y="1603"/>
                  </a:lnTo>
                  <a:lnTo>
                    <a:pt x="2024" y="1613"/>
                  </a:lnTo>
                  <a:lnTo>
                    <a:pt x="2023" y="1621"/>
                  </a:lnTo>
                  <a:lnTo>
                    <a:pt x="2021" y="1629"/>
                  </a:lnTo>
                  <a:lnTo>
                    <a:pt x="2012" y="1624"/>
                  </a:lnTo>
                  <a:lnTo>
                    <a:pt x="2008" y="1625"/>
                  </a:lnTo>
                  <a:lnTo>
                    <a:pt x="2007" y="1637"/>
                  </a:lnTo>
                  <a:lnTo>
                    <a:pt x="1987" y="1643"/>
                  </a:lnTo>
                  <a:lnTo>
                    <a:pt x="1932" y="1645"/>
                  </a:lnTo>
                  <a:lnTo>
                    <a:pt x="1920" y="1648"/>
                  </a:lnTo>
                  <a:lnTo>
                    <a:pt x="1898" y="1661"/>
                  </a:lnTo>
                  <a:lnTo>
                    <a:pt x="1888" y="1669"/>
                  </a:lnTo>
                  <a:lnTo>
                    <a:pt x="1874" y="1678"/>
                  </a:lnTo>
                  <a:lnTo>
                    <a:pt x="1868" y="1685"/>
                  </a:lnTo>
                  <a:lnTo>
                    <a:pt x="1866" y="1691"/>
                  </a:lnTo>
                  <a:lnTo>
                    <a:pt x="1854" y="1699"/>
                  </a:lnTo>
                  <a:lnTo>
                    <a:pt x="1847" y="1705"/>
                  </a:lnTo>
                  <a:lnTo>
                    <a:pt x="1844" y="1701"/>
                  </a:lnTo>
                  <a:lnTo>
                    <a:pt x="1830" y="1705"/>
                  </a:lnTo>
                  <a:lnTo>
                    <a:pt x="1823" y="1705"/>
                  </a:lnTo>
                  <a:lnTo>
                    <a:pt x="1819" y="1706"/>
                  </a:lnTo>
                  <a:lnTo>
                    <a:pt x="1818" y="1715"/>
                  </a:lnTo>
                  <a:lnTo>
                    <a:pt x="1822" y="1720"/>
                  </a:lnTo>
                  <a:lnTo>
                    <a:pt x="1825" y="1713"/>
                  </a:lnTo>
                  <a:lnTo>
                    <a:pt x="1831" y="1709"/>
                  </a:lnTo>
                  <a:lnTo>
                    <a:pt x="1836" y="1709"/>
                  </a:lnTo>
                  <a:lnTo>
                    <a:pt x="1833" y="1720"/>
                  </a:lnTo>
                  <a:lnTo>
                    <a:pt x="1831" y="1729"/>
                  </a:lnTo>
                  <a:lnTo>
                    <a:pt x="1826" y="1736"/>
                  </a:lnTo>
                  <a:lnTo>
                    <a:pt x="1813" y="1717"/>
                  </a:lnTo>
                  <a:lnTo>
                    <a:pt x="1808" y="1717"/>
                  </a:lnTo>
                  <a:lnTo>
                    <a:pt x="1799" y="1713"/>
                  </a:lnTo>
                  <a:lnTo>
                    <a:pt x="1796" y="1704"/>
                  </a:lnTo>
                  <a:lnTo>
                    <a:pt x="1785" y="1704"/>
                  </a:lnTo>
                  <a:lnTo>
                    <a:pt x="1777" y="1696"/>
                  </a:lnTo>
                  <a:lnTo>
                    <a:pt x="1776" y="1690"/>
                  </a:lnTo>
                  <a:lnTo>
                    <a:pt x="1779" y="1679"/>
                  </a:lnTo>
                  <a:lnTo>
                    <a:pt x="1772" y="1673"/>
                  </a:lnTo>
                  <a:lnTo>
                    <a:pt x="1760" y="1682"/>
                  </a:lnTo>
                  <a:lnTo>
                    <a:pt x="1750" y="1685"/>
                  </a:lnTo>
                  <a:lnTo>
                    <a:pt x="1739" y="1682"/>
                  </a:lnTo>
                  <a:lnTo>
                    <a:pt x="1736" y="1675"/>
                  </a:lnTo>
                  <a:lnTo>
                    <a:pt x="1749" y="1675"/>
                  </a:lnTo>
                  <a:lnTo>
                    <a:pt x="1752" y="1666"/>
                  </a:lnTo>
                  <a:lnTo>
                    <a:pt x="1750" y="1652"/>
                  </a:lnTo>
                  <a:lnTo>
                    <a:pt x="1741" y="1647"/>
                  </a:lnTo>
                  <a:lnTo>
                    <a:pt x="1725" y="1659"/>
                  </a:lnTo>
                  <a:lnTo>
                    <a:pt x="1715" y="1661"/>
                  </a:lnTo>
                  <a:lnTo>
                    <a:pt x="1728" y="1669"/>
                  </a:lnTo>
                  <a:lnTo>
                    <a:pt x="1729" y="1672"/>
                  </a:lnTo>
                  <a:lnTo>
                    <a:pt x="1721" y="1673"/>
                  </a:lnTo>
                  <a:lnTo>
                    <a:pt x="1710" y="1678"/>
                  </a:lnTo>
                  <a:lnTo>
                    <a:pt x="1699" y="1686"/>
                  </a:lnTo>
                  <a:lnTo>
                    <a:pt x="1690" y="1701"/>
                  </a:lnTo>
                  <a:lnTo>
                    <a:pt x="1672" y="1710"/>
                  </a:lnTo>
                  <a:lnTo>
                    <a:pt x="1658" y="1713"/>
                  </a:lnTo>
                  <a:lnTo>
                    <a:pt x="1655" y="1709"/>
                  </a:lnTo>
                  <a:lnTo>
                    <a:pt x="1635" y="1699"/>
                  </a:lnTo>
                  <a:lnTo>
                    <a:pt x="1616" y="1686"/>
                  </a:lnTo>
                  <a:lnTo>
                    <a:pt x="1607" y="1683"/>
                  </a:lnTo>
                  <a:lnTo>
                    <a:pt x="1593" y="1682"/>
                  </a:lnTo>
                  <a:lnTo>
                    <a:pt x="1572" y="1674"/>
                  </a:lnTo>
                  <a:lnTo>
                    <a:pt x="1564" y="1675"/>
                  </a:lnTo>
                  <a:lnTo>
                    <a:pt x="1555" y="1682"/>
                  </a:lnTo>
                  <a:lnTo>
                    <a:pt x="1548" y="1671"/>
                  </a:lnTo>
                  <a:lnTo>
                    <a:pt x="1529" y="1659"/>
                  </a:lnTo>
                  <a:lnTo>
                    <a:pt x="1511" y="1658"/>
                  </a:lnTo>
                  <a:lnTo>
                    <a:pt x="1496" y="1650"/>
                  </a:lnTo>
                  <a:lnTo>
                    <a:pt x="1486" y="1639"/>
                  </a:lnTo>
                  <a:lnTo>
                    <a:pt x="1481" y="1625"/>
                  </a:lnTo>
                  <a:lnTo>
                    <a:pt x="1470" y="1618"/>
                  </a:lnTo>
                  <a:lnTo>
                    <a:pt x="1458" y="1588"/>
                  </a:lnTo>
                  <a:lnTo>
                    <a:pt x="1457" y="1582"/>
                  </a:lnTo>
                  <a:lnTo>
                    <a:pt x="1462" y="1572"/>
                  </a:lnTo>
                  <a:lnTo>
                    <a:pt x="1463" y="1559"/>
                  </a:lnTo>
                  <a:lnTo>
                    <a:pt x="1453" y="1530"/>
                  </a:lnTo>
                  <a:lnTo>
                    <a:pt x="1430" y="1500"/>
                  </a:lnTo>
                  <a:lnTo>
                    <a:pt x="1437" y="1483"/>
                  </a:lnTo>
                  <a:lnTo>
                    <a:pt x="1436" y="1480"/>
                  </a:lnTo>
                  <a:lnTo>
                    <a:pt x="1421" y="1481"/>
                  </a:lnTo>
                  <a:lnTo>
                    <a:pt x="1406" y="1490"/>
                  </a:lnTo>
                  <a:lnTo>
                    <a:pt x="1389" y="1496"/>
                  </a:lnTo>
                  <a:lnTo>
                    <a:pt x="1379" y="1497"/>
                  </a:lnTo>
                  <a:lnTo>
                    <a:pt x="1372" y="1495"/>
                  </a:lnTo>
                  <a:lnTo>
                    <a:pt x="1379" y="1484"/>
                  </a:lnTo>
                  <a:lnTo>
                    <a:pt x="1387" y="1468"/>
                  </a:lnTo>
                  <a:lnTo>
                    <a:pt x="1390" y="1453"/>
                  </a:lnTo>
                  <a:lnTo>
                    <a:pt x="1390" y="1436"/>
                  </a:lnTo>
                  <a:lnTo>
                    <a:pt x="1384" y="1419"/>
                  </a:lnTo>
                  <a:lnTo>
                    <a:pt x="1376" y="1406"/>
                  </a:lnTo>
                  <a:lnTo>
                    <a:pt x="1368" y="1400"/>
                  </a:lnTo>
                  <a:lnTo>
                    <a:pt x="1356" y="1424"/>
                  </a:lnTo>
                  <a:lnTo>
                    <a:pt x="1356" y="1436"/>
                  </a:lnTo>
                  <a:lnTo>
                    <a:pt x="1352" y="1448"/>
                  </a:lnTo>
                  <a:lnTo>
                    <a:pt x="1350" y="1460"/>
                  </a:lnTo>
                  <a:lnTo>
                    <a:pt x="1349" y="1463"/>
                  </a:lnTo>
                  <a:lnTo>
                    <a:pt x="1340" y="1462"/>
                  </a:lnTo>
                  <a:lnTo>
                    <a:pt x="1329" y="1467"/>
                  </a:lnTo>
                  <a:lnTo>
                    <a:pt x="1317" y="1467"/>
                  </a:lnTo>
                  <a:lnTo>
                    <a:pt x="1307" y="1473"/>
                  </a:lnTo>
                  <a:lnTo>
                    <a:pt x="1301" y="1467"/>
                  </a:lnTo>
                  <a:lnTo>
                    <a:pt x="1306" y="1448"/>
                  </a:lnTo>
                  <a:lnTo>
                    <a:pt x="1319" y="1449"/>
                  </a:lnTo>
                  <a:lnTo>
                    <a:pt x="1330" y="1443"/>
                  </a:lnTo>
                  <a:lnTo>
                    <a:pt x="1334" y="1429"/>
                  </a:lnTo>
                  <a:lnTo>
                    <a:pt x="1335" y="1417"/>
                  </a:lnTo>
                  <a:lnTo>
                    <a:pt x="1333" y="1415"/>
                  </a:lnTo>
                  <a:lnTo>
                    <a:pt x="1333" y="1411"/>
                  </a:lnTo>
                  <a:lnTo>
                    <a:pt x="1334" y="1405"/>
                  </a:lnTo>
                  <a:lnTo>
                    <a:pt x="1334" y="1397"/>
                  </a:lnTo>
                  <a:lnTo>
                    <a:pt x="1339" y="1384"/>
                  </a:lnTo>
                  <a:lnTo>
                    <a:pt x="1345" y="1368"/>
                  </a:lnTo>
                  <a:lnTo>
                    <a:pt x="1351" y="1365"/>
                  </a:lnTo>
                  <a:lnTo>
                    <a:pt x="1357" y="1355"/>
                  </a:lnTo>
                  <a:lnTo>
                    <a:pt x="1357" y="1330"/>
                  </a:lnTo>
                  <a:lnTo>
                    <a:pt x="1363" y="1331"/>
                  </a:lnTo>
                  <a:lnTo>
                    <a:pt x="1362" y="1324"/>
                  </a:lnTo>
                  <a:lnTo>
                    <a:pt x="1358" y="1317"/>
                  </a:lnTo>
                  <a:lnTo>
                    <a:pt x="1358" y="1307"/>
                  </a:lnTo>
                  <a:lnTo>
                    <a:pt x="1355" y="1304"/>
                  </a:lnTo>
                  <a:lnTo>
                    <a:pt x="1355" y="1293"/>
                  </a:lnTo>
                  <a:lnTo>
                    <a:pt x="1350" y="1288"/>
                  </a:lnTo>
                  <a:lnTo>
                    <a:pt x="1347" y="1297"/>
                  </a:lnTo>
                  <a:lnTo>
                    <a:pt x="1347" y="1317"/>
                  </a:lnTo>
                  <a:lnTo>
                    <a:pt x="1342" y="1318"/>
                  </a:lnTo>
                  <a:lnTo>
                    <a:pt x="1335" y="1330"/>
                  </a:lnTo>
                  <a:lnTo>
                    <a:pt x="1330" y="1341"/>
                  </a:lnTo>
                  <a:lnTo>
                    <a:pt x="1324" y="1354"/>
                  </a:lnTo>
                  <a:lnTo>
                    <a:pt x="1323" y="1360"/>
                  </a:lnTo>
                  <a:lnTo>
                    <a:pt x="1318" y="1368"/>
                  </a:lnTo>
                  <a:lnTo>
                    <a:pt x="1307" y="1367"/>
                  </a:lnTo>
                  <a:lnTo>
                    <a:pt x="1302" y="1370"/>
                  </a:lnTo>
                  <a:lnTo>
                    <a:pt x="1301" y="1374"/>
                  </a:lnTo>
                  <a:lnTo>
                    <a:pt x="1287" y="1382"/>
                  </a:lnTo>
                  <a:lnTo>
                    <a:pt x="1282" y="1388"/>
                  </a:lnTo>
                  <a:lnTo>
                    <a:pt x="1275" y="1390"/>
                  </a:lnTo>
                  <a:lnTo>
                    <a:pt x="1269" y="1405"/>
                  </a:lnTo>
                  <a:lnTo>
                    <a:pt x="1259" y="1417"/>
                  </a:lnTo>
                  <a:lnTo>
                    <a:pt x="1249" y="1425"/>
                  </a:lnTo>
                  <a:lnTo>
                    <a:pt x="1245" y="1437"/>
                  </a:lnTo>
                  <a:lnTo>
                    <a:pt x="1252" y="1437"/>
                  </a:lnTo>
                  <a:lnTo>
                    <a:pt x="1252" y="1454"/>
                  </a:lnTo>
                  <a:lnTo>
                    <a:pt x="1245" y="1449"/>
                  </a:lnTo>
                  <a:lnTo>
                    <a:pt x="1238" y="1452"/>
                  </a:lnTo>
                  <a:lnTo>
                    <a:pt x="1229" y="1440"/>
                  </a:lnTo>
                  <a:lnTo>
                    <a:pt x="1220" y="1433"/>
                  </a:lnTo>
                  <a:lnTo>
                    <a:pt x="1214" y="1427"/>
                  </a:lnTo>
                  <a:lnTo>
                    <a:pt x="1205" y="1426"/>
                  </a:lnTo>
                  <a:lnTo>
                    <a:pt x="1205" y="1416"/>
                  </a:lnTo>
                  <a:lnTo>
                    <a:pt x="1221" y="1427"/>
                  </a:lnTo>
                  <a:lnTo>
                    <a:pt x="1222" y="1419"/>
                  </a:lnTo>
                  <a:lnTo>
                    <a:pt x="1220" y="1405"/>
                  </a:lnTo>
                  <a:lnTo>
                    <a:pt x="1214" y="1398"/>
                  </a:lnTo>
                  <a:lnTo>
                    <a:pt x="1211" y="1383"/>
                  </a:lnTo>
                  <a:lnTo>
                    <a:pt x="1204" y="1372"/>
                  </a:lnTo>
                  <a:lnTo>
                    <a:pt x="1195" y="1365"/>
                  </a:lnTo>
                  <a:lnTo>
                    <a:pt x="1190" y="1347"/>
                  </a:lnTo>
                  <a:lnTo>
                    <a:pt x="1186" y="1343"/>
                  </a:lnTo>
                  <a:lnTo>
                    <a:pt x="1183" y="1334"/>
                  </a:lnTo>
                  <a:lnTo>
                    <a:pt x="1177" y="1335"/>
                  </a:lnTo>
                  <a:lnTo>
                    <a:pt x="1166" y="1330"/>
                  </a:lnTo>
                  <a:lnTo>
                    <a:pt x="1156" y="1324"/>
                  </a:lnTo>
                  <a:lnTo>
                    <a:pt x="1150" y="1316"/>
                  </a:lnTo>
                  <a:lnTo>
                    <a:pt x="1150" y="1306"/>
                  </a:lnTo>
                  <a:lnTo>
                    <a:pt x="1155" y="1306"/>
                  </a:lnTo>
                  <a:lnTo>
                    <a:pt x="1156" y="1292"/>
                  </a:lnTo>
                  <a:lnTo>
                    <a:pt x="1135" y="1286"/>
                  </a:lnTo>
                  <a:lnTo>
                    <a:pt x="1114" y="1265"/>
                  </a:lnTo>
                  <a:lnTo>
                    <a:pt x="1108" y="1263"/>
                  </a:lnTo>
                  <a:lnTo>
                    <a:pt x="1110" y="1270"/>
                  </a:lnTo>
                  <a:lnTo>
                    <a:pt x="1100" y="1269"/>
                  </a:lnTo>
                  <a:lnTo>
                    <a:pt x="1091" y="1263"/>
                  </a:lnTo>
                  <a:lnTo>
                    <a:pt x="1069" y="1252"/>
                  </a:lnTo>
                  <a:lnTo>
                    <a:pt x="1062" y="1253"/>
                  </a:lnTo>
                  <a:lnTo>
                    <a:pt x="1054" y="1259"/>
                  </a:lnTo>
                  <a:lnTo>
                    <a:pt x="1051" y="1258"/>
                  </a:lnTo>
                  <a:lnTo>
                    <a:pt x="1045" y="1255"/>
                  </a:lnTo>
                  <a:lnTo>
                    <a:pt x="1017" y="1231"/>
                  </a:lnTo>
                  <a:lnTo>
                    <a:pt x="1006" y="1227"/>
                  </a:lnTo>
                  <a:lnTo>
                    <a:pt x="995" y="1226"/>
                  </a:lnTo>
                  <a:lnTo>
                    <a:pt x="974" y="1225"/>
                  </a:lnTo>
                  <a:lnTo>
                    <a:pt x="941" y="1230"/>
                  </a:lnTo>
                  <a:lnTo>
                    <a:pt x="899" y="1228"/>
                  </a:lnTo>
                  <a:lnTo>
                    <a:pt x="881" y="1228"/>
                  </a:lnTo>
                  <a:lnTo>
                    <a:pt x="840" y="1248"/>
                  </a:lnTo>
                  <a:lnTo>
                    <a:pt x="820" y="1261"/>
                  </a:lnTo>
                  <a:lnTo>
                    <a:pt x="795" y="1263"/>
                  </a:lnTo>
                  <a:lnTo>
                    <a:pt x="779" y="1270"/>
                  </a:lnTo>
                  <a:lnTo>
                    <a:pt x="758" y="1274"/>
                  </a:lnTo>
                  <a:lnTo>
                    <a:pt x="722" y="1273"/>
                  </a:lnTo>
                  <a:lnTo>
                    <a:pt x="710" y="1270"/>
                  </a:lnTo>
                  <a:lnTo>
                    <a:pt x="695" y="1274"/>
                  </a:lnTo>
                  <a:lnTo>
                    <a:pt x="685" y="1282"/>
                  </a:lnTo>
                  <a:lnTo>
                    <a:pt x="658" y="1297"/>
                  </a:lnTo>
                  <a:lnTo>
                    <a:pt x="642" y="1302"/>
                  </a:lnTo>
                  <a:lnTo>
                    <a:pt x="634" y="1309"/>
                  </a:lnTo>
                  <a:lnTo>
                    <a:pt x="625" y="1313"/>
                  </a:lnTo>
                  <a:lnTo>
                    <a:pt x="614" y="1314"/>
                  </a:lnTo>
                  <a:lnTo>
                    <a:pt x="602" y="1320"/>
                  </a:lnTo>
                  <a:lnTo>
                    <a:pt x="596" y="1333"/>
                  </a:lnTo>
                  <a:lnTo>
                    <a:pt x="592" y="1349"/>
                  </a:lnTo>
                  <a:lnTo>
                    <a:pt x="587" y="1354"/>
                  </a:lnTo>
                  <a:lnTo>
                    <a:pt x="581" y="1363"/>
                  </a:lnTo>
                  <a:lnTo>
                    <a:pt x="577" y="1372"/>
                  </a:lnTo>
                  <a:lnTo>
                    <a:pt x="558" y="1377"/>
                  </a:lnTo>
                  <a:lnTo>
                    <a:pt x="549" y="1377"/>
                  </a:lnTo>
                  <a:lnTo>
                    <a:pt x="539" y="1373"/>
                  </a:lnTo>
                  <a:lnTo>
                    <a:pt x="518" y="1376"/>
                  </a:lnTo>
                  <a:lnTo>
                    <a:pt x="496" y="1382"/>
                  </a:lnTo>
                  <a:lnTo>
                    <a:pt x="491" y="1374"/>
                  </a:lnTo>
                  <a:lnTo>
                    <a:pt x="486" y="1372"/>
                  </a:lnTo>
                  <a:lnTo>
                    <a:pt x="480" y="1374"/>
                  </a:lnTo>
                  <a:lnTo>
                    <a:pt x="464" y="1376"/>
                  </a:lnTo>
                  <a:lnTo>
                    <a:pt x="447" y="1372"/>
                  </a:lnTo>
                  <a:lnTo>
                    <a:pt x="435" y="1372"/>
                  </a:lnTo>
                  <a:lnTo>
                    <a:pt x="419" y="1379"/>
                  </a:lnTo>
                  <a:lnTo>
                    <a:pt x="376" y="1378"/>
                  </a:lnTo>
                  <a:lnTo>
                    <a:pt x="365" y="1383"/>
                  </a:lnTo>
                  <a:lnTo>
                    <a:pt x="355" y="1392"/>
                  </a:lnTo>
                  <a:lnTo>
                    <a:pt x="350" y="1399"/>
                  </a:lnTo>
                  <a:lnTo>
                    <a:pt x="352" y="1404"/>
                  </a:lnTo>
                  <a:lnTo>
                    <a:pt x="350" y="1405"/>
                  </a:lnTo>
                  <a:lnTo>
                    <a:pt x="344" y="1411"/>
                  </a:lnTo>
                  <a:lnTo>
                    <a:pt x="333" y="1414"/>
                  </a:lnTo>
                  <a:lnTo>
                    <a:pt x="316" y="1416"/>
                  </a:lnTo>
                  <a:lnTo>
                    <a:pt x="301" y="1426"/>
                  </a:lnTo>
                  <a:lnTo>
                    <a:pt x="292" y="1436"/>
                  </a:lnTo>
                  <a:lnTo>
                    <a:pt x="287" y="1443"/>
                  </a:lnTo>
                  <a:lnTo>
                    <a:pt x="280" y="1449"/>
                  </a:lnTo>
                  <a:lnTo>
                    <a:pt x="271" y="1452"/>
                  </a:lnTo>
                  <a:lnTo>
                    <a:pt x="261" y="1447"/>
                  </a:lnTo>
                  <a:lnTo>
                    <a:pt x="260" y="1458"/>
                  </a:lnTo>
                  <a:lnTo>
                    <a:pt x="253" y="1454"/>
                  </a:lnTo>
                  <a:lnTo>
                    <a:pt x="244" y="1458"/>
                  </a:lnTo>
                  <a:lnTo>
                    <a:pt x="238" y="1451"/>
                  </a:lnTo>
                  <a:lnTo>
                    <a:pt x="205" y="1453"/>
                  </a:lnTo>
                  <a:lnTo>
                    <a:pt x="190" y="1451"/>
                  </a:lnTo>
                  <a:lnTo>
                    <a:pt x="183" y="1443"/>
                  </a:lnTo>
                  <a:lnTo>
                    <a:pt x="174" y="1440"/>
                  </a:lnTo>
                  <a:lnTo>
                    <a:pt x="174" y="1441"/>
                  </a:lnTo>
                  <a:lnTo>
                    <a:pt x="163" y="1440"/>
                  </a:lnTo>
                  <a:lnTo>
                    <a:pt x="148" y="1424"/>
                  </a:lnTo>
                  <a:lnTo>
                    <a:pt x="141" y="1415"/>
                  </a:lnTo>
                  <a:lnTo>
                    <a:pt x="130" y="1405"/>
                  </a:lnTo>
                  <a:lnTo>
                    <a:pt x="120" y="1402"/>
                  </a:lnTo>
                  <a:lnTo>
                    <a:pt x="108" y="1399"/>
                  </a:lnTo>
                  <a:lnTo>
                    <a:pt x="105" y="1370"/>
                  </a:lnTo>
                  <a:lnTo>
                    <a:pt x="107" y="1357"/>
                  </a:lnTo>
                  <a:lnTo>
                    <a:pt x="107" y="1356"/>
                  </a:lnTo>
                  <a:lnTo>
                    <a:pt x="117" y="1360"/>
                  </a:lnTo>
                  <a:lnTo>
                    <a:pt x="125" y="1359"/>
                  </a:lnTo>
                  <a:lnTo>
                    <a:pt x="136" y="1343"/>
                  </a:lnTo>
                  <a:lnTo>
                    <a:pt x="142" y="1328"/>
                  </a:lnTo>
                  <a:lnTo>
                    <a:pt x="142" y="1318"/>
                  </a:lnTo>
                  <a:lnTo>
                    <a:pt x="137" y="1306"/>
                  </a:lnTo>
                  <a:lnTo>
                    <a:pt x="137" y="1291"/>
                  </a:lnTo>
                  <a:lnTo>
                    <a:pt x="139" y="1297"/>
                  </a:lnTo>
                  <a:lnTo>
                    <a:pt x="142" y="1286"/>
                  </a:lnTo>
                  <a:lnTo>
                    <a:pt x="141" y="1265"/>
                  </a:lnTo>
                  <a:lnTo>
                    <a:pt x="144" y="1248"/>
                  </a:lnTo>
                  <a:lnTo>
                    <a:pt x="141" y="1234"/>
                  </a:lnTo>
                  <a:lnTo>
                    <a:pt x="124" y="1196"/>
                  </a:lnTo>
                  <a:lnTo>
                    <a:pt x="121" y="1185"/>
                  </a:lnTo>
                  <a:lnTo>
                    <a:pt x="117" y="1178"/>
                  </a:lnTo>
                  <a:lnTo>
                    <a:pt x="109" y="1168"/>
                  </a:lnTo>
                  <a:lnTo>
                    <a:pt x="103" y="1150"/>
                  </a:lnTo>
                  <a:lnTo>
                    <a:pt x="98" y="1124"/>
                  </a:lnTo>
                  <a:lnTo>
                    <a:pt x="98" y="1092"/>
                  </a:lnTo>
                  <a:lnTo>
                    <a:pt x="94" y="1081"/>
                  </a:lnTo>
                  <a:lnTo>
                    <a:pt x="78" y="1053"/>
                  </a:lnTo>
                  <a:lnTo>
                    <a:pt x="76" y="1039"/>
                  </a:lnTo>
                  <a:lnTo>
                    <a:pt x="66" y="1024"/>
                  </a:lnTo>
                  <a:lnTo>
                    <a:pt x="54" y="1004"/>
                  </a:lnTo>
                  <a:lnTo>
                    <a:pt x="54" y="983"/>
                  </a:lnTo>
                  <a:lnTo>
                    <a:pt x="46" y="965"/>
                  </a:lnTo>
                  <a:lnTo>
                    <a:pt x="40" y="945"/>
                  </a:lnTo>
                  <a:lnTo>
                    <a:pt x="29" y="938"/>
                  </a:lnTo>
                  <a:lnTo>
                    <a:pt x="19" y="927"/>
                  </a:lnTo>
                  <a:lnTo>
                    <a:pt x="13" y="919"/>
                  </a:lnTo>
                  <a:lnTo>
                    <a:pt x="11" y="909"/>
                  </a:lnTo>
                  <a:lnTo>
                    <a:pt x="5" y="905"/>
                  </a:lnTo>
                  <a:lnTo>
                    <a:pt x="0" y="895"/>
                  </a:lnTo>
                  <a:lnTo>
                    <a:pt x="1" y="889"/>
                  </a:lnTo>
                  <a:lnTo>
                    <a:pt x="3" y="894"/>
                  </a:lnTo>
                  <a:lnTo>
                    <a:pt x="8" y="895"/>
                  </a:lnTo>
                  <a:lnTo>
                    <a:pt x="12" y="897"/>
                  </a:lnTo>
                  <a:lnTo>
                    <a:pt x="15" y="904"/>
                  </a:lnTo>
                  <a:lnTo>
                    <a:pt x="16" y="914"/>
                  </a:lnTo>
                  <a:lnTo>
                    <a:pt x="21" y="911"/>
                  </a:lnTo>
                  <a:lnTo>
                    <a:pt x="23" y="918"/>
                  </a:lnTo>
                  <a:lnTo>
                    <a:pt x="31" y="919"/>
                  </a:lnTo>
                  <a:lnTo>
                    <a:pt x="35" y="913"/>
                  </a:lnTo>
                  <a:lnTo>
                    <a:pt x="34" y="904"/>
                  </a:lnTo>
                  <a:lnTo>
                    <a:pt x="26" y="895"/>
                  </a:lnTo>
                  <a:lnTo>
                    <a:pt x="13" y="866"/>
                  </a:lnTo>
                  <a:lnTo>
                    <a:pt x="13" y="856"/>
                  </a:lnTo>
                  <a:lnTo>
                    <a:pt x="17" y="860"/>
                  </a:lnTo>
                  <a:lnTo>
                    <a:pt x="22" y="871"/>
                  </a:lnTo>
                  <a:lnTo>
                    <a:pt x="27" y="894"/>
                  </a:lnTo>
                  <a:lnTo>
                    <a:pt x="35" y="884"/>
                  </a:lnTo>
                  <a:lnTo>
                    <a:pt x="38" y="893"/>
                  </a:lnTo>
                  <a:lnTo>
                    <a:pt x="39" y="904"/>
                  </a:lnTo>
                  <a:lnTo>
                    <a:pt x="46" y="905"/>
                  </a:lnTo>
                  <a:lnTo>
                    <a:pt x="51" y="898"/>
                  </a:lnTo>
                  <a:lnTo>
                    <a:pt x="54" y="886"/>
                  </a:lnTo>
                  <a:lnTo>
                    <a:pt x="53" y="867"/>
                  </a:lnTo>
                  <a:lnTo>
                    <a:pt x="45" y="860"/>
                  </a:lnTo>
                  <a:lnTo>
                    <a:pt x="39" y="848"/>
                  </a:lnTo>
                  <a:lnTo>
                    <a:pt x="37" y="851"/>
                  </a:lnTo>
                  <a:lnTo>
                    <a:pt x="38" y="844"/>
                  </a:lnTo>
                  <a:lnTo>
                    <a:pt x="31" y="832"/>
                  </a:lnTo>
                  <a:lnTo>
                    <a:pt x="23" y="814"/>
                  </a:lnTo>
                  <a:lnTo>
                    <a:pt x="8" y="787"/>
                  </a:lnTo>
                  <a:lnTo>
                    <a:pt x="8" y="758"/>
                  </a:lnTo>
                  <a:lnTo>
                    <a:pt x="13" y="748"/>
                  </a:lnTo>
                  <a:lnTo>
                    <a:pt x="28" y="733"/>
                  </a:lnTo>
                  <a:lnTo>
                    <a:pt x="29" y="725"/>
                  </a:lnTo>
                  <a:lnTo>
                    <a:pt x="28" y="716"/>
                  </a:lnTo>
                  <a:lnTo>
                    <a:pt x="29" y="695"/>
                  </a:lnTo>
                  <a:lnTo>
                    <a:pt x="22" y="683"/>
                  </a:lnTo>
                  <a:lnTo>
                    <a:pt x="27" y="661"/>
                  </a:lnTo>
                  <a:lnTo>
                    <a:pt x="33" y="652"/>
                  </a:lnTo>
                  <a:lnTo>
                    <a:pt x="39" y="637"/>
                  </a:lnTo>
                  <a:lnTo>
                    <a:pt x="43" y="63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1" name="Freeform 55"/>
            <p:cNvSpPr>
              <a:spLocks noChangeAspect="1"/>
            </p:cNvSpPr>
            <p:nvPr/>
          </p:nvSpPr>
          <p:spPr bwMode="gray">
            <a:xfrm>
              <a:off x="8799238" y="5107229"/>
              <a:ext cx="135162" cy="160644"/>
            </a:xfrm>
            <a:custGeom>
              <a:avLst/>
              <a:gdLst/>
              <a:ahLst/>
              <a:cxnLst>
                <a:cxn ang="0">
                  <a:pos x="319" y="16"/>
                </a:cxn>
                <a:cxn ang="0">
                  <a:pos x="337" y="0"/>
                </a:cxn>
                <a:cxn ang="0">
                  <a:pos x="349" y="22"/>
                </a:cxn>
                <a:cxn ang="0">
                  <a:pos x="362" y="51"/>
                </a:cxn>
                <a:cxn ang="0">
                  <a:pos x="391" y="35"/>
                </a:cxn>
                <a:cxn ang="0">
                  <a:pos x="402" y="35"/>
                </a:cxn>
                <a:cxn ang="0">
                  <a:pos x="411" y="47"/>
                </a:cxn>
                <a:cxn ang="0">
                  <a:pos x="423" y="40"/>
                </a:cxn>
                <a:cxn ang="0">
                  <a:pos x="417" y="68"/>
                </a:cxn>
                <a:cxn ang="0">
                  <a:pos x="411" y="114"/>
                </a:cxn>
                <a:cxn ang="0">
                  <a:pos x="387" y="141"/>
                </a:cxn>
                <a:cxn ang="0">
                  <a:pos x="362" y="180"/>
                </a:cxn>
                <a:cxn ang="0">
                  <a:pos x="342" y="228"/>
                </a:cxn>
                <a:cxn ang="0">
                  <a:pos x="360" y="246"/>
                </a:cxn>
                <a:cxn ang="0">
                  <a:pos x="326" y="235"/>
                </a:cxn>
                <a:cxn ang="0">
                  <a:pos x="316" y="244"/>
                </a:cxn>
                <a:cxn ang="0">
                  <a:pos x="287" y="262"/>
                </a:cxn>
                <a:cxn ang="0">
                  <a:pos x="274" y="265"/>
                </a:cxn>
                <a:cxn ang="0">
                  <a:pos x="262" y="320"/>
                </a:cxn>
                <a:cxn ang="0">
                  <a:pos x="245" y="361"/>
                </a:cxn>
                <a:cxn ang="0">
                  <a:pos x="231" y="390"/>
                </a:cxn>
                <a:cxn ang="0">
                  <a:pos x="230" y="410"/>
                </a:cxn>
                <a:cxn ang="0">
                  <a:pos x="190" y="434"/>
                </a:cxn>
                <a:cxn ang="0">
                  <a:pos x="177" y="449"/>
                </a:cxn>
                <a:cxn ang="0">
                  <a:pos x="138" y="463"/>
                </a:cxn>
                <a:cxn ang="0">
                  <a:pos x="120" y="454"/>
                </a:cxn>
                <a:cxn ang="0">
                  <a:pos x="104" y="454"/>
                </a:cxn>
                <a:cxn ang="0">
                  <a:pos x="91" y="441"/>
                </a:cxn>
                <a:cxn ang="0">
                  <a:pos x="55" y="421"/>
                </a:cxn>
                <a:cxn ang="0">
                  <a:pos x="12" y="422"/>
                </a:cxn>
                <a:cxn ang="0">
                  <a:pos x="13" y="413"/>
                </a:cxn>
                <a:cxn ang="0">
                  <a:pos x="9" y="405"/>
                </a:cxn>
                <a:cxn ang="0">
                  <a:pos x="16" y="391"/>
                </a:cxn>
                <a:cxn ang="0">
                  <a:pos x="24" y="379"/>
                </a:cxn>
                <a:cxn ang="0">
                  <a:pos x="15" y="366"/>
                </a:cxn>
                <a:cxn ang="0">
                  <a:pos x="21" y="353"/>
                </a:cxn>
                <a:cxn ang="0">
                  <a:pos x="37" y="356"/>
                </a:cxn>
                <a:cxn ang="0">
                  <a:pos x="31" y="347"/>
                </a:cxn>
                <a:cxn ang="0">
                  <a:pos x="47" y="325"/>
                </a:cxn>
                <a:cxn ang="0">
                  <a:pos x="56" y="329"/>
                </a:cxn>
                <a:cxn ang="0">
                  <a:pos x="61" y="304"/>
                </a:cxn>
                <a:cxn ang="0">
                  <a:pos x="82" y="278"/>
                </a:cxn>
                <a:cxn ang="0">
                  <a:pos x="102" y="255"/>
                </a:cxn>
                <a:cxn ang="0">
                  <a:pos x="133" y="249"/>
                </a:cxn>
                <a:cxn ang="0">
                  <a:pos x="187" y="208"/>
                </a:cxn>
                <a:cxn ang="0">
                  <a:pos x="219" y="178"/>
                </a:cxn>
                <a:cxn ang="0">
                  <a:pos x="256" y="144"/>
                </a:cxn>
                <a:cxn ang="0">
                  <a:pos x="288" y="81"/>
                </a:cxn>
                <a:cxn ang="0">
                  <a:pos x="308" y="34"/>
                </a:cxn>
              </a:cxnLst>
              <a:rect l="0" t="0" r="r" b="b"/>
              <a:pathLst>
                <a:path w="422" h="462">
                  <a:moveTo>
                    <a:pt x="308" y="34"/>
                  </a:moveTo>
                  <a:lnTo>
                    <a:pt x="310" y="35"/>
                  </a:lnTo>
                  <a:lnTo>
                    <a:pt x="311" y="20"/>
                  </a:lnTo>
                  <a:lnTo>
                    <a:pt x="319" y="16"/>
                  </a:lnTo>
                  <a:lnTo>
                    <a:pt x="327" y="6"/>
                  </a:lnTo>
                  <a:lnTo>
                    <a:pt x="331" y="6"/>
                  </a:lnTo>
                  <a:lnTo>
                    <a:pt x="333" y="2"/>
                  </a:lnTo>
                  <a:lnTo>
                    <a:pt x="337" y="0"/>
                  </a:lnTo>
                  <a:lnTo>
                    <a:pt x="340" y="3"/>
                  </a:lnTo>
                  <a:lnTo>
                    <a:pt x="340" y="14"/>
                  </a:lnTo>
                  <a:lnTo>
                    <a:pt x="343" y="20"/>
                  </a:lnTo>
                  <a:lnTo>
                    <a:pt x="349" y="22"/>
                  </a:lnTo>
                  <a:lnTo>
                    <a:pt x="354" y="22"/>
                  </a:lnTo>
                  <a:lnTo>
                    <a:pt x="358" y="28"/>
                  </a:lnTo>
                  <a:lnTo>
                    <a:pt x="358" y="45"/>
                  </a:lnTo>
                  <a:lnTo>
                    <a:pt x="362" y="51"/>
                  </a:lnTo>
                  <a:lnTo>
                    <a:pt x="368" y="55"/>
                  </a:lnTo>
                  <a:lnTo>
                    <a:pt x="381" y="44"/>
                  </a:lnTo>
                  <a:lnTo>
                    <a:pt x="387" y="41"/>
                  </a:lnTo>
                  <a:lnTo>
                    <a:pt x="391" y="35"/>
                  </a:lnTo>
                  <a:lnTo>
                    <a:pt x="401" y="29"/>
                  </a:lnTo>
                  <a:lnTo>
                    <a:pt x="406" y="28"/>
                  </a:lnTo>
                  <a:lnTo>
                    <a:pt x="407" y="29"/>
                  </a:lnTo>
                  <a:lnTo>
                    <a:pt x="402" y="35"/>
                  </a:lnTo>
                  <a:lnTo>
                    <a:pt x="403" y="36"/>
                  </a:lnTo>
                  <a:lnTo>
                    <a:pt x="405" y="44"/>
                  </a:lnTo>
                  <a:lnTo>
                    <a:pt x="401" y="54"/>
                  </a:lnTo>
                  <a:lnTo>
                    <a:pt x="411" y="47"/>
                  </a:lnTo>
                  <a:lnTo>
                    <a:pt x="408" y="43"/>
                  </a:lnTo>
                  <a:lnTo>
                    <a:pt x="413" y="34"/>
                  </a:lnTo>
                  <a:lnTo>
                    <a:pt x="418" y="33"/>
                  </a:lnTo>
                  <a:lnTo>
                    <a:pt x="423" y="40"/>
                  </a:lnTo>
                  <a:lnTo>
                    <a:pt x="414" y="51"/>
                  </a:lnTo>
                  <a:lnTo>
                    <a:pt x="418" y="51"/>
                  </a:lnTo>
                  <a:lnTo>
                    <a:pt x="422" y="57"/>
                  </a:lnTo>
                  <a:lnTo>
                    <a:pt x="417" y="68"/>
                  </a:lnTo>
                  <a:lnTo>
                    <a:pt x="424" y="87"/>
                  </a:lnTo>
                  <a:lnTo>
                    <a:pt x="422" y="93"/>
                  </a:lnTo>
                  <a:lnTo>
                    <a:pt x="413" y="106"/>
                  </a:lnTo>
                  <a:lnTo>
                    <a:pt x="411" y="114"/>
                  </a:lnTo>
                  <a:lnTo>
                    <a:pt x="405" y="124"/>
                  </a:lnTo>
                  <a:lnTo>
                    <a:pt x="398" y="125"/>
                  </a:lnTo>
                  <a:lnTo>
                    <a:pt x="397" y="129"/>
                  </a:lnTo>
                  <a:lnTo>
                    <a:pt x="387" y="141"/>
                  </a:lnTo>
                  <a:lnTo>
                    <a:pt x="375" y="168"/>
                  </a:lnTo>
                  <a:lnTo>
                    <a:pt x="369" y="174"/>
                  </a:lnTo>
                  <a:lnTo>
                    <a:pt x="365" y="175"/>
                  </a:lnTo>
                  <a:lnTo>
                    <a:pt x="362" y="180"/>
                  </a:lnTo>
                  <a:lnTo>
                    <a:pt x="349" y="189"/>
                  </a:lnTo>
                  <a:lnTo>
                    <a:pt x="347" y="192"/>
                  </a:lnTo>
                  <a:lnTo>
                    <a:pt x="344" y="217"/>
                  </a:lnTo>
                  <a:lnTo>
                    <a:pt x="342" y="228"/>
                  </a:lnTo>
                  <a:lnTo>
                    <a:pt x="352" y="230"/>
                  </a:lnTo>
                  <a:lnTo>
                    <a:pt x="359" y="234"/>
                  </a:lnTo>
                  <a:lnTo>
                    <a:pt x="362" y="243"/>
                  </a:lnTo>
                  <a:lnTo>
                    <a:pt x="360" y="246"/>
                  </a:lnTo>
                  <a:lnTo>
                    <a:pt x="356" y="240"/>
                  </a:lnTo>
                  <a:lnTo>
                    <a:pt x="354" y="246"/>
                  </a:lnTo>
                  <a:lnTo>
                    <a:pt x="333" y="239"/>
                  </a:lnTo>
                  <a:lnTo>
                    <a:pt x="326" y="235"/>
                  </a:lnTo>
                  <a:lnTo>
                    <a:pt x="324" y="237"/>
                  </a:lnTo>
                  <a:lnTo>
                    <a:pt x="324" y="244"/>
                  </a:lnTo>
                  <a:lnTo>
                    <a:pt x="320" y="248"/>
                  </a:lnTo>
                  <a:lnTo>
                    <a:pt x="316" y="244"/>
                  </a:lnTo>
                  <a:lnTo>
                    <a:pt x="313" y="243"/>
                  </a:lnTo>
                  <a:lnTo>
                    <a:pt x="310" y="249"/>
                  </a:lnTo>
                  <a:lnTo>
                    <a:pt x="295" y="256"/>
                  </a:lnTo>
                  <a:lnTo>
                    <a:pt x="287" y="262"/>
                  </a:lnTo>
                  <a:lnTo>
                    <a:pt x="282" y="262"/>
                  </a:lnTo>
                  <a:lnTo>
                    <a:pt x="279" y="256"/>
                  </a:lnTo>
                  <a:lnTo>
                    <a:pt x="274" y="256"/>
                  </a:lnTo>
                  <a:lnTo>
                    <a:pt x="274" y="265"/>
                  </a:lnTo>
                  <a:lnTo>
                    <a:pt x="272" y="277"/>
                  </a:lnTo>
                  <a:lnTo>
                    <a:pt x="265" y="289"/>
                  </a:lnTo>
                  <a:lnTo>
                    <a:pt x="263" y="302"/>
                  </a:lnTo>
                  <a:lnTo>
                    <a:pt x="262" y="320"/>
                  </a:lnTo>
                  <a:lnTo>
                    <a:pt x="256" y="324"/>
                  </a:lnTo>
                  <a:lnTo>
                    <a:pt x="257" y="336"/>
                  </a:lnTo>
                  <a:lnTo>
                    <a:pt x="247" y="347"/>
                  </a:lnTo>
                  <a:lnTo>
                    <a:pt x="245" y="361"/>
                  </a:lnTo>
                  <a:lnTo>
                    <a:pt x="245" y="369"/>
                  </a:lnTo>
                  <a:lnTo>
                    <a:pt x="239" y="379"/>
                  </a:lnTo>
                  <a:lnTo>
                    <a:pt x="233" y="385"/>
                  </a:lnTo>
                  <a:lnTo>
                    <a:pt x="231" y="390"/>
                  </a:lnTo>
                  <a:lnTo>
                    <a:pt x="231" y="398"/>
                  </a:lnTo>
                  <a:lnTo>
                    <a:pt x="228" y="401"/>
                  </a:lnTo>
                  <a:lnTo>
                    <a:pt x="233" y="402"/>
                  </a:lnTo>
                  <a:lnTo>
                    <a:pt x="230" y="410"/>
                  </a:lnTo>
                  <a:lnTo>
                    <a:pt x="223" y="409"/>
                  </a:lnTo>
                  <a:lnTo>
                    <a:pt x="214" y="415"/>
                  </a:lnTo>
                  <a:lnTo>
                    <a:pt x="204" y="428"/>
                  </a:lnTo>
                  <a:lnTo>
                    <a:pt x="190" y="434"/>
                  </a:lnTo>
                  <a:lnTo>
                    <a:pt x="185" y="437"/>
                  </a:lnTo>
                  <a:lnTo>
                    <a:pt x="185" y="441"/>
                  </a:lnTo>
                  <a:lnTo>
                    <a:pt x="180" y="443"/>
                  </a:lnTo>
                  <a:lnTo>
                    <a:pt x="177" y="449"/>
                  </a:lnTo>
                  <a:lnTo>
                    <a:pt x="172" y="453"/>
                  </a:lnTo>
                  <a:lnTo>
                    <a:pt x="153" y="459"/>
                  </a:lnTo>
                  <a:lnTo>
                    <a:pt x="149" y="459"/>
                  </a:lnTo>
                  <a:lnTo>
                    <a:pt x="138" y="463"/>
                  </a:lnTo>
                  <a:lnTo>
                    <a:pt x="132" y="459"/>
                  </a:lnTo>
                  <a:lnTo>
                    <a:pt x="129" y="452"/>
                  </a:lnTo>
                  <a:lnTo>
                    <a:pt x="126" y="450"/>
                  </a:lnTo>
                  <a:lnTo>
                    <a:pt x="120" y="454"/>
                  </a:lnTo>
                  <a:lnTo>
                    <a:pt x="114" y="455"/>
                  </a:lnTo>
                  <a:lnTo>
                    <a:pt x="110" y="454"/>
                  </a:lnTo>
                  <a:lnTo>
                    <a:pt x="110" y="453"/>
                  </a:lnTo>
                  <a:lnTo>
                    <a:pt x="104" y="454"/>
                  </a:lnTo>
                  <a:lnTo>
                    <a:pt x="102" y="449"/>
                  </a:lnTo>
                  <a:lnTo>
                    <a:pt x="102" y="443"/>
                  </a:lnTo>
                  <a:lnTo>
                    <a:pt x="98" y="444"/>
                  </a:lnTo>
                  <a:lnTo>
                    <a:pt x="91" y="441"/>
                  </a:lnTo>
                  <a:lnTo>
                    <a:pt x="73" y="439"/>
                  </a:lnTo>
                  <a:lnTo>
                    <a:pt x="69" y="427"/>
                  </a:lnTo>
                  <a:lnTo>
                    <a:pt x="64" y="422"/>
                  </a:lnTo>
                  <a:lnTo>
                    <a:pt x="55" y="421"/>
                  </a:lnTo>
                  <a:lnTo>
                    <a:pt x="47" y="428"/>
                  </a:lnTo>
                  <a:lnTo>
                    <a:pt x="39" y="429"/>
                  </a:lnTo>
                  <a:lnTo>
                    <a:pt x="18" y="427"/>
                  </a:lnTo>
                  <a:lnTo>
                    <a:pt x="12" y="422"/>
                  </a:lnTo>
                  <a:lnTo>
                    <a:pt x="15" y="415"/>
                  </a:lnTo>
                  <a:lnTo>
                    <a:pt x="20" y="409"/>
                  </a:lnTo>
                  <a:lnTo>
                    <a:pt x="24" y="402"/>
                  </a:lnTo>
                  <a:lnTo>
                    <a:pt x="13" y="413"/>
                  </a:lnTo>
                  <a:lnTo>
                    <a:pt x="9" y="413"/>
                  </a:lnTo>
                  <a:lnTo>
                    <a:pt x="14" y="402"/>
                  </a:lnTo>
                  <a:lnTo>
                    <a:pt x="14" y="401"/>
                  </a:lnTo>
                  <a:lnTo>
                    <a:pt x="9" y="405"/>
                  </a:lnTo>
                  <a:lnTo>
                    <a:pt x="3" y="406"/>
                  </a:lnTo>
                  <a:lnTo>
                    <a:pt x="0" y="400"/>
                  </a:lnTo>
                  <a:lnTo>
                    <a:pt x="4" y="395"/>
                  </a:lnTo>
                  <a:lnTo>
                    <a:pt x="16" y="391"/>
                  </a:lnTo>
                  <a:lnTo>
                    <a:pt x="24" y="385"/>
                  </a:lnTo>
                  <a:lnTo>
                    <a:pt x="21" y="385"/>
                  </a:lnTo>
                  <a:lnTo>
                    <a:pt x="19" y="383"/>
                  </a:lnTo>
                  <a:lnTo>
                    <a:pt x="24" y="379"/>
                  </a:lnTo>
                  <a:lnTo>
                    <a:pt x="26" y="373"/>
                  </a:lnTo>
                  <a:lnTo>
                    <a:pt x="21" y="373"/>
                  </a:lnTo>
                  <a:lnTo>
                    <a:pt x="16" y="372"/>
                  </a:lnTo>
                  <a:lnTo>
                    <a:pt x="15" y="366"/>
                  </a:lnTo>
                  <a:lnTo>
                    <a:pt x="21" y="366"/>
                  </a:lnTo>
                  <a:lnTo>
                    <a:pt x="25" y="361"/>
                  </a:lnTo>
                  <a:lnTo>
                    <a:pt x="21" y="358"/>
                  </a:lnTo>
                  <a:lnTo>
                    <a:pt x="21" y="353"/>
                  </a:lnTo>
                  <a:lnTo>
                    <a:pt x="26" y="353"/>
                  </a:lnTo>
                  <a:lnTo>
                    <a:pt x="29" y="357"/>
                  </a:lnTo>
                  <a:lnTo>
                    <a:pt x="34" y="355"/>
                  </a:lnTo>
                  <a:lnTo>
                    <a:pt x="37" y="356"/>
                  </a:lnTo>
                  <a:lnTo>
                    <a:pt x="40" y="353"/>
                  </a:lnTo>
                  <a:lnTo>
                    <a:pt x="40" y="351"/>
                  </a:lnTo>
                  <a:lnTo>
                    <a:pt x="35" y="351"/>
                  </a:lnTo>
                  <a:lnTo>
                    <a:pt x="31" y="347"/>
                  </a:lnTo>
                  <a:lnTo>
                    <a:pt x="35" y="329"/>
                  </a:lnTo>
                  <a:lnTo>
                    <a:pt x="42" y="323"/>
                  </a:lnTo>
                  <a:lnTo>
                    <a:pt x="45" y="321"/>
                  </a:lnTo>
                  <a:lnTo>
                    <a:pt x="47" y="325"/>
                  </a:lnTo>
                  <a:lnTo>
                    <a:pt x="48" y="331"/>
                  </a:lnTo>
                  <a:lnTo>
                    <a:pt x="51" y="332"/>
                  </a:lnTo>
                  <a:lnTo>
                    <a:pt x="53" y="332"/>
                  </a:lnTo>
                  <a:lnTo>
                    <a:pt x="56" y="329"/>
                  </a:lnTo>
                  <a:lnTo>
                    <a:pt x="53" y="319"/>
                  </a:lnTo>
                  <a:lnTo>
                    <a:pt x="55" y="315"/>
                  </a:lnTo>
                  <a:lnTo>
                    <a:pt x="58" y="314"/>
                  </a:lnTo>
                  <a:lnTo>
                    <a:pt x="61" y="304"/>
                  </a:lnTo>
                  <a:lnTo>
                    <a:pt x="69" y="302"/>
                  </a:lnTo>
                  <a:lnTo>
                    <a:pt x="75" y="296"/>
                  </a:lnTo>
                  <a:lnTo>
                    <a:pt x="77" y="286"/>
                  </a:lnTo>
                  <a:lnTo>
                    <a:pt x="82" y="278"/>
                  </a:lnTo>
                  <a:lnTo>
                    <a:pt x="89" y="275"/>
                  </a:lnTo>
                  <a:lnTo>
                    <a:pt x="93" y="260"/>
                  </a:lnTo>
                  <a:lnTo>
                    <a:pt x="96" y="260"/>
                  </a:lnTo>
                  <a:lnTo>
                    <a:pt x="102" y="255"/>
                  </a:lnTo>
                  <a:lnTo>
                    <a:pt x="109" y="255"/>
                  </a:lnTo>
                  <a:lnTo>
                    <a:pt x="116" y="251"/>
                  </a:lnTo>
                  <a:lnTo>
                    <a:pt x="123" y="251"/>
                  </a:lnTo>
                  <a:lnTo>
                    <a:pt x="133" y="249"/>
                  </a:lnTo>
                  <a:lnTo>
                    <a:pt x="141" y="244"/>
                  </a:lnTo>
                  <a:lnTo>
                    <a:pt x="154" y="232"/>
                  </a:lnTo>
                  <a:lnTo>
                    <a:pt x="169" y="223"/>
                  </a:lnTo>
                  <a:lnTo>
                    <a:pt x="187" y="208"/>
                  </a:lnTo>
                  <a:lnTo>
                    <a:pt x="201" y="200"/>
                  </a:lnTo>
                  <a:lnTo>
                    <a:pt x="202" y="191"/>
                  </a:lnTo>
                  <a:lnTo>
                    <a:pt x="213" y="181"/>
                  </a:lnTo>
                  <a:lnTo>
                    <a:pt x="219" y="178"/>
                  </a:lnTo>
                  <a:lnTo>
                    <a:pt x="225" y="178"/>
                  </a:lnTo>
                  <a:lnTo>
                    <a:pt x="235" y="170"/>
                  </a:lnTo>
                  <a:lnTo>
                    <a:pt x="241" y="164"/>
                  </a:lnTo>
                  <a:lnTo>
                    <a:pt x="256" y="144"/>
                  </a:lnTo>
                  <a:lnTo>
                    <a:pt x="261" y="126"/>
                  </a:lnTo>
                  <a:lnTo>
                    <a:pt x="265" y="105"/>
                  </a:lnTo>
                  <a:lnTo>
                    <a:pt x="270" y="93"/>
                  </a:lnTo>
                  <a:lnTo>
                    <a:pt x="288" y="81"/>
                  </a:lnTo>
                  <a:lnTo>
                    <a:pt x="294" y="78"/>
                  </a:lnTo>
                  <a:lnTo>
                    <a:pt x="298" y="72"/>
                  </a:lnTo>
                  <a:lnTo>
                    <a:pt x="304" y="60"/>
                  </a:lnTo>
                  <a:lnTo>
                    <a:pt x="308" y="3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2" name="Freeform 56"/>
            <p:cNvSpPr>
              <a:spLocks noChangeAspect="1"/>
            </p:cNvSpPr>
            <p:nvPr/>
          </p:nvSpPr>
          <p:spPr bwMode="gray">
            <a:xfrm>
              <a:off x="8907368" y="4958808"/>
              <a:ext cx="100179" cy="172868"/>
            </a:xfrm>
            <a:custGeom>
              <a:avLst/>
              <a:gdLst/>
              <a:ahLst/>
              <a:cxnLst>
                <a:cxn ang="0">
                  <a:pos x="128" y="441"/>
                </a:cxn>
                <a:cxn ang="0">
                  <a:pos x="139" y="398"/>
                </a:cxn>
                <a:cxn ang="0">
                  <a:pos x="97" y="366"/>
                </a:cxn>
                <a:cxn ang="0">
                  <a:pos x="59" y="325"/>
                </a:cxn>
                <a:cxn ang="0">
                  <a:pos x="100" y="296"/>
                </a:cxn>
                <a:cxn ang="0">
                  <a:pos x="115" y="250"/>
                </a:cxn>
                <a:cxn ang="0">
                  <a:pos x="120" y="224"/>
                </a:cxn>
                <a:cxn ang="0">
                  <a:pos x="113" y="198"/>
                </a:cxn>
                <a:cxn ang="0">
                  <a:pos x="112" y="178"/>
                </a:cxn>
                <a:cxn ang="0">
                  <a:pos x="97" y="172"/>
                </a:cxn>
                <a:cxn ang="0">
                  <a:pos x="91" y="145"/>
                </a:cxn>
                <a:cxn ang="0">
                  <a:pos x="86" y="127"/>
                </a:cxn>
                <a:cxn ang="0">
                  <a:pos x="73" y="117"/>
                </a:cxn>
                <a:cxn ang="0">
                  <a:pos x="43" y="85"/>
                </a:cxn>
                <a:cxn ang="0">
                  <a:pos x="45" y="59"/>
                </a:cxn>
                <a:cxn ang="0">
                  <a:pos x="26" y="59"/>
                </a:cxn>
                <a:cxn ang="0">
                  <a:pos x="7" y="14"/>
                </a:cxn>
                <a:cxn ang="0">
                  <a:pos x="10" y="0"/>
                </a:cxn>
                <a:cxn ang="0">
                  <a:pos x="19" y="28"/>
                </a:cxn>
                <a:cxn ang="0">
                  <a:pos x="35" y="30"/>
                </a:cxn>
                <a:cxn ang="0">
                  <a:pos x="59" y="41"/>
                </a:cxn>
                <a:cxn ang="0">
                  <a:pos x="78" y="59"/>
                </a:cxn>
                <a:cxn ang="0">
                  <a:pos x="87" y="70"/>
                </a:cxn>
                <a:cxn ang="0">
                  <a:pos x="100" y="96"/>
                </a:cxn>
                <a:cxn ang="0">
                  <a:pos x="86" y="96"/>
                </a:cxn>
                <a:cxn ang="0">
                  <a:pos x="96" y="107"/>
                </a:cxn>
                <a:cxn ang="0">
                  <a:pos x="110" y="140"/>
                </a:cxn>
                <a:cxn ang="0">
                  <a:pos x="109" y="159"/>
                </a:cxn>
                <a:cxn ang="0">
                  <a:pos x="116" y="170"/>
                </a:cxn>
                <a:cxn ang="0">
                  <a:pos x="136" y="169"/>
                </a:cxn>
                <a:cxn ang="0">
                  <a:pos x="151" y="182"/>
                </a:cxn>
                <a:cxn ang="0">
                  <a:pos x="147" y="141"/>
                </a:cxn>
                <a:cxn ang="0">
                  <a:pos x="167" y="162"/>
                </a:cxn>
                <a:cxn ang="0">
                  <a:pos x="169" y="192"/>
                </a:cxn>
                <a:cxn ang="0">
                  <a:pos x="185" y="219"/>
                </a:cxn>
                <a:cxn ang="0">
                  <a:pos x="239" y="240"/>
                </a:cxn>
                <a:cxn ang="0">
                  <a:pos x="266" y="224"/>
                </a:cxn>
                <a:cxn ang="0">
                  <a:pos x="286" y="210"/>
                </a:cxn>
                <a:cxn ang="0">
                  <a:pos x="313" y="231"/>
                </a:cxn>
                <a:cxn ang="0">
                  <a:pos x="307" y="272"/>
                </a:cxn>
                <a:cxn ang="0">
                  <a:pos x="286" y="304"/>
                </a:cxn>
                <a:cxn ang="0">
                  <a:pos x="287" y="321"/>
                </a:cxn>
                <a:cxn ang="0">
                  <a:pos x="269" y="315"/>
                </a:cxn>
                <a:cxn ang="0">
                  <a:pos x="242" y="323"/>
                </a:cxn>
                <a:cxn ang="0">
                  <a:pos x="232" y="356"/>
                </a:cxn>
                <a:cxn ang="0">
                  <a:pos x="217" y="404"/>
                </a:cxn>
                <a:cxn ang="0">
                  <a:pos x="171" y="479"/>
                </a:cxn>
                <a:cxn ang="0">
                  <a:pos x="132" y="481"/>
                </a:cxn>
              </a:cxnLst>
              <a:rect l="0" t="0" r="r" b="b"/>
              <a:pathLst>
                <a:path w="313" h="495">
                  <a:moveTo>
                    <a:pt x="109" y="469"/>
                  </a:moveTo>
                  <a:lnTo>
                    <a:pt x="118" y="458"/>
                  </a:lnTo>
                  <a:lnTo>
                    <a:pt x="121" y="449"/>
                  </a:lnTo>
                  <a:lnTo>
                    <a:pt x="128" y="441"/>
                  </a:lnTo>
                  <a:lnTo>
                    <a:pt x="134" y="429"/>
                  </a:lnTo>
                  <a:lnTo>
                    <a:pt x="135" y="417"/>
                  </a:lnTo>
                  <a:lnTo>
                    <a:pt x="139" y="407"/>
                  </a:lnTo>
                  <a:lnTo>
                    <a:pt x="139" y="398"/>
                  </a:lnTo>
                  <a:lnTo>
                    <a:pt x="134" y="391"/>
                  </a:lnTo>
                  <a:lnTo>
                    <a:pt x="120" y="375"/>
                  </a:lnTo>
                  <a:lnTo>
                    <a:pt x="108" y="372"/>
                  </a:lnTo>
                  <a:lnTo>
                    <a:pt x="97" y="366"/>
                  </a:lnTo>
                  <a:lnTo>
                    <a:pt x="80" y="350"/>
                  </a:lnTo>
                  <a:lnTo>
                    <a:pt x="67" y="349"/>
                  </a:lnTo>
                  <a:lnTo>
                    <a:pt x="57" y="337"/>
                  </a:lnTo>
                  <a:lnTo>
                    <a:pt x="59" y="325"/>
                  </a:lnTo>
                  <a:lnTo>
                    <a:pt x="69" y="316"/>
                  </a:lnTo>
                  <a:lnTo>
                    <a:pt x="78" y="310"/>
                  </a:lnTo>
                  <a:lnTo>
                    <a:pt x="92" y="306"/>
                  </a:lnTo>
                  <a:lnTo>
                    <a:pt x="100" y="296"/>
                  </a:lnTo>
                  <a:lnTo>
                    <a:pt x="104" y="283"/>
                  </a:lnTo>
                  <a:lnTo>
                    <a:pt x="105" y="261"/>
                  </a:lnTo>
                  <a:lnTo>
                    <a:pt x="109" y="250"/>
                  </a:lnTo>
                  <a:lnTo>
                    <a:pt x="115" y="250"/>
                  </a:lnTo>
                  <a:lnTo>
                    <a:pt x="118" y="247"/>
                  </a:lnTo>
                  <a:lnTo>
                    <a:pt x="118" y="237"/>
                  </a:lnTo>
                  <a:lnTo>
                    <a:pt x="115" y="229"/>
                  </a:lnTo>
                  <a:lnTo>
                    <a:pt x="120" y="224"/>
                  </a:lnTo>
                  <a:lnTo>
                    <a:pt x="118" y="220"/>
                  </a:lnTo>
                  <a:lnTo>
                    <a:pt x="115" y="208"/>
                  </a:lnTo>
                  <a:lnTo>
                    <a:pt x="116" y="196"/>
                  </a:lnTo>
                  <a:lnTo>
                    <a:pt x="113" y="198"/>
                  </a:lnTo>
                  <a:lnTo>
                    <a:pt x="104" y="188"/>
                  </a:lnTo>
                  <a:lnTo>
                    <a:pt x="102" y="182"/>
                  </a:lnTo>
                  <a:lnTo>
                    <a:pt x="108" y="182"/>
                  </a:lnTo>
                  <a:lnTo>
                    <a:pt x="112" y="178"/>
                  </a:lnTo>
                  <a:lnTo>
                    <a:pt x="113" y="175"/>
                  </a:lnTo>
                  <a:lnTo>
                    <a:pt x="112" y="171"/>
                  </a:lnTo>
                  <a:lnTo>
                    <a:pt x="107" y="170"/>
                  </a:lnTo>
                  <a:lnTo>
                    <a:pt x="97" y="172"/>
                  </a:lnTo>
                  <a:lnTo>
                    <a:pt x="86" y="151"/>
                  </a:lnTo>
                  <a:lnTo>
                    <a:pt x="81" y="138"/>
                  </a:lnTo>
                  <a:lnTo>
                    <a:pt x="87" y="148"/>
                  </a:lnTo>
                  <a:lnTo>
                    <a:pt x="91" y="145"/>
                  </a:lnTo>
                  <a:lnTo>
                    <a:pt x="92" y="133"/>
                  </a:lnTo>
                  <a:lnTo>
                    <a:pt x="87" y="133"/>
                  </a:lnTo>
                  <a:lnTo>
                    <a:pt x="83" y="130"/>
                  </a:lnTo>
                  <a:lnTo>
                    <a:pt x="86" y="127"/>
                  </a:lnTo>
                  <a:lnTo>
                    <a:pt x="86" y="117"/>
                  </a:lnTo>
                  <a:lnTo>
                    <a:pt x="82" y="113"/>
                  </a:lnTo>
                  <a:lnTo>
                    <a:pt x="80" y="117"/>
                  </a:lnTo>
                  <a:lnTo>
                    <a:pt x="73" y="117"/>
                  </a:lnTo>
                  <a:lnTo>
                    <a:pt x="72" y="122"/>
                  </a:lnTo>
                  <a:lnTo>
                    <a:pt x="73" y="129"/>
                  </a:lnTo>
                  <a:lnTo>
                    <a:pt x="60" y="107"/>
                  </a:lnTo>
                  <a:lnTo>
                    <a:pt x="43" y="85"/>
                  </a:lnTo>
                  <a:lnTo>
                    <a:pt x="38" y="75"/>
                  </a:lnTo>
                  <a:lnTo>
                    <a:pt x="37" y="71"/>
                  </a:lnTo>
                  <a:lnTo>
                    <a:pt x="42" y="67"/>
                  </a:lnTo>
                  <a:lnTo>
                    <a:pt x="45" y="59"/>
                  </a:lnTo>
                  <a:lnTo>
                    <a:pt x="42" y="57"/>
                  </a:lnTo>
                  <a:lnTo>
                    <a:pt x="40" y="62"/>
                  </a:lnTo>
                  <a:lnTo>
                    <a:pt x="33" y="68"/>
                  </a:lnTo>
                  <a:lnTo>
                    <a:pt x="26" y="59"/>
                  </a:lnTo>
                  <a:lnTo>
                    <a:pt x="22" y="49"/>
                  </a:lnTo>
                  <a:lnTo>
                    <a:pt x="23" y="44"/>
                  </a:lnTo>
                  <a:lnTo>
                    <a:pt x="21" y="35"/>
                  </a:lnTo>
                  <a:lnTo>
                    <a:pt x="7" y="14"/>
                  </a:lnTo>
                  <a:lnTo>
                    <a:pt x="1" y="6"/>
                  </a:lnTo>
                  <a:lnTo>
                    <a:pt x="0" y="3"/>
                  </a:lnTo>
                  <a:lnTo>
                    <a:pt x="8" y="1"/>
                  </a:lnTo>
                  <a:lnTo>
                    <a:pt x="10" y="0"/>
                  </a:lnTo>
                  <a:lnTo>
                    <a:pt x="13" y="1"/>
                  </a:lnTo>
                  <a:lnTo>
                    <a:pt x="13" y="11"/>
                  </a:lnTo>
                  <a:lnTo>
                    <a:pt x="19" y="22"/>
                  </a:lnTo>
                  <a:lnTo>
                    <a:pt x="19" y="28"/>
                  </a:lnTo>
                  <a:lnTo>
                    <a:pt x="24" y="36"/>
                  </a:lnTo>
                  <a:lnTo>
                    <a:pt x="29" y="32"/>
                  </a:lnTo>
                  <a:lnTo>
                    <a:pt x="34" y="27"/>
                  </a:lnTo>
                  <a:lnTo>
                    <a:pt x="35" y="30"/>
                  </a:lnTo>
                  <a:lnTo>
                    <a:pt x="35" y="35"/>
                  </a:lnTo>
                  <a:lnTo>
                    <a:pt x="46" y="35"/>
                  </a:lnTo>
                  <a:lnTo>
                    <a:pt x="51" y="38"/>
                  </a:lnTo>
                  <a:lnTo>
                    <a:pt x="59" y="41"/>
                  </a:lnTo>
                  <a:lnTo>
                    <a:pt x="64" y="40"/>
                  </a:lnTo>
                  <a:lnTo>
                    <a:pt x="73" y="48"/>
                  </a:lnTo>
                  <a:lnTo>
                    <a:pt x="66" y="52"/>
                  </a:lnTo>
                  <a:lnTo>
                    <a:pt x="78" y="59"/>
                  </a:lnTo>
                  <a:lnTo>
                    <a:pt x="80" y="56"/>
                  </a:lnTo>
                  <a:lnTo>
                    <a:pt x="83" y="59"/>
                  </a:lnTo>
                  <a:lnTo>
                    <a:pt x="85" y="64"/>
                  </a:lnTo>
                  <a:lnTo>
                    <a:pt x="87" y="70"/>
                  </a:lnTo>
                  <a:lnTo>
                    <a:pt x="96" y="79"/>
                  </a:lnTo>
                  <a:lnTo>
                    <a:pt x="98" y="83"/>
                  </a:lnTo>
                  <a:lnTo>
                    <a:pt x="98" y="87"/>
                  </a:lnTo>
                  <a:lnTo>
                    <a:pt x="100" y="96"/>
                  </a:lnTo>
                  <a:lnTo>
                    <a:pt x="98" y="94"/>
                  </a:lnTo>
                  <a:lnTo>
                    <a:pt x="89" y="89"/>
                  </a:lnTo>
                  <a:lnTo>
                    <a:pt x="85" y="89"/>
                  </a:lnTo>
                  <a:lnTo>
                    <a:pt x="86" y="96"/>
                  </a:lnTo>
                  <a:lnTo>
                    <a:pt x="87" y="97"/>
                  </a:lnTo>
                  <a:lnTo>
                    <a:pt x="89" y="97"/>
                  </a:lnTo>
                  <a:lnTo>
                    <a:pt x="93" y="100"/>
                  </a:lnTo>
                  <a:lnTo>
                    <a:pt x="96" y="107"/>
                  </a:lnTo>
                  <a:lnTo>
                    <a:pt x="103" y="114"/>
                  </a:lnTo>
                  <a:lnTo>
                    <a:pt x="109" y="126"/>
                  </a:lnTo>
                  <a:lnTo>
                    <a:pt x="116" y="134"/>
                  </a:lnTo>
                  <a:lnTo>
                    <a:pt x="110" y="140"/>
                  </a:lnTo>
                  <a:lnTo>
                    <a:pt x="109" y="148"/>
                  </a:lnTo>
                  <a:lnTo>
                    <a:pt x="113" y="151"/>
                  </a:lnTo>
                  <a:lnTo>
                    <a:pt x="113" y="159"/>
                  </a:lnTo>
                  <a:lnTo>
                    <a:pt x="109" y="159"/>
                  </a:lnTo>
                  <a:lnTo>
                    <a:pt x="105" y="162"/>
                  </a:lnTo>
                  <a:lnTo>
                    <a:pt x="108" y="165"/>
                  </a:lnTo>
                  <a:lnTo>
                    <a:pt x="112" y="165"/>
                  </a:lnTo>
                  <a:lnTo>
                    <a:pt x="116" y="170"/>
                  </a:lnTo>
                  <a:lnTo>
                    <a:pt x="123" y="170"/>
                  </a:lnTo>
                  <a:lnTo>
                    <a:pt x="125" y="167"/>
                  </a:lnTo>
                  <a:lnTo>
                    <a:pt x="132" y="167"/>
                  </a:lnTo>
                  <a:lnTo>
                    <a:pt x="136" y="169"/>
                  </a:lnTo>
                  <a:lnTo>
                    <a:pt x="137" y="177"/>
                  </a:lnTo>
                  <a:lnTo>
                    <a:pt x="140" y="184"/>
                  </a:lnTo>
                  <a:lnTo>
                    <a:pt x="146" y="187"/>
                  </a:lnTo>
                  <a:lnTo>
                    <a:pt x="151" y="182"/>
                  </a:lnTo>
                  <a:lnTo>
                    <a:pt x="150" y="156"/>
                  </a:lnTo>
                  <a:lnTo>
                    <a:pt x="150" y="151"/>
                  </a:lnTo>
                  <a:lnTo>
                    <a:pt x="143" y="141"/>
                  </a:lnTo>
                  <a:lnTo>
                    <a:pt x="147" y="141"/>
                  </a:lnTo>
                  <a:lnTo>
                    <a:pt x="151" y="148"/>
                  </a:lnTo>
                  <a:lnTo>
                    <a:pt x="164" y="151"/>
                  </a:lnTo>
                  <a:lnTo>
                    <a:pt x="164" y="161"/>
                  </a:lnTo>
                  <a:lnTo>
                    <a:pt x="167" y="162"/>
                  </a:lnTo>
                  <a:lnTo>
                    <a:pt x="167" y="171"/>
                  </a:lnTo>
                  <a:lnTo>
                    <a:pt x="169" y="176"/>
                  </a:lnTo>
                  <a:lnTo>
                    <a:pt x="168" y="186"/>
                  </a:lnTo>
                  <a:lnTo>
                    <a:pt x="169" y="192"/>
                  </a:lnTo>
                  <a:lnTo>
                    <a:pt x="173" y="197"/>
                  </a:lnTo>
                  <a:lnTo>
                    <a:pt x="175" y="203"/>
                  </a:lnTo>
                  <a:lnTo>
                    <a:pt x="178" y="213"/>
                  </a:lnTo>
                  <a:lnTo>
                    <a:pt x="185" y="219"/>
                  </a:lnTo>
                  <a:lnTo>
                    <a:pt x="194" y="219"/>
                  </a:lnTo>
                  <a:lnTo>
                    <a:pt x="205" y="227"/>
                  </a:lnTo>
                  <a:lnTo>
                    <a:pt x="232" y="235"/>
                  </a:lnTo>
                  <a:lnTo>
                    <a:pt x="239" y="240"/>
                  </a:lnTo>
                  <a:lnTo>
                    <a:pt x="249" y="241"/>
                  </a:lnTo>
                  <a:lnTo>
                    <a:pt x="254" y="235"/>
                  </a:lnTo>
                  <a:lnTo>
                    <a:pt x="259" y="235"/>
                  </a:lnTo>
                  <a:lnTo>
                    <a:pt x="266" y="224"/>
                  </a:lnTo>
                  <a:lnTo>
                    <a:pt x="271" y="221"/>
                  </a:lnTo>
                  <a:lnTo>
                    <a:pt x="276" y="218"/>
                  </a:lnTo>
                  <a:lnTo>
                    <a:pt x="284" y="213"/>
                  </a:lnTo>
                  <a:lnTo>
                    <a:pt x="286" y="210"/>
                  </a:lnTo>
                  <a:lnTo>
                    <a:pt x="292" y="208"/>
                  </a:lnTo>
                  <a:lnTo>
                    <a:pt x="301" y="210"/>
                  </a:lnTo>
                  <a:lnTo>
                    <a:pt x="313" y="218"/>
                  </a:lnTo>
                  <a:lnTo>
                    <a:pt x="313" y="231"/>
                  </a:lnTo>
                  <a:lnTo>
                    <a:pt x="308" y="246"/>
                  </a:lnTo>
                  <a:lnTo>
                    <a:pt x="308" y="262"/>
                  </a:lnTo>
                  <a:lnTo>
                    <a:pt x="307" y="264"/>
                  </a:lnTo>
                  <a:lnTo>
                    <a:pt x="307" y="272"/>
                  </a:lnTo>
                  <a:lnTo>
                    <a:pt x="304" y="280"/>
                  </a:lnTo>
                  <a:lnTo>
                    <a:pt x="296" y="286"/>
                  </a:lnTo>
                  <a:lnTo>
                    <a:pt x="287" y="290"/>
                  </a:lnTo>
                  <a:lnTo>
                    <a:pt x="286" y="304"/>
                  </a:lnTo>
                  <a:lnTo>
                    <a:pt x="284" y="307"/>
                  </a:lnTo>
                  <a:lnTo>
                    <a:pt x="285" y="316"/>
                  </a:lnTo>
                  <a:lnTo>
                    <a:pt x="287" y="317"/>
                  </a:lnTo>
                  <a:lnTo>
                    <a:pt x="287" y="321"/>
                  </a:lnTo>
                  <a:lnTo>
                    <a:pt x="282" y="328"/>
                  </a:lnTo>
                  <a:lnTo>
                    <a:pt x="280" y="316"/>
                  </a:lnTo>
                  <a:lnTo>
                    <a:pt x="275" y="315"/>
                  </a:lnTo>
                  <a:lnTo>
                    <a:pt x="269" y="315"/>
                  </a:lnTo>
                  <a:lnTo>
                    <a:pt x="261" y="316"/>
                  </a:lnTo>
                  <a:lnTo>
                    <a:pt x="253" y="316"/>
                  </a:lnTo>
                  <a:lnTo>
                    <a:pt x="247" y="318"/>
                  </a:lnTo>
                  <a:lnTo>
                    <a:pt x="242" y="323"/>
                  </a:lnTo>
                  <a:lnTo>
                    <a:pt x="226" y="345"/>
                  </a:lnTo>
                  <a:lnTo>
                    <a:pt x="226" y="349"/>
                  </a:lnTo>
                  <a:lnTo>
                    <a:pt x="228" y="348"/>
                  </a:lnTo>
                  <a:lnTo>
                    <a:pt x="232" y="356"/>
                  </a:lnTo>
                  <a:lnTo>
                    <a:pt x="237" y="360"/>
                  </a:lnTo>
                  <a:lnTo>
                    <a:pt x="236" y="369"/>
                  </a:lnTo>
                  <a:lnTo>
                    <a:pt x="231" y="380"/>
                  </a:lnTo>
                  <a:lnTo>
                    <a:pt x="217" y="404"/>
                  </a:lnTo>
                  <a:lnTo>
                    <a:pt x="215" y="412"/>
                  </a:lnTo>
                  <a:lnTo>
                    <a:pt x="202" y="428"/>
                  </a:lnTo>
                  <a:lnTo>
                    <a:pt x="182" y="463"/>
                  </a:lnTo>
                  <a:lnTo>
                    <a:pt x="171" y="479"/>
                  </a:lnTo>
                  <a:lnTo>
                    <a:pt x="153" y="492"/>
                  </a:lnTo>
                  <a:lnTo>
                    <a:pt x="145" y="495"/>
                  </a:lnTo>
                  <a:lnTo>
                    <a:pt x="137" y="488"/>
                  </a:lnTo>
                  <a:lnTo>
                    <a:pt x="132" y="481"/>
                  </a:lnTo>
                  <a:lnTo>
                    <a:pt x="113" y="482"/>
                  </a:lnTo>
                  <a:lnTo>
                    <a:pt x="109" y="473"/>
                  </a:lnTo>
                  <a:lnTo>
                    <a:pt x="109" y="46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3" name="Freeform 57"/>
            <p:cNvSpPr>
              <a:spLocks noChangeAspect="1"/>
            </p:cNvSpPr>
            <p:nvPr/>
          </p:nvSpPr>
          <p:spPr bwMode="gray">
            <a:xfrm>
              <a:off x="8754714" y="4653234"/>
              <a:ext cx="50884" cy="45399"/>
            </a:xfrm>
            <a:custGeom>
              <a:avLst/>
              <a:gdLst/>
              <a:ahLst/>
              <a:cxnLst>
                <a:cxn ang="0">
                  <a:pos x="60" y="71"/>
                </a:cxn>
                <a:cxn ang="0">
                  <a:pos x="39" y="60"/>
                </a:cxn>
                <a:cxn ang="0">
                  <a:pos x="27" y="43"/>
                </a:cxn>
                <a:cxn ang="0">
                  <a:pos x="21" y="38"/>
                </a:cxn>
                <a:cxn ang="0">
                  <a:pos x="16" y="26"/>
                </a:cxn>
                <a:cxn ang="0">
                  <a:pos x="6" y="17"/>
                </a:cxn>
                <a:cxn ang="0">
                  <a:pos x="6" y="9"/>
                </a:cxn>
                <a:cxn ang="0">
                  <a:pos x="0" y="2"/>
                </a:cxn>
                <a:cxn ang="0">
                  <a:pos x="6" y="0"/>
                </a:cxn>
                <a:cxn ang="0">
                  <a:pos x="14" y="5"/>
                </a:cxn>
                <a:cxn ang="0">
                  <a:pos x="19" y="4"/>
                </a:cxn>
                <a:cxn ang="0">
                  <a:pos x="33" y="14"/>
                </a:cxn>
                <a:cxn ang="0">
                  <a:pos x="40" y="16"/>
                </a:cxn>
                <a:cxn ang="0">
                  <a:pos x="41" y="21"/>
                </a:cxn>
                <a:cxn ang="0">
                  <a:pos x="45" y="26"/>
                </a:cxn>
                <a:cxn ang="0">
                  <a:pos x="51" y="26"/>
                </a:cxn>
                <a:cxn ang="0">
                  <a:pos x="59" y="29"/>
                </a:cxn>
                <a:cxn ang="0">
                  <a:pos x="67" y="43"/>
                </a:cxn>
                <a:cxn ang="0">
                  <a:pos x="72" y="47"/>
                </a:cxn>
                <a:cxn ang="0">
                  <a:pos x="75" y="57"/>
                </a:cxn>
                <a:cxn ang="0">
                  <a:pos x="78" y="58"/>
                </a:cxn>
                <a:cxn ang="0">
                  <a:pos x="82" y="63"/>
                </a:cxn>
                <a:cxn ang="0">
                  <a:pos x="89" y="68"/>
                </a:cxn>
                <a:cxn ang="0">
                  <a:pos x="94" y="74"/>
                </a:cxn>
                <a:cxn ang="0">
                  <a:pos x="98" y="75"/>
                </a:cxn>
                <a:cxn ang="0">
                  <a:pos x="100" y="81"/>
                </a:cxn>
                <a:cxn ang="0">
                  <a:pos x="109" y="82"/>
                </a:cxn>
                <a:cxn ang="0">
                  <a:pos x="123" y="86"/>
                </a:cxn>
                <a:cxn ang="0">
                  <a:pos x="141" y="103"/>
                </a:cxn>
                <a:cxn ang="0">
                  <a:pos x="143" y="109"/>
                </a:cxn>
                <a:cxn ang="0">
                  <a:pos x="150" y="108"/>
                </a:cxn>
                <a:cxn ang="0">
                  <a:pos x="157" y="114"/>
                </a:cxn>
                <a:cxn ang="0">
                  <a:pos x="159" y="123"/>
                </a:cxn>
                <a:cxn ang="0">
                  <a:pos x="158" y="125"/>
                </a:cxn>
                <a:cxn ang="0">
                  <a:pos x="153" y="125"/>
                </a:cxn>
                <a:cxn ang="0">
                  <a:pos x="152" y="133"/>
                </a:cxn>
                <a:cxn ang="0">
                  <a:pos x="150" y="131"/>
                </a:cxn>
                <a:cxn ang="0">
                  <a:pos x="147" y="127"/>
                </a:cxn>
                <a:cxn ang="0">
                  <a:pos x="141" y="122"/>
                </a:cxn>
                <a:cxn ang="0">
                  <a:pos x="138" y="119"/>
                </a:cxn>
                <a:cxn ang="0">
                  <a:pos x="130" y="119"/>
                </a:cxn>
                <a:cxn ang="0">
                  <a:pos x="124" y="115"/>
                </a:cxn>
                <a:cxn ang="0">
                  <a:pos x="116" y="115"/>
                </a:cxn>
                <a:cxn ang="0">
                  <a:pos x="114" y="112"/>
                </a:cxn>
                <a:cxn ang="0">
                  <a:pos x="113" y="104"/>
                </a:cxn>
                <a:cxn ang="0">
                  <a:pos x="108" y="104"/>
                </a:cxn>
                <a:cxn ang="0">
                  <a:pos x="104" y="102"/>
                </a:cxn>
                <a:cxn ang="0">
                  <a:pos x="99" y="102"/>
                </a:cxn>
                <a:cxn ang="0">
                  <a:pos x="98" y="97"/>
                </a:cxn>
                <a:cxn ang="0">
                  <a:pos x="93" y="97"/>
                </a:cxn>
                <a:cxn ang="0">
                  <a:pos x="91" y="95"/>
                </a:cxn>
                <a:cxn ang="0">
                  <a:pos x="84" y="93"/>
                </a:cxn>
                <a:cxn ang="0">
                  <a:pos x="77" y="86"/>
                </a:cxn>
                <a:cxn ang="0">
                  <a:pos x="71" y="86"/>
                </a:cxn>
                <a:cxn ang="0">
                  <a:pos x="66" y="84"/>
                </a:cxn>
                <a:cxn ang="0">
                  <a:pos x="65" y="76"/>
                </a:cxn>
                <a:cxn ang="0">
                  <a:pos x="60" y="71"/>
                </a:cxn>
              </a:cxnLst>
              <a:rect l="0" t="0" r="r" b="b"/>
              <a:pathLst>
                <a:path w="159" h="133">
                  <a:moveTo>
                    <a:pt x="60" y="71"/>
                  </a:moveTo>
                  <a:lnTo>
                    <a:pt x="39" y="60"/>
                  </a:lnTo>
                  <a:lnTo>
                    <a:pt x="27" y="43"/>
                  </a:lnTo>
                  <a:lnTo>
                    <a:pt x="21" y="38"/>
                  </a:lnTo>
                  <a:lnTo>
                    <a:pt x="16" y="26"/>
                  </a:lnTo>
                  <a:lnTo>
                    <a:pt x="6" y="17"/>
                  </a:lnTo>
                  <a:lnTo>
                    <a:pt x="6" y="9"/>
                  </a:lnTo>
                  <a:lnTo>
                    <a:pt x="0" y="2"/>
                  </a:lnTo>
                  <a:lnTo>
                    <a:pt x="6" y="0"/>
                  </a:lnTo>
                  <a:lnTo>
                    <a:pt x="14" y="5"/>
                  </a:lnTo>
                  <a:lnTo>
                    <a:pt x="19" y="4"/>
                  </a:lnTo>
                  <a:lnTo>
                    <a:pt x="33" y="14"/>
                  </a:lnTo>
                  <a:lnTo>
                    <a:pt x="40" y="16"/>
                  </a:lnTo>
                  <a:lnTo>
                    <a:pt x="41" y="21"/>
                  </a:lnTo>
                  <a:lnTo>
                    <a:pt x="45" y="26"/>
                  </a:lnTo>
                  <a:lnTo>
                    <a:pt x="51" y="26"/>
                  </a:lnTo>
                  <a:lnTo>
                    <a:pt x="59" y="29"/>
                  </a:lnTo>
                  <a:lnTo>
                    <a:pt x="67" y="43"/>
                  </a:lnTo>
                  <a:lnTo>
                    <a:pt x="72" y="47"/>
                  </a:lnTo>
                  <a:lnTo>
                    <a:pt x="75" y="57"/>
                  </a:lnTo>
                  <a:lnTo>
                    <a:pt x="78" y="58"/>
                  </a:lnTo>
                  <a:lnTo>
                    <a:pt x="82" y="63"/>
                  </a:lnTo>
                  <a:lnTo>
                    <a:pt x="89" y="68"/>
                  </a:lnTo>
                  <a:lnTo>
                    <a:pt x="94" y="74"/>
                  </a:lnTo>
                  <a:lnTo>
                    <a:pt x="98" y="75"/>
                  </a:lnTo>
                  <a:lnTo>
                    <a:pt x="100" y="81"/>
                  </a:lnTo>
                  <a:lnTo>
                    <a:pt x="109" y="82"/>
                  </a:lnTo>
                  <a:lnTo>
                    <a:pt x="123" y="86"/>
                  </a:lnTo>
                  <a:lnTo>
                    <a:pt x="141" y="103"/>
                  </a:lnTo>
                  <a:lnTo>
                    <a:pt x="143" y="109"/>
                  </a:lnTo>
                  <a:lnTo>
                    <a:pt x="150" y="108"/>
                  </a:lnTo>
                  <a:lnTo>
                    <a:pt x="157" y="114"/>
                  </a:lnTo>
                  <a:lnTo>
                    <a:pt x="159" y="123"/>
                  </a:lnTo>
                  <a:lnTo>
                    <a:pt x="158" y="125"/>
                  </a:lnTo>
                  <a:lnTo>
                    <a:pt x="153" y="125"/>
                  </a:lnTo>
                  <a:lnTo>
                    <a:pt x="152" y="133"/>
                  </a:lnTo>
                  <a:lnTo>
                    <a:pt x="150" y="131"/>
                  </a:lnTo>
                  <a:lnTo>
                    <a:pt x="147" y="127"/>
                  </a:lnTo>
                  <a:lnTo>
                    <a:pt x="141" y="122"/>
                  </a:lnTo>
                  <a:lnTo>
                    <a:pt x="138" y="119"/>
                  </a:lnTo>
                  <a:lnTo>
                    <a:pt x="130" y="119"/>
                  </a:lnTo>
                  <a:lnTo>
                    <a:pt x="124" y="115"/>
                  </a:lnTo>
                  <a:lnTo>
                    <a:pt x="116" y="115"/>
                  </a:lnTo>
                  <a:lnTo>
                    <a:pt x="114" y="112"/>
                  </a:lnTo>
                  <a:lnTo>
                    <a:pt x="113" y="104"/>
                  </a:lnTo>
                  <a:lnTo>
                    <a:pt x="108" y="104"/>
                  </a:lnTo>
                  <a:lnTo>
                    <a:pt x="104" y="102"/>
                  </a:lnTo>
                  <a:lnTo>
                    <a:pt x="99" y="102"/>
                  </a:lnTo>
                  <a:lnTo>
                    <a:pt x="98" y="97"/>
                  </a:lnTo>
                  <a:lnTo>
                    <a:pt x="93" y="97"/>
                  </a:lnTo>
                  <a:lnTo>
                    <a:pt x="91" y="95"/>
                  </a:lnTo>
                  <a:lnTo>
                    <a:pt x="84" y="93"/>
                  </a:lnTo>
                  <a:lnTo>
                    <a:pt x="77" y="86"/>
                  </a:lnTo>
                  <a:lnTo>
                    <a:pt x="71" y="86"/>
                  </a:lnTo>
                  <a:lnTo>
                    <a:pt x="66" y="84"/>
                  </a:lnTo>
                  <a:lnTo>
                    <a:pt x="65" y="76"/>
                  </a:lnTo>
                  <a:lnTo>
                    <a:pt x="60" y="7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4" name="Freeform 58"/>
            <p:cNvSpPr>
              <a:spLocks noChangeAspect="1"/>
            </p:cNvSpPr>
            <p:nvPr/>
          </p:nvSpPr>
          <p:spPr bwMode="gray">
            <a:xfrm>
              <a:off x="7104149" y="3343634"/>
              <a:ext cx="192407" cy="101276"/>
            </a:xfrm>
            <a:custGeom>
              <a:avLst/>
              <a:gdLst/>
              <a:ahLst/>
              <a:cxnLst>
                <a:cxn ang="0">
                  <a:pos x="259" y="238"/>
                </a:cxn>
                <a:cxn ang="0">
                  <a:pos x="303" y="218"/>
                </a:cxn>
                <a:cxn ang="0">
                  <a:pos x="334" y="201"/>
                </a:cxn>
                <a:cxn ang="0">
                  <a:pos x="362" y="217"/>
                </a:cxn>
                <a:cxn ang="0">
                  <a:pos x="401" y="204"/>
                </a:cxn>
                <a:cxn ang="0">
                  <a:pos x="433" y="170"/>
                </a:cxn>
                <a:cxn ang="0">
                  <a:pos x="491" y="159"/>
                </a:cxn>
                <a:cxn ang="0">
                  <a:pos x="550" y="112"/>
                </a:cxn>
                <a:cxn ang="0">
                  <a:pos x="604" y="79"/>
                </a:cxn>
                <a:cxn ang="0">
                  <a:pos x="577" y="56"/>
                </a:cxn>
                <a:cxn ang="0">
                  <a:pos x="530" y="34"/>
                </a:cxn>
                <a:cxn ang="0">
                  <a:pos x="508" y="27"/>
                </a:cxn>
                <a:cxn ang="0">
                  <a:pos x="452" y="24"/>
                </a:cxn>
                <a:cxn ang="0">
                  <a:pos x="421" y="18"/>
                </a:cxn>
                <a:cxn ang="0">
                  <a:pos x="366" y="20"/>
                </a:cxn>
                <a:cxn ang="0">
                  <a:pos x="325" y="23"/>
                </a:cxn>
                <a:cxn ang="0">
                  <a:pos x="294" y="18"/>
                </a:cxn>
                <a:cxn ang="0">
                  <a:pos x="260" y="4"/>
                </a:cxn>
                <a:cxn ang="0">
                  <a:pos x="233" y="18"/>
                </a:cxn>
                <a:cxn ang="0">
                  <a:pos x="224" y="48"/>
                </a:cxn>
                <a:cxn ang="0">
                  <a:pos x="191" y="45"/>
                </a:cxn>
                <a:cxn ang="0">
                  <a:pos x="160" y="34"/>
                </a:cxn>
                <a:cxn ang="0">
                  <a:pos x="129" y="32"/>
                </a:cxn>
                <a:cxn ang="0">
                  <a:pos x="98" y="36"/>
                </a:cxn>
                <a:cxn ang="0">
                  <a:pos x="92" y="58"/>
                </a:cxn>
                <a:cxn ang="0">
                  <a:pos x="106" y="79"/>
                </a:cxn>
                <a:cxn ang="0">
                  <a:pos x="70" y="109"/>
                </a:cxn>
                <a:cxn ang="0">
                  <a:pos x="62" y="129"/>
                </a:cxn>
                <a:cxn ang="0">
                  <a:pos x="84" y="144"/>
                </a:cxn>
                <a:cxn ang="0">
                  <a:pos x="117" y="147"/>
                </a:cxn>
                <a:cxn ang="0">
                  <a:pos x="137" y="131"/>
                </a:cxn>
                <a:cxn ang="0">
                  <a:pos x="156" y="154"/>
                </a:cxn>
                <a:cxn ang="0">
                  <a:pos x="181" y="169"/>
                </a:cxn>
                <a:cxn ang="0">
                  <a:pos x="212" y="175"/>
                </a:cxn>
                <a:cxn ang="0">
                  <a:pos x="187" y="195"/>
                </a:cxn>
                <a:cxn ang="0">
                  <a:pos x="168" y="202"/>
                </a:cxn>
                <a:cxn ang="0">
                  <a:pos x="149" y="213"/>
                </a:cxn>
                <a:cxn ang="0">
                  <a:pos x="111" y="215"/>
                </a:cxn>
                <a:cxn ang="0">
                  <a:pos x="88" y="224"/>
                </a:cxn>
                <a:cxn ang="0">
                  <a:pos x="68" y="236"/>
                </a:cxn>
                <a:cxn ang="0">
                  <a:pos x="30" y="229"/>
                </a:cxn>
                <a:cxn ang="0">
                  <a:pos x="0" y="236"/>
                </a:cxn>
                <a:cxn ang="0">
                  <a:pos x="4" y="267"/>
                </a:cxn>
                <a:cxn ang="0">
                  <a:pos x="36" y="268"/>
                </a:cxn>
                <a:cxn ang="0">
                  <a:pos x="76" y="267"/>
                </a:cxn>
                <a:cxn ang="0">
                  <a:pos x="120" y="265"/>
                </a:cxn>
                <a:cxn ang="0">
                  <a:pos x="140" y="287"/>
                </a:cxn>
                <a:cxn ang="0">
                  <a:pos x="178" y="281"/>
                </a:cxn>
                <a:cxn ang="0">
                  <a:pos x="219" y="278"/>
                </a:cxn>
                <a:cxn ang="0">
                  <a:pos x="251" y="267"/>
                </a:cxn>
              </a:cxnLst>
              <a:rect l="0" t="0" r="r" b="b"/>
              <a:pathLst>
                <a:path w="604" h="288">
                  <a:moveTo>
                    <a:pt x="251" y="267"/>
                  </a:moveTo>
                  <a:lnTo>
                    <a:pt x="250" y="256"/>
                  </a:lnTo>
                  <a:lnTo>
                    <a:pt x="259" y="238"/>
                  </a:lnTo>
                  <a:lnTo>
                    <a:pt x="291" y="223"/>
                  </a:lnTo>
                  <a:lnTo>
                    <a:pt x="296" y="218"/>
                  </a:lnTo>
                  <a:lnTo>
                    <a:pt x="303" y="218"/>
                  </a:lnTo>
                  <a:lnTo>
                    <a:pt x="309" y="203"/>
                  </a:lnTo>
                  <a:lnTo>
                    <a:pt x="319" y="207"/>
                  </a:lnTo>
                  <a:lnTo>
                    <a:pt x="334" y="201"/>
                  </a:lnTo>
                  <a:lnTo>
                    <a:pt x="345" y="202"/>
                  </a:lnTo>
                  <a:lnTo>
                    <a:pt x="351" y="215"/>
                  </a:lnTo>
                  <a:lnTo>
                    <a:pt x="362" y="217"/>
                  </a:lnTo>
                  <a:lnTo>
                    <a:pt x="378" y="213"/>
                  </a:lnTo>
                  <a:lnTo>
                    <a:pt x="388" y="214"/>
                  </a:lnTo>
                  <a:lnTo>
                    <a:pt x="401" y="204"/>
                  </a:lnTo>
                  <a:lnTo>
                    <a:pt x="407" y="186"/>
                  </a:lnTo>
                  <a:lnTo>
                    <a:pt x="416" y="175"/>
                  </a:lnTo>
                  <a:lnTo>
                    <a:pt x="433" y="170"/>
                  </a:lnTo>
                  <a:lnTo>
                    <a:pt x="452" y="169"/>
                  </a:lnTo>
                  <a:lnTo>
                    <a:pt x="479" y="164"/>
                  </a:lnTo>
                  <a:lnTo>
                    <a:pt x="491" y="159"/>
                  </a:lnTo>
                  <a:lnTo>
                    <a:pt x="499" y="145"/>
                  </a:lnTo>
                  <a:lnTo>
                    <a:pt x="514" y="132"/>
                  </a:lnTo>
                  <a:lnTo>
                    <a:pt x="550" y="112"/>
                  </a:lnTo>
                  <a:lnTo>
                    <a:pt x="588" y="100"/>
                  </a:lnTo>
                  <a:lnTo>
                    <a:pt x="598" y="93"/>
                  </a:lnTo>
                  <a:lnTo>
                    <a:pt x="604" y="79"/>
                  </a:lnTo>
                  <a:lnTo>
                    <a:pt x="604" y="69"/>
                  </a:lnTo>
                  <a:lnTo>
                    <a:pt x="597" y="69"/>
                  </a:lnTo>
                  <a:lnTo>
                    <a:pt x="577" y="56"/>
                  </a:lnTo>
                  <a:lnTo>
                    <a:pt x="561" y="53"/>
                  </a:lnTo>
                  <a:lnTo>
                    <a:pt x="546" y="35"/>
                  </a:lnTo>
                  <a:lnTo>
                    <a:pt x="530" y="34"/>
                  </a:lnTo>
                  <a:lnTo>
                    <a:pt x="523" y="31"/>
                  </a:lnTo>
                  <a:lnTo>
                    <a:pt x="514" y="31"/>
                  </a:lnTo>
                  <a:lnTo>
                    <a:pt x="508" y="27"/>
                  </a:lnTo>
                  <a:lnTo>
                    <a:pt x="499" y="26"/>
                  </a:lnTo>
                  <a:lnTo>
                    <a:pt x="475" y="27"/>
                  </a:lnTo>
                  <a:lnTo>
                    <a:pt x="452" y="24"/>
                  </a:lnTo>
                  <a:lnTo>
                    <a:pt x="443" y="24"/>
                  </a:lnTo>
                  <a:lnTo>
                    <a:pt x="428" y="18"/>
                  </a:lnTo>
                  <a:lnTo>
                    <a:pt x="421" y="18"/>
                  </a:lnTo>
                  <a:lnTo>
                    <a:pt x="406" y="24"/>
                  </a:lnTo>
                  <a:lnTo>
                    <a:pt x="374" y="20"/>
                  </a:lnTo>
                  <a:lnTo>
                    <a:pt x="366" y="20"/>
                  </a:lnTo>
                  <a:lnTo>
                    <a:pt x="350" y="24"/>
                  </a:lnTo>
                  <a:lnTo>
                    <a:pt x="334" y="24"/>
                  </a:lnTo>
                  <a:lnTo>
                    <a:pt x="325" y="23"/>
                  </a:lnTo>
                  <a:lnTo>
                    <a:pt x="319" y="18"/>
                  </a:lnTo>
                  <a:lnTo>
                    <a:pt x="310" y="16"/>
                  </a:lnTo>
                  <a:lnTo>
                    <a:pt x="294" y="18"/>
                  </a:lnTo>
                  <a:lnTo>
                    <a:pt x="288" y="12"/>
                  </a:lnTo>
                  <a:lnTo>
                    <a:pt x="267" y="0"/>
                  </a:lnTo>
                  <a:lnTo>
                    <a:pt x="260" y="4"/>
                  </a:lnTo>
                  <a:lnTo>
                    <a:pt x="253" y="5"/>
                  </a:lnTo>
                  <a:lnTo>
                    <a:pt x="245" y="8"/>
                  </a:lnTo>
                  <a:lnTo>
                    <a:pt x="233" y="18"/>
                  </a:lnTo>
                  <a:lnTo>
                    <a:pt x="232" y="26"/>
                  </a:lnTo>
                  <a:lnTo>
                    <a:pt x="227" y="32"/>
                  </a:lnTo>
                  <a:lnTo>
                    <a:pt x="224" y="48"/>
                  </a:lnTo>
                  <a:lnTo>
                    <a:pt x="221" y="56"/>
                  </a:lnTo>
                  <a:lnTo>
                    <a:pt x="205" y="52"/>
                  </a:lnTo>
                  <a:lnTo>
                    <a:pt x="191" y="45"/>
                  </a:lnTo>
                  <a:lnTo>
                    <a:pt x="175" y="40"/>
                  </a:lnTo>
                  <a:lnTo>
                    <a:pt x="169" y="36"/>
                  </a:lnTo>
                  <a:lnTo>
                    <a:pt x="160" y="34"/>
                  </a:lnTo>
                  <a:lnTo>
                    <a:pt x="152" y="34"/>
                  </a:lnTo>
                  <a:lnTo>
                    <a:pt x="137" y="31"/>
                  </a:lnTo>
                  <a:lnTo>
                    <a:pt x="129" y="32"/>
                  </a:lnTo>
                  <a:lnTo>
                    <a:pt x="121" y="30"/>
                  </a:lnTo>
                  <a:lnTo>
                    <a:pt x="105" y="32"/>
                  </a:lnTo>
                  <a:lnTo>
                    <a:pt x="98" y="36"/>
                  </a:lnTo>
                  <a:lnTo>
                    <a:pt x="95" y="43"/>
                  </a:lnTo>
                  <a:lnTo>
                    <a:pt x="97" y="51"/>
                  </a:lnTo>
                  <a:lnTo>
                    <a:pt x="92" y="58"/>
                  </a:lnTo>
                  <a:lnTo>
                    <a:pt x="88" y="66"/>
                  </a:lnTo>
                  <a:lnTo>
                    <a:pt x="105" y="70"/>
                  </a:lnTo>
                  <a:lnTo>
                    <a:pt x="106" y="79"/>
                  </a:lnTo>
                  <a:lnTo>
                    <a:pt x="92" y="85"/>
                  </a:lnTo>
                  <a:lnTo>
                    <a:pt x="82" y="97"/>
                  </a:lnTo>
                  <a:lnTo>
                    <a:pt x="70" y="109"/>
                  </a:lnTo>
                  <a:lnTo>
                    <a:pt x="55" y="118"/>
                  </a:lnTo>
                  <a:lnTo>
                    <a:pt x="54" y="127"/>
                  </a:lnTo>
                  <a:lnTo>
                    <a:pt x="62" y="129"/>
                  </a:lnTo>
                  <a:lnTo>
                    <a:pt x="68" y="134"/>
                  </a:lnTo>
                  <a:lnTo>
                    <a:pt x="76" y="131"/>
                  </a:lnTo>
                  <a:lnTo>
                    <a:pt x="84" y="144"/>
                  </a:lnTo>
                  <a:lnTo>
                    <a:pt x="108" y="154"/>
                  </a:lnTo>
                  <a:lnTo>
                    <a:pt x="115" y="154"/>
                  </a:lnTo>
                  <a:lnTo>
                    <a:pt x="117" y="147"/>
                  </a:lnTo>
                  <a:lnTo>
                    <a:pt x="125" y="142"/>
                  </a:lnTo>
                  <a:lnTo>
                    <a:pt x="130" y="127"/>
                  </a:lnTo>
                  <a:lnTo>
                    <a:pt x="137" y="131"/>
                  </a:lnTo>
                  <a:lnTo>
                    <a:pt x="142" y="137"/>
                  </a:lnTo>
                  <a:lnTo>
                    <a:pt x="142" y="145"/>
                  </a:lnTo>
                  <a:lnTo>
                    <a:pt x="156" y="154"/>
                  </a:lnTo>
                  <a:lnTo>
                    <a:pt x="162" y="159"/>
                  </a:lnTo>
                  <a:lnTo>
                    <a:pt x="170" y="159"/>
                  </a:lnTo>
                  <a:lnTo>
                    <a:pt x="181" y="169"/>
                  </a:lnTo>
                  <a:lnTo>
                    <a:pt x="197" y="174"/>
                  </a:lnTo>
                  <a:lnTo>
                    <a:pt x="205" y="171"/>
                  </a:lnTo>
                  <a:lnTo>
                    <a:pt x="212" y="175"/>
                  </a:lnTo>
                  <a:lnTo>
                    <a:pt x="207" y="182"/>
                  </a:lnTo>
                  <a:lnTo>
                    <a:pt x="191" y="186"/>
                  </a:lnTo>
                  <a:lnTo>
                    <a:pt x="187" y="195"/>
                  </a:lnTo>
                  <a:lnTo>
                    <a:pt x="181" y="198"/>
                  </a:lnTo>
                  <a:lnTo>
                    <a:pt x="173" y="196"/>
                  </a:lnTo>
                  <a:lnTo>
                    <a:pt x="168" y="202"/>
                  </a:lnTo>
                  <a:lnTo>
                    <a:pt x="160" y="202"/>
                  </a:lnTo>
                  <a:lnTo>
                    <a:pt x="153" y="206"/>
                  </a:lnTo>
                  <a:lnTo>
                    <a:pt x="149" y="213"/>
                  </a:lnTo>
                  <a:lnTo>
                    <a:pt x="143" y="218"/>
                  </a:lnTo>
                  <a:lnTo>
                    <a:pt x="127" y="220"/>
                  </a:lnTo>
                  <a:lnTo>
                    <a:pt x="111" y="215"/>
                  </a:lnTo>
                  <a:lnTo>
                    <a:pt x="104" y="214"/>
                  </a:lnTo>
                  <a:lnTo>
                    <a:pt x="92" y="215"/>
                  </a:lnTo>
                  <a:lnTo>
                    <a:pt x="88" y="224"/>
                  </a:lnTo>
                  <a:lnTo>
                    <a:pt x="81" y="226"/>
                  </a:lnTo>
                  <a:lnTo>
                    <a:pt x="76" y="234"/>
                  </a:lnTo>
                  <a:lnTo>
                    <a:pt x="68" y="236"/>
                  </a:lnTo>
                  <a:lnTo>
                    <a:pt x="55" y="228"/>
                  </a:lnTo>
                  <a:lnTo>
                    <a:pt x="46" y="226"/>
                  </a:lnTo>
                  <a:lnTo>
                    <a:pt x="30" y="229"/>
                  </a:lnTo>
                  <a:lnTo>
                    <a:pt x="22" y="226"/>
                  </a:lnTo>
                  <a:lnTo>
                    <a:pt x="15" y="231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0" y="261"/>
                  </a:lnTo>
                  <a:lnTo>
                    <a:pt x="4" y="267"/>
                  </a:lnTo>
                  <a:lnTo>
                    <a:pt x="13" y="267"/>
                  </a:lnTo>
                  <a:lnTo>
                    <a:pt x="20" y="265"/>
                  </a:lnTo>
                  <a:lnTo>
                    <a:pt x="36" y="268"/>
                  </a:lnTo>
                  <a:lnTo>
                    <a:pt x="60" y="265"/>
                  </a:lnTo>
                  <a:lnTo>
                    <a:pt x="68" y="265"/>
                  </a:lnTo>
                  <a:lnTo>
                    <a:pt x="76" y="267"/>
                  </a:lnTo>
                  <a:lnTo>
                    <a:pt x="81" y="273"/>
                  </a:lnTo>
                  <a:lnTo>
                    <a:pt x="89" y="274"/>
                  </a:lnTo>
                  <a:lnTo>
                    <a:pt x="120" y="265"/>
                  </a:lnTo>
                  <a:lnTo>
                    <a:pt x="127" y="269"/>
                  </a:lnTo>
                  <a:lnTo>
                    <a:pt x="135" y="271"/>
                  </a:lnTo>
                  <a:lnTo>
                    <a:pt x="140" y="287"/>
                  </a:lnTo>
                  <a:lnTo>
                    <a:pt x="156" y="285"/>
                  </a:lnTo>
                  <a:lnTo>
                    <a:pt x="163" y="288"/>
                  </a:lnTo>
                  <a:lnTo>
                    <a:pt x="178" y="281"/>
                  </a:lnTo>
                  <a:lnTo>
                    <a:pt x="194" y="278"/>
                  </a:lnTo>
                  <a:lnTo>
                    <a:pt x="210" y="281"/>
                  </a:lnTo>
                  <a:lnTo>
                    <a:pt x="219" y="278"/>
                  </a:lnTo>
                  <a:lnTo>
                    <a:pt x="229" y="279"/>
                  </a:lnTo>
                  <a:lnTo>
                    <a:pt x="232" y="265"/>
                  </a:lnTo>
                  <a:lnTo>
                    <a:pt x="251" y="26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5" name="Freeform 59"/>
            <p:cNvSpPr>
              <a:spLocks noChangeAspect="1"/>
            </p:cNvSpPr>
            <p:nvPr/>
          </p:nvSpPr>
          <p:spPr bwMode="gray">
            <a:xfrm>
              <a:off x="7072346" y="3399510"/>
              <a:ext cx="131982" cy="108260"/>
            </a:xfrm>
            <a:custGeom>
              <a:avLst/>
              <a:gdLst/>
              <a:ahLst/>
              <a:cxnLst>
                <a:cxn ang="0">
                  <a:pos x="45" y="286"/>
                </a:cxn>
                <a:cxn ang="0">
                  <a:pos x="72" y="273"/>
                </a:cxn>
                <a:cxn ang="0">
                  <a:pos x="89" y="269"/>
                </a:cxn>
                <a:cxn ang="0">
                  <a:pos x="112" y="274"/>
                </a:cxn>
                <a:cxn ang="0">
                  <a:pos x="118" y="246"/>
                </a:cxn>
                <a:cxn ang="0">
                  <a:pos x="145" y="252"/>
                </a:cxn>
                <a:cxn ang="0">
                  <a:pos x="160" y="238"/>
                </a:cxn>
                <a:cxn ang="0">
                  <a:pos x="176" y="198"/>
                </a:cxn>
                <a:cxn ang="0">
                  <a:pos x="190" y="190"/>
                </a:cxn>
                <a:cxn ang="0">
                  <a:pos x="217" y="207"/>
                </a:cxn>
                <a:cxn ang="0">
                  <a:pos x="219" y="225"/>
                </a:cxn>
                <a:cxn ang="0">
                  <a:pos x="230" y="231"/>
                </a:cxn>
                <a:cxn ang="0">
                  <a:pos x="226" y="254"/>
                </a:cxn>
                <a:cxn ang="0">
                  <a:pos x="224" y="287"/>
                </a:cxn>
                <a:cxn ang="0">
                  <a:pos x="241" y="312"/>
                </a:cxn>
                <a:cxn ang="0">
                  <a:pos x="293" y="286"/>
                </a:cxn>
                <a:cxn ang="0">
                  <a:pos x="307" y="271"/>
                </a:cxn>
                <a:cxn ang="0">
                  <a:pos x="334" y="257"/>
                </a:cxn>
                <a:cxn ang="0">
                  <a:pos x="350" y="260"/>
                </a:cxn>
                <a:cxn ang="0">
                  <a:pos x="364" y="266"/>
                </a:cxn>
                <a:cxn ang="0">
                  <a:pos x="390" y="260"/>
                </a:cxn>
                <a:cxn ang="0">
                  <a:pos x="411" y="268"/>
                </a:cxn>
                <a:cxn ang="0">
                  <a:pos x="417" y="273"/>
                </a:cxn>
                <a:cxn ang="0">
                  <a:pos x="400" y="182"/>
                </a:cxn>
                <a:cxn ang="0">
                  <a:pos x="346" y="162"/>
                </a:cxn>
                <a:cxn ang="0">
                  <a:pos x="333" y="120"/>
                </a:cxn>
                <a:cxn ang="0">
                  <a:pos x="282" y="122"/>
                </a:cxn>
                <a:cxn ang="0">
                  <a:pos x="239" y="112"/>
                </a:cxn>
                <a:cxn ang="0">
                  <a:pos x="185" y="114"/>
                </a:cxn>
                <a:cxn ang="0">
                  <a:pos x="140" y="109"/>
                </a:cxn>
                <a:cxn ang="0">
                  <a:pos x="104" y="102"/>
                </a:cxn>
                <a:cxn ang="0">
                  <a:pos x="126" y="67"/>
                </a:cxn>
                <a:cxn ang="0">
                  <a:pos x="172" y="77"/>
                </a:cxn>
                <a:cxn ang="0">
                  <a:pos x="196" y="56"/>
                </a:cxn>
                <a:cxn ang="0">
                  <a:pos x="172" y="54"/>
                </a:cxn>
                <a:cxn ang="0">
                  <a:pos x="185" y="22"/>
                </a:cxn>
                <a:cxn ang="0">
                  <a:pos x="170" y="0"/>
                </a:cxn>
                <a:cxn ang="0">
                  <a:pos x="132" y="27"/>
                </a:cxn>
                <a:cxn ang="0">
                  <a:pos x="108" y="36"/>
                </a:cxn>
                <a:cxn ang="0">
                  <a:pos x="105" y="63"/>
                </a:cxn>
                <a:cxn ang="0">
                  <a:pos x="75" y="82"/>
                </a:cxn>
                <a:cxn ang="0">
                  <a:pos x="32" y="107"/>
                </a:cxn>
                <a:cxn ang="0">
                  <a:pos x="6" y="112"/>
                </a:cxn>
                <a:cxn ang="0">
                  <a:pos x="14" y="136"/>
                </a:cxn>
                <a:cxn ang="0">
                  <a:pos x="40" y="149"/>
                </a:cxn>
                <a:cxn ang="0">
                  <a:pos x="41" y="187"/>
                </a:cxn>
                <a:cxn ang="0">
                  <a:pos x="52" y="212"/>
                </a:cxn>
                <a:cxn ang="0">
                  <a:pos x="29" y="239"/>
                </a:cxn>
                <a:cxn ang="0">
                  <a:pos x="19" y="269"/>
                </a:cxn>
              </a:cxnLst>
              <a:rect l="0" t="0" r="r" b="b"/>
              <a:pathLst>
                <a:path w="417" h="312">
                  <a:moveTo>
                    <a:pt x="19" y="269"/>
                  </a:moveTo>
                  <a:lnTo>
                    <a:pt x="24" y="274"/>
                  </a:lnTo>
                  <a:lnTo>
                    <a:pt x="37" y="289"/>
                  </a:lnTo>
                  <a:lnTo>
                    <a:pt x="45" y="286"/>
                  </a:lnTo>
                  <a:lnTo>
                    <a:pt x="52" y="286"/>
                  </a:lnTo>
                  <a:lnTo>
                    <a:pt x="53" y="281"/>
                  </a:lnTo>
                  <a:lnTo>
                    <a:pt x="67" y="274"/>
                  </a:lnTo>
                  <a:lnTo>
                    <a:pt x="72" y="273"/>
                  </a:lnTo>
                  <a:lnTo>
                    <a:pt x="76" y="274"/>
                  </a:lnTo>
                  <a:lnTo>
                    <a:pt x="79" y="270"/>
                  </a:lnTo>
                  <a:lnTo>
                    <a:pt x="85" y="268"/>
                  </a:lnTo>
                  <a:lnTo>
                    <a:pt x="89" y="269"/>
                  </a:lnTo>
                  <a:lnTo>
                    <a:pt x="94" y="274"/>
                  </a:lnTo>
                  <a:lnTo>
                    <a:pt x="107" y="279"/>
                  </a:lnTo>
                  <a:lnTo>
                    <a:pt x="111" y="276"/>
                  </a:lnTo>
                  <a:lnTo>
                    <a:pt x="112" y="274"/>
                  </a:lnTo>
                  <a:lnTo>
                    <a:pt x="112" y="269"/>
                  </a:lnTo>
                  <a:lnTo>
                    <a:pt x="110" y="265"/>
                  </a:lnTo>
                  <a:lnTo>
                    <a:pt x="110" y="258"/>
                  </a:lnTo>
                  <a:lnTo>
                    <a:pt x="118" y="246"/>
                  </a:lnTo>
                  <a:lnTo>
                    <a:pt x="123" y="246"/>
                  </a:lnTo>
                  <a:lnTo>
                    <a:pt x="129" y="248"/>
                  </a:lnTo>
                  <a:lnTo>
                    <a:pt x="138" y="246"/>
                  </a:lnTo>
                  <a:lnTo>
                    <a:pt x="145" y="252"/>
                  </a:lnTo>
                  <a:lnTo>
                    <a:pt x="149" y="252"/>
                  </a:lnTo>
                  <a:lnTo>
                    <a:pt x="153" y="250"/>
                  </a:lnTo>
                  <a:lnTo>
                    <a:pt x="159" y="243"/>
                  </a:lnTo>
                  <a:lnTo>
                    <a:pt x="160" y="238"/>
                  </a:lnTo>
                  <a:lnTo>
                    <a:pt x="155" y="232"/>
                  </a:lnTo>
                  <a:lnTo>
                    <a:pt x="155" y="227"/>
                  </a:lnTo>
                  <a:lnTo>
                    <a:pt x="165" y="214"/>
                  </a:lnTo>
                  <a:lnTo>
                    <a:pt x="176" y="198"/>
                  </a:lnTo>
                  <a:lnTo>
                    <a:pt x="178" y="195"/>
                  </a:lnTo>
                  <a:lnTo>
                    <a:pt x="182" y="190"/>
                  </a:lnTo>
                  <a:lnTo>
                    <a:pt x="183" y="189"/>
                  </a:lnTo>
                  <a:lnTo>
                    <a:pt x="190" y="190"/>
                  </a:lnTo>
                  <a:lnTo>
                    <a:pt x="194" y="187"/>
                  </a:lnTo>
                  <a:lnTo>
                    <a:pt x="204" y="189"/>
                  </a:lnTo>
                  <a:lnTo>
                    <a:pt x="217" y="201"/>
                  </a:lnTo>
                  <a:lnTo>
                    <a:pt x="217" y="207"/>
                  </a:lnTo>
                  <a:lnTo>
                    <a:pt x="213" y="215"/>
                  </a:lnTo>
                  <a:lnTo>
                    <a:pt x="213" y="220"/>
                  </a:lnTo>
                  <a:lnTo>
                    <a:pt x="214" y="222"/>
                  </a:lnTo>
                  <a:lnTo>
                    <a:pt x="219" y="225"/>
                  </a:lnTo>
                  <a:lnTo>
                    <a:pt x="225" y="223"/>
                  </a:lnTo>
                  <a:lnTo>
                    <a:pt x="229" y="225"/>
                  </a:lnTo>
                  <a:lnTo>
                    <a:pt x="229" y="227"/>
                  </a:lnTo>
                  <a:lnTo>
                    <a:pt x="230" y="231"/>
                  </a:lnTo>
                  <a:lnTo>
                    <a:pt x="228" y="233"/>
                  </a:lnTo>
                  <a:lnTo>
                    <a:pt x="226" y="238"/>
                  </a:lnTo>
                  <a:lnTo>
                    <a:pt x="228" y="249"/>
                  </a:lnTo>
                  <a:lnTo>
                    <a:pt x="226" y="254"/>
                  </a:lnTo>
                  <a:lnTo>
                    <a:pt x="224" y="259"/>
                  </a:lnTo>
                  <a:lnTo>
                    <a:pt x="224" y="269"/>
                  </a:lnTo>
                  <a:lnTo>
                    <a:pt x="221" y="278"/>
                  </a:lnTo>
                  <a:lnTo>
                    <a:pt x="224" y="287"/>
                  </a:lnTo>
                  <a:lnTo>
                    <a:pt x="230" y="298"/>
                  </a:lnTo>
                  <a:lnTo>
                    <a:pt x="235" y="309"/>
                  </a:lnTo>
                  <a:lnTo>
                    <a:pt x="236" y="311"/>
                  </a:lnTo>
                  <a:lnTo>
                    <a:pt x="241" y="312"/>
                  </a:lnTo>
                  <a:lnTo>
                    <a:pt x="246" y="309"/>
                  </a:lnTo>
                  <a:lnTo>
                    <a:pt x="258" y="302"/>
                  </a:lnTo>
                  <a:lnTo>
                    <a:pt x="272" y="292"/>
                  </a:lnTo>
                  <a:lnTo>
                    <a:pt x="293" y="286"/>
                  </a:lnTo>
                  <a:lnTo>
                    <a:pt x="295" y="285"/>
                  </a:lnTo>
                  <a:lnTo>
                    <a:pt x="299" y="278"/>
                  </a:lnTo>
                  <a:lnTo>
                    <a:pt x="306" y="274"/>
                  </a:lnTo>
                  <a:lnTo>
                    <a:pt x="307" y="271"/>
                  </a:lnTo>
                  <a:lnTo>
                    <a:pt x="312" y="270"/>
                  </a:lnTo>
                  <a:lnTo>
                    <a:pt x="322" y="263"/>
                  </a:lnTo>
                  <a:lnTo>
                    <a:pt x="327" y="262"/>
                  </a:lnTo>
                  <a:lnTo>
                    <a:pt x="334" y="257"/>
                  </a:lnTo>
                  <a:lnTo>
                    <a:pt x="339" y="257"/>
                  </a:lnTo>
                  <a:lnTo>
                    <a:pt x="343" y="259"/>
                  </a:lnTo>
                  <a:lnTo>
                    <a:pt x="346" y="260"/>
                  </a:lnTo>
                  <a:lnTo>
                    <a:pt x="350" y="260"/>
                  </a:lnTo>
                  <a:lnTo>
                    <a:pt x="352" y="270"/>
                  </a:lnTo>
                  <a:lnTo>
                    <a:pt x="354" y="274"/>
                  </a:lnTo>
                  <a:lnTo>
                    <a:pt x="357" y="273"/>
                  </a:lnTo>
                  <a:lnTo>
                    <a:pt x="364" y="266"/>
                  </a:lnTo>
                  <a:lnTo>
                    <a:pt x="364" y="268"/>
                  </a:lnTo>
                  <a:lnTo>
                    <a:pt x="366" y="268"/>
                  </a:lnTo>
                  <a:lnTo>
                    <a:pt x="379" y="263"/>
                  </a:lnTo>
                  <a:lnTo>
                    <a:pt x="390" y="260"/>
                  </a:lnTo>
                  <a:lnTo>
                    <a:pt x="396" y="260"/>
                  </a:lnTo>
                  <a:lnTo>
                    <a:pt x="401" y="264"/>
                  </a:lnTo>
                  <a:lnTo>
                    <a:pt x="409" y="264"/>
                  </a:lnTo>
                  <a:lnTo>
                    <a:pt x="411" y="268"/>
                  </a:lnTo>
                  <a:lnTo>
                    <a:pt x="411" y="270"/>
                  </a:lnTo>
                  <a:lnTo>
                    <a:pt x="406" y="271"/>
                  </a:lnTo>
                  <a:lnTo>
                    <a:pt x="414" y="274"/>
                  </a:lnTo>
                  <a:lnTo>
                    <a:pt x="417" y="273"/>
                  </a:lnTo>
                  <a:lnTo>
                    <a:pt x="417" y="237"/>
                  </a:lnTo>
                  <a:lnTo>
                    <a:pt x="407" y="212"/>
                  </a:lnTo>
                  <a:lnTo>
                    <a:pt x="407" y="193"/>
                  </a:lnTo>
                  <a:lnTo>
                    <a:pt x="400" y="182"/>
                  </a:lnTo>
                  <a:lnTo>
                    <a:pt x="381" y="180"/>
                  </a:lnTo>
                  <a:lnTo>
                    <a:pt x="361" y="187"/>
                  </a:lnTo>
                  <a:lnTo>
                    <a:pt x="350" y="179"/>
                  </a:lnTo>
                  <a:lnTo>
                    <a:pt x="346" y="162"/>
                  </a:lnTo>
                  <a:lnTo>
                    <a:pt x="344" y="142"/>
                  </a:lnTo>
                  <a:lnTo>
                    <a:pt x="355" y="108"/>
                  </a:lnTo>
                  <a:lnTo>
                    <a:pt x="336" y="106"/>
                  </a:lnTo>
                  <a:lnTo>
                    <a:pt x="333" y="120"/>
                  </a:lnTo>
                  <a:lnTo>
                    <a:pt x="323" y="119"/>
                  </a:lnTo>
                  <a:lnTo>
                    <a:pt x="314" y="122"/>
                  </a:lnTo>
                  <a:lnTo>
                    <a:pt x="298" y="119"/>
                  </a:lnTo>
                  <a:lnTo>
                    <a:pt x="282" y="122"/>
                  </a:lnTo>
                  <a:lnTo>
                    <a:pt x="267" y="129"/>
                  </a:lnTo>
                  <a:lnTo>
                    <a:pt x="260" y="126"/>
                  </a:lnTo>
                  <a:lnTo>
                    <a:pt x="244" y="128"/>
                  </a:lnTo>
                  <a:lnTo>
                    <a:pt x="239" y="112"/>
                  </a:lnTo>
                  <a:lnTo>
                    <a:pt x="231" y="110"/>
                  </a:lnTo>
                  <a:lnTo>
                    <a:pt x="224" y="106"/>
                  </a:lnTo>
                  <a:lnTo>
                    <a:pt x="193" y="115"/>
                  </a:lnTo>
                  <a:lnTo>
                    <a:pt x="185" y="114"/>
                  </a:lnTo>
                  <a:lnTo>
                    <a:pt x="180" y="108"/>
                  </a:lnTo>
                  <a:lnTo>
                    <a:pt x="172" y="106"/>
                  </a:lnTo>
                  <a:lnTo>
                    <a:pt x="164" y="106"/>
                  </a:lnTo>
                  <a:lnTo>
                    <a:pt x="140" y="109"/>
                  </a:lnTo>
                  <a:lnTo>
                    <a:pt x="124" y="106"/>
                  </a:lnTo>
                  <a:lnTo>
                    <a:pt x="117" y="108"/>
                  </a:lnTo>
                  <a:lnTo>
                    <a:pt x="108" y="108"/>
                  </a:lnTo>
                  <a:lnTo>
                    <a:pt x="104" y="102"/>
                  </a:lnTo>
                  <a:lnTo>
                    <a:pt x="104" y="86"/>
                  </a:lnTo>
                  <a:lnTo>
                    <a:pt x="104" y="77"/>
                  </a:lnTo>
                  <a:lnTo>
                    <a:pt x="119" y="72"/>
                  </a:lnTo>
                  <a:lnTo>
                    <a:pt x="126" y="67"/>
                  </a:lnTo>
                  <a:lnTo>
                    <a:pt x="134" y="70"/>
                  </a:lnTo>
                  <a:lnTo>
                    <a:pt x="150" y="67"/>
                  </a:lnTo>
                  <a:lnTo>
                    <a:pt x="159" y="69"/>
                  </a:lnTo>
                  <a:lnTo>
                    <a:pt x="172" y="77"/>
                  </a:lnTo>
                  <a:lnTo>
                    <a:pt x="180" y="75"/>
                  </a:lnTo>
                  <a:lnTo>
                    <a:pt x="185" y="67"/>
                  </a:lnTo>
                  <a:lnTo>
                    <a:pt x="192" y="65"/>
                  </a:lnTo>
                  <a:lnTo>
                    <a:pt x="196" y="56"/>
                  </a:lnTo>
                  <a:lnTo>
                    <a:pt x="192" y="56"/>
                  </a:lnTo>
                  <a:lnTo>
                    <a:pt x="185" y="60"/>
                  </a:lnTo>
                  <a:lnTo>
                    <a:pt x="176" y="61"/>
                  </a:lnTo>
                  <a:lnTo>
                    <a:pt x="172" y="54"/>
                  </a:lnTo>
                  <a:lnTo>
                    <a:pt x="167" y="38"/>
                  </a:lnTo>
                  <a:lnTo>
                    <a:pt x="174" y="33"/>
                  </a:lnTo>
                  <a:lnTo>
                    <a:pt x="181" y="29"/>
                  </a:lnTo>
                  <a:lnTo>
                    <a:pt x="185" y="22"/>
                  </a:lnTo>
                  <a:lnTo>
                    <a:pt x="183" y="15"/>
                  </a:lnTo>
                  <a:lnTo>
                    <a:pt x="178" y="9"/>
                  </a:lnTo>
                  <a:lnTo>
                    <a:pt x="177" y="0"/>
                  </a:lnTo>
                  <a:lnTo>
                    <a:pt x="170" y="0"/>
                  </a:lnTo>
                  <a:lnTo>
                    <a:pt x="164" y="5"/>
                  </a:lnTo>
                  <a:lnTo>
                    <a:pt x="160" y="12"/>
                  </a:lnTo>
                  <a:lnTo>
                    <a:pt x="145" y="20"/>
                  </a:lnTo>
                  <a:lnTo>
                    <a:pt x="132" y="27"/>
                  </a:lnTo>
                  <a:lnTo>
                    <a:pt x="123" y="28"/>
                  </a:lnTo>
                  <a:lnTo>
                    <a:pt x="117" y="23"/>
                  </a:lnTo>
                  <a:lnTo>
                    <a:pt x="110" y="27"/>
                  </a:lnTo>
                  <a:lnTo>
                    <a:pt x="108" y="36"/>
                  </a:lnTo>
                  <a:lnTo>
                    <a:pt x="102" y="40"/>
                  </a:lnTo>
                  <a:lnTo>
                    <a:pt x="107" y="47"/>
                  </a:lnTo>
                  <a:lnTo>
                    <a:pt x="107" y="55"/>
                  </a:lnTo>
                  <a:lnTo>
                    <a:pt x="105" y="63"/>
                  </a:lnTo>
                  <a:lnTo>
                    <a:pt x="99" y="67"/>
                  </a:lnTo>
                  <a:lnTo>
                    <a:pt x="83" y="70"/>
                  </a:lnTo>
                  <a:lnTo>
                    <a:pt x="75" y="75"/>
                  </a:lnTo>
                  <a:lnTo>
                    <a:pt x="75" y="82"/>
                  </a:lnTo>
                  <a:lnTo>
                    <a:pt x="63" y="104"/>
                  </a:lnTo>
                  <a:lnTo>
                    <a:pt x="56" y="107"/>
                  </a:lnTo>
                  <a:lnTo>
                    <a:pt x="40" y="108"/>
                  </a:lnTo>
                  <a:lnTo>
                    <a:pt x="32" y="107"/>
                  </a:lnTo>
                  <a:lnTo>
                    <a:pt x="26" y="101"/>
                  </a:lnTo>
                  <a:lnTo>
                    <a:pt x="18" y="102"/>
                  </a:lnTo>
                  <a:lnTo>
                    <a:pt x="10" y="106"/>
                  </a:lnTo>
                  <a:lnTo>
                    <a:pt x="6" y="112"/>
                  </a:lnTo>
                  <a:lnTo>
                    <a:pt x="8" y="120"/>
                  </a:lnTo>
                  <a:lnTo>
                    <a:pt x="0" y="125"/>
                  </a:lnTo>
                  <a:lnTo>
                    <a:pt x="6" y="131"/>
                  </a:lnTo>
                  <a:lnTo>
                    <a:pt x="14" y="136"/>
                  </a:lnTo>
                  <a:lnTo>
                    <a:pt x="16" y="144"/>
                  </a:lnTo>
                  <a:lnTo>
                    <a:pt x="25" y="145"/>
                  </a:lnTo>
                  <a:lnTo>
                    <a:pt x="34" y="144"/>
                  </a:lnTo>
                  <a:lnTo>
                    <a:pt x="40" y="149"/>
                  </a:lnTo>
                  <a:lnTo>
                    <a:pt x="42" y="156"/>
                  </a:lnTo>
                  <a:lnTo>
                    <a:pt x="41" y="165"/>
                  </a:lnTo>
                  <a:lnTo>
                    <a:pt x="37" y="171"/>
                  </a:lnTo>
                  <a:lnTo>
                    <a:pt x="41" y="187"/>
                  </a:lnTo>
                  <a:lnTo>
                    <a:pt x="46" y="194"/>
                  </a:lnTo>
                  <a:lnTo>
                    <a:pt x="53" y="199"/>
                  </a:lnTo>
                  <a:lnTo>
                    <a:pt x="54" y="205"/>
                  </a:lnTo>
                  <a:lnTo>
                    <a:pt x="52" y="212"/>
                  </a:lnTo>
                  <a:lnTo>
                    <a:pt x="47" y="217"/>
                  </a:lnTo>
                  <a:lnTo>
                    <a:pt x="40" y="222"/>
                  </a:lnTo>
                  <a:lnTo>
                    <a:pt x="37" y="228"/>
                  </a:lnTo>
                  <a:lnTo>
                    <a:pt x="29" y="239"/>
                  </a:lnTo>
                  <a:lnTo>
                    <a:pt x="22" y="253"/>
                  </a:lnTo>
                  <a:lnTo>
                    <a:pt x="24" y="259"/>
                  </a:lnTo>
                  <a:lnTo>
                    <a:pt x="24" y="266"/>
                  </a:lnTo>
                  <a:lnTo>
                    <a:pt x="19" y="26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6" name="Freeform 60"/>
            <p:cNvSpPr>
              <a:spLocks noChangeAspect="1"/>
            </p:cNvSpPr>
            <p:nvPr/>
          </p:nvSpPr>
          <p:spPr bwMode="gray">
            <a:xfrm>
              <a:off x="7134361" y="3422211"/>
              <a:ext cx="4771" cy="6985"/>
            </a:xfrm>
            <a:custGeom>
              <a:avLst/>
              <a:gdLst/>
              <a:ahLst/>
              <a:cxnLst>
                <a:cxn ang="0">
                  <a:pos x="16" y="19"/>
                </a:cxn>
                <a:cxn ang="0">
                  <a:pos x="14" y="12"/>
                </a:cxn>
                <a:cxn ang="0">
                  <a:pos x="5" y="0"/>
                </a:cxn>
                <a:cxn ang="0">
                  <a:pos x="0" y="6"/>
                </a:cxn>
                <a:cxn ang="0">
                  <a:pos x="1" y="13"/>
                </a:cxn>
                <a:cxn ang="0">
                  <a:pos x="3" y="21"/>
                </a:cxn>
                <a:cxn ang="0">
                  <a:pos x="12" y="22"/>
                </a:cxn>
                <a:cxn ang="0">
                  <a:pos x="16" y="19"/>
                </a:cxn>
              </a:cxnLst>
              <a:rect l="0" t="0" r="r" b="b"/>
              <a:pathLst>
                <a:path w="16" h="22">
                  <a:moveTo>
                    <a:pt x="16" y="19"/>
                  </a:moveTo>
                  <a:lnTo>
                    <a:pt x="14" y="12"/>
                  </a:lnTo>
                  <a:lnTo>
                    <a:pt x="5" y="0"/>
                  </a:lnTo>
                  <a:lnTo>
                    <a:pt x="0" y="6"/>
                  </a:lnTo>
                  <a:lnTo>
                    <a:pt x="1" y="13"/>
                  </a:lnTo>
                  <a:lnTo>
                    <a:pt x="3" y="21"/>
                  </a:lnTo>
                  <a:lnTo>
                    <a:pt x="12" y="22"/>
                  </a:lnTo>
                  <a:lnTo>
                    <a:pt x="16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7" name="Freeform 61"/>
            <p:cNvSpPr>
              <a:spLocks noChangeAspect="1"/>
            </p:cNvSpPr>
            <p:nvPr/>
          </p:nvSpPr>
          <p:spPr bwMode="gray">
            <a:xfrm>
              <a:off x="7145493" y="3425703"/>
              <a:ext cx="4771" cy="3492"/>
            </a:xfrm>
            <a:custGeom>
              <a:avLst/>
              <a:gdLst/>
              <a:ahLst/>
              <a:cxnLst>
                <a:cxn ang="0">
                  <a:pos x="15" y="4"/>
                </a:cxn>
                <a:cxn ang="0">
                  <a:pos x="7" y="0"/>
                </a:cxn>
                <a:cxn ang="0">
                  <a:pos x="0" y="3"/>
                </a:cxn>
                <a:cxn ang="0">
                  <a:pos x="6" y="9"/>
                </a:cxn>
                <a:cxn ang="0">
                  <a:pos x="14" y="6"/>
                </a:cxn>
                <a:cxn ang="0">
                  <a:pos x="15" y="4"/>
                </a:cxn>
              </a:cxnLst>
              <a:rect l="0" t="0" r="r" b="b"/>
              <a:pathLst>
                <a:path w="15" h="9">
                  <a:moveTo>
                    <a:pt x="15" y="4"/>
                  </a:moveTo>
                  <a:lnTo>
                    <a:pt x="7" y="0"/>
                  </a:lnTo>
                  <a:lnTo>
                    <a:pt x="0" y="3"/>
                  </a:lnTo>
                  <a:lnTo>
                    <a:pt x="6" y="9"/>
                  </a:lnTo>
                  <a:lnTo>
                    <a:pt x="14" y="6"/>
                  </a:lnTo>
                  <a:lnTo>
                    <a:pt x="15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8" name="Freeform 62"/>
            <p:cNvSpPr>
              <a:spLocks noChangeAspect="1"/>
            </p:cNvSpPr>
            <p:nvPr/>
          </p:nvSpPr>
          <p:spPr bwMode="gray">
            <a:xfrm>
              <a:off x="7126411" y="3429195"/>
              <a:ext cx="3180" cy="3492"/>
            </a:xfrm>
            <a:custGeom>
              <a:avLst/>
              <a:gdLst/>
              <a:ahLst/>
              <a:cxnLst>
                <a:cxn ang="0">
                  <a:pos x="12" y="6"/>
                </a:cxn>
                <a:cxn ang="0">
                  <a:pos x="8" y="0"/>
                </a:cxn>
                <a:cxn ang="0">
                  <a:pos x="0" y="1"/>
                </a:cxn>
                <a:cxn ang="0">
                  <a:pos x="2" y="8"/>
                </a:cxn>
                <a:cxn ang="0">
                  <a:pos x="11" y="8"/>
                </a:cxn>
                <a:cxn ang="0">
                  <a:pos x="12" y="6"/>
                </a:cxn>
              </a:cxnLst>
              <a:rect l="0" t="0" r="r" b="b"/>
              <a:pathLst>
                <a:path w="12" h="8">
                  <a:moveTo>
                    <a:pt x="12" y="6"/>
                  </a:moveTo>
                  <a:lnTo>
                    <a:pt x="8" y="0"/>
                  </a:lnTo>
                  <a:lnTo>
                    <a:pt x="0" y="1"/>
                  </a:lnTo>
                  <a:lnTo>
                    <a:pt x="2" y="8"/>
                  </a:lnTo>
                  <a:lnTo>
                    <a:pt x="11" y="8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9" name="Freeform 63"/>
            <p:cNvSpPr>
              <a:spLocks noChangeAspect="1"/>
            </p:cNvSpPr>
            <p:nvPr/>
          </p:nvSpPr>
          <p:spPr bwMode="gray">
            <a:xfrm>
              <a:off x="6951496" y="3464118"/>
              <a:ext cx="251242" cy="209536"/>
            </a:xfrm>
            <a:custGeom>
              <a:avLst/>
              <a:gdLst/>
              <a:ahLst/>
              <a:cxnLst>
                <a:cxn ang="0">
                  <a:pos x="65" y="487"/>
                </a:cxn>
                <a:cxn ang="0">
                  <a:pos x="14" y="447"/>
                </a:cxn>
                <a:cxn ang="0">
                  <a:pos x="3" y="371"/>
                </a:cxn>
                <a:cxn ang="0">
                  <a:pos x="0" y="299"/>
                </a:cxn>
                <a:cxn ang="0">
                  <a:pos x="40" y="223"/>
                </a:cxn>
                <a:cxn ang="0">
                  <a:pos x="57" y="206"/>
                </a:cxn>
                <a:cxn ang="0">
                  <a:pos x="98" y="221"/>
                </a:cxn>
                <a:cxn ang="0">
                  <a:pos x="139" y="210"/>
                </a:cxn>
                <a:cxn ang="0">
                  <a:pos x="146" y="184"/>
                </a:cxn>
                <a:cxn ang="0">
                  <a:pos x="186" y="168"/>
                </a:cxn>
                <a:cxn ang="0">
                  <a:pos x="224" y="142"/>
                </a:cxn>
                <a:cxn ang="0">
                  <a:pos x="235" y="95"/>
                </a:cxn>
                <a:cxn ang="0">
                  <a:pos x="259" y="83"/>
                </a:cxn>
                <a:cxn ang="0">
                  <a:pos x="283" y="65"/>
                </a:cxn>
                <a:cxn ang="0">
                  <a:pos x="331" y="77"/>
                </a:cxn>
                <a:cxn ang="0">
                  <a:pos x="396" y="82"/>
                </a:cxn>
                <a:cxn ang="0">
                  <a:pos x="430" y="94"/>
                </a:cxn>
                <a:cxn ang="0">
                  <a:pos x="462" y="81"/>
                </a:cxn>
                <a:cxn ang="0">
                  <a:pos x="489" y="87"/>
                </a:cxn>
                <a:cxn ang="0">
                  <a:pos x="500" y="59"/>
                </a:cxn>
                <a:cxn ang="0">
                  <a:pos x="528" y="63"/>
                </a:cxn>
                <a:cxn ang="0">
                  <a:pos x="542" y="27"/>
                </a:cxn>
                <a:cxn ang="0">
                  <a:pos x="567" y="3"/>
                </a:cxn>
                <a:cxn ang="0">
                  <a:pos x="590" y="28"/>
                </a:cxn>
                <a:cxn ang="0">
                  <a:pos x="606" y="38"/>
                </a:cxn>
                <a:cxn ang="0">
                  <a:pos x="605" y="62"/>
                </a:cxn>
                <a:cxn ang="0">
                  <a:pos x="601" y="100"/>
                </a:cxn>
                <a:cxn ang="0">
                  <a:pos x="623" y="122"/>
                </a:cxn>
                <a:cxn ang="0">
                  <a:pos x="676" y="92"/>
                </a:cxn>
                <a:cxn ang="0">
                  <a:pos x="704" y="75"/>
                </a:cxn>
                <a:cxn ang="0">
                  <a:pos x="727" y="73"/>
                </a:cxn>
                <a:cxn ang="0">
                  <a:pos x="741" y="81"/>
                </a:cxn>
                <a:cxn ang="0">
                  <a:pos x="778" y="77"/>
                </a:cxn>
                <a:cxn ang="0">
                  <a:pos x="785" y="84"/>
                </a:cxn>
                <a:cxn ang="0">
                  <a:pos x="768" y="94"/>
                </a:cxn>
                <a:cxn ang="0">
                  <a:pos x="759" y="108"/>
                </a:cxn>
                <a:cxn ang="0">
                  <a:pos x="725" y="109"/>
                </a:cxn>
                <a:cxn ang="0">
                  <a:pos x="665" y="114"/>
                </a:cxn>
                <a:cxn ang="0">
                  <a:pos x="638" y="129"/>
                </a:cxn>
                <a:cxn ang="0">
                  <a:pos x="622" y="141"/>
                </a:cxn>
                <a:cxn ang="0">
                  <a:pos x="594" y="158"/>
                </a:cxn>
                <a:cxn ang="0">
                  <a:pos x="605" y="183"/>
                </a:cxn>
                <a:cxn ang="0">
                  <a:pos x="608" y="218"/>
                </a:cxn>
                <a:cxn ang="0">
                  <a:pos x="592" y="249"/>
                </a:cxn>
                <a:cxn ang="0">
                  <a:pos x="582" y="277"/>
                </a:cxn>
                <a:cxn ang="0">
                  <a:pos x="569" y="304"/>
                </a:cxn>
                <a:cxn ang="0">
                  <a:pos x="520" y="302"/>
                </a:cxn>
                <a:cxn ang="0">
                  <a:pos x="535" y="336"/>
                </a:cxn>
                <a:cxn ang="0">
                  <a:pos x="517" y="361"/>
                </a:cxn>
                <a:cxn ang="0">
                  <a:pos x="489" y="384"/>
                </a:cxn>
                <a:cxn ang="0">
                  <a:pos x="481" y="404"/>
                </a:cxn>
                <a:cxn ang="0">
                  <a:pos x="463" y="460"/>
                </a:cxn>
                <a:cxn ang="0">
                  <a:pos x="444" y="445"/>
                </a:cxn>
                <a:cxn ang="0">
                  <a:pos x="425" y="448"/>
                </a:cxn>
                <a:cxn ang="0">
                  <a:pos x="391" y="468"/>
                </a:cxn>
                <a:cxn ang="0">
                  <a:pos x="390" y="479"/>
                </a:cxn>
                <a:cxn ang="0">
                  <a:pos x="352" y="476"/>
                </a:cxn>
                <a:cxn ang="0">
                  <a:pos x="321" y="520"/>
                </a:cxn>
                <a:cxn ang="0">
                  <a:pos x="321" y="566"/>
                </a:cxn>
                <a:cxn ang="0">
                  <a:pos x="226" y="587"/>
                </a:cxn>
                <a:cxn ang="0">
                  <a:pos x="197" y="599"/>
                </a:cxn>
                <a:cxn ang="0">
                  <a:pos x="129" y="594"/>
                </a:cxn>
                <a:cxn ang="0">
                  <a:pos x="101" y="598"/>
                </a:cxn>
              </a:cxnLst>
              <a:rect l="0" t="0" r="r" b="b"/>
              <a:pathLst>
                <a:path w="788" h="599">
                  <a:moveTo>
                    <a:pt x="24" y="572"/>
                  </a:moveTo>
                  <a:lnTo>
                    <a:pt x="36" y="547"/>
                  </a:lnTo>
                  <a:lnTo>
                    <a:pt x="59" y="519"/>
                  </a:lnTo>
                  <a:lnTo>
                    <a:pt x="65" y="502"/>
                  </a:lnTo>
                  <a:lnTo>
                    <a:pt x="65" y="487"/>
                  </a:lnTo>
                  <a:lnTo>
                    <a:pt x="59" y="471"/>
                  </a:lnTo>
                  <a:lnTo>
                    <a:pt x="48" y="461"/>
                  </a:lnTo>
                  <a:lnTo>
                    <a:pt x="36" y="461"/>
                  </a:lnTo>
                  <a:lnTo>
                    <a:pt x="24" y="458"/>
                  </a:lnTo>
                  <a:lnTo>
                    <a:pt x="14" y="447"/>
                  </a:lnTo>
                  <a:lnTo>
                    <a:pt x="12" y="434"/>
                  </a:lnTo>
                  <a:lnTo>
                    <a:pt x="15" y="417"/>
                  </a:lnTo>
                  <a:lnTo>
                    <a:pt x="12" y="399"/>
                  </a:lnTo>
                  <a:lnTo>
                    <a:pt x="6" y="383"/>
                  </a:lnTo>
                  <a:lnTo>
                    <a:pt x="3" y="371"/>
                  </a:lnTo>
                  <a:lnTo>
                    <a:pt x="6" y="353"/>
                  </a:lnTo>
                  <a:lnTo>
                    <a:pt x="15" y="335"/>
                  </a:lnTo>
                  <a:lnTo>
                    <a:pt x="14" y="324"/>
                  </a:lnTo>
                  <a:lnTo>
                    <a:pt x="0" y="319"/>
                  </a:lnTo>
                  <a:lnTo>
                    <a:pt x="0" y="299"/>
                  </a:lnTo>
                  <a:lnTo>
                    <a:pt x="0" y="289"/>
                  </a:lnTo>
                  <a:lnTo>
                    <a:pt x="21" y="281"/>
                  </a:lnTo>
                  <a:lnTo>
                    <a:pt x="21" y="266"/>
                  </a:lnTo>
                  <a:lnTo>
                    <a:pt x="35" y="244"/>
                  </a:lnTo>
                  <a:lnTo>
                    <a:pt x="40" y="223"/>
                  </a:lnTo>
                  <a:lnTo>
                    <a:pt x="40" y="206"/>
                  </a:lnTo>
                  <a:lnTo>
                    <a:pt x="42" y="192"/>
                  </a:lnTo>
                  <a:lnTo>
                    <a:pt x="48" y="196"/>
                  </a:lnTo>
                  <a:lnTo>
                    <a:pt x="54" y="202"/>
                  </a:lnTo>
                  <a:lnTo>
                    <a:pt x="57" y="206"/>
                  </a:lnTo>
                  <a:lnTo>
                    <a:pt x="68" y="208"/>
                  </a:lnTo>
                  <a:lnTo>
                    <a:pt x="80" y="206"/>
                  </a:lnTo>
                  <a:lnTo>
                    <a:pt x="86" y="211"/>
                  </a:lnTo>
                  <a:lnTo>
                    <a:pt x="94" y="215"/>
                  </a:lnTo>
                  <a:lnTo>
                    <a:pt x="98" y="221"/>
                  </a:lnTo>
                  <a:lnTo>
                    <a:pt x="103" y="221"/>
                  </a:lnTo>
                  <a:lnTo>
                    <a:pt x="111" y="219"/>
                  </a:lnTo>
                  <a:lnTo>
                    <a:pt x="124" y="219"/>
                  </a:lnTo>
                  <a:lnTo>
                    <a:pt x="130" y="213"/>
                  </a:lnTo>
                  <a:lnTo>
                    <a:pt x="139" y="210"/>
                  </a:lnTo>
                  <a:lnTo>
                    <a:pt x="143" y="207"/>
                  </a:lnTo>
                  <a:lnTo>
                    <a:pt x="145" y="195"/>
                  </a:lnTo>
                  <a:lnTo>
                    <a:pt x="149" y="194"/>
                  </a:lnTo>
                  <a:lnTo>
                    <a:pt x="153" y="189"/>
                  </a:lnTo>
                  <a:lnTo>
                    <a:pt x="146" y="184"/>
                  </a:lnTo>
                  <a:lnTo>
                    <a:pt x="146" y="178"/>
                  </a:lnTo>
                  <a:lnTo>
                    <a:pt x="154" y="179"/>
                  </a:lnTo>
                  <a:lnTo>
                    <a:pt x="160" y="176"/>
                  </a:lnTo>
                  <a:lnTo>
                    <a:pt x="178" y="173"/>
                  </a:lnTo>
                  <a:lnTo>
                    <a:pt x="186" y="168"/>
                  </a:lnTo>
                  <a:lnTo>
                    <a:pt x="194" y="164"/>
                  </a:lnTo>
                  <a:lnTo>
                    <a:pt x="200" y="158"/>
                  </a:lnTo>
                  <a:lnTo>
                    <a:pt x="208" y="157"/>
                  </a:lnTo>
                  <a:lnTo>
                    <a:pt x="223" y="147"/>
                  </a:lnTo>
                  <a:lnTo>
                    <a:pt x="224" y="142"/>
                  </a:lnTo>
                  <a:lnTo>
                    <a:pt x="224" y="135"/>
                  </a:lnTo>
                  <a:lnTo>
                    <a:pt x="226" y="122"/>
                  </a:lnTo>
                  <a:lnTo>
                    <a:pt x="229" y="119"/>
                  </a:lnTo>
                  <a:lnTo>
                    <a:pt x="235" y="102"/>
                  </a:lnTo>
                  <a:lnTo>
                    <a:pt x="235" y="95"/>
                  </a:lnTo>
                  <a:lnTo>
                    <a:pt x="236" y="93"/>
                  </a:lnTo>
                  <a:lnTo>
                    <a:pt x="240" y="89"/>
                  </a:lnTo>
                  <a:lnTo>
                    <a:pt x="245" y="83"/>
                  </a:lnTo>
                  <a:lnTo>
                    <a:pt x="253" y="82"/>
                  </a:lnTo>
                  <a:lnTo>
                    <a:pt x="259" y="83"/>
                  </a:lnTo>
                  <a:lnTo>
                    <a:pt x="274" y="83"/>
                  </a:lnTo>
                  <a:lnTo>
                    <a:pt x="277" y="82"/>
                  </a:lnTo>
                  <a:lnTo>
                    <a:pt x="279" y="77"/>
                  </a:lnTo>
                  <a:lnTo>
                    <a:pt x="280" y="68"/>
                  </a:lnTo>
                  <a:lnTo>
                    <a:pt x="283" y="65"/>
                  </a:lnTo>
                  <a:lnTo>
                    <a:pt x="288" y="65"/>
                  </a:lnTo>
                  <a:lnTo>
                    <a:pt x="293" y="65"/>
                  </a:lnTo>
                  <a:lnTo>
                    <a:pt x="306" y="73"/>
                  </a:lnTo>
                  <a:lnTo>
                    <a:pt x="316" y="77"/>
                  </a:lnTo>
                  <a:lnTo>
                    <a:pt x="331" y="77"/>
                  </a:lnTo>
                  <a:lnTo>
                    <a:pt x="360" y="76"/>
                  </a:lnTo>
                  <a:lnTo>
                    <a:pt x="366" y="78"/>
                  </a:lnTo>
                  <a:lnTo>
                    <a:pt x="374" y="83"/>
                  </a:lnTo>
                  <a:lnTo>
                    <a:pt x="383" y="81"/>
                  </a:lnTo>
                  <a:lnTo>
                    <a:pt x="396" y="82"/>
                  </a:lnTo>
                  <a:lnTo>
                    <a:pt x="401" y="87"/>
                  </a:lnTo>
                  <a:lnTo>
                    <a:pt x="414" y="102"/>
                  </a:lnTo>
                  <a:lnTo>
                    <a:pt x="422" y="99"/>
                  </a:lnTo>
                  <a:lnTo>
                    <a:pt x="429" y="99"/>
                  </a:lnTo>
                  <a:lnTo>
                    <a:pt x="430" y="94"/>
                  </a:lnTo>
                  <a:lnTo>
                    <a:pt x="444" y="87"/>
                  </a:lnTo>
                  <a:lnTo>
                    <a:pt x="449" y="86"/>
                  </a:lnTo>
                  <a:lnTo>
                    <a:pt x="453" y="87"/>
                  </a:lnTo>
                  <a:lnTo>
                    <a:pt x="456" y="83"/>
                  </a:lnTo>
                  <a:lnTo>
                    <a:pt x="462" y="81"/>
                  </a:lnTo>
                  <a:lnTo>
                    <a:pt x="466" y="82"/>
                  </a:lnTo>
                  <a:lnTo>
                    <a:pt x="471" y="87"/>
                  </a:lnTo>
                  <a:lnTo>
                    <a:pt x="484" y="92"/>
                  </a:lnTo>
                  <a:lnTo>
                    <a:pt x="488" y="89"/>
                  </a:lnTo>
                  <a:lnTo>
                    <a:pt x="489" y="87"/>
                  </a:lnTo>
                  <a:lnTo>
                    <a:pt x="489" y="82"/>
                  </a:lnTo>
                  <a:lnTo>
                    <a:pt x="487" y="78"/>
                  </a:lnTo>
                  <a:lnTo>
                    <a:pt x="485" y="71"/>
                  </a:lnTo>
                  <a:lnTo>
                    <a:pt x="495" y="59"/>
                  </a:lnTo>
                  <a:lnTo>
                    <a:pt x="500" y="59"/>
                  </a:lnTo>
                  <a:lnTo>
                    <a:pt x="506" y="61"/>
                  </a:lnTo>
                  <a:lnTo>
                    <a:pt x="514" y="59"/>
                  </a:lnTo>
                  <a:lnTo>
                    <a:pt x="522" y="65"/>
                  </a:lnTo>
                  <a:lnTo>
                    <a:pt x="526" y="65"/>
                  </a:lnTo>
                  <a:lnTo>
                    <a:pt x="528" y="63"/>
                  </a:lnTo>
                  <a:lnTo>
                    <a:pt x="536" y="56"/>
                  </a:lnTo>
                  <a:lnTo>
                    <a:pt x="537" y="51"/>
                  </a:lnTo>
                  <a:lnTo>
                    <a:pt x="532" y="45"/>
                  </a:lnTo>
                  <a:lnTo>
                    <a:pt x="532" y="40"/>
                  </a:lnTo>
                  <a:lnTo>
                    <a:pt x="542" y="27"/>
                  </a:lnTo>
                  <a:lnTo>
                    <a:pt x="553" y="11"/>
                  </a:lnTo>
                  <a:lnTo>
                    <a:pt x="555" y="9"/>
                  </a:lnTo>
                  <a:lnTo>
                    <a:pt x="559" y="3"/>
                  </a:lnTo>
                  <a:lnTo>
                    <a:pt x="560" y="2"/>
                  </a:lnTo>
                  <a:lnTo>
                    <a:pt x="567" y="3"/>
                  </a:lnTo>
                  <a:lnTo>
                    <a:pt x="571" y="0"/>
                  </a:lnTo>
                  <a:lnTo>
                    <a:pt x="581" y="2"/>
                  </a:lnTo>
                  <a:lnTo>
                    <a:pt x="594" y="14"/>
                  </a:lnTo>
                  <a:lnTo>
                    <a:pt x="594" y="20"/>
                  </a:lnTo>
                  <a:lnTo>
                    <a:pt x="590" y="28"/>
                  </a:lnTo>
                  <a:lnTo>
                    <a:pt x="590" y="33"/>
                  </a:lnTo>
                  <a:lnTo>
                    <a:pt x="591" y="35"/>
                  </a:lnTo>
                  <a:lnTo>
                    <a:pt x="596" y="38"/>
                  </a:lnTo>
                  <a:lnTo>
                    <a:pt x="602" y="36"/>
                  </a:lnTo>
                  <a:lnTo>
                    <a:pt x="606" y="38"/>
                  </a:lnTo>
                  <a:lnTo>
                    <a:pt x="606" y="40"/>
                  </a:lnTo>
                  <a:lnTo>
                    <a:pt x="607" y="44"/>
                  </a:lnTo>
                  <a:lnTo>
                    <a:pt x="605" y="46"/>
                  </a:lnTo>
                  <a:lnTo>
                    <a:pt x="603" y="51"/>
                  </a:lnTo>
                  <a:lnTo>
                    <a:pt x="605" y="62"/>
                  </a:lnTo>
                  <a:lnTo>
                    <a:pt x="603" y="67"/>
                  </a:lnTo>
                  <a:lnTo>
                    <a:pt x="601" y="72"/>
                  </a:lnTo>
                  <a:lnTo>
                    <a:pt x="601" y="82"/>
                  </a:lnTo>
                  <a:lnTo>
                    <a:pt x="598" y="92"/>
                  </a:lnTo>
                  <a:lnTo>
                    <a:pt x="601" y="100"/>
                  </a:lnTo>
                  <a:lnTo>
                    <a:pt x="607" y="111"/>
                  </a:lnTo>
                  <a:lnTo>
                    <a:pt x="612" y="122"/>
                  </a:lnTo>
                  <a:lnTo>
                    <a:pt x="613" y="124"/>
                  </a:lnTo>
                  <a:lnTo>
                    <a:pt x="618" y="125"/>
                  </a:lnTo>
                  <a:lnTo>
                    <a:pt x="623" y="122"/>
                  </a:lnTo>
                  <a:lnTo>
                    <a:pt x="635" y="115"/>
                  </a:lnTo>
                  <a:lnTo>
                    <a:pt x="648" y="105"/>
                  </a:lnTo>
                  <a:lnTo>
                    <a:pt x="670" y="99"/>
                  </a:lnTo>
                  <a:lnTo>
                    <a:pt x="671" y="98"/>
                  </a:lnTo>
                  <a:lnTo>
                    <a:pt x="676" y="92"/>
                  </a:lnTo>
                  <a:lnTo>
                    <a:pt x="683" y="87"/>
                  </a:lnTo>
                  <a:lnTo>
                    <a:pt x="684" y="84"/>
                  </a:lnTo>
                  <a:lnTo>
                    <a:pt x="689" y="83"/>
                  </a:lnTo>
                  <a:lnTo>
                    <a:pt x="699" y="77"/>
                  </a:lnTo>
                  <a:lnTo>
                    <a:pt x="704" y="75"/>
                  </a:lnTo>
                  <a:lnTo>
                    <a:pt x="711" y="70"/>
                  </a:lnTo>
                  <a:lnTo>
                    <a:pt x="716" y="70"/>
                  </a:lnTo>
                  <a:lnTo>
                    <a:pt x="720" y="72"/>
                  </a:lnTo>
                  <a:lnTo>
                    <a:pt x="723" y="73"/>
                  </a:lnTo>
                  <a:lnTo>
                    <a:pt x="727" y="73"/>
                  </a:lnTo>
                  <a:lnTo>
                    <a:pt x="729" y="83"/>
                  </a:lnTo>
                  <a:lnTo>
                    <a:pt x="731" y="87"/>
                  </a:lnTo>
                  <a:lnTo>
                    <a:pt x="734" y="86"/>
                  </a:lnTo>
                  <a:lnTo>
                    <a:pt x="741" y="79"/>
                  </a:lnTo>
                  <a:lnTo>
                    <a:pt x="741" y="81"/>
                  </a:lnTo>
                  <a:lnTo>
                    <a:pt x="743" y="81"/>
                  </a:lnTo>
                  <a:lnTo>
                    <a:pt x="756" y="76"/>
                  </a:lnTo>
                  <a:lnTo>
                    <a:pt x="767" y="75"/>
                  </a:lnTo>
                  <a:lnTo>
                    <a:pt x="773" y="75"/>
                  </a:lnTo>
                  <a:lnTo>
                    <a:pt x="778" y="77"/>
                  </a:lnTo>
                  <a:lnTo>
                    <a:pt x="785" y="77"/>
                  </a:lnTo>
                  <a:lnTo>
                    <a:pt x="788" y="81"/>
                  </a:lnTo>
                  <a:lnTo>
                    <a:pt x="788" y="83"/>
                  </a:lnTo>
                  <a:lnTo>
                    <a:pt x="783" y="84"/>
                  </a:lnTo>
                  <a:lnTo>
                    <a:pt x="785" y="84"/>
                  </a:lnTo>
                  <a:lnTo>
                    <a:pt x="783" y="84"/>
                  </a:lnTo>
                  <a:lnTo>
                    <a:pt x="778" y="83"/>
                  </a:lnTo>
                  <a:lnTo>
                    <a:pt x="774" y="83"/>
                  </a:lnTo>
                  <a:lnTo>
                    <a:pt x="766" y="92"/>
                  </a:lnTo>
                  <a:lnTo>
                    <a:pt x="768" y="94"/>
                  </a:lnTo>
                  <a:lnTo>
                    <a:pt x="774" y="97"/>
                  </a:lnTo>
                  <a:lnTo>
                    <a:pt x="775" y="102"/>
                  </a:lnTo>
                  <a:lnTo>
                    <a:pt x="775" y="106"/>
                  </a:lnTo>
                  <a:lnTo>
                    <a:pt x="764" y="104"/>
                  </a:lnTo>
                  <a:lnTo>
                    <a:pt x="759" y="108"/>
                  </a:lnTo>
                  <a:lnTo>
                    <a:pt x="757" y="108"/>
                  </a:lnTo>
                  <a:lnTo>
                    <a:pt x="751" y="113"/>
                  </a:lnTo>
                  <a:lnTo>
                    <a:pt x="746" y="113"/>
                  </a:lnTo>
                  <a:lnTo>
                    <a:pt x="732" y="108"/>
                  </a:lnTo>
                  <a:lnTo>
                    <a:pt x="725" y="109"/>
                  </a:lnTo>
                  <a:lnTo>
                    <a:pt x="721" y="108"/>
                  </a:lnTo>
                  <a:lnTo>
                    <a:pt x="686" y="110"/>
                  </a:lnTo>
                  <a:lnTo>
                    <a:pt x="682" y="110"/>
                  </a:lnTo>
                  <a:lnTo>
                    <a:pt x="672" y="114"/>
                  </a:lnTo>
                  <a:lnTo>
                    <a:pt x="665" y="114"/>
                  </a:lnTo>
                  <a:lnTo>
                    <a:pt x="656" y="120"/>
                  </a:lnTo>
                  <a:lnTo>
                    <a:pt x="648" y="121"/>
                  </a:lnTo>
                  <a:lnTo>
                    <a:pt x="643" y="124"/>
                  </a:lnTo>
                  <a:lnTo>
                    <a:pt x="639" y="125"/>
                  </a:lnTo>
                  <a:lnTo>
                    <a:pt x="638" y="129"/>
                  </a:lnTo>
                  <a:lnTo>
                    <a:pt x="635" y="131"/>
                  </a:lnTo>
                  <a:lnTo>
                    <a:pt x="625" y="134"/>
                  </a:lnTo>
                  <a:lnTo>
                    <a:pt x="624" y="136"/>
                  </a:lnTo>
                  <a:lnTo>
                    <a:pt x="625" y="140"/>
                  </a:lnTo>
                  <a:lnTo>
                    <a:pt x="622" y="141"/>
                  </a:lnTo>
                  <a:lnTo>
                    <a:pt x="617" y="138"/>
                  </a:lnTo>
                  <a:lnTo>
                    <a:pt x="612" y="138"/>
                  </a:lnTo>
                  <a:lnTo>
                    <a:pt x="611" y="140"/>
                  </a:lnTo>
                  <a:lnTo>
                    <a:pt x="610" y="145"/>
                  </a:lnTo>
                  <a:lnTo>
                    <a:pt x="594" y="158"/>
                  </a:lnTo>
                  <a:lnTo>
                    <a:pt x="590" y="162"/>
                  </a:lnTo>
                  <a:lnTo>
                    <a:pt x="589" y="168"/>
                  </a:lnTo>
                  <a:lnTo>
                    <a:pt x="590" y="170"/>
                  </a:lnTo>
                  <a:lnTo>
                    <a:pt x="598" y="175"/>
                  </a:lnTo>
                  <a:lnTo>
                    <a:pt x="605" y="183"/>
                  </a:lnTo>
                  <a:lnTo>
                    <a:pt x="608" y="196"/>
                  </a:lnTo>
                  <a:lnTo>
                    <a:pt x="612" y="206"/>
                  </a:lnTo>
                  <a:lnTo>
                    <a:pt x="612" y="207"/>
                  </a:lnTo>
                  <a:lnTo>
                    <a:pt x="608" y="216"/>
                  </a:lnTo>
                  <a:lnTo>
                    <a:pt x="608" y="218"/>
                  </a:lnTo>
                  <a:lnTo>
                    <a:pt x="611" y="222"/>
                  </a:lnTo>
                  <a:lnTo>
                    <a:pt x="610" y="228"/>
                  </a:lnTo>
                  <a:lnTo>
                    <a:pt x="606" y="235"/>
                  </a:lnTo>
                  <a:lnTo>
                    <a:pt x="601" y="243"/>
                  </a:lnTo>
                  <a:lnTo>
                    <a:pt x="592" y="249"/>
                  </a:lnTo>
                  <a:lnTo>
                    <a:pt x="585" y="258"/>
                  </a:lnTo>
                  <a:lnTo>
                    <a:pt x="581" y="265"/>
                  </a:lnTo>
                  <a:lnTo>
                    <a:pt x="578" y="269"/>
                  </a:lnTo>
                  <a:lnTo>
                    <a:pt x="578" y="275"/>
                  </a:lnTo>
                  <a:lnTo>
                    <a:pt x="582" y="277"/>
                  </a:lnTo>
                  <a:lnTo>
                    <a:pt x="586" y="280"/>
                  </a:lnTo>
                  <a:lnTo>
                    <a:pt x="582" y="283"/>
                  </a:lnTo>
                  <a:lnTo>
                    <a:pt x="582" y="291"/>
                  </a:lnTo>
                  <a:lnTo>
                    <a:pt x="575" y="301"/>
                  </a:lnTo>
                  <a:lnTo>
                    <a:pt x="569" y="304"/>
                  </a:lnTo>
                  <a:lnTo>
                    <a:pt x="558" y="307"/>
                  </a:lnTo>
                  <a:lnTo>
                    <a:pt x="547" y="305"/>
                  </a:lnTo>
                  <a:lnTo>
                    <a:pt x="528" y="301"/>
                  </a:lnTo>
                  <a:lnTo>
                    <a:pt x="524" y="299"/>
                  </a:lnTo>
                  <a:lnTo>
                    <a:pt x="520" y="302"/>
                  </a:lnTo>
                  <a:lnTo>
                    <a:pt x="517" y="307"/>
                  </a:lnTo>
                  <a:lnTo>
                    <a:pt x="520" y="310"/>
                  </a:lnTo>
                  <a:lnTo>
                    <a:pt x="525" y="320"/>
                  </a:lnTo>
                  <a:lnTo>
                    <a:pt x="530" y="320"/>
                  </a:lnTo>
                  <a:lnTo>
                    <a:pt x="535" y="336"/>
                  </a:lnTo>
                  <a:lnTo>
                    <a:pt x="539" y="341"/>
                  </a:lnTo>
                  <a:lnTo>
                    <a:pt x="539" y="345"/>
                  </a:lnTo>
                  <a:lnTo>
                    <a:pt x="533" y="351"/>
                  </a:lnTo>
                  <a:lnTo>
                    <a:pt x="527" y="353"/>
                  </a:lnTo>
                  <a:lnTo>
                    <a:pt x="517" y="361"/>
                  </a:lnTo>
                  <a:lnTo>
                    <a:pt x="509" y="360"/>
                  </a:lnTo>
                  <a:lnTo>
                    <a:pt x="498" y="363"/>
                  </a:lnTo>
                  <a:lnTo>
                    <a:pt x="496" y="377"/>
                  </a:lnTo>
                  <a:lnTo>
                    <a:pt x="490" y="379"/>
                  </a:lnTo>
                  <a:lnTo>
                    <a:pt x="489" y="384"/>
                  </a:lnTo>
                  <a:lnTo>
                    <a:pt x="490" y="390"/>
                  </a:lnTo>
                  <a:lnTo>
                    <a:pt x="489" y="394"/>
                  </a:lnTo>
                  <a:lnTo>
                    <a:pt x="487" y="394"/>
                  </a:lnTo>
                  <a:lnTo>
                    <a:pt x="483" y="399"/>
                  </a:lnTo>
                  <a:lnTo>
                    <a:pt x="481" y="404"/>
                  </a:lnTo>
                  <a:lnTo>
                    <a:pt x="479" y="407"/>
                  </a:lnTo>
                  <a:lnTo>
                    <a:pt x="481" y="425"/>
                  </a:lnTo>
                  <a:lnTo>
                    <a:pt x="483" y="437"/>
                  </a:lnTo>
                  <a:lnTo>
                    <a:pt x="483" y="439"/>
                  </a:lnTo>
                  <a:lnTo>
                    <a:pt x="463" y="460"/>
                  </a:lnTo>
                  <a:lnTo>
                    <a:pt x="460" y="460"/>
                  </a:lnTo>
                  <a:lnTo>
                    <a:pt x="455" y="458"/>
                  </a:lnTo>
                  <a:lnTo>
                    <a:pt x="452" y="454"/>
                  </a:lnTo>
                  <a:lnTo>
                    <a:pt x="451" y="450"/>
                  </a:lnTo>
                  <a:lnTo>
                    <a:pt x="444" y="445"/>
                  </a:lnTo>
                  <a:lnTo>
                    <a:pt x="440" y="445"/>
                  </a:lnTo>
                  <a:lnTo>
                    <a:pt x="438" y="449"/>
                  </a:lnTo>
                  <a:lnTo>
                    <a:pt x="441" y="450"/>
                  </a:lnTo>
                  <a:lnTo>
                    <a:pt x="441" y="453"/>
                  </a:lnTo>
                  <a:lnTo>
                    <a:pt x="425" y="448"/>
                  </a:lnTo>
                  <a:lnTo>
                    <a:pt x="419" y="448"/>
                  </a:lnTo>
                  <a:lnTo>
                    <a:pt x="414" y="450"/>
                  </a:lnTo>
                  <a:lnTo>
                    <a:pt x="412" y="455"/>
                  </a:lnTo>
                  <a:lnTo>
                    <a:pt x="395" y="464"/>
                  </a:lnTo>
                  <a:lnTo>
                    <a:pt x="391" y="468"/>
                  </a:lnTo>
                  <a:lnTo>
                    <a:pt x="392" y="470"/>
                  </a:lnTo>
                  <a:lnTo>
                    <a:pt x="399" y="473"/>
                  </a:lnTo>
                  <a:lnTo>
                    <a:pt x="399" y="475"/>
                  </a:lnTo>
                  <a:lnTo>
                    <a:pt x="397" y="477"/>
                  </a:lnTo>
                  <a:lnTo>
                    <a:pt x="390" y="479"/>
                  </a:lnTo>
                  <a:lnTo>
                    <a:pt x="377" y="481"/>
                  </a:lnTo>
                  <a:lnTo>
                    <a:pt x="368" y="484"/>
                  </a:lnTo>
                  <a:lnTo>
                    <a:pt x="356" y="482"/>
                  </a:lnTo>
                  <a:lnTo>
                    <a:pt x="356" y="479"/>
                  </a:lnTo>
                  <a:lnTo>
                    <a:pt x="352" y="476"/>
                  </a:lnTo>
                  <a:lnTo>
                    <a:pt x="345" y="480"/>
                  </a:lnTo>
                  <a:lnTo>
                    <a:pt x="339" y="491"/>
                  </a:lnTo>
                  <a:lnTo>
                    <a:pt x="327" y="500"/>
                  </a:lnTo>
                  <a:lnTo>
                    <a:pt x="325" y="506"/>
                  </a:lnTo>
                  <a:lnTo>
                    <a:pt x="321" y="520"/>
                  </a:lnTo>
                  <a:lnTo>
                    <a:pt x="322" y="533"/>
                  </a:lnTo>
                  <a:lnTo>
                    <a:pt x="318" y="552"/>
                  </a:lnTo>
                  <a:lnTo>
                    <a:pt x="318" y="556"/>
                  </a:lnTo>
                  <a:lnTo>
                    <a:pt x="322" y="560"/>
                  </a:lnTo>
                  <a:lnTo>
                    <a:pt x="321" y="566"/>
                  </a:lnTo>
                  <a:lnTo>
                    <a:pt x="313" y="572"/>
                  </a:lnTo>
                  <a:lnTo>
                    <a:pt x="288" y="577"/>
                  </a:lnTo>
                  <a:lnTo>
                    <a:pt x="268" y="584"/>
                  </a:lnTo>
                  <a:lnTo>
                    <a:pt x="252" y="588"/>
                  </a:lnTo>
                  <a:lnTo>
                    <a:pt x="226" y="587"/>
                  </a:lnTo>
                  <a:lnTo>
                    <a:pt x="213" y="587"/>
                  </a:lnTo>
                  <a:lnTo>
                    <a:pt x="207" y="589"/>
                  </a:lnTo>
                  <a:lnTo>
                    <a:pt x="203" y="592"/>
                  </a:lnTo>
                  <a:lnTo>
                    <a:pt x="200" y="597"/>
                  </a:lnTo>
                  <a:lnTo>
                    <a:pt x="197" y="599"/>
                  </a:lnTo>
                  <a:lnTo>
                    <a:pt x="181" y="592"/>
                  </a:lnTo>
                  <a:lnTo>
                    <a:pt x="164" y="592"/>
                  </a:lnTo>
                  <a:lnTo>
                    <a:pt x="149" y="594"/>
                  </a:lnTo>
                  <a:lnTo>
                    <a:pt x="138" y="593"/>
                  </a:lnTo>
                  <a:lnTo>
                    <a:pt x="129" y="594"/>
                  </a:lnTo>
                  <a:lnTo>
                    <a:pt x="119" y="594"/>
                  </a:lnTo>
                  <a:lnTo>
                    <a:pt x="116" y="595"/>
                  </a:lnTo>
                  <a:lnTo>
                    <a:pt x="112" y="598"/>
                  </a:lnTo>
                  <a:lnTo>
                    <a:pt x="108" y="599"/>
                  </a:lnTo>
                  <a:lnTo>
                    <a:pt x="101" y="598"/>
                  </a:lnTo>
                  <a:lnTo>
                    <a:pt x="83" y="588"/>
                  </a:lnTo>
                  <a:lnTo>
                    <a:pt x="24" y="57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20" name="Freeform 64"/>
            <p:cNvSpPr>
              <a:spLocks noChangeAspect="1"/>
            </p:cNvSpPr>
            <p:nvPr/>
          </p:nvSpPr>
          <p:spPr bwMode="gray">
            <a:xfrm>
              <a:off x="7558929" y="4152095"/>
              <a:ext cx="189227" cy="220013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35" y="3"/>
                </a:cxn>
                <a:cxn ang="0">
                  <a:pos x="62" y="19"/>
                </a:cxn>
                <a:cxn ang="0">
                  <a:pos x="100" y="19"/>
                </a:cxn>
                <a:cxn ang="0">
                  <a:pos x="130" y="26"/>
                </a:cxn>
                <a:cxn ang="0">
                  <a:pos x="151" y="51"/>
                </a:cxn>
                <a:cxn ang="0">
                  <a:pos x="168" y="72"/>
                </a:cxn>
                <a:cxn ang="0">
                  <a:pos x="196" y="102"/>
                </a:cxn>
                <a:cxn ang="0">
                  <a:pos x="251" y="136"/>
                </a:cxn>
                <a:cxn ang="0">
                  <a:pos x="277" y="159"/>
                </a:cxn>
                <a:cxn ang="0">
                  <a:pos x="302" y="190"/>
                </a:cxn>
                <a:cxn ang="0">
                  <a:pos x="311" y="184"/>
                </a:cxn>
                <a:cxn ang="0">
                  <a:pos x="338" y="211"/>
                </a:cxn>
                <a:cxn ang="0">
                  <a:pos x="355" y="217"/>
                </a:cxn>
                <a:cxn ang="0">
                  <a:pos x="382" y="242"/>
                </a:cxn>
                <a:cxn ang="0">
                  <a:pos x="391" y="236"/>
                </a:cxn>
                <a:cxn ang="0">
                  <a:pos x="423" y="247"/>
                </a:cxn>
                <a:cxn ang="0">
                  <a:pos x="431" y="259"/>
                </a:cxn>
                <a:cxn ang="0">
                  <a:pos x="425" y="270"/>
                </a:cxn>
                <a:cxn ang="0">
                  <a:pos x="417" y="290"/>
                </a:cxn>
                <a:cxn ang="0">
                  <a:pos x="430" y="287"/>
                </a:cxn>
                <a:cxn ang="0">
                  <a:pos x="453" y="281"/>
                </a:cxn>
                <a:cxn ang="0">
                  <a:pos x="467" y="303"/>
                </a:cxn>
                <a:cxn ang="0">
                  <a:pos x="463" y="320"/>
                </a:cxn>
                <a:cxn ang="0">
                  <a:pos x="450" y="344"/>
                </a:cxn>
                <a:cxn ang="0">
                  <a:pos x="474" y="361"/>
                </a:cxn>
                <a:cxn ang="0">
                  <a:pos x="490" y="363"/>
                </a:cxn>
                <a:cxn ang="0">
                  <a:pos x="509" y="384"/>
                </a:cxn>
                <a:cxn ang="0">
                  <a:pos x="510" y="409"/>
                </a:cxn>
                <a:cxn ang="0">
                  <a:pos x="532" y="420"/>
                </a:cxn>
                <a:cxn ang="0">
                  <a:pos x="542" y="435"/>
                </a:cxn>
                <a:cxn ang="0">
                  <a:pos x="570" y="440"/>
                </a:cxn>
                <a:cxn ang="0">
                  <a:pos x="584" y="462"/>
                </a:cxn>
                <a:cxn ang="0">
                  <a:pos x="591" y="487"/>
                </a:cxn>
                <a:cxn ang="0">
                  <a:pos x="587" y="512"/>
                </a:cxn>
                <a:cxn ang="0">
                  <a:pos x="582" y="548"/>
                </a:cxn>
                <a:cxn ang="0">
                  <a:pos x="581" y="613"/>
                </a:cxn>
                <a:cxn ang="0">
                  <a:pos x="563" y="613"/>
                </a:cxn>
                <a:cxn ang="0">
                  <a:pos x="549" y="619"/>
                </a:cxn>
                <a:cxn ang="0">
                  <a:pos x="516" y="608"/>
                </a:cxn>
                <a:cxn ang="0">
                  <a:pos x="508" y="618"/>
                </a:cxn>
                <a:cxn ang="0">
                  <a:pos x="478" y="586"/>
                </a:cxn>
                <a:cxn ang="0">
                  <a:pos x="455" y="571"/>
                </a:cxn>
                <a:cxn ang="0">
                  <a:pos x="409" y="535"/>
                </a:cxn>
                <a:cxn ang="0">
                  <a:pos x="388" y="508"/>
                </a:cxn>
                <a:cxn ang="0">
                  <a:pos x="363" y="484"/>
                </a:cxn>
                <a:cxn ang="0">
                  <a:pos x="312" y="426"/>
                </a:cxn>
                <a:cxn ang="0">
                  <a:pos x="286" y="355"/>
                </a:cxn>
                <a:cxn ang="0">
                  <a:pos x="264" y="328"/>
                </a:cxn>
                <a:cxn ang="0">
                  <a:pos x="232" y="293"/>
                </a:cxn>
                <a:cxn ang="0">
                  <a:pos x="221" y="291"/>
                </a:cxn>
                <a:cxn ang="0">
                  <a:pos x="205" y="237"/>
                </a:cxn>
                <a:cxn ang="0">
                  <a:pos x="191" y="205"/>
                </a:cxn>
                <a:cxn ang="0">
                  <a:pos x="151" y="182"/>
                </a:cxn>
                <a:cxn ang="0">
                  <a:pos x="123" y="146"/>
                </a:cxn>
                <a:cxn ang="0">
                  <a:pos x="105" y="118"/>
                </a:cxn>
                <a:cxn ang="0">
                  <a:pos x="76" y="103"/>
                </a:cxn>
                <a:cxn ang="0">
                  <a:pos x="51" y="77"/>
                </a:cxn>
                <a:cxn ang="0">
                  <a:pos x="12" y="39"/>
                </a:cxn>
                <a:cxn ang="0">
                  <a:pos x="0" y="1"/>
                </a:cxn>
              </a:cxnLst>
              <a:rect l="0" t="0" r="r" b="b"/>
              <a:pathLst>
                <a:path w="594" h="626">
                  <a:moveTo>
                    <a:pt x="0" y="1"/>
                  </a:moveTo>
                  <a:lnTo>
                    <a:pt x="6" y="1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8" y="1"/>
                  </a:lnTo>
                  <a:lnTo>
                    <a:pt x="35" y="3"/>
                  </a:lnTo>
                  <a:lnTo>
                    <a:pt x="42" y="16"/>
                  </a:lnTo>
                  <a:lnTo>
                    <a:pt x="55" y="17"/>
                  </a:lnTo>
                  <a:lnTo>
                    <a:pt x="62" y="19"/>
                  </a:lnTo>
                  <a:lnTo>
                    <a:pt x="74" y="21"/>
                  </a:lnTo>
                  <a:lnTo>
                    <a:pt x="91" y="18"/>
                  </a:lnTo>
                  <a:lnTo>
                    <a:pt x="100" y="19"/>
                  </a:lnTo>
                  <a:lnTo>
                    <a:pt x="110" y="24"/>
                  </a:lnTo>
                  <a:lnTo>
                    <a:pt x="122" y="23"/>
                  </a:lnTo>
                  <a:lnTo>
                    <a:pt x="130" y="26"/>
                  </a:lnTo>
                  <a:lnTo>
                    <a:pt x="146" y="38"/>
                  </a:lnTo>
                  <a:lnTo>
                    <a:pt x="150" y="45"/>
                  </a:lnTo>
                  <a:lnTo>
                    <a:pt x="151" y="51"/>
                  </a:lnTo>
                  <a:lnTo>
                    <a:pt x="155" y="56"/>
                  </a:lnTo>
                  <a:lnTo>
                    <a:pt x="161" y="60"/>
                  </a:lnTo>
                  <a:lnTo>
                    <a:pt x="168" y="72"/>
                  </a:lnTo>
                  <a:lnTo>
                    <a:pt x="171" y="80"/>
                  </a:lnTo>
                  <a:lnTo>
                    <a:pt x="184" y="89"/>
                  </a:lnTo>
                  <a:lnTo>
                    <a:pt x="196" y="102"/>
                  </a:lnTo>
                  <a:lnTo>
                    <a:pt x="230" y="118"/>
                  </a:lnTo>
                  <a:lnTo>
                    <a:pt x="237" y="125"/>
                  </a:lnTo>
                  <a:lnTo>
                    <a:pt x="251" y="136"/>
                  </a:lnTo>
                  <a:lnTo>
                    <a:pt x="259" y="146"/>
                  </a:lnTo>
                  <a:lnTo>
                    <a:pt x="263" y="157"/>
                  </a:lnTo>
                  <a:lnTo>
                    <a:pt x="277" y="159"/>
                  </a:lnTo>
                  <a:lnTo>
                    <a:pt x="282" y="172"/>
                  </a:lnTo>
                  <a:lnTo>
                    <a:pt x="296" y="187"/>
                  </a:lnTo>
                  <a:lnTo>
                    <a:pt x="302" y="190"/>
                  </a:lnTo>
                  <a:lnTo>
                    <a:pt x="307" y="193"/>
                  </a:lnTo>
                  <a:lnTo>
                    <a:pt x="309" y="189"/>
                  </a:lnTo>
                  <a:lnTo>
                    <a:pt x="311" y="184"/>
                  </a:lnTo>
                  <a:lnTo>
                    <a:pt x="320" y="184"/>
                  </a:lnTo>
                  <a:lnTo>
                    <a:pt x="327" y="189"/>
                  </a:lnTo>
                  <a:lnTo>
                    <a:pt x="338" y="211"/>
                  </a:lnTo>
                  <a:lnTo>
                    <a:pt x="345" y="215"/>
                  </a:lnTo>
                  <a:lnTo>
                    <a:pt x="350" y="216"/>
                  </a:lnTo>
                  <a:lnTo>
                    <a:pt x="355" y="217"/>
                  </a:lnTo>
                  <a:lnTo>
                    <a:pt x="371" y="226"/>
                  </a:lnTo>
                  <a:lnTo>
                    <a:pt x="376" y="231"/>
                  </a:lnTo>
                  <a:lnTo>
                    <a:pt x="382" y="242"/>
                  </a:lnTo>
                  <a:lnTo>
                    <a:pt x="386" y="244"/>
                  </a:lnTo>
                  <a:lnTo>
                    <a:pt x="387" y="233"/>
                  </a:lnTo>
                  <a:lnTo>
                    <a:pt x="391" y="236"/>
                  </a:lnTo>
                  <a:lnTo>
                    <a:pt x="396" y="243"/>
                  </a:lnTo>
                  <a:lnTo>
                    <a:pt x="403" y="248"/>
                  </a:lnTo>
                  <a:lnTo>
                    <a:pt x="423" y="247"/>
                  </a:lnTo>
                  <a:lnTo>
                    <a:pt x="430" y="250"/>
                  </a:lnTo>
                  <a:lnTo>
                    <a:pt x="433" y="254"/>
                  </a:lnTo>
                  <a:lnTo>
                    <a:pt x="431" y="259"/>
                  </a:lnTo>
                  <a:lnTo>
                    <a:pt x="428" y="263"/>
                  </a:lnTo>
                  <a:lnTo>
                    <a:pt x="424" y="263"/>
                  </a:lnTo>
                  <a:lnTo>
                    <a:pt x="425" y="270"/>
                  </a:lnTo>
                  <a:lnTo>
                    <a:pt x="429" y="276"/>
                  </a:lnTo>
                  <a:lnTo>
                    <a:pt x="429" y="282"/>
                  </a:lnTo>
                  <a:lnTo>
                    <a:pt x="417" y="290"/>
                  </a:lnTo>
                  <a:lnTo>
                    <a:pt x="415" y="292"/>
                  </a:lnTo>
                  <a:lnTo>
                    <a:pt x="417" y="293"/>
                  </a:lnTo>
                  <a:lnTo>
                    <a:pt x="430" y="287"/>
                  </a:lnTo>
                  <a:lnTo>
                    <a:pt x="438" y="282"/>
                  </a:lnTo>
                  <a:lnTo>
                    <a:pt x="449" y="279"/>
                  </a:lnTo>
                  <a:lnTo>
                    <a:pt x="453" y="281"/>
                  </a:lnTo>
                  <a:lnTo>
                    <a:pt x="462" y="288"/>
                  </a:lnTo>
                  <a:lnTo>
                    <a:pt x="466" y="297"/>
                  </a:lnTo>
                  <a:lnTo>
                    <a:pt x="467" y="303"/>
                  </a:lnTo>
                  <a:lnTo>
                    <a:pt x="453" y="317"/>
                  </a:lnTo>
                  <a:lnTo>
                    <a:pt x="457" y="319"/>
                  </a:lnTo>
                  <a:lnTo>
                    <a:pt x="463" y="320"/>
                  </a:lnTo>
                  <a:lnTo>
                    <a:pt x="461" y="328"/>
                  </a:lnTo>
                  <a:lnTo>
                    <a:pt x="453" y="334"/>
                  </a:lnTo>
                  <a:lnTo>
                    <a:pt x="450" y="344"/>
                  </a:lnTo>
                  <a:lnTo>
                    <a:pt x="455" y="351"/>
                  </a:lnTo>
                  <a:lnTo>
                    <a:pt x="466" y="357"/>
                  </a:lnTo>
                  <a:lnTo>
                    <a:pt x="474" y="361"/>
                  </a:lnTo>
                  <a:lnTo>
                    <a:pt x="482" y="361"/>
                  </a:lnTo>
                  <a:lnTo>
                    <a:pt x="487" y="365"/>
                  </a:lnTo>
                  <a:lnTo>
                    <a:pt x="490" y="363"/>
                  </a:lnTo>
                  <a:lnTo>
                    <a:pt x="501" y="365"/>
                  </a:lnTo>
                  <a:lnTo>
                    <a:pt x="506" y="376"/>
                  </a:lnTo>
                  <a:lnTo>
                    <a:pt x="509" y="384"/>
                  </a:lnTo>
                  <a:lnTo>
                    <a:pt x="510" y="394"/>
                  </a:lnTo>
                  <a:lnTo>
                    <a:pt x="512" y="401"/>
                  </a:lnTo>
                  <a:lnTo>
                    <a:pt x="510" y="409"/>
                  </a:lnTo>
                  <a:lnTo>
                    <a:pt x="516" y="410"/>
                  </a:lnTo>
                  <a:lnTo>
                    <a:pt x="526" y="414"/>
                  </a:lnTo>
                  <a:lnTo>
                    <a:pt x="532" y="420"/>
                  </a:lnTo>
                  <a:lnTo>
                    <a:pt x="526" y="435"/>
                  </a:lnTo>
                  <a:lnTo>
                    <a:pt x="533" y="436"/>
                  </a:lnTo>
                  <a:lnTo>
                    <a:pt x="542" y="435"/>
                  </a:lnTo>
                  <a:lnTo>
                    <a:pt x="552" y="435"/>
                  </a:lnTo>
                  <a:lnTo>
                    <a:pt x="560" y="436"/>
                  </a:lnTo>
                  <a:lnTo>
                    <a:pt x="570" y="440"/>
                  </a:lnTo>
                  <a:lnTo>
                    <a:pt x="573" y="446"/>
                  </a:lnTo>
                  <a:lnTo>
                    <a:pt x="580" y="454"/>
                  </a:lnTo>
                  <a:lnTo>
                    <a:pt x="584" y="462"/>
                  </a:lnTo>
                  <a:lnTo>
                    <a:pt x="591" y="469"/>
                  </a:lnTo>
                  <a:lnTo>
                    <a:pt x="594" y="478"/>
                  </a:lnTo>
                  <a:lnTo>
                    <a:pt x="591" y="487"/>
                  </a:lnTo>
                  <a:lnTo>
                    <a:pt x="585" y="501"/>
                  </a:lnTo>
                  <a:lnTo>
                    <a:pt x="584" y="510"/>
                  </a:lnTo>
                  <a:lnTo>
                    <a:pt x="587" y="512"/>
                  </a:lnTo>
                  <a:lnTo>
                    <a:pt x="589" y="518"/>
                  </a:lnTo>
                  <a:lnTo>
                    <a:pt x="585" y="530"/>
                  </a:lnTo>
                  <a:lnTo>
                    <a:pt x="582" y="548"/>
                  </a:lnTo>
                  <a:lnTo>
                    <a:pt x="584" y="556"/>
                  </a:lnTo>
                  <a:lnTo>
                    <a:pt x="584" y="594"/>
                  </a:lnTo>
                  <a:lnTo>
                    <a:pt x="581" y="613"/>
                  </a:lnTo>
                  <a:lnTo>
                    <a:pt x="579" y="623"/>
                  </a:lnTo>
                  <a:lnTo>
                    <a:pt x="574" y="623"/>
                  </a:lnTo>
                  <a:lnTo>
                    <a:pt x="563" y="613"/>
                  </a:lnTo>
                  <a:lnTo>
                    <a:pt x="554" y="607"/>
                  </a:lnTo>
                  <a:lnTo>
                    <a:pt x="552" y="610"/>
                  </a:lnTo>
                  <a:lnTo>
                    <a:pt x="549" y="619"/>
                  </a:lnTo>
                  <a:lnTo>
                    <a:pt x="543" y="621"/>
                  </a:lnTo>
                  <a:lnTo>
                    <a:pt x="524" y="607"/>
                  </a:lnTo>
                  <a:lnTo>
                    <a:pt x="516" y="608"/>
                  </a:lnTo>
                  <a:lnTo>
                    <a:pt x="524" y="624"/>
                  </a:lnTo>
                  <a:lnTo>
                    <a:pt x="519" y="626"/>
                  </a:lnTo>
                  <a:lnTo>
                    <a:pt x="508" y="618"/>
                  </a:lnTo>
                  <a:lnTo>
                    <a:pt x="500" y="609"/>
                  </a:lnTo>
                  <a:lnTo>
                    <a:pt x="484" y="596"/>
                  </a:lnTo>
                  <a:lnTo>
                    <a:pt x="478" y="586"/>
                  </a:lnTo>
                  <a:lnTo>
                    <a:pt x="471" y="577"/>
                  </a:lnTo>
                  <a:lnTo>
                    <a:pt x="461" y="572"/>
                  </a:lnTo>
                  <a:lnTo>
                    <a:pt x="455" y="571"/>
                  </a:lnTo>
                  <a:lnTo>
                    <a:pt x="436" y="554"/>
                  </a:lnTo>
                  <a:lnTo>
                    <a:pt x="419" y="543"/>
                  </a:lnTo>
                  <a:lnTo>
                    <a:pt x="409" y="535"/>
                  </a:lnTo>
                  <a:lnTo>
                    <a:pt x="399" y="532"/>
                  </a:lnTo>
                  <a:lnTo>
                    <a:pt x="392" y="522"/>
                  </a:lnTo>
                  <a:lnTo>
                    <a:pt x="388" y="508"/>
                  </a:lnTo>
                  <a:lnTo>
                    <a:pt x="383" y="501"/>
                  </a:lnTo>
                  <a:lnTo>
                    <a:pt x="371" y="495"/>
                  </a:lnTo>
                  <a:lnTo>
                    <a:pt x="363" y="484"/>
                  </a:lnTo>
                  <a:lnTo>
                    <a:pt x="339" y="457"/>
                  </a:lnTo>
                  <a:lnTo>
                    <a:pt x="317" y="433"/>
                  </a:lnTo>
                  <a:lnTo>
                    <a:pt x="312" y="426"/>
                  </a:lnTo>
                  <a:lnTo>
                    <a:pt x="311" y="409"/>
                  </a:lnTo>
                  <a:lnTo>
                    <a:pt x="288" y="366"/>
                  </a:lnTo>
                  <a:lnTo>
                    <a:pt x="286" y="355"/>
                  </a:lnTo>
                  <a:lnTo>
                    <a:pt x="278" y="341"/>
                  </a:lnTo>
                  <a:lnTo>
                    <a:pt x="272" y="336"/>
                  </a:lnTo>
                  <a:lnTo>
                    <a:pt x="264" y="328"/>
                  </a:lnTo>
                  <a:lnTo>
                    <a:pt x="258" y="323"/>
                  </a:lnTo>
                  <a:lnTo>
                    <a:pt x="250" y="306"/>
                  </a:lnTo>
                  <a:lnTo>
                    <a:pt x="232" y="293"/>
                  </a:lnTo>
                  <a:lnTo>
                    <a:pt x="225" y="293"/>
                  </a:lnTo>
                  <a:lnTo>
                    <a:pt x="223" y="292"/>
                  </a:lnTo>
                  <a:lnTo>
                    <a:pt x="221" y="291"/>
                  </a:lnTo>
                  <a:lnTo>
                    <a:pt x="216" y="270"/>
                  </a:lnTo>
                  <a:lnTo>
                    <a:pt x="210" y="248"/>
                  </a:lnTo>
                  <a:lnTo>
                    <a:pt x="205" y="237"/>
                  </a:lnTo>
                  <a:lnTo>
                    <a:pt x="198" y="225"/>
                  </a:lnTo>
                  <a:lnTo>
                    <a:pt x="198" y="215"/>
                  </a:lnTo>
                  <a:lnTo>
                    <a:pt x="191" y="205"/>
                  </a:lnTo>
                  <a:lnTo>
                    <a:pt x="181" y="195"/>
                  </a:lnTo>
                  <a:lnTo>
                    <a:pt x="161" y="185"/>
                  </a:lnTo>
                  <a:lnTo>
                    <a:pt x="151" y="182"/>
                  </a:lnTo>
                  <a:lnTo>
                    <a:pt x="139" y="179"/>
                  </a:lnTo>
                  <a:lnTo>
                    <a:pt x="130" y="148"/>
                  </a:lnTo>
                  <a:lnTo>
                    <a:pt x="123" y="146"/>
                  </a:lnTo>
                  <a:lnTo>
                    <a:pt x="121" y="140"/>
                  </a:lnTo>
                  <a:lnTo>
                    <a:pt x="116" y="136"/>
                  </a:lnTo>
                  <a:lnTo>
                    <a:pt x="105" y="118"/>
                  </a:lnTo>
                  <a:lnTo>
                    <a:pt x="94" y="108"/>
                  </a:lnTo>
                  <a:lnTo>
                    <a:pt x="86" y="103"/>
                  </a:lnTo>
                  <a:lnTo>
                    <a:pt x="76" y="103"/>
                  </a:lnTo>
                  <a:lnTo>
                    <a:pt x="65" y="93"/>
                  </a:lnTo>
                  <a:lnTo>
                    <a:pt x="57" y="83"/>
                  </a:lnTo>
                  <a:lnTo>
                    <a:pt x="51" y="77"/>
                  </a:lnTo>
                  <a:lnTo>
                    <a:pt x="41" y="71"/>
                  </a:lnTo>
                  <a:lnTo>
                    <a:pt x="19" y="46"/>
                  </a:lnTo>
                  <a:lnTo>
                    <a:pt x="12" y="39"/>
                  </a:lnTo>
                  <a:lnTo>
                    <a:pt x="4" y="22"/>
                  </a:lnTo>
                  <a:lnTo>
                    <a:pt x="3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21" name="Freeform 65"/>
            <p:cNvSpPr>
              <a:spLocks noChangeAspect="1"/>
            </p:cNvSpPr>
            <p:nvPr/>
          </p:nvSpPr>
          <p:spPr bwMode="gray">
            <a:xfrm>
              <a:off x="7733844" y="4372107"/>
              <a:ext cx="160605" cy="55876"/>
            </a:xfrm>
            <a:custGeom>
              <a:avLst/>
              <a:gdLst/>
              <a:ahLst/>
              <a:cxnLst>
                <a:cxn ang="0">
                  <a:pos x="364" y="129"/>
                </a:cxn>
                <a:cxn ang="0">
                  <a:pos x="334" y="130"/>
                </a:cxn>
                <a:cxn ang="0">
                  <a:pos x="326" y="124"/>
                </a:cxn>
                <a:cxn ang="0">
                  <a:pos x="314" y="126"/>
                </a:cxn>
                <a:cxn ang="0">
                  <a:pos x="288" y="120"/>
                </a:cxn>
                <a:cxn ang="0">
                  <a:pos x="272" y="110"/>
                </a:cxn>
                <a:cxn ang="0">
                  <a:pos x="257" y="102"/>
                </a:cxn>
                <a:cxn ang="0">
                  <a:pos x="231" y="99"/>
                </a:cxn>
                <a:cxn ang="0">
                  <a:pos x="212" y="97"/>
                </a:cxn>
                <a:cxn ang="0">
                  <a:pos x="203" y="99"/>
                </a:cxn>
                <a:cxn ang="0">
                  <a:pos x="191" y="96"/>
                </a:cxn>
                <a:cxn ang="0">
                  <a:pos x="181" y="103"/>
                </a:cxn>
                <a:cxn ang="0">
                  <a:pos x="142" y="96"/>
                </a:cxn>
                <a:cxn ang="0">
                  <a:pos x="116" y="87"/>
                </a:cxn>
                <a:cxn ang="0">
                  <a:pos x="85" y="83"/>
                </a:cxn>
                <a:cxn ang="0">
                  <a:pos x="67" y="76"/>
                </a:cxn>
                <a:cxn ang="0">
                  <a:pos x="72" y="60"/>
                </a:cxn>
                <a:cxn ang="0">
                  <a:pos x="62" y="59"/>
                </a:cxn>
                <a:cxn ang="0">
                  <a:pos x="24" y="50"/>
                </a:cxn>
                <a:cxn ang="0">
                  <a:pos x="6" y="46"/>
                </a:cxn>
                <a:cxn ang="0">
                  <a:pos x="3" y="38"/>
                </a:cxn>
                <a:cxn ang="0">
                  <a:pos x="9" y="41"/>
                </a:cxn>
                <a:cxn ang="0">
                  <a:pos x="20" y="38"/>
                </a:cxn>
                <a:cxn ang="0">
                  <a:pos x="29" y="30"/>
                </a:cxn>
                <a:cxn ang="0">
                  <a:pos x="36" y="14"/>
                </a:cxn>
                <a:cxn ang="0">
                  <a:pos x="53" y="1"/>
                </a:cxn>
                <a:cxn ang="0">
                  <a:pos x="102" y="0"/>
                </a:cxn>
                <a:cxn ang="0">
                  <a:pos x="119" y="7"/>
                </a:cxn>
                <a:cxn ang="0">
                  <a:pos x="132" y="16"/>
                </a:cxn>
                <a:cxn ang="0">
                  <a:pos x="154" y="18"/>
                </a:cxn>
                <a:cxn ang="0">
                  <a:pos x="177" y="33"/>
                </a:cxn>
                <a:cxn ang="0">
                  <a:pos x="196" y="49"/>
                </a:cxn>
                <a:cxn ang="0">
                  <a:pos x="228" y="49"/>
                </a:cxn>
                <a:cxn ang="0">
                  <a:pos x="261" y="53"/>
                </a:cxn>
                <a:cxn ang="0">
                  <a:pos x="279" y="56"/>
                </a:cxn>
                <a:cxn ang="0">
                  <a:pos x="295" y="39"/>
                </a:cxn>
                <a:cxn ang="0">
                  <a:pos x="304" y="25"/>
                </a:cxn>
                <a:cxn ang="0">
                  <a:pos x="317" y="35"/>
                </a:cxn>
                <a:cxn ang="0">
                  <a:pos x="333" y="41"/>
                </a:cxn>
                <a:cxn ang="0">
                  <a:pos x="347" y="40"/>
                </a:cxn>
                <a:cxn ang="0">
                  <a:pos x="358" y="45"/>
                </a:cxn>
                <a:cxn ang="0">
                  <a:pos x="373" y="51"/>
                </a:cxn>
                <a:cxn ang="0">
                  <a:pos x="397" y="55"/>
                </a:cxn>
                <a:cxn ang="0">
                  <a:pos x="412" y="75"/>
                </a:cxn>
                <a:cxn ang="0">
                  <a:pos x="424" y="96"/>
                </a:cxn>
                <a:cxn ang="0">
                  <a:pos x="456" y="97"/>
                </a:cxn>
                <a:cxn ang="0">
                  <a:pos x="481" y="94"/>
                </a:cxn>
                <a:cxn ang="0">
                  <a:pos x="499" y="103"/>
                </a:cxn>
                <a:cxn ang="0">
                  <a:pos x="497" y="136"/>
                </a:cxn>
                <a:cxn ang="0">
                  <a:pos x="503" y="148"/>
                </a:cxn>
                <a:cxn ang="0">
                  <a:pos x="502" y="156"/>
                </a:cxn>
                <a:cxn ang="0">
                  <a:pos x="462" y="141"/>
                </a:cxn>
                <a:cxn ang="0">
                  <a:pos x="433" y="130"/>
                </a:cxn>
                <a:cxn ang="0">
                  <a:pos x="392" y="136"/>
                </a:cxn>
                <a:cxn ang="0">
                  <a:pos x="374" y="129"/>
                </a:cxn>
              </a:cxnLst>
              <a:rect l="0" t="0" r="r" b="b"/>
              <a:pathLst>
                <a:path w="506" h="158">
                  <a:moveTo>
                    <a:pt x="374" y="129"/>
                  </a:moveTo>
                  <a:lnTo>
                    <a:pt x="364" y="129"/>
                  </a:lnTo>
                  <a:lnTo>
                    <a:pt x="353" y="135"/>
                  </a:lnTo>
                  <a:lnTo>
                    <a:pt x="334" y="130"/>
                  </a:lnTo>
                  <a:lnTo>
                    <a:pt x="330" y="127"/>
                  </a:lnTo>
                  <a:lnTo>
                    <a:pt x="326" y="124"/>
                  </a:lnTo>
                  <a:lnTo>
                    <a:pt x="323" y="126"/>
                  </a:lnTo>
                  <a:lnTo>
                    <a:pt x="314" y="126"/>
                  </a:lnTo>
                  <a:lnTo>
                    <a:pt x="304" y="125"/>
                  </a:lnTo>
                  <a:lnTo>
                    <a:pt x="288" y="120"/>
                  </a:lnTo>
                  <a:lnTo>
                    <a:pt x="279" y="115"/>
                  </a:lnTo>
                  <a:lnTo>
                    <a:pt x="272" y="110"/>
                  </a:lnTo>
                  <a:lnTo>
                    <a:pt x="266" y="105"/>
                  </a:lnTo>
                  <a:lnTo>
                    <a:pt x="257" y="102"/>
                  </a:lnTo>
                  <a:lnTo>
                    <a:pt x="242" y="99"/>
                  </a:lnTo>
                  <a:lnTo>
                    <a:pt x="231" y="99"/>
                  </a:lnTo>
                  <a:lnTo>
                    <a:pt x="217" y="96"/>
                  </a:lnTo>
                  <a:lnTo>
                    <a:pt x="212" y="97"/>
                  </a:lnTo>
                  <a:lnTo>
                    <a:pt x="208" y="99"/>
                  </a:lnTo>
                  <a:lnTo>
                    <a:pt x="203" y="99"/>
                  </a:lnTo>
                  <a:lnTo>
                    <a:pt x="201" y="96"/>
                  </a:lnTo>
                  <a:lnTo>
                    <a:pt x="191" y="96"/>
                  </a:lnTo>
                  <a:lnTo>
                    <a:pt x="186" y="100"/>
                  </a:lnTo>
                  <a:lnTo>
                    <a:pt x="181" y="103"/>
                  </a:lnTo>
                  <a:lnTo>
                    <a:pt x="177" y="103"/>
                  </a:lnTo>
                  <a:lnTo>
                    <a:pt x="142" y="96"/>
                  </a:lnTo>
                  <a:lnTo>
                    <a:pt x="129" y="89"/>
                  </a:lnTo>
                  <a:lnTo>
                    <a:pt x="116" y="87"/>
                  </a:lnTo>
                  <a:lnTo>
                    <a:pt x="95" y="86"/>
                  </a:lnTo>
                  <a:lnTo>
                    <a:pt x="85" y="83"/>
                  </a:lnTo>
                  <a:lnTo>
                    <a:pt x="79" y="80"/>
                  </a:lnTo>
                  <a:lnTo>
                    <a:pt x="67" y="76"/>
                  </a:lnTo>
                  <a:lnTo>
                    <a:pt x="63" y="72"/>
                  </a:lnTo>
                  <a:lnTo>
                    <a:pt x="72" y="60"/>
                  </a:lnTo>
                  <a:lnTo>
                    <a:pt x="70" y="59"/>
                  </a:lnTo>
                  <a:lnTo>
                    <a:pt x="62" y="59"/>
                  </a:lnTo>
                  <a:lnTo>
                    <a:pt x="42" y="50"/>
                  </a:lnTo>
                  <a:lnTo>
                    <a:pt x="24" y="50"/>
                  </a:lnTo>
                  <a:lnTo>
                    <a:pt x="18" y="48"/>
                  </a:lnTo>
                  <a:lnTo>
                    <a:pt x="6" y="46"/>
                  </a:lnTo>
                  <a:lnTo>
                    <a:pt x="0" y="40"/>
                  </a:lnTo>
                  <a:lnTo>
                    <a:pt x="3" y="38"/>
                  </a:lnTo>
                  <a:lnTo>
                    <a:pt x="5" y="39"/>
                  </a:lnTo>
                  <a:lnTo>
                    <a:pt x="9" y="41"/>
                  </a:lnTo>
                  <a:lnTo>
                    <a:pt x="15" y="41"/>
                  </a:lnTo>
                  <a:lnTo>
                    <a:pt x="20" y="38"/>
                  </a:lnTo>
                  <a:lnTo>
                    <a:pt x="24" y="30"/>
                  </a:lnTo>
                  <a:lnTo>
                    <a:pt x="29" y="30"/>
                  </a:lnTo>
                  <a:lnTo>
                    <a:pt x="33" y="23"/>
                  </a:lnTo>
                  <a:lnTo>
                    <a:pt x="36" y="14"/>
                  </a:lnTo>
                  <a:lnTo>
                    <a:pt x="41" y="5"/>
                  </a:lnTo>
                  <a:lnTo>
                    <a:pt x="53" y="1"/>
                  </a:lnTo>
                  <a:lnTo>
                    <a:pt x="89" y="7"/>
                  </a:lnTo>
                  <a:lnTo>
                    <a:pt x="102" y="0"/>
                  </a:lnTo>
                  <a:lnTo>
                    <a:pt x="113" y="0"/>
                  </a:lnTo>
                  <a:lnTo>
                    <a:pt x="119" y="7"/>
                  </a:lnTo>
                  <a:lnTo>
                    <a:pt x="122" y="14"/>
                  </a:lnTo>
                  <a:lnTo>
                    <a:pt x="132" y="16"/>
                  </a:lnTo>
                  <a:lnTo>
                    <a:pt x="140" y="14"/>
                  </a:lnTo>
                  <a:lnTo>
                    <a:pt x="154" y="18"/>
                  </a:lnTo>
                  <a:lnTo>
                    <a:pt x="164" y="19"/>
                  </a:lnTo>
                  <a:lnTo>
                    <a:pt x="177" y="33"/>
                  </a:lnTo>
                  <a:lnTo>
                    <a:pt x="186" y="46"/>
                  </a:lnTo>
                  <a:lnTo>
                    <a:pt x="196" y="49"/>
                  </a:lnTo>
                  <a:lnTo>
                    <a:pt x="207" y="48"/>
                  </a:lnTo>
                  <a:lnTo>
                    <a:pt x="228" y="49"/>
                  </a:lnTo>
                  <a:lnTo>
                    <a:pt x="234" y="48"/>
                  </a:lnTo>
                  <a:lnTo>
                    <a:pt x="261" y="53"/>
                  </a:lnTo>
                  <a:lnTo>
                    <a:pt x="271" y="54"/>
                  </a:lnTo>
                  <a:lnTo>
                    <a:pt x="279" y="56"/>
                  </a:lnTo>
                  <a:lnTo>
                    <a:pt x="287" y="54"/>
                  </a:lnTo>
                  <a:lnTo>
                    <a:pt x="295" y="39"/>
                  </a:lnTo>
                  <a:lnTo>
                    <a:pt x="296" y="32"/>
                  </a:lnTo>
                  <a:lnTo>
                    <a:pt x="304" y="25"/>
                  </a:lnTo>
                  <a:lnTo>
                    <a:pt x="311" y="27"/>
                  </a:lnTo>
                  <a:lnTo>
                    <a:pt x="317" y="35"/>
                  </a:lnTo>
                  <a:lnTo>
                    <a:pt x="323" y="41"/>
                  </a:lnTo>
                  <a:lnTo>
                    <a:pt x="333" y="41"/>
                  </a:lnTo>
                  <a:lnTo>
                    <a:pt x="342" y="37"/>
                  </a:lnTo>
                  <a:lnTo>
                    <a:pt x="347" y="40"/>
                  </a:lnTo>
                  <a:lnTo>
                    <a:pt x="353" y="41"/>
                  </a:lnTo>
                  <a:lnTo>
                    <a:pt x="358" y="45"/>
                  </a:lnTo>
                  <a:lnTo>
                    <a:pt x="365" y="46"/>
                  </a:lnTo>
                  <a:lnTo>
                    <a:pt x="373" y="51"/>
                  </a:lnTo>
                  <a:lnTo>
                    <a:pt x="390" y="50"/>
                  </a:lnTo>
                  <a:lnTo>
                    <a:pt x="397" y="55"/>
                  </a:lnTo>
                  <a:lnTo>
                    <a:pt x="404" y="70"/>
                  </a:lnTo>
                  <a:lnTo>
                    <a:pt x="412" y="75"/>
                  </a:lnTo>
                  <a:lnTo>
                    <a:pt x="414" y="91"/>
                  </a:lnTo>
                  <a:lnTo>
                    <a:pt x="424" y="96"/>
                  </a:lnTo>
                  <a:lnTo>
                    <a:pt x="435" y="99"/>
                  </a:lnTo>
                  <a:lnTo>
                    <a:pt x="456" y="97"/>
                  </a:lnTo>
                  <a:lnTo>
                    <a:pt x="467" y="97"/>
                  </a:lnTo>
                  <a:lnTo>
                    <a:pt x="481" y="94"/>
                  </a:lnTo>
                  <a:lnTo>
                    <a:pt x="492" y="97"/>
                  </a:lnTo>
                  <a:lnTo>
                    <a:pt x="499" y="103"/>
                  </a:lnTo>
                  <a:lnTo>
                    <a:pt x="500" y="116"/>
                  </a:lnTo>
                  <a:lnTo>
                    <a:pt x="497" y="136"/>
                  </a:lnTo>
                  <a:lnTo>
                    <a:pt x="499" y="143"/>
                  </a:lnTo>
                  <a:lnTo>
                    <a:pt x="503" y="148"/>
                  </a:lnTo>
                  <a:lnTo>
                    <a:pt x="506" y="158"/>
                  </a:lnTo>
                  <a:lnTo>
                    <a:pt x="502" y="156"/>
                  </a:lnTo>
                  <a:lnTo>
                    <a:pt x="495" y="150"/>
                  </a:lnTo>
                  <a:lnTo>
                    <a:pt x="462" y="141"/>
                  </a:lnTo>
                  <a:lnTo>
                    <a:pt x="446" y="135"/>
                  </a:lnTo>
                  <a:lnTo>
                    <a:pt x="433" y="130"/>
                  </a:lnTo>
                  <a:lnTo>
                    <a:pt x="406" y="138"/>
                  </a:lnTo>
                  <a:lnTo>
                    <a:pt x="392" y="136"/>
                  </a:lnTo>
                  <a:lnTo>
                    <a:pt x="381" y="131"/>
                  </a:lnTo>
                  <a:lnTo>
                    <a:pt x="374" y="12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22" name="Freeform 66"/>
            <p:cNvSpPr>
              <a:spLocks noChangeAspect="1"/>
            </p:cNvSpPr>
            <p:nvPr/>
          </p:nvSpPr>
          <p:spPr bwMode="gray">
            <a:xfrm>
              <a:off x="7797450" y="4176540"/>
              <a:ext cx="173326" cy="162391"/>
            </a:xfrm>
            <a:custGeom>
              <a:avLst/>
              <a:gdLst/>
              <a:ahLst/>
              <a:cxnLst>
                <a:cxn ang="0">
                  <a:pos x="474" y="15"/>
                </a:cxn>
                <a:cxn ang="0">
                  <a:pos x="471" y="22"/>
                </a:cxn>
                <a:cxn ang="0">
                  <a:pos x="485" y="38"/>
                </a:cxn>
                <a:cxn ang="0">
                  <a:pos x="470" y="42"/>
                </a:cxn>
                <a:cxn ang="0">
                  <a:pos x="460" y="57"/>
                </a:cxn>
                <a:cxn ang="0">
                  <a:pos x="461" y="67"/>
                </a:cxn>
                <a:cxn ang="0">
                  <a:pos x="475" y="80"/>
                </a:cxn>
                <a:cxn ang="0">
                  <a:pos x="493" y="121"/>
                </a:cxn>
                <a:cxn ang="0">
                  <a:pos x="490" y="132"/>
                </a:cxn>
                <a:cxn ang="0">
                  <a:pos x="547" y="186"/>
                </a:cxn>
                <a:cxn ang="0">
                  <a:pos x="519" y="194"/>
                </a:cxn>
                <a:cxn ang="0">
                  <a:pos x="495" y="186"/>
                </a:cxn>
                <a:cxn ang="0">
                  <a:pos x="486" y="202"/>
                </a:cxn>
                <a:cxn ang="0">
                  <a:pos x="471" y="228"/>
                </a:cxn>
                <a:cxn ang="0">
                  <a:pos x="468" y="266"/>
                </a:cxn>
                <a:cxn ang="0">
                  <a:pos x="438" y="311"/>
                </a:cxn>
                <a:cxn ang="0">
                  <a:pos x="402" y="336"/>
                </a:cxn>
                <a:cxn ang="0">
                  <a:pos x="411" y="350"/>
                </a:cxn>
                <a:cxn ang="0">
                  <a:pos x="417" y="381"/>
                </a:cxn>
                <a:cxn ang="0">
                  <a:pos x="407" y="393"/>
                </a:cxn>
                <a:cxn ang="0">
                  <a:pos x="398" y="407"/>
                </a:cxn>
                <a:cxn ang="0">
                  <a:pos x="394" y="417"/>
                </a:cxn>
                <a:cxn ang="0">
                  <a:pos x="374" y="441"/>
                </a:cxn>
                <a:cxn ang="0">
                  <a:pos x="324" y="465"/>
                </a:cxn>
                <a:cxn ang="0">
                  <a:pos x="308" y="433"/>
                </a:cxn>
                <a:cxn ang="0">
                  <a:pos x="293" y="423"/>
                </a:cxn>
                <a:cxn ang="0">
                  <a:pos x="262" y="428"/>
                </a:cxn>
                <a:cxn ang="0">
                  <a:pos x="240" y="414"/>
                </a:cxn>
                <a:cxn ang="0">
                  <a:pos x="221" y="408"/>
                </a:cxn>
                <a:cxn ang="0">
                  <a:pos x="201" y="424"/>
                </a:cxn>
                <a:cxn ang="0">
                  <a:pos x="174" y="427"/>
                </a:cxn>
                <a:cxn ang="0">
                  <a:pos x="160" y="430"/>
                </a:cxn>
                <a:cxn ang="0">
                  <a:pos x="146" y="398"/>
                </a:cxn>
                <a:cxn ang="0">
                  <a:pos x="129" y="398"/>
                </a:cxn>
                <a:cxn ang="0">
                  <a:pos x="110" y="406"/>
                </a:cxn>
                <a:cxn ang="0">
                  <a:pos x="84" y="397"/>
                </a:cxn>
                <a:cxn ang="0">
                  <a:pos x="70" y="387"/>
                </a:cxn>
                <a:cxn ang="0">
                  <a:pos x="62" y="353"/>
                </a:cxn>
                <a:cxn ang="0">
                  <a:pos x="59" y="333"/>
                </a:cxn>
                <a:cxn ang="0">
                  <a:pos x="55" y="305"/>
                </a:cxn>
                <a:cxn ang="0">
                  <a:pos x="39" y="278"/>
                </a:cxn>
                <a:cxn ang="0">
                  <a:pos x="18" y="268"/>
                </a:cxn>
                <a:cxn ang="0">
                  <a:pos x="11" y="233"/>
                </a:cxn>
                <a:cxn ang="0">
                  <a:pos x="1" y="214"/>
                </a:cxn>
                <a:cxn ang="0">
                  <a:pos x="7" y="163"/>
                </a:cxn>
                <a:cxn ang="0">
                  <a:pos x="25" y="134"/>
                </a:cxn>
                <a:cxn ang="0">
                  <a:pos x="60" y="174"/>
                </a:cxn>
                <a:cxn ang="0">
                  <a:pos x="99" y="185"/>
                </a:cxn>
                <a:cxn ang="0">
                  <a:pos x="129" y="186"/>
                </a:cxn>
                <a:cxn ang="0">
                  <a:pos x="156" y="183"/>
                </a:cxn>
                <a:cxn ang="0">
                  <a:pos x="184" y="155"/>
                </a:cxn>
                <a:cxn ang="0">
                  <a:pos x="217" y="166"/>
                </a:cxn>
                <a:cxn ang="0">
                  <a:pos x="253" y="174"/>
                </a:cxn>
                <a:cxn ang="0">
                  <a:pos x="285" y="163"/>
                </a:cxn>
                <a:cxn ang="0">
                  <a:pos x="308" y="147"/>
                </a:cxn>
                <a:cxn ang="0">
                  <a:pos x="330" y="90"/>
                </a:cxn>
                <a:cxn ang="0">
                  <a:pos x="363" y="27"/>
                </a:cxn>
                <a:cxn ang="0">
                  <a:pos x="394" y="0"/>
                </a:cxn>
                <a:cxn ang="0">
                  <a:pos x="468" y="11"/>
                </a:cxn>
              </a:cxnLst>
              <a:rect l="0" t="0" r="r" b="b"/>
              <a:pathLst>
                <a:path w="547" h="467">
                  <a:moveTo>
                    <a:pt x="472" y="11"/>
                  </a:moveTo>
                  <a:lnTo>
                    <a:pt x="475" y="13"/>
                  </a:lnTo>
                  <a:lnTo>
                    <a:pt x="474" y="15"/>
                  </a:lnTo>
                  <a:lnTo>
                    <a:pt x="469" y="18"/>
                  </a:lnTo>
                  <a:lnTo>
                    <a:pt x="464" y="19"/>
                  </a:lnTo>
                  <a:lnTo>
                    <a:pt x="471" y="22"/>
                  </a:lnTo>
                  <a:lnTo>
                    <a:pt x="477" y="27"/>
                  </a:lnTo>
                  <a:lnTo>
                    <a:pt x="485" y="30"/>
                  </a:lnTo>
                  <a:lnTo>
                    <a:pt x="485" y="38"/>
                  </a:lnTo>
                  <a:lnTo>
                    <a:pt x="479" y="41"/>
                  </a:lnTo>
                  <a:lnTo>
                    <a:pt x="471" y="40"/>
                  </a:lnTo>
                  <a:lnTo>
                    <a:pt x="470" y="42"/>
                  </a:lnTo>
                  <a:lnTo>
                    <a:pt x="457" y="43"/>
                  </a:lnTo>
                  <a:lnTo>
                    <a:pt x="453" y="47"/>
                  </a:lnTo>
                  <a:lnTo>
                    <a:pt x="460" y="57"/>
                  </a:lnTo>
                  <a:lnTo>
                    <a:pt x="464" y="59"/>
                  </a:lnTo>
                  <a:lnTo>
                    <a:pt x="465" y="63"/>
                  </a:lnTo>
                  <a:lnTo>
                    <a:pt x="461" y="67"/>
                  </a:lnTo>
                  <a:lnTo>
                    <a:pt x="464" y="70"/>
                  </a:lnTo>
                  <a:lnTo>
                    <a:pt x="470" y="75"/>
                  </a:lnTo>
                  <a:lnTo>
                    <a:pt x="475" y="80"/>
                  </a:lnTo>
                  <a:lnTo>
                    <a:pt x="479" y="88"/>
                  </a:lnTo>
                  <a:lnTo>
                    <a:pt x="496" y="116"/>
                  </a:lnTo>
                  <a:lnTo>
                    <a:pt x="493" y="121"/>
                  </a:lnTo>
                  <a:lnTo>
                    <a:pt x="492" y="124"/>
                  </a:lnTo>
                  <a:lnTo>
                    <a:pt x="490" y="127"/>
                  </a:lnTo>
                  <a:lnTo>
                    <a:pt x="490" y="132"/>
                  </a:lnTo>
                  <a:lnTo>
                    <a:pt x="491" y="137"/>
                  </a:lnTo>
                  <a:lnTo>
                    <a:pt x="541" y="180"/>
                  </a:lnTo>
                  <a:lnTo>
                    <a:pt x="547" y="186"/>
                  </a:lnTo>
                  <a:lnTo>
                    <a:pt x="547" y="191"/>
                  </a:lnTo>
                  <a:lnTo>
                    <a:pt x="538" y="193"/>
                  </a:lnTo>
                  <a:lnTo>
                    <a:pt x="519" y="194"/>
                  </a:lnTo>
                  <a:lnTo>
                    <a:pt x="504" y="191"/>
                  </a:lnTo>
                  <a:lnTo>
                    <a:pt x="496" y="181"/>
                  </a:lnTo>
                  <a:lnTo>
                    <a:pt x="495" y="186"/>
                  </a:lnTo>
                  <a:lnTo>
                    <a:pt x="497" y="194"/>
                  </a:lnTo>
                  <a:lnTo>
                    <a:pt x="496" y="197"/>
                  </a:lnTo>
                  <a:lnTo>
                    <a:pt x="486" y="202"/>
                  </a:lnTo>
                  <a:lnTo>
                    <a:pt x="479" y="212"/>
                  </a:lnTo>
                  <a:lnTo>
                    <a:pt x="474" y="219"/>
                  </a:lnTo>
                  <a:lnTo>
                    <a:pt x="471" y="228"/>
                  </a:lnTo>
                  <a:lnTo>
                    <a:pt x="471" y="240"/>
                  </a:lnTo>
                  <a:lnTo>
                    <a:pt x="468" y="248"/>
                  </a:lnTo>
                  <a:lnTo>
                    <a:pt x="468" y="266"/>
                  </a:lnTo>
                  <a:lnTo>
                    <a:pt x="460" y="276"/>
                  </a:lnTo>
                  <a:lnTo>
                    <a:pt x="447" y="304"/>
                  </a:lnTo>
                  <a:lnTo>
                    <a:pt x="438" y="311"/>
                  </a:lnTo>
                  <a:lnTo>
                    <a:pt x="433" y="309"/>
                  </a:lnTo>
                  <a:lnTo>
                    <a:pt x="427" y="316"/>
                  </a:lnTo>
                  <a:lnTo>
                    <a:pt x="402" y="336"/>
                  </a:lnTo>
                  <a:lnTo>
                    <a:pt x="404" y="339"/>
                  </a:lnTo>
                  <a:lnTo>
                    <a:pt x="410" y="341"/>
                  </a:lnTo>
                  <a:lnTo>
                    <a:pt x="411" y="350"/>
                  </a:lnTo>
                  <a:lnTo>
                    <a:pt x="411" y="358"/>
                  </a:lnTo>
                  <a:lnTo>
                    <a:pt x="422" y="363"/>
                  </a:lnTo>
                  <a:lnTo>
                    <a:pt x="417" y="381"/>
                  </a:lnTo>
                  <a:lnTo>
                    <a:pt x="411" y="377"/>
                  </a:lnTo>
                  <a:lnTo>
                    <a:pt x="409" y="381"/>
                  </a:lnTo>
                  <a:lnTo>
                    <a:pt x="407" y="393"/>
                  </a:lnTo>
                  <a:lnTo>
                    <a:pt x="404" y="401"/>
                  </a:lnTo>
                  <a:lnTo>
                    <a:pt x="399" y="402"/>
                  </a:lnTo>
                  <a:lnTo>
                    <a:pt x="398" y="407"/>
                  </a:lnTo>
                  <a:lnTo>
                    <a:pt x="398" y="412"/>
                  </a:lnTo>
                  <a:lnTo>
                    <a:pt x="396" y="416"/>
                  </a:lnTo>
                  <a:lnTo>
                    <a:pt x="394" y="417"/>
                  </a:lnTo>
                  <a:lnTo>
                    <a:pt x="390" y="420"/>
                  </a:lnTo>
                  <a:lnTo>
                    <a:pt x="387" y="433"/>
                  </a:lnTo>
                  <a:lnTo>
                    <a:pt x="374" y="441"/>
                  </a:lnTo>
                  <a:lnTo>
                    <a:pt x="371" y="441"/>
                  </a:lnTo>
                  <a:lnTo>
                    <a:pt x="361" y="447"/>
                  </a:lnTo>
                  <a:lnTo>
                    <a:pt x="324" y="465"/>
                  </a:lnTo>
                  <a:lnTo>
                    <a:pt x="315" y="467"/>
                  </a:lnTo>
                  <a:lnTo>
                    <a:pt x="310" y="443"/>
                  </a:lnTo>
                  <a:lnTo>
                    <a:pt x="308" y="433"/>
                  </a:lnTo>
                  <a:lnTo>
                    <a:pt x="304" y="430"/>
                  </a:lnTo>
                  <a:lnTo>
                    <a:pt x="301" y="430"/>
                  </a:lnTo>
                  <a:lnTo>
                    <a:pt x="293" y="423"/>
                  </a:lnTo>
                  <a:lnTo>
                    <a:pt x="280" y="423"/>
                  </a:lnTo>
                  <a:lnTo>
                    <a:pt x="271" y="427"/>
                  </a:lnTo>
                  <a:lnTo>
                    <a:pt x="262" y="428"/>
                  </a:lnTo>
                  <a:lnTo>
                    <a:pt x="260" y="423"/>
                  </a:lnTo>
                  <a:lnTo>
                    <a:pt x="259" y="414"/>
                  </a:lnTo>
                  <a:lnTo>
                    <a:pt x="240" y="414"/>
                  </a:lnTo>
                  <a:lnTo>
                    <a:pt x="229" y="407"/>
                  </a:lnTo>
                  <a:lnTo>
                    <a:pt x="223" y="404"/>
                  </a:lnTo>
                  <a:lnTo>
                    <a:pt x="221" y="408"/>
                  </a:lnTo>
                  <a:lnTo>
                    <a:pt x="222" y="413"/>
                  </a:lnTo>
                  <a:lnTo>
                    <a:pt x="213" y="419"/>
                  </a:lnTo>
                  <a:lnTo>
                    <a:pt x="201" y="424"/>
                  </a:lnTo>
                  <a:lnTo>
                    <a:pt x="194" y="425"/>
                  </a:lnTo>
                  <a:lnTo>
                    <a:pt x="183" y="423"/>
                  </a:lnTo>
                  <a:lnTo>
                    <a:pt x="174" y="427"/>
                  </a:lnTo>
                  <a:lnTo>
                    <a:pt x="168" y="428"/>
                  </a:lnTo>
                  <a:lnTo>
                    <a:pt x="163" y="430"/>
                  </a:lnTo>
                  <a:lnTo>
                    <a:pt x="160" y="430"/>
                  </a:lnTo>
                  <a:lnTo>
                    <a:pt x="158" y="412"/>
                  </a:lnTo>
                  <a:lnTo>
                    <a:pt x="151" y="391"/>
                  </a:lnTo>
                  <a:lnTo>
                    <a:pt x="146" y="398"/>
                  </a:lnTo>
                  <a:lnTo>
                    <a:pt x="143" y="401"/>
                  </a:lnTo>
                  <a:lnTo>
                    <a:pt x="133" y="397"/>
                  </a:lnTo>
                  <a:lnTo>
                    <a:pt x="129" y="398"/>
                  </a:lnTo>
                  <a:lnTo>
                    <a:pt x="124" y="403"/>
                  </a:lnTo>
                  <a:lnTo>
                    <a:pt x="119" y="404"/>
                  </a:lnTo>
                  <a:lnTo>
                    <a:pt x="110" y="406"/>
                  </a:lnTo>
                  <a:lnTo>
                    <a:pt x="104" y="403"/>
                  </a:lnTo>
                  <a:lnTo>
                    <a:pt x="94" y="404"/>
                  </a:lnTo>
                  <a:lnTo>
                    <a:pt x="84" y="397"/>
                  </a:lnTo>
                  <a:lnTo>
                    <a:pt x="81" y="400"/>
                  </a:lnTo>
                  <a:lnTo>
                    <a:pt x="73" y="401"/>
                  </a:lnTo>
                  <a:lnTo>
                    <a:pt x="70" y="387"/>
                  </a:lnTo>
                  <a:lnTo>
                    <a:pt x="71" y="377"/>
                  </a:lnTo>
                  <a:lnTo>
                    <a:pt x="67" y="373"/>
                  </a:lnTo>
                  <a:lnTo>
                    <a:pt x="62" y="353"/>
                  </a:lnTo>
                  <a:lnTo>
                    <a:pt x="56" y="341"/>
                  </a:lnTo>
                  <a:lnTo>
                    <a:pt x="56" y="336"/>
                  </a:lnTo>
                  <a:lnTo>
                    <a:pt x="59" y="333"/>
                  </a:lnTo>
                  <a:lnTo>
                    <a:pt x="60" y="325"/>
                  </a:lnTo>
                  <a:lnTo>
                    <a:pt x="57" y="314"/>
                  </a:lnTo>
                  <a:lnTo>
                    <a:pt x="55" y="305"/>
                  </a:lnTo>
                  <a:lnTo>
                    <a:pt x="45" y="288"/>
                  </a:lnTo>
                  <a:lnTo>
                    <a:pt x="43" y="283"/>
                  </a:lnTo>
                  <a:lnTo>
                    <a:pt x="39" y="278"/>
                  </a:lnTo>
                  <a:lnTo>
                    <a:pt x="29" y="274"/>
                  </a:lnTo>
                  <a:lnTo>
                    <a:pt x="23" y="268"/>
                  </a:lnTo>
                  <a:lnTo>
                    <a:pt x="18" y="268"/>
                  </a:lnTo>
                  <a:lnTo>
                    <a:pt x="13" y="264"/>
                  </a:lnTo>
                  <a:lnTo>
                    <a:pt x="12" y="253"/>
                  </a:lnTo>
                  <a:lnTo>
                    <a:pt x="11" y="233"/>
                  </a:lnTo>
                  <a:lnTo>
                    <a:pt x="6" y="223"/>
                  </a:lnTo>
                  <a:lnTo>
                    <a:pt x="2" y="219"/>
                  </a:lnTo>
                  <a:lnTo>
                    <a:pt x="1" y="214"/>
                  </a:lnTo>
                  <a:lnTo>
                    <a:pt x="0" y="196"/>
                  </a:lnTo>
                  <a:lnTo>
                    <a:pt x="1" y="182"/>
                  </a:lnTo>
                  <a:lnTo>
                    <a:pt x="7" y="163"/>
                  </a:lnTo>
                  <a:lnTo>
                    <a:pt x="12" y="154"/>
                  </a:lnTo>
                  <a:lnTo>
                    <a:pt x="19" y="145"/>
                  </a:lnTo>
                  <a:lnTo>
                    <a:pt x="25" y="134"/>
                  </a:lnTo>
                  <a:lnTo>
                    <a:pt x="33" y="129"/>
                  </a:lnTo>
                  <a:lnTo>
                    <a:pt x="33" y="134"/>
                  </a:lnTo>
                  <a:lnTo>
                    <a:pt x="60" y="174"/>
                  </a:lnTo>
                  <a:lnTo>
                    <a:pt x="73" y="185"/>
                  </a:lnTo>
                  <a:lnTo>
                    <a:pt x="87" y="188"/>
                  </a:lnTo>
                  <a:lnTo>
                    <a:pt x="99" y="185"/>
                  </a:lnTo>
                  <a:lnTo>
                    <a:pt x="110" y="183"/>
                  </a:lnTo>
                  <a:lnTo>
                    <a:pt x="120" y="190"/>
                  </a:lnTo>
                  <a:lnTo>
                    <a:pt x="129" y="186"/>
                  </a:lnTo>
                  <a:lnTo>
                    <a:pt x="138" y="186"/>
                  </a:lnTo>
                  <a:lnTo>
                    <a:pt x="148" y="187"/>
                  </a:lnTo>
                  <a:lnTo>
                    <a:pt x="156" y="183"/>
                  </a:lnTo>
                  <a:lnTo>
                    <a:pt x="172" y="165"/>
                  </a:lnTo>
                  <a:lnTo>
                    <a:pt x="179" y="156"/>
                  </a:lnTo>
                  <a:lnTo>
                    <a:pt x="184" y="155"/>
                  </a:lnTo>
                  <a:lnTo>
                    <a:pt x="211" y="156"/>
                  </a:lnTo>
                  <a:lnTo>
                    <a:pt x="216" y="159"/>
                  </a:lnTo>
                  <a:lnTo>
                    <a:pt x="217" y="166"/>
                  </a:lnTo>
                  <a:lnTo>
                    <a:pt x="222" y="166"/>
                  </a:lnTo>
                  <a:lnTo>
                    <a:pt x="243" y="174"/>
                  </a:lnTo>
                  <a:lnTo>
                    <a:pt x="253" y="174"/>
                  </a:lnTo>
                  <a:lnTo>
                    <a:pt x="264" y="167"/>
                  </a:lnTo>
                  <a:lnTo>
                    <a:pt x="273" y="165"/>
                  </a:lnTo>
                  <a:lnTo>
                    <a:pt x="285" y="163"/>
                  </a:lnTo>
                  <a:lnTo>
                    <a:pt x="298" y="159"/>
                  </a:lnTo>
                  <a:lnTo>
                    <a:pt x="304" y="154"/>
                  </a:lnTo>
                  <a:lnTo>
                    <a:pt x="308" y="147"/>
                  </a:lnTo>
                  <a:lnTo>
                    <a:pt x="315" y="135"/>
                  </a:lnTo>
                  <a:lnTo>
                    <a:pt x="324" y="117"/>
                  </a:lnTo>
                  <a:lnTo>
                    <a:pt x="330" y="90"/>
                  </a:lnTo>
                  <a:lnTo>
                    <a:pt x="356" y="61"/>
                  </a:lnTo>
                  <a:lnTo>
                    <a:pt x="361" y="49"/>
                  </a:lnTo>
                  <a:lnTo>
                    <a:pt x="363" y="27"/>
                  </a:lnTo>
                  <a:lnTo>
                    <a:pt x="369" y="10"/>
                  </a:lnTo>
                  <a:lnTo>
                    <a:pt x="375" y="2"/>
                  </a:lnTo>
                  <a:lnTo>
                    <a:pt x="394" y="0"/>
                  </a:lnTo>
                  <a:lnTo>
                    <a:pt x="445" y="2"/>
                  </a:lnTo>
                  <a:lnTo>
                    <a:pt x="454" y="7"/>
                  </a:lnTo>
                  <a:lnTo>
                    <a:pt x="468" y="11"/>
                  </a:lnTo>
                  <a:lnTo>
                    <a:pt x="472" y="1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23" name="Freeform 67"/>
            <p:cNvSpPr>
              <a:spLocks noChangeAspect="1"/>
            </p:cNvSpPr>
            <p:nvPr/>
          </p:nvSpPr>
          <p:spPr bwMode="gray">
            <a:xfrm>
              <a:off x="8485980" y="4338930"/>
              <a:ext cx="69966" cy="41907"/>
            </a:xfrm>
            <a:custGeom>
              <a:avLst/>
              <a:gdLst/>
              <a:ahLst/>
              <a:cxnLst>
                <a:cxn ang="0">
                  <a:pos x="0" y="73"/>
                </a:cxn>
                <a:cxn ang="0">
                  <a:pos x="5" y="69"/>
                </a:cxn>
                <a:cxn ang="0">
                  <a:pos x="11" y="72"/>
                </a:cxn>
                <a:cxn ang="0">
                  <a:pos x="50" y="75"/>
                </a:cxn>
                <a:cxn ang="0">
                  <a:pos x="81" y="73"/>
                </a:cxn>
                <a:cxn ang="0">
                  <a:pos x="88" y="69"/>
                </a:cxn>
                <a:cxn ang="0">
                  <a:pos x="88" y="62"/>
                </a:cxn>
                <a:cxn ang="0">
                  <a:pos x="89" y="58"/>
                </a:cxn>
                <a:cxn ang="0">
                  <a:pos x="93" y="51"/>
                </a:cxn>
                <a:cxn ang="0">
                  <a:pos x="98" y="47"/>
                </a:cxn>
                <a:cxn ang="0">
                  <a:pos x="102" y="49"/>
                </a:cxn>
                <a:cxn ang="0">
                  <a:pos x="97" y="58"/>
                </a:cxn>
                <a:cxn ang="0">
                  <a:pos x="96" y="68"/>
                </a:cxn>
                <a:cxn ang="0">
                  <a:pos x="102" y="72"/>
                </a:cxn>
                <a:cxn ang="0">
                  <a:pos x="110" y="69"/>
                </a:cxn>
                <a:cxn ang="0">
                  <a:pos x="119" y="69"/>
                </a:cxn>
                <a:cxn ang="0">
                  <a:pos x="126" y="73"/>
                </a:cxn>
                <a:cxn ang="0">
                  <a:pos x="135" y="72"/>
                </a:cxn>
                <a:cxn ang="0">
                  <a:pos x="142" y="69"/>
                </a:cxn>
                <a:cxn ang="0">
                  <a:pos x="160" y="47"/>
                </a:cxn>
                <a:cxn ang="0">
                  <a:pos x="169" y="41"/>
                </a:cxn>
                <a:cxn ang="0">
                  <a:pos x="175" y="42"/>
                </a:cxn>
                <a:cxn ang="0">
                  <a:pos x="184" y="37"/>
                </a:cxn>
                <a:cxn ang="0">
                  <a:pos x="185" y="27"/>
                </a:cxn>
                <a:cxn ang="0">
                  <a:pos x="183" y="18"/>
                </a:cxn>
                <a:cxn ang="0">
                  <a:pos x="179" y="9"/>
                </a:cxn>
                <a:cxn ang="0">
                  <a:pos x="179" y="4"/>
                </a:cxn>
                <a:cxn ang="0">
                  <a:pos x="188" y="2"/>
                </a:cxn>
                <a:cxn ang="0">
                  <a:pos x="195" y="5"/>
                </a:cxn>
                <a:cxn ang="0">
                  <a:pos x="201" y="5"/>
                </a:cxn>
                <a:cxn ang="0">
                  <a:pos x="204" y="3"/>
                </a:cxn>
                <a:cxn ang="0">
                  <a:pos x="210" y="0"/>
                </a:cxn>
                <a:cxn ang="0">
                  <a:pos x="217" y="4"/>
                </a:cxn>
                <a:cxn ang="0">
                  <a:pos x="222" y="14"/>
                </a:cxn>
                <a:cxn ang="0">
                  <a:pos x="223" y="27"/>
                </a:cxn>
                <a:cxn ang="0">
                  <a:pos x="221" y="36"/>
                </a:cxn>
                <a:cxn ang="0">
                  <a:pos x="216" y="42"/>
                </a:cxn>
                <a:cxn ang="0">
                  <a:pos x="210" y="45"/>
                </a:cxn>
                <a:cxn ang="0">
                  <a:pos x="206" y="52"/>
                </a:cxn>
                <a:cxn ang="0">
                  <a:pos x="210" y="63"/>
                </a:cxn>
                <a:cxn ang="0">
                  <a:pos x="204" y="74"/>
                </a:cxn>
                <a:cxn ang="0">
                  <a:pos x="195" y="77"/>
                </a:cxn>
                <a:cxn ang="0">
                  <a:pos x="183" y="74"/>
                </a:cxn>
                <a:cxn ang="0">
                  <a:pos x="179" y="79"/>
                </a:cxn>
                <a:cxn ang="0">
                  <a:pos x="178" y="86"/>
                </a:cxn>
                <a:cxn ang="0">
                  <a:pos x="167" y="97"/>
                </a:cxn>
                <a:cxn ang="0">
                  <a:pos x="142" y="110"/>
                </a:cxn>
                <a:cxn ang="0">
                  <a:pos x="132" y="112"/>
                </a:cxn>
                <a:cxn ang="0">
                  <a:pos x="121" y="115"/>
                </a:cxn>
                <a:cxn ang="0">
                  <a:pos x="102" y="115"/>
                </a:cxn>
                <a:cxn ang="0">
                  <a:pos x="91" y="117"/>
                </a:cxn>
                <a:cxn ang="0">
                  <a:pos x="77" y="117"/>
                </a:cxn>
                <a:cxn ang="0">
                  <a:pos x="66" y="106"/>
                </a:cxn>
                <a:cxn ang="0">
                  <a:pos x="59" y="106"/>
                </a:cxn>
                <a:cxn ang="0">
                  <a:pos x="48" y="110"/>
                </a:cxn>
                <a:cxn ang="0">
                  <a:pos x="27" y="96"/>
                </a:cxn>
                <a:cxn ang="0">
                  <a:pos x="12" y="92"/>
                </a:cxn>
                <a:cxn ang="0">
                  <a:pos x="4" y="84"/>
                </a:cxn>
                <a:cxn ang="0">
                  <a:pos x="0" y="73"/>
                </a:cxn>
              </a:cxnLst>
              <a:rect l="0" t="0" r="r" b="b"/>
              <a:pathLst>
                <a:path w="223" h="117">
                  <a:moveTo>
                    <a:pt x="0" y="73"/>
                  </a:moveTo>
                  <a:lnTo>
                    <a:pt x="5" y="69"/>
                  </a:lnTo>
                  <a:lnTo>
                    <a:pt x="11" y="72"/>
                  </a:lnTo>
                  <a:lnTo>
                    <a:pt x="50" y="75"/>
                  </a:lnTo>
                  <a:lnTo>
                    <a:pt x="81" y="73"/>
                  </a:lnTo>
                  <a:lnTo>
                    <a:pt x="88" y="69"/>
                  </a:lnTo>
                  <a:lnTo>
                    <a:pt x="88" y="62"/>
                  </a:lnTo>
                  <a:lnTo>
                    <a:pt x="89" y="58"/>
                  </a:lnTo>
                  <a:lnTo>
                    <a:pt x="93" y="51"/>
                  </a:lnTo>
                  <a:lnTo>
                    <a:pt x="98" y="47"/>
                  </a:lnTo>
                  <a:lnTo>
                    <a:pt x="102" y="49"/>
                  </a:lnTo>
                  <a:lnTo>
                    <a:pt x="97" y="58"/>
                  </a:lnTo>
                  <a:lnTo>
                    <a:pt x="96" y="68"/>
                  </a:lnTo>
                  <a:lnTo>
                    <a:pt x="102" y="72"/>
                  </a:lnTo>
                  <a:lnTo>
                    <a:pt x="110" y="69"/>
                  </a:lnTo>
                  <a:lnTo>
                    <a:pt x="119" y="69"/>
                  </a:lnTo>
                  <a:lnTo>
                    <a:pt x="126" y="73"/>
                  </a:lnTo>
                  <a:lnTo>
                    <a:pt x="135" y="72"/>
                  </a:lnTo>
                  <a:lnTo>
                    <a:pt x="142" y="69"/>
                  </a:lnTo>
                  <a:lnTo>
                    <a:pt x="160" y="47"/>
                  </a:lnTo>
                  <a:lnTo>
                    <a:pt x="169" y="41"/>
                  </a:lnTo>
                  <a:lnTo>
                    <a:pt x="175" y="42"/>
                  </a:lnTo>
                  <a:lnTo>
                    <a:pt x="184" y="37"/>
                  </a:lnTo>
                  <a:lnTo>
                    <a:pt x="185" y="27"/>
                  </a:lnTo>
                  <a:lnTo>
                    <a:pt x="183" y="18"/>
                  </a:lnTo>
                  <a:lnTo>
                    <a:pt x="179" y="9"/>
                  </a:lnTo>
                  <a:lnTo>
                    <a:pt x="179" y="4"/>
                  </a:lnTo>
                  <a:lnTo>
                    <a:pt x="188" y="2"/>
                  </a:lnTo>
                  <a:lnTo>
                    <a:pt x="195" y="5"/>
                  </a:lnTo>
                  <a:lnTo>
                    <a:pt x="201" y="5"/>
                  </a:lnTo>
                  <a:lnTo>
                    <a:pt x="204" y="3"/>
                  </a:lnTo>
                  <a:lnTo>
                    <a:pt x="210" y="0"/>
                  </a:lnTo>
                  <a:lnTo>
                    <a:pt x="217" y="4"/>
                  </a:lnTo>
                  <a:lnTo>
                    <a:pt x="222" y="14"/>
                  </a:lnTo>
                  <a:lnTo>
                    <a:pt x="223" y="27"/>
                  </a:lnTo>
                  <a:lnTo>
                    <a:pt x="221" y="36"/>
                  </a:lnTo>
                  <a:lnTo>
                    <a:pt x="216" y="42"/>
                  </a:lnTo>
                  <a:lnTo>
                    <a:pt x="210" y="45"/>
                  </a:lnTo>
                  <a:lnTo>
                    <a:pt x="206" y="52"/>
                  </a:lnTo>
                  <a:lnTo>
                    <a:pt x="210" y="63"/>
                  </a:lnTo>
                  <a:lnTo>
                    <a:pt x="204" y="74"/>
                  </a:lnTo>
                  <a:lnTo>
                    <a:pt x="195" y="77"/>
                  </a:lnTo>
                  <a:lnTo>
                    <a:pt x="183" y="74"/>
                  </a:lnTo>
                  <a:lnTo>
                    <a:pt x="179" y="79"/>
                  </a:lnTo>
                  <a:lnTo>
                    <a:pt x="178" y="86"/>
                  </a:lnTo>
                  <a:lnTo>
                    <a:pt x="167" y="97"/>
                  </a:lnTo>
                  <a:lnTo>
                    <a:pt x="142" y="110"/>
                  </a:lnTo>
                  <a:lnTo>
                    <a:pt x="132" y="112"/>
                  </a:lnTo>
                  <a:lnTo>
                    <a:pt x="121" y="115"/>
                  </a:lnTo>
                  <a:lnTo>
                    <a:pt x="102" y="115"/>
                  </a:lnTo>
                  <a:lnTo>
                    <a:pt x="91" y="117"/>
                  </a:lnTo>
                  <a:lnTo>
                    <a:pt x="77" y="117"/>
                  </a:lnTo>
                  <a:lnTo>
                    <a:pt x="66" y="106"/>
                  </a:lnTo>
                  <a:lnTo>
                    <a:pt x="59" y="106"/>
                  </a:lnTo>
                  <a:lnTo>
                    <a:pt x="48" y="110"/>
                  </a:lnTo>
                  <a:lnTo>
                    <a:pt x="27" y="96"/>
                  </a:lnTo>
                  <a:lnTo>
                    <a:pt x="12" y="92"/>
                  </a:lnTo>
                  <a:lnTo>
                    <a:pt x="4" y="84"/>
                  </a:lnTo>
                  <a:lnTo>
                    <a:pt x="0" y="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24" name="Freeform 68"/>
            <p:cNvSpPr>
              <a:spLocks noChangeAspect="1"/>
            </p:cNvSpPr>
            <p:nvPr/>
          </p:nvSpPr>
          <p:spPr bwMode="gray">
            <a:xfrm>
              <a:off x="8357179" y="4309247"/>
              <a:ext cx="173326" cy="155406"/>
            </a:xfrm>
            <a:custGeom>
              <a:avLst/>
              <a:gdLst/>
              <a:ahLst/>
              <a:cxnLst>
                <a:cxn ang="0">
                  <a:pos x="5" y="134"/>
                </a:cxn>
                <a:cxn ang="0">
                  <a:pos x="0" y="231"/>
                </a:cxn>
                <a:cxn ang="0">
                  <a:pos x="10" y="346"/>
                </a:cxn>
                <a:cxn ang="0">
                  <a:pos x="31" y="362"/>
                </a:cxn>
                <a:cxn ang="0">
                  <a:pos x="56" y="362"/>
                </a:cxn>
                <a:cxn ang="0">
                  <a:pos x="93" y="368"/>
                </a:cxn>
                <a:cxn ang="0">
                  <a:pos x="125" y="352"/>
                </a:cxn>
                <a:cxn ang="0">
                  <a:pos x="118" y="323"/>
                </a:cxn>
                <a:cxn ang="0">
                  <a:pos x="137" y="307"/>
                </a:cxn>
                <a:cxn ang="0">
                  <a:pos x="152" y="298"/>
                </a:cxn>
                <a:cxn ang="0">
                  <a:pos x="155" y="273"/>
                </a:cxn>
                <a:cxn ang="0">
                  <a:pos x="180" y="278"/>
                </a:cxn>
                <a:cxn ang="0">
                  <a:pos x="196" y="276"/>
                </a:cxn>
                <a:cxn ang="0">
                  <a:pos x="211" y="279"/>
                </a:cxn>
                <a:cxn ang="0">
                  <a:pos x="232" y="289"/>
                </a:cxn>
                <a:cxn ang="0">
                  <a:pos x="258" y="296"/>
                </a:cxn>
                <a:cxn ang="0">
                  <a:pos x="291" y="323"/>
                </a:cxn>
                <a:cxn ang="0">
                  <a:pos x="330" y="356"/>
                </a:cxn>
                <a:cxn ang="0">
                  <a:pos x="335" y="375"/>
                </a:cxn>
                <a:cxn ang="0">
                  <a:pos x="357" y="392"/>
                </a:cxn>
                <a:cxn ang="0">
                  <a:pos x="388" y="415"/>
                </a:cxn>
                <a:cxn ang="0">
                  <a:pos x="425" y="419"/>
                </a:cxn>
                <a:cxn ang="0">
                  <a:pos x="495" y="435"/>
                </a:cxn>
                <a:cxn ang="0">
                  <a:pos x="526" y="441"/>
                </a:cxn>
                <a:cxn ang="0">
                  <a:pos x="515" y="427"/>
                </a:cxn>
                <a:cxn ang="0">
                  <a:pos x="544" y="425"/>
                </a:cxn>
                <a:cxn ang="0">
                  <a:pos x="506" y="413"/>
                </a:cxn>
                <a:cxn ang="0">
                  <a:pos x="496" y="391"/>
                </a:cxn>
                <a:cxn ang="0">
                  <a:pos x="462" y="383"/>
                </a:cxn>
                <a:cxn ang="0">
                  <a:pos x="456" y="357"/>
                </a:cxn>
                <a:cxn ang="0">
                  <a:pos x="419" y="351"/>
                </a:cxn>
                <a:cxn ang="0">
                  <a:pos x="397" y="323"/>
                </a:cxn>
                <a:cxn ang="0">
                  <a:pos x="393" y="301"/>
                </a:cxn>
                <a:cxn ang="0">
                  <a:pos x="367" y="285"/>
                </a:cxn>
                <a:cxn ang="0">
                  <a:pos x="341" y="255"/>
                </a:cxn>
                <a:cxn ang="0">
                  <a:pos x="339" y="231"/>
                </a:cxn>
                <a:cxn ang="0">
                  <a:pos x="370" y="227"/>
                </a:cxn>
                <a:cxn ang="0">
                  <a:pos x="375" y="201"/>
                </a:cxn>
                <a:cxn ang="0">
                  <a:pos x="348" y="187"/>
                </a:cxn>
                <a:cxn ang="0">
                  <a:pos x="296" y="166"/>
                </a:cxn>
                <a:cxn ang="0">
                  <a:pos x="266" y="136"/>
                </a:cxn>
                <a:cxn ang="0">
                  <a:pos x="238" y="103"/>
                </a:cxn>
                <a:cxn ang="0">
                  <a:pos x="193" y="70"/>
                </a:cxn>
                <a:cxn ang="0">
                  <a:pos x="166" y="61"/>
                </a:cxn>
                <a:cxn ang="0">
                  <a:pos x="92" y="36"/>
                </a:cxn>
                <a:cxn ang="0">
                  <a:pos x="42" y="16"/>
                </a:cxn>
                <a:cxn ang="0">
                  <a:pos x="1" y="0"/>
                </a:cxn>
              </a:cxnLst>
              <a:rect l="0" t="0" r="r" b="b"/>
              <a:pathLst>
                <a:path w="544" h="446">
                  <a:moveTo>
                    <a:pt x="1" y="0"/>
                  </a:moveTo>
                  <a:lnTo>
                    <a:pt x="0" y="9"/>
                  </a:lnTo>
                  <a:lnTo>
                    <a:pt x="5" y="134"/>
                  </a:lnTo>
                  <a:lnTo>
                    <a:pt x="5" y="206"/>
                  </a:lnTo>
                  <a:lnTo>
                    <a:pt x="1" y="227"/>
                  </a:lnTo>
                  <a:lnTo>
                    <a:pt x="0" y="231"/>
                  </a:lnTo>
                  <a:lnTo>
                    <a:pt x="7" y="248"/>
                  </a:lnTo>
                  <a:lnTo>
                    <a:pt x="7" y="289"/>
                  </a:lnTo>
                  <a:lnTo>
                    <a:pt x="10" y="346"/>
                  </a:lnTo>
                  <a:lnTo>
                    <a:pt x="13" y="360"/>
                  </a:lnTo>
                  <a:lnTo>
                    <a:pt x="26" y="359"/>
                  </a:lnTo>
                  <a:lnTo>
                    <a:pt x="31" y="362"/>
                  </a:lnTo>
                  <a:lnTo>
                    <a:pt x="39" y="365"/>
                  </a:lnTo>
                  <a:lnTo>
                    <a:pt x="48" y="365"/>
                  </a:lnTo>
                  <a:lnTo>
                    <a:pt x="56" y="362"/>
                  </a:lnTo>
                  <a:lnTo>
                    <a:pt x="72" y="362"/>
                  </a:lnTo>
                  <a:lnTo>
                    <a:pt x="77" y="362"/>
                  </a:lnTo>
                  <a:lnTo>
                    <a:pt x="93" y="368"/>
                  </a:lnTo>
                  <a:lnTo>
                    <a:pt x="99" y="366"/>
                  </a:lnTo>
                  <a:lnTo>
                    <a:pt x="114" y="356"/>
                  </a:lnTo>
                  <a:lnTo>
                    <a:pt x="125" y="352"/>
                  </a:lnTo>
                  <a:lnTo>
                    <a:pt x="130" y="346"/>
                  </a:lnTo>
                  <a:lnTo>
                    <a:pt x="124" y="330"/>
                  </a:lnTo>
                  <a:lnTo>
                    <a:pt x="118" y="323"/>
                  </a:lnTo>
                  <a:lnTo>
                    <a:pt x="112" y="317"/>
                  </a:lnTo>
                  <a:lnTo>
                    <a:pt x="131" y="312"/>
                  </a:lnTo>
                  <a:lnTo>
                    <a:pt x="137" y="307"/>
                  </a:lnTo>
                  <a:lnTo>
                    <a:pt x="135" y="302"/>
                  </a:lnTo>
                  <a:lnTo>
                    <a:pt x="140" y="297"/>
                  </a:lnTo>
                  <a:lnTo>
                    <a:pt x="152" y="298"/>
                  </a:lnTo>
                  <a:lnTo>
                    <a:pt x="160" y="296"/>
                  </a:lnTo>
                  <a:lnTo>
                    <a:pt x="157" y="287"/>
                  </a:lnTo>
                  <a:lnTo>
                    <a:pt x="155" y="273"/>
                  </a:lnTo>
                  <a:lnTo>
                    <a:pt x="161" y="278"/>
                  </a:lnTo>
                  <a:lnTo>
                    <a:pt x="173" y="280"/>
                  </a:lnTo>
                  <a:lnTo>
                    <a:pt x="180" y="278"/>
                  </a:lnTo>
                  <a:lnTo>
                    <a:pt x="184" y="273"/>
                  </a:lnTo>
                  <a:lnTo>
                    <a:pt x="189" y="269"/>
                  </a:lnTo>
                  <a:lnTo>
                    <a:pt x="196" y="276"/>
                  </a:lnTo>
                  <a:lnTo>
                    <a:pt x="203" y="273"/>
                  </a:lnTo>
                  <a:lnTo>
                    <a:pt x="210" y="275"/>
                  </a:lnTo>
                  <a:lnTo>
                    <a:pt x="211" y="279"/>
                  </a:lnTo>
                  <a:lnTo>
                    <a:pt x="216" y="282"/>
                  </a:lnTo>
                  <a:lnTo>
                    <a:pt x="223" y="284"/>
                  </a:lnTo>
                  <a:lnTo>
                    <a:pt x="232" y="289"/>
                  </a:lnTo>
                  <a:lnTo>
                    <a:pt x="238" y="290"/>
                  </a:lnTo>
                  <a:lnTo>
                    <a:pt x="247" y="296"/>
                  </a:lnTo>
                  <a:lnTo>
                    <a:pt x="258" y="296"/>
                  </a:lnTo>
                  <a:lnTo>
                    <a:pt x="278" y="302"/>
                  </a:lnTo>
                  <a:lnTo>
                    <a:pt x="289" y="311"/>
                  </a:lnTo>
                  <a:lnTo>
                    <a:pt x="291" y="323"/>
                  </a:lnTo>
                  <a:lnTo>
                    <a:pt x="306" y="341"/>
                  </a:lnTo>
                  <a:lnTo>
                    <a:pt x="312" y="354"/>
                  </a:lnTo>
                  <a:lnTo>
                    <a:pt x="330" y="356"/>
                  </a:lnTo>
                  <a:lnTo>
                    <a:pt x="328" y="365"/>
                  </a:lnTo>
                  <a:lnTo>
                    <a:pt x="329" y="367"/>
                  </a:lnTo>
                  <a:lnTo>
                    <a:pt x="335" y="375"/>
                  </a:lnTo>
                  <a:lnTo>
                    <a:pt x="343" y="378"/>
                  </a:lnTo>
                  <a:lnTo>
                    <a:pt x="350" y="384"/>
                  </a:lnTo>
                  <a:lnTo>
                    <a:pt x="357" y="392"/>
                  </a:lnTo>
                  <a:lnTo>
                    <a:pt x="373" y="410"/>
                  </a:lnTo>
                  <a:lnTo>
                    <a:pt x="378" y="410"/>
                  </a:lnTo>
                  <a:lnTo>
                    <a:pt x="388" y="415"/>
                  </a:lnTo>
                  <a:lnTo>
                    <a:pt x="399" y="416"/>
                  </a:lnTo>
                  <a:lnTo>
                    <a:pt x="408" y="419"/>
                  </a:lnTo>
                  <a:lnTo>
                    <a:pt x="425" y="419"/>
                  </a:lnTo>
                  <a:lnTo>
                    <a:pt x="442" y="424"/>
                  </a:lnTo>
                  <a:lnTo>
                    <a:pt x="494" y="431"/>
                  </a:lnTo>
                  <a:lnTo>
                    <a:pt x="495" y="435"/>
                  </a:lnTo>
                  <a:lnTo>
                    <a:pt x="497" y="441"/>
                  </a:lnTo>
                  <a:lnTo>
                    <a:pt x="512" y="446"/>
                  </a:lnTo>
                  <a:lnTo>
                    <a:pt x="526" y="441"/>
                  </a:lnTo>
                  <a:lnTo>
                    <a:pt x="531" y="435"/>
                  </a:lnTo>
                  <a:lnTo>
                    <a:pt x="522" y="429"/>
                  </a:lnTo>
                  <a:lnTo>
                    <a:pt x="515" y="427"/>
                  </a:lnTo>
                  <a:lnTo>
                    <a:pt x="522" y="426"/>
                  </a:lnTo>
                  <a:lnTo>
                    <a:pt x="533" y="427"/>
                  </a:lnTo>
                  <a:lnTo>
                    <a:pt x="544" y="425"/>
                  </a:lnTo>
                  <a:lnTo>
                    <a:pt x="542" y="420"/>
                  </a:lnTo>
                  <a:lnTo>
                    <a:pt x="517" y="416"/>
                  </a:lnTo>
                  <a:lnTo>
                    <a:pt x="506" y="413"/>
                  </a:lnTo>
                  <a:lnTo>
                    <a:pt x="486" y="402"/>
                  </a:lnTo>
                  <a:lnTo>
                    <a:pt x="489" y="394"/>
                  </a:lnTo>
                  <a:lnTo>
                    <a:pt x="496" y="391"/>
                  </a:lnTo>
                  <a:lnTo>
                    <a:pt x="486" y="386"/>
                  </a:lnTo>
                  <a:lnTo>
                    <a:pt x="473" y="383"/>
                  </a:lnTo>
                  <a:lnTo>
                    <a:pt x="462" y="383"/>
                  </a:lnTo>
                  <a:lnTo>
                    <a:pt x="453" y="377"/>
                  </a:lnTo>
                  <a:lnTo>
                    <a:pt x="454" y="367"/>
                  </a:lnTo>
                  <a:lnTo>
                    <a:pt x="456" y="357"/>
                  </a:lnTo>
                  <a:lnTo>
                    <a:pt x="451" y="354"/>
                  </a:lnTo>
                  <a:lnTo>
                    <a:pt x="426" y="356"/>
                  </a:lnTo>
                  <a:lnTo>
                    <a:pt x="419" y="351"/>
                  </a:lnTo>
                  <a:lnTo>
                    <a:pt x="410" y="336"/>
                  </a:lnTo>
                  <a:lnTo>
                    <a:pt x="403" y="330"/>
                  </a:lnTo>
                  <a:lnTo>
                    <a:pt x="397" y="323"/>
                  </a:lnTo>
                  <a:lnTo>
                    <a:pt x="397" y="309"/>
                  </a:lnTo>
                  <a:lnTo>
                    <a:pt x="395" y="303"/>
                  </a:lnTo>
                  <a:lnTo>
                    <a:pt x="393" y="301"/>
                  </a:lnTo>
                  <a:lnTo>
                    <a:pt x="387" y="300"/>
                  </a:lnTo>
                  <a:lnTo>
                    <a:pt x="383" y="296"/>
                  </a:lnTo>
                  <a:lnTo>
                    <a:pt x="367" y="285"/>
                  </a:lnTo>
                  <a:lnTo>
                    <a:pt x="356" y="271"/>
                  </a:lnTo>
                  <a:lnTo>
                    <a:pt x="348" y="268"/>
                  </a:lnTo>
                  <a:lnTo>
                    <a:pt x="341" y="255"/>
                  </a:lnTo>
                  <a:lnTo>
                    <a:pt x="339" y="244"/>
                  </a:lnTo>
                  <a:lnTo>
                    <a:pt x="334" y="237"/>
                  </a:lnTo>
                  <a:lnTo>
                    <a:pt x="339" y="231"/>
                  </a:lnTo>
                  <a:lnTo>
                    <a:pt x="351" y="231"/>
                  </a:lnTo>
                  <a:lnTo>
                    <a:pt x="362" y="230"/>
                  </a:lnTo>
                  <a:lnTo>
                    <a:pt x="370" y="227"/>
                  </a:lnTo>
                  <a:lnTo>
                    <a:pt x="378" y="227"/>
                  </a:lnTo>
                  <a:lnTo>
                    <a:pt x="379" y="212"/>
                  </a:lnTo>
                  <a:lnTo>
                    <a:pt x="375" y="201"/>
                  </a:lnTo>
                  <a:lnTo>
                    <a:pt x="366" y="193"/>
                  </a:lnTo>
                  <a:lnTo>
                    <a:pt x="356" y="187"/>
                  </a:lnTo>
                  <a:lnTo>
                    <a:pt x="348" y="187"/>
                  </a:lnTo>
                  <a:lnTo>
                    <a:pt x="323" y="182"/>
                  </a:lnTo>
                  <a:lnTo>
                    <a:pt x="314" y="178"/>
                  </a:lnTo>
                  <a:lnTo>
                    <a:pt x="296" y="166"/>
                  </a:lnTo>
                  <a:lnTo>
                    <a:pt x="270" y="160"/>
                  </a:lnTo>
                  <a:lnTo>
                    <a:pt x="266" y="156"/>
                  </a:lnTo>
                  <a:lnTo>
                    <a:pt x="266" y="136"/>
                  </a:lnTo>
                  <a:lnTo>
                    <a:pt x="262" y="124"/>
                  </a:lnTo>
                  <a:lnTo>
                    <a:pt x="250" y="112"/>
                  </a:lnTo>
                  <a:lnTo>
                    <a:pt x="238" y="103"/>
                  </a:lnTo>
                  <a:lnTo>
                    <a:pt x="225" y="97"/>
                  </a:lnTo>
                  <a:lnTo>
                    <a:pt x="201" y="82"/>
                  </a:lnTo>
                  <a:lnTo>
                    <a:pt x="193" y="70"/>
                  </a:lnTo>
                  <a:lnTo>
                    <a:pt x="188" y="65"/>
                  </a:lnTo>
                  <a:lnTo>
                    <a:pt x="177" y="65"/>
                  </a:lnTo>
                  <a:lnTo>
                    <a:pt x="166" y="61"/>
                  </a:lnTo>
                  <a:lnTo>
                    <a:pt x="124" y="43"/>
                  </a:lnTo>
                  <a:lnTo>
                    <a:pt x="102" y="39"/>
                  </a:lnTo>
                  <a:lnTo>
                    <a:pt x="92" y="36"/>
                  </a:lnTo>
                  <a:lnTo>
                    <a:pt x="81" y="33"/>
                  </a:lnTo>
                  <a:lnTo>
                    <a:pt x="63" y="22"/>
                  </a:lnTo>
                  <a:lnTo>
                    <a:pt x="42" y="16"/>
                  </a:lnTo>
                  <a:lnTo>
                    <a:pt x="31" y="10"/>
                  </a:lnTo>
                  <a:lnTo>
                    <a:pt x="16" y="7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grpSp>
          <p:nvGrpSpPr>
            <p:cNvPr id="25" name="Group 69"/>
            <p:cNvGrpSpPr>
              <a:grpSpLocks noChangeAspect="1"/>
            </p:cNvGrpSpPr>
            <p:nvPr/>
          </p:nvGrpSpPr>
          <p:grpSpPr>
            <a:xfrm>
              <a:off x="7942152" y="3898905"/>
              <a:ext cx="162194" cy="254936"/>
              <a:chOff x="3802" y="2280"/>
              <a:chExt cx="102" cy="146"/>
            </a:xfrm>
            <a:grpFill/>
          </p:grpSpPr>
          <p:sp>
            <p:nvSpPr>
              <p:cNvPr id="353" name="Freeform 70"/>
              <p:cNvSpPr>
                <a:spLocks noChangeAspect="1"/>
              </p:cNvSpPr>
              <p:nvPr/>
            </p:nvSpPr>
            <p:spPr bwMode="gray">
              <a:xfrm>
                <a:off x="3802" y="2362"/>
                <a:ext cx="25" cy="33"/>
              </a:xfrm>
              <a:custGeom>
                <a:avLst/>
                <a:gdLst/>
                <a:ahLst/>
                <a:cxnLst>
                  <a:cxn ang="0">
                    <a:pos x="120" y="2"/>
                  </a:cxn>
                  <a:cxn ang="0">
                    <a:pos x="123" y="0"/>
                  </a:cxn>
                  <a:cxn ang="0">
                    <a:pos x="124" y="1"/>
                  </a:cxn>
                  <a:cxn ang="0">
                    <a:pos x="125" y="15"/>
                  </a:cxn>
                  <a:cxn ang="0">
                    <a:pos x="126" y="18"/>
                  </a:cxn>
                  <a:cxn ang="0">
                    <a:pos x="124" y="23"/>
                  </a:cxn>
                  <a:cxn ang="0">
                    <a:pos x="124" y="32"/>
                  </a:cxn>
                  <a:cxn ang="0">
                    <a:pos x="129" y="47"/>
                  </a:cxn>
                  <a:cxn ang="0">
                    <a:pos x="126" y="53"/>
                  </a:cxn>
                  <a:cxn ang="0">
                    <a:pos x="117" y="59"/>
                  </a:cxn>
                  <a:cxn ang="0">
                    <a:pos x="112" y="67"/>
                  </a:cxn>
                  <a:cxn ang="0">
                    <a:pos x="103" y="76"/>
                  </a:cxn>
                  <a:cxn ang="0">
                    <a:pos x="93" y="80"/>
                  </a:cxn>
                  <a:cxn ang="0">
                    <a:pos x="86" y="85"/>
                  </a:cxn>
                  <a:cxn ang="0">
                    <a:pos x="82" y="98"/>
                  </a:cxn>
                  <a:cxn ang="0">
                    <a:pos x="70" y="112"/>
                  </a:cxn>
                  <a:cxn ang="0">
                    <a:pos x="49" y="130"/>
                  </a:cxn>
                  <a:cxn ang="0">
                    <a:pos x="37" y="142"/>
                  </a:cxn>
                  <a:cxn ang="0">
                    <a:pos x="28" y="150"/>
                  </a:cxn>
                  <a:cxn ang="0">
                    <a:pos x="19" y="151"/>
                  </a:cxn>
                  <a:cxn ang="0">
                    <a:pos x="13" y="158"/>
                  </a:cxn>
                  <a:cxn ang="0">
                    <a:pos x="6" y="163"/>
                  </a:cxn>
                  <a:cxn ang="0">
                    <a:pos x="0" y="163"/>
                  </a:cxn>
                  <a:cxn ang="0">
                    <a:pos x="2" y="150"/>
                  </a:cxn>
                  <a:cxn ang="0">
                    <a:pos x="10" y="137"/>
                  </a:cxn>
                  <a:cxn ang="0">
                    <a:pos x="17" y="130"/>
                  </a:cxn>
                  <a:cxn ang="0">
                    <a:pos x="32" y="119"/>
                  </a:cxn>
                  <a:cxn ang="0">
                    <a:pos x="37" y="118"/>
                  </a:cxn>
                  <a:cxn ang="0">
                    <a:pos x="69" y="85"/>
                  </a:cxn>
                  <a:cxn ang="0">
                    <a:pos x="77" y="75"/>
                  </a:cxn>
                  <a:cxn ang="0">
                    <a:pos x="82" y="71"/>
                  </a:cxn>
                  <a:cxn ang="0">
                    <a:pos x="88" y="61"/>
                  </a:cxn>
                  <a:cxn ang="0">
                    <a:pos x="97" y="55"/>
                  </a:cxn>
                  <a:cxn ang="0">
                    <a:pos x="104" y="53"/>
                  </a:cxn>
                  <a:cxn ang="0">
                    <a:pos x="112" y="39"/>
                  </a:cxn>
                  <a:cxn ang="0">
                    <a:pos x="110" y="29"/>
                  </a:cxn>
                  <a:cxn ang="0">
                    <a:pos x="113" y="34"/>
                  </a:cxn>
                  <a:cxn ang="0">
                    <a:pos x="117" y="31"/>
                  </a:cxn>
                  <a:cxn ang="0">
                    <a:pos x="115" y="27"/>
                  </a:cxn>
                  <a:cxn ang="0">
                    <a:pos x="112" y="23"/>
                  </a:cxn>
                  <a:cxn ang="0">
                    <a:pos x="114" y="21"/>
                  </a:cxn>
                  <a:cxn ang="0">
                    <a:pos x="117" y="13"/>
                  </a:cxn>
                  <a:cxn ang="0">
                    <a:pos x="118" y="5"/>
                  </a:cxn>
                  <a:cxn ang="0">
                    <a:pos x="120" y="2"/>
                  </a:cxn>
                </a:cxnLst>
                <a:rect l="0" t="0" r="r" b="b"/>
                <a:pathLst>
                  <a:path w="129" h="163">
                    <a:moveTo>
                      <a:pt x="120" y="2"/>
                    </a:moveTo>
                    <a:lnTo>
                      <a:pt x="123" y="0"/>
                    </a:lnTo>
                    <a:lnTo>
                      <a:pt x="124" y="1"/>
                    </a:lnTo>
                    <a:lnTo>
                      <a:pt x="125" y="15"/>
                    </a:lnTo>
                    <a:lnTo>
                      <a:pt x="126" y="18"/>
                    </a:lnTo>
                    <a:lnTo>
                      <a:pt x="124" y="23"/>
                    </a:lnTo>
                    <a:lnTo>
                      <a:pt x="124" y="32"/>
                    </a:lnTo>
                    <a:lnTo>
                      <a:pt x="129" y="47"/>
                    </a:lnTo>
                    <a:lnTo>
                      <a:pt x="126" y="53"/>
                    </a:lnTo>
                    <a:lnTo>
                      <a:pt x="117" y="59"/>
                    </a:lnTo>
                    <a:lnTo>
                      <a:pt x="112" y="67"/>
                    </a:lnTo>
                    <a:lnTo>
                      <a:pt x="103" y="76"/>
                    </a:lnTo>
                    <a:lnTo>
                      <a:pt x="93" y="80"/>
                    </a:lnTo>
                    <a:lnTo>
                      <a:pt x="86" y="85"/>
                    </a:lnTo>
                    <a:lnTo>
                      <a:pt x="82" y="98"/>
                    </a:lnTo>
                    <a:lnTo>
                      <a:pt x="70" y="112"/>
                    </a:lnTo>
                    <a:lnTo>
                      <a:pt x="49" y="130"/>
                    </a:lnTo>
                    <a:lnTo>
                      <a:pt x="37" y="142"/>
                    </a:lnTo>
                    <a:lnTo>
                      <a:pt x="28" y="150"/>
                    </a:lnTo>
                    <a:lnTo>
                      <a:pt x="19" y="151"/>
                    </a:lnTo>
                    <a:lnTo>
                      <a:pt x="13" y="158"/>
                    </a:lnTo>
                    <a:lnTo>
                      <a:pt x="6" y="163"/>
                    </a:lnTo>
                    <a:lnTo>
                      <a:pt x="0" y="163"/>
                    </a:lnTo>
                    <a:lnTo>
                      <a:pt x="2" y="150"/>
                    </a:lnTo>
                    <a:lnTo>
                      <a:pt x="10" y="137"/>
                    </a:lnTo>
                    <a:lnTo>
                      <a:pt x="17" y="130"/>
                    </a:lnTo>
                    <a:lnTo>
                      <a:pt x="32" y="119"/>
                    </a:lnTo>
                    <a:lnTo>
                      <a:pt x="37" y="118"/>
                    </a:lnTo>
                    <a:lnTo>
                      <a:pt x="69" y="85"/>
                    </a:lnTo>
                    <a:lnTo>
                      <a:pt x="77" y="75"/>
                    </a:lnTo>
                    <a:lnTo>
                      <a:pt x="82" y="71"/>
                    </a:lnTo>
                    <a:lnTo>
                      <a:pt x="88" y="61"/>
                    </a:lnTo>
                    <a:lnTo>
                      <a:pt x="97" y="55"/>
                    </a:lnTo>
                    <a:lnTo>
                      <a:pt x="104" y="53"/>
                    </a:lnTo>
                    <a:lnTo>
                      <a:pt x="112" y="39"/>
                    </a:lnTo>
                    <a:lnTo>
                      <a:pt x="110" y="29"/>
                    </a:lnTo>
                    <a:lnTo>
                      <a:pt x="113" y="34"/>
                    </a:lnTo>
                    <a:lnTo>
                      <a:pt x="117" y="31"/>
                    </a:lnTo>
                    <a:lnTo>
                      <a:pt x="115" y="27"/>
                    </a:lnTo>
                    <a:lnTo>
                      <a:pt x="112" y="23"/>
                    </a:lnTo>
                    <a:lnTo>
                      <a:pt x="114" y="21"/>
                    </a:lnTo>
                    <a:lnTo>
                      <a:pt x="117" y="13"/>
                    </a:lnTo>
                    <a:lnTo>
                      <a:pt x="118" y="5"/>
                    </a:lnTo>
                    <a:lnTo>
                      <a:pt x="120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54" name="Freeform 71"/>
              <p:cNvSpPr>
                <a:spLocks noChangeAspect="1"/>
              </p:cNvSpPr>
              <p:nvPr/>
            </p:nvSpPr>
            <p:spPr bwMode="gray">
              <a:xfrm>
                <a:off x="3835" y="2339"/>
                <a:ext cx="14" cy="14"/>
              </a:xfrm>
              <a:custGeom>
                <a:avLst/>
                <a:gdLst/>
                <a:ahLst/>
                <a:cxnLst>
                  <a:cxn ang="0">
                    <a:pos x="2" y="3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32" y="0"/>
                  </a:cxn>
                  <a:cxn ang="0">
                    <a:pos x="37" y="0"/>
                  </a:cxn>
                  <a:cxn ang="0">
                    <a:pos x="47" y="3"/>
                  </a:cxn>
                  <a:cxn ang="0">
                    <a:pos x="56" y="10"/>
                  </a:cxn>
                  <a:cxn ang="0">
                    <a:pos x="59" y="16"/>
                  </a:cxn>
                  <a:cxn ang="0">
                    <a:pos x="63" y="17"/>
                  </a:cxn>
                  <a:cxn ang="0">
                    <a:pos x="64" y="28"/>
                  </a:cxn>
                  <a:cxn ang="0">
                    <a:pos x="64" y="38"/>
                  </a:cxn>
                  <a:cxn ang="0">
                    <a:pos x="67" y="51"/>
                  </a:cxn>
                  <a:cxn ang="0">
                    <a:pos x="63" y="54"/>
                  </a:cxn>
                  <a:cxn ang="0">
                    <a:pos x="63" y="62"/>
                  </a:cxn>
                  <a:cxn ang="0">
                    <a:pos x="48" y="71"/>
                  </a:cxn>
                  <a:cxn ang="0">
                    <a:pos x="45" y="64"/>
                  </a:cxn>
                  <a:cxn ang="0">
                    <a:pos x="36" y="57"/>
                  </a:cxn>
                  <a:cxn ang="0">
                    <a:pos x="26" y="36"/>
                  </a:cxn>
                  <a:cxn ang="0">
                    <a:pos x="25" y="25"/>
                  </a:cxn>
                  <a:cxn ang="0">
                    <a:pos x="20" y="16"/>
                  </a:cxn>
                  <a:cxn ang="0">
                    <a:pos x="13" y="13"/>
                  </a:cxn>
                  <a:cxn ang="0">
                    <a:pos x="10" y="4"/>
                  </a:cxn>
                  <a:cxn ang="0">
                    <a:pos x="5" y="3"/>
                  </a:cxn>
                  <a:cxn ang="0">
                    <a:pos x="2" y="3"/>
                  </a:cxn>
                </a:cxnLst>
                <a:rect l="0" t="0" r="r" b="b"/>
                <a:pathLst>
                  <a:path w="67" h="71">
                    <a:moveTo>
                      <a:pt x="2" y="3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32" y="0"/>
                    </a:lnTo>
                    <a:lnTo>
                      <a:pt x="37" y="0"/>
                    </a:lnTo>
                    <a:lnTo>
                      <a:pt x="47" y="3"/>
                    </a:lnTo>
                    <a:lnTo>
                      <a:pt x="56" y="10"/>
                    </a:lnTo>
                    <a:lnTo>
                      <a:pt x="59" y="16"/>
                    </a:lnTo>
                    <a:lnTo>
                      <a:pt x="63" y="17"/>
                    </a:lnTo>
                    <a:lnTo>
                      <a:pt x="64" y="28"/>
                    </a:lnTo>
                    <a:lnTo>
                      <a:pt x="64" y="38"/>
                    </a:lnTo>
                    <a:lnTo>
                      <a:pt x="67" y="51"/>
                    </a:lnTo>
                    <a:lnTo>
                      <a:pt x="63" y="54"/>
                    </a:lnTo>
                    <a:lnTo>
                      <a:pt x="63" y="62"/>
                    </a:lnTo>
                    <a:lnTo>
                      <a:pt x="48" y="71"/>
                    </a:lnTo>
                    <a:lnTo>
                      <a:pt x="45" y="64"/>
                    </a:lnTo>
                    <a:lnTo>
                      <a:pt x="36" y="57"/>
                    </a:lnTo>
                    <a:lnTo>
                      <a:pt x="26" y="36"/>
                    </a:lnTo>
                    <a:lnTo>
                      <a:pt x="25" y="25"/>
                    </a:lnTo>
                    <a:lnTo>
                      <a:pt x="20" y="16"/>
                    </a:lnTo>
                    <a:lnTo>
                      <a:pt x="13" y="13"/>
                    </a:lnTo>
                    <a:lnTo>
                      <a:pt x="10" y="4"/>
                    </a:lnTo>
                    <a:lnTo>
                      <a:pt x="5" y="3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55" name="Freeform 72"/>
              <p:cNvSpPr>
                <a:spLocks noChangeAspect="1"/>
              </p:cNvSpPr>
              <p:nvPr/>
            </p:nvSpPr>
            <p:spPr bwMode="gray">
              <a:xfrm>
                <a:off x="3830" y="2280"/>
                <a:ext cx="47" cy="69"/>
              </a:xfrm>
              <a:custGeom>
                <a:avLst/>
                <a:gdLst/>
                <a:ahLst/>
                <a:cxnLst>
                  <a:cxn ang="0">
                    <a:pos x="139" y="17"/>
                  </a:cxn>
                  <a:cxn ang="0">
                    <a:pos x="129" y="44"/>
                  </a:cxn>
                  <a:cxn ang="0">
                    <a:pos x="139" y="75"/>
                  </a:cxn>
                  <a:cxn ang="0">
                    <a:pos x="146" y="97"/>
                  </a:cxn>
                  <a:cxn ang="0">
                    <a:pos x="133" y="132"/>
                  </a:cxn>
                  <a:cxn ang="0">
                    <a:pos x="120" y="144"/>
                  </a:cxn>
                  <a:cxn ang="0">
                    <a:pos x="98" y="165"/>
                  </a:cxn>
                  <a:cxn ang="0">
                    <a:pos x="87" y="188"/>
                  </a:cxn>
                  <a:cxn ang="0">
                    <a:pos x="98" y="216"/>
                  </a:cxn>
                  <a:cxn ang="0">
                    <a:pos x="99" y="238"/>
                  </a:cxn>
                  <a:cxn ang="0">
                    <a:pos x="120" y="268"/>
                  </a:cxn>
                  <a:cxn ang="0">
                    <a:pos x="131" y="261"/>
                  </a:cxn>
                  <a:cxn ang="0">
                    <a:pos x="145" y="245"/>
                  </a:cxn>
                  <a:cxn ang="0">
                    <a:pos x="167" y="245"/>
                  </a:cxn>
                  <a:cxn ang="0">
                    <a:pos x="179" y="273"/>
                  </a:cxn>
                  <a:cxn ang="0">
                    <a:pos x="189" y="259"/>
                  </a:cxn>
                  <a:cxn ang="0">
                    <a:pos x="206" y="267"/>
                  </a:cxn>
                  <a:cxn ang="0">
                    <a:pos x="215" y="279"/>
                  </a:cxn>
                  <a:cxn ang="0">
                    <a:pos x="216" y="299"/>
                  </a:cxn>
                  <a:cxn ang="0">
                    <a:pos x="220" y="312"/>
                  </a:cxn>
                  <a:cxn ang="0">
                    <a:pos x="232" y="317"/>
                  </a:cxn>
                  <a:cxn ang="0">
                    <a:pos x="231" y="345"/>
                  </a:cxn>
                  <a:cxn ang="0">
                    <a:pos x="227" y="324"/>
                  </a:cxn>
                  <a:cxn ang="0">
                    <a:pos x="201" y="317"/>
                  </a:cxn>
                  <a:cxn ang="0">
                    <a:pos x="184" y="294"/>
                  </a:cxn>
                  <a:cxn ang="0">
                    <a:pos x="166" y="279"/>
                  </a:cxn>
                  <a:cxn ang="0">
                    <a:pos x="149" y="280"/>
                  </a:cxn>
                  <a:cxn ang="0">
                    <a:pos x="152" y="306"/>
                  </a:cxn>
                  <a:cxn ang="0">
                    <a:pos x="124" y="273"/>
                  </a:cxn>
                  <a:cxn ang="0">
                    <a:pos x="98" y="268"/>
                  </a:cxn>
                  <a:cxn ang="0">
                    <a:pos x="75" y="284"/>
                  </a:cxn>
                  <a:cxn ang="0">
                    <a:pos x="56" y="270"/>
                  </a:cxn>
                  <a:cxn ang="0">
                    <a:pos x="45" y="254"/>
                  </a:cxn>
                  <a:cxn ang="0">
                    <a:pos x="61" y="231"/>
                  </a:cxn>
                  <a:cxn ang="0">
                    <a:pos x="45" y="219"/>
                  </a:cxn>
                  <a:cxn ang="0">
                    <a:pos x="33" y="230"/>
                  </a:cxn>
                  <a:cxn ang="0">
                    <a:pos x="16" y="203"/>
                  </a:cxn>
                  <a:cxn ang="0">
                    <a:pos x="0" y="138"/>
                  </a:cxn>
                  <a:cxn ang="0">
                    <a:pos x="17" y="146"/>
                  </a:cxn>
                  <a:cxn ang="0">
                    <a:pos x="29" y="97"/>
                  </a:cxn>
                  <a:cxn ang="0">
                    <a:pos x="33" y="53"/>
                  </a:cxn>
                  <a:cxn ang="0">
                    <a:pos x="43" y="7"/>
                  </a:cxn>
                  <a:cxn ang="0">
                    <a:pos x="67" y="1"/>
                  </a:cxn>
                  <a:cxn ang="0">
                    <a:pos x="113" y="17"/>
                  </a:cxn>
                  <a:cxn ang="0">
                    <a:pos x="130" y="4"/>
                  </a:cxn>
                </a:cxnLst>
                <a:rect l="0" t="0" r="r" b="b"/>
                <a:pathLst>
                  <a:path w="236" h="345">
                    <a:moveTo>
                      <a:pt x="134" y="10"/>
                    </a:moveTo>
                    <a:lnTo>
                      <a:pt x="137" y="14"/>
                    </a:lnTo>
                    <a:lnTo>
                      <a:pt x="139" y="17"/>
                    </a:lnTo>
                    <a:lnTo>
                      <a:pt x="135" y="22"/>
                    </a:lnTo>
                    <a:lnTo>
                      <a:pt x="130" y="33"/>
                    </a:lnTo>
                    <a:lnTo>
                      <a:pt x="129" y="44"/>
                    </a:lnTo>
                    <a:lnTo>
                      <a:pt x="129" y="66"/>
                    </a:lnTo>
                    <a:lnTo>
                      <a:pt x="134" y="74"/>
                    </a:lnTo>
                    <a:lnTo>
                      <a:pt x="139" y="75"/>
                    </a:lnTo>
                    <a:lnTo>
                      <a:pt x="141" y="81"/>
                    </a:lnTo>
                    <a:lnTo>
                      <a:pt x="146" y="87"/>
                    </a:lnTo>
                    <a:lnTo>
                      <a:pt x="146" y="97"/>
                    </a:lnTo>
                    <a:lnTo>
                      <a:pt x="141" y="109"/>
                    </a:lnTo>
                    <a:lnTo>
                      <a:pt x="135" y="122"/>
                    </a:lnTo>
                    <a:lnTo>
                      <a:pt x="133" y="132"/>
                    </a:lnTo>
                    <a:lnTo>
                      <a:pt x="128" y="143"/>
                    </a:lnTo>
                    <a:lnTo>
                      <a:pt x="121" y="148"/>
                    </a:lnTo>
                    <a:lnTo>
                      <a:pt x="120" y="144"/>
                    </a:lnTo>
                    <a:lnTo>
                      <a:pt x="112" y="150"/>
                    </a:lnTo>
                    <a:lnTo>
                      <a:pt x="104" y="156"/>
                    </a:lnTo>
                    <a:lnTo>
                      <a:pt x="98" y="165"/>
                    </a:lnTo>
                    <a:lnTo>
                      <a:pt x="98" y="175"/>
                    </a:lnTo>
                    <a:lnTo>
                      <a:pt x="94" y="184"/>
                    </a:lnTo>
                    <a:lnTo>
                      <a:pt x="87" y="188"/>
                    </a:lnTo>
                    <a:lnTo>
                      <a:pt x="88" y="198"/>
                    </a:lnTo>
                    <a:lnTo>
                      <a:pt x="93" y="208"/>
                    </a:lnTo>
                    <a:lnTo>
                      <a:pt x="98" y="216"/>
                    </a:lnTo>
                    <a:lnTo>
                      <a:pt x="102" y="222"/>
                    </a:lnTo>
                    <a:lnTo>
                      <a:pt x="99" y="227"/>
                    </a:lnTo>
                    <a:lnTo>
                      <a:pt x="99" y="238"/>
                    </a:lnTo>
                    <a:lnTo>
                      <a:pt x="104" y="247"/>
                    </a:lnTo>
                    <a:lnTo>
                      <a:pt x="106" y="254"/>
                    </a:lnTo>
                    <a:lnTo>
                      <a:pt x="120" y="268"/>
                    </a:lnTo>
                    <a:lnTo>
                      <a:pt x="125" y="268"/>
                    </a:lnTo>
                    <a:lnTo>
                      <a:pt x="134" y="265"/>
                    </a:lnTo>
                    <a:lnTo>
                      <a:pt x="131" y="261"/>
                    </a:lnTo>
                    <a:lnTo>
                      <a:pt x="133" y="251"/>
                    </a:lnTo>
                    <a:lnTo>
                      <a:pt x="136" y="253"/>
                    </a:lnTo>
                    <a:lnTo>
                      <a:pt x="145" y="245"/>
                    </a:lnTo>
                    <a:lnTo>
                      <a:pt x="155" y="247"/>
                    </a:lnTo>
                    <a:lnTo>
                      <a:pt x="160" y="243"/>
                    </a:lnTo>
                    <a:lnTo>
                      <a:pt x="167" y="245"/>
                    </a:lnTo>
                    <a:lnTo>
                      <a:pt x="173" y="252"/>
                    </a:lnTo>
                    <a:lnTo>
                      <a:pt x="178" y="263"/>
                    </a:lnTo>
                    <a:lnTo>
                      <a:pt x="179" y="273"/>
                    </a:lnTo>
                    <a:lnTo>
                      <a:pt x="184" y="276"/>
                    </a:lnTo>
                    <a:lnTo>
                      <a:pt x="190" y="270"/>
                    </a:lnTo>
                    <a:lnTo>
                      <a:pt x="189" y="259"/>
                    </a:lnTo>
                    <a:lnTo>
                      <a:pt x="194" y="262"/>
                    </a:lnTo>
                    <a:lnTo>
                      <a:pt x="198" y="264"/>
                    </a:lnTo>
                    <a:lnTo>
                      <a:pt x="206" y="267"/>
                    </a:lnTo>
                    <a:lnTo>
                      <a:pt x="221" y="273"/>
                    </a:lnTo>
                    <a:lnTo>
                      <a:pt x="223" y="278"/>
                    </a:lnTo>
                    <a:lnTo>
                      <a:pt x="215" y="279"/>
                    </a:lnTo>
                    <a:lnTo>
                      <a:pt x="207" y="285"/>
                    </a:lnTo>
                    <a:lnTo>
                      <a:pt x="209" y="294"/>
                    </a:lnTo>
                    <a:lnTo>
                      <a:pt x="216" y="299"/>
                    </a:lnTo>
                    <a:lnTo>
                      <a:pt x="221" y="301"/>
                    </a:lnTo>
                    <a:lnTo>
                      <a:pt x="219" y="308"/>
                    </a:lnTo>
                    <a:lnTo>
                      <a:pt x="220" y="312"/>
                    </a:lnTo>
                    <a:lnTo>
                      <a:pt x="225" y="312"/>
                    </a:lnTo>
                    <a:lnTo>
                      <a:pt x="226" y="316"/>
                    </a:lnTo>
                    <a:lnTo>
                      <a:pt x="232" y="317"/>
                    </a:lnTo>
                    <a:lnTo>
                      <a:pt x="236" y="321"/>
                    </a:lnTo>
                    <a:lnTo>
                      <a:pt x="236" y="339"/>
                    </a:lnTo>
                    <a:lnTo>
                      <a:pt x="231" y="345"/>
                    </a:lnTo>
                    <a:lnTo>
                      <a:pt x="223" y="338"/>
                    </a:lnTo>
                    <a:lnTo>
                      <a:pt x="221" y="331"/>
                    </a:lnTo>
                    <a:lnTo>
                      <a:pt x="227" y="324"/>
                    </a:lnTo>
                    <a:lnTo>
                      <a:pt x="223" y="324"/>
                    </a:lnTo>
                    <a:lnTo>
                      <a:pt x="211" y="324"/>
                    </a:lnTo>
                    <a:lnTo>
                      <a:pt x="201" y="317"/>
                    </a:lnTo>
                    <a:lnTo>
                      <a:pt x="194" y="315"/>
                    </a:lnTo>
                    <a:lnTo>
                      <a:pt x="190" y="302"/>
                    </a:lnTo>
                    <a:lnTo>
                      <a:pt x="184" y="294"/>
                    </a:lnTo>
                    <a:lnTo>
                      <a:pt x="173" y="289"/>
                    </a:lnTo>
                    <a:lnTo>
                      <a:pt x="168" y="284"/>
                    </a:lnTo>
                    <a:lnTo>
                      <a:pt x="166" y="279"/>
                    </a:lnTo>
                    <a:lnTo>
                      <a:pt x="157" y="270"/>
                    </a:lnTo>
                    <a:lnTo>
                      <a:pt x="147" y="268"/>
                    </a:lnTo>
                    <a:lnTo>
                      <a:pt x="149" y="280"/>
                    </a:lnTo>
                    <a:lnTo>
                      <a:pt x="158" y="302"/>
                    </a:lnTo>
                    <a:lnTo>
                      <a:pt x="158" y="306"/>
                    </a:lnTo>
                    <a:lnTo>
                      <a:pt x="152" y="306"/>
                    </a:lnTo>
                    <a:lnTo>
                      <a:pt x="147" y="294"/>
                    </a:lnTo>
                    <a:lnTo>
                      <a:pt x="137" y="286"/>
                    </a:lnTo>
                    <a:lnTo>
                      <a:pt x="124" y="273"/>
                    </a:lnTo>
                    <a:lnTo>
                      <a:pt x="115" y="268"/>
                    </a:lnTo>
                    <a:lnTo>
                      <a:pt x="109" y="267"/>
                    </a:lnTo>
                    <a:lnTo>
                      <a:pt x="98" y="268"/>
                    </a:lnTo>
                    <a:lnTo>
                      <a:pt x="92" y="278"/>
                    </a:lnTo>
                    <a:lnTo>
                      <a:pt x="85" y="283"/>
                    </a:lnTo>
                    <a:lnTo>
                      <a:pt x="75" y="284"/>
                    </a:lnTo>
                    <a:lnTo>
                      <a:pt x="70" y="278"/>
                    </a:lnTo>
                    <a:lnTo>
                      <a:pt x="63" y="276"/>
                    </a:lnTo>
                    <a:lnTo>
                      <a:pt x="56" y="270"/>
                    </a:lnTo>
                    <a:lnTo>
                      <a:pt x="50" y="274"/>
                    </a:lnTo>
                    <a:lnTo>
                      <a:pt x="47" y="264"/>
                    </a:lnTo>
                    <a:lnTo>
                      <a:pt x="45" y="254"/>
                    </a:lnTo>
                    <a:lnTo>
                      <a:pt x="49" y="247"/>
                    </a:lnTo>
                    <a:lnTo>
                      <a:pt x="56" y="240"/>
                    </a:lnTo>
                    <a:lnTo>
                      <a:pt x="61" y="231"/>
                    </a:lnTo>
                    <a:lnTo>
                      <a:pt x="61" y="225"/>
                    </a:lnTo>
                    <a:lnTo>
                      <a:pt x="55" y="220"/>
                    </a:lnTo>
                    <a:lnTo>
                      <a:pt x="45" y="219"/>
                    </a:lnTo>
                    <a:lnTo>
                      <a:pt x="44" y="233"/>
                    </a:lnTo>
                    <a:lnTo>
                      <a:pt x="42" y="238"/>
                    </a:lnTo>
                    <a:lnTo>
                      <a:pt x="33" y="230"/>
                    </a:lnTo>
                    <a:lnTo>
                      <a:pt x="28" y="219"/>
                    </a:lnTo>
                    <a:lnTo>
                      <a:pt x="21" y="219"/>
                    </a:lnTo>
                    <a:lnTo>
                      <a:pt x="16" y="203"/>
                    </a:lnTo>
                    <a:lnTo>
                      <a:pt x="13" y="188"/>
                    </a:lnTo>
                    <a:lnTo>
                      <a:pt x="2" y="155"/>
                    </a:lnTo>
                    <a:lnTo>
                      <a:pt x="0" y="138"/>
                    </a:lnTo>
                    <a:lnTo>
                      <a:pt x="0" y="134"/>
                    </a:lnTo>
                    <a:lnTo>
                      <a:pt x="8" y="136"/>
                    </a:lnTo>
                    <a:lnTo>
                      <a:pt x="17" y="146"/>
                    </a:lnTo>
                    <a:lnTo>
                      <a:pt x="29" y="143"/>
                    </a:lnTo>
                    <a:lnTo>
                      <a:pt x="28" y="113"/>
                    </a:lnTo>
                    <a:lnTo>
                      <a:pt x="29" y="97"/>
                    </a:lnTo>
                    <a:lnTo>
                      <a:pt x="34" y="82"/>
                    </a:lnTo>
                    <a:lnTo>
                      <a:pt x="34" y="65"/>
                    </a:lnTo>
                    <a:lnTo>
                      <a:pt x="33" y="53"/>
                    </a:lnTo>
                    <a:lnTo>
                      <a:pt x="34" y="41"/>
                    </a:lnTo>
                    <a:lnTo>
                      <a:pt x="38" y="17"/>
                    </a:lnTo>
                    <a:lnTo>
                      <a:pt x="43" y="7"/>
                    </a:lnTo>
                    <a:lnTo>
                      <a:pt x="50" y="0"/>
                    </a:lnTo>
                    <a:lnTo>
                      <a:pt x="56" y="1"/>
                    </a:lnTo>
                    <a:lnTo>
                      <a:pt x="67" y="1"/>
                    </a:lnTo>
                    <a:lnTo>
                      <a:pt x="80" y="4"/>
                    </a:lnTo>
                    <a:lnTo>
                      <a:pt x="102" y="17"/>
                    </a:lnTo>
                    <a:lnTo>
                      <a:pt x="113" y="17"/>
                    </a:lnTo>
                    <a:lnTo>
                      <a:pt x="120" y="15"/>
                    </a:lnTo>
                    <a:lnTo>
                      <a:pt x="123" y="4"/>
                    </a:lnTo>
                    <a:lnTo>
                      <a:pt x="130" y="4"/>
                    </a:lnTo>
                    <a:lnTo>
                      <a:pt x="134" y="1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56" name="Freeform 73"/>
              <p:cNvSpPr>
                <a:spLocks noChangeAspect="1"/>
              </p:cNvSpPr>
              <p:nvPr/>
            </p:nvSpPr>
            <p:spPr bwMode="gray">
              <a:xfrm>
                <a:off x="3867" y="2349"/>
                <a:ext cx="9" cy="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6" y="2"/>
                  </a:cxn>
                  <a:cxn ang="0">
                    <a:pos x="7" y="4"/>
                  </a:cxn>
                  <a:cxn ang="0">
                    <a:pos x="9" y="6"/>
                  </a:cxn>
                  <a:cxn ang="0">
                    <a:pos x="14" y="6"/>
                  </a:cxn>
                  <a:cxn ang="0">
                    <a:pos x="43" y="29"/>
                  </a:cxn>
                  <a:cxn ang="0">
                    <a:pos x="45" y="35"/>
                  </a:cxn>
                  <a:cxn ang="0">
                    <a:pos x="45" y="45"/>
                  </a:cxn>
                  <a:cxn ang="0">
                    <a:pos x="35" y="41"/>
                  </a:cxn>
                  <a:cxn ang="0">
                    <a:pos x="27" y="35"/>
                  </a:cxn>
                  <a:cxn ang="0">
                    <a:pos x="20" y="25"/>
                  </a:cxn>
                  <a:cxn ang="0">
                    <a:pos x="17" y="22"/>
                  </a:cxn>
                  <a:cxn ang="0">
                    <a:pos x="9" y="27"/>
                  </a:cxn>
                  <a:cxn ang="0">
                    <a:pos x="2" y="33"/>
                  </a:cxn>
                  <a:cxn ang="0">
                    <a:pos x="0" y="32"/>
                  </a:cxn>
                  <a:cxn ang="0">
                    <a:pos x="2" y="18"/>
                  </a:cxn>
                  <a:cxn ang="0">
                    <a:pos x="2" y="0"/>
                  </a:cxn>
                </a:cxnLst>
                <a:rect l="0" t="0" r="r" b="b"/>
                <a:pathLst>
                  <a:path w="45" h="45">
                    <a:moveTo>
                      <a:pt x="2" y="0"/>
                    </a:moveTo>
                    <a:lnTo>
                      <a:pt x="6" y="2"/>
                    </a:lnTo>
                    <a:lnTo>
                      <a:pt x="7" y="4"/>
                    </a:lnTo>
                    <a:lnTo>
                      <a:pt x="9" y="6"/>
                    </a:lnTo>
                    <a:lnTo>
                      <a:pt x="14" y="6"/>
                    </a:lnTo>
                    <a:lnTo>
                      <a:pt x="43" y="29"/>
                    </a:lnTo>
                    <a:lnTo>
                      <a:pt x="45" y="35"/>
                    </a:lnTo>
                    <a:lnTo>
                      <a:pt x="45" y="45"/>
                    </a:lnTo>
                    <a:lnTo>
                      <a:pt x="35" y="41"/>
                    </a:lnTo>
                    <a:lnTo>
                      <a:pt x="27" y="35"/>
                    </a:lnTo>
                    <a:lnTo>
                      <a:pt x="20" y="25"/>
                    </a:lnTo>
                    <a:lnTo>
                      <a:pt x="17" y="22"/>
                    </a:lnTo>
                    <a:lnTo>
                      <a:pt x="9" y="27"/>
                    </a:lnTo>
                    <a:lnTo>
                      <a:pt x="2" y="33"/>
                    </a:lnTo>
                    <a:lnTo>
                      <a:pt x="0" y="32"/>
                    </a:lnTo>
                    <a:lnTo>
                      <a:pt x="2" y="18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57" name="Freeform 74"/>
              <p:cNvSpPr>
                <a:spLocks noChangeAspect="1"/>
              </p:cNvSpPr>
              <p:nvPr/>
            </p:nvSpPr>
            <p:spPr bwMode="gray">
              <a:xfrm>
                <a:off x="3879" y="2348"/>
                <a:ext cx="15" cy="17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3" y="4"/>
                  </a:cxn>
                  <a:cxn ang="0">
                    <a:pos x="26" y="5"/>
                  </a:cxn>
                  <a:cxn ang="0">
                    <a:pos x="38" y="0"/>
                  </a:cxn>
                  <a:cxn ang="0">
                    <a:pos x="44" y="2"/>
                  </a:cxn>
                  <a:cxn ang="0">
                    <a:pos x="51" y="6"/>
                  </a:cxn>
                  <a:cxn ang="0">
                    <a:pos x="55" y="15"/>
                  </a:cxn>
                  <a:cxn ang="0">
                    <a:pos x="64" y="21"/>
                  </a:cxn>
                  <a:cxn ang="0">
                    <a:pos x="64" y="32"/>
                  </a:cxn>
                  <a:cxn ang="0">
                    <a:pos x="62" y="47"/>
                  </a:cxn>
                  <a:cxn ang="0">
                    <a:pos x="64" y="57"/>
                  </a:cxn>
                  <a:cxn ang="0">
                    <a:pos x="72" y="78"/>
                  </a:cxn>
                  <a:cxn ang="0">
                    <a:pos x="77" y="85"/>
                  </a:cxn>
                  <a:cxn ang="0">
                    <a:pos x="62" y="85"/>
                  </a:cxn>
                  <a:cxn ang="0">
                    <a:pos x="51" y="83"/>
                  </a:cxn>
                  <a:cxn ang="0">
                    <a:pos x="48" y="73"/>
                  </a:cxn>
                  <a:cxn ang="0">
                    <a:pos x="42" y="70"/>
                  </a:cxn>
                  <a:cxn ang="0">
                    <a:pos x="34" y="64"/>
                  </a:cxn>
                  <a:cxn ang="0">
                    <a:pos x="34" y="59"/>
                  </a:cxn>
                  <a:cxn ang="0">
                    <a:pos x="37" y="51"/>
                  </a:cxn>
                  <a:cxn ang="0">
                    <a:pos x="35" y="48"/>
                  </a:cxn>
                  <a:cxn ang="0">
                    <a:pos x="19" y="32"/>
                  </a:cxn>
                  <a:cxn ang="0">
                    <a:pos x="13" y="30"/>
                  </a:cxn>
                  <a:cxn ang="0">
                    <a:pos x="6" y="21"/>
                  </a:cxn>
                  <a:cxn ang="0">
                    <a:pos x="0" y="6"/>
                  </a:cxn>
                  <a:cxn ang="0">
                    <a:pos x="0" y="4"/>
                  </a:cxn>
                </a:cxnLst>
                <a:rect l="0" t="0" r="r" b="b"/>
                <a:pathLst>
                  <a:path w="77" h="85">
                    <a:moveTo>
                      <a:pt x="0" y="4"/>
                    </a:moveTo>
                    <a:lnTo>
                      <a:pt x="3" y="4"/>
                    </a:lnTo>
                    <a:lnTo>
                      <a:pt x="26" y="5"/>
                    </a:lnTo>
                    <a:lnTo>
                      <a:pt x="38" y="0"/>
                    </a:lnTo>
                    <a:lnTo>
                      <a:pt x="44" y="2"/>
                    </a:lnTo>
                    <a:lnTo>
                      <a:pt x="51" y="6"/>
                    </a:lnTo>
                    <a:lnTo>
                      <a:pt x="55" y="15"/>
                    </a:lnTo>
                    <a:lnTo>
                      <a:pt x="64" y="21"/>
                    </a:lnTo>
                    <a:lnTo>
                      <a:pt x="64" y="32"/>
                    </a:lnTo>
                    <a:lnTo>
                      <a:pt x="62" y="47"/>
                    </a:lnTo>
                    <a:lnTo>
                      <a:pt x="64" y="57"/>
                    </a:lnTo>
                    <a:lnTo>
                      <a:pt x="72" y="78"/>
                    </a:lnTo>
                    <a:lnTo>
                      <a:pt x="77" y="85"/>
                    </a:lnTo>
                    <a:lnTo>
                      <a:pt x="62" y="85"/>
                    </a:lnTo>
                    <a:lnTo>
                      <a:pt x="51" y="83"/>
                    </a:lnTo>
                    <a:lnTo>
                      <a:pt x="48" y="73"/>
                    </a:lnTo>
                    <a:lnTo>
                      <a:pt x="42" y="70"/>
                    </a:lnTo>
                    <a:lnTo>
                      <a:pt x="34" y="64"/>
                    </a:lnTo>
                    <a:lnTo>
                      <a:pt x="34" y="59"/>
                    </a:lnTo>
                    <a:lnTo>
                      <a:pt x="37" y="51"/>
                    </a:lnTo>
                    <a:lnTo>
                      <a:pt x="35" y="48"/>
                    </a:lnTo>
                    <a:lnTo>
                      <a:pt x="19" y="32"/>
                    </a:lnTo>
                    <a:lnTo>
                      <a:pt x="13" y="30"/>
                    </a:lnTo>
                    <a:lnTo>
                      <a:pt x="6" y="21"/>
                    </a:lnTo>
                    <a:lnTo>
                      <a:pt x="0" y="6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58" name="Freeform 75"/>
              <p:cNvSpPr>
                <a:spLocks noChangeAspect="1"/>
              </p:cNvSpPr>
              <p:nvPr/>
            </p:nvSpPr>
            <p:spPr bwMode="gray">
              <a:xfrm>
                <a:off x="3853" y="2356"/>
                <a:ext cx="13" cy="17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0"/>
                  </a:cxn>
                  <a:cxn ang="0">
                    <a:pos x="11" y="2"/>
                  </a:cxn>
                  <a:cxn ang="0">
                    <a:pos x="24" y="11"/>
                  </a:cxn>
                  <a:cxn ang="0">
                    <a:pos x="27" y="17"/>
                  </a:cxn>
                  <a:cxn ang="0">
                    <a:pos x="33" y="18"/>
                  </a:cxn>
                  <a:cxn ang="0">
                    <a:pos x="49" y="18"/>
                  </a:cxn>
                  <a:cxn ang="0">
                    <a:pos x="50" y="22"/>
                  </a:cxn>
                  <a:cxn ang="0">
                    <a:pos x="60" y="19"/>
                  </a:cxn>
                  <a:cxn ang="0">
                    <a:pos x="63" y="21"/>
                  </a:cxn>
                  <a:cxn ang="0">
                    <a:pos x="63" y="33"/>
                  </a:cxn>
                  <a:cxn ang="0">
                    <a:pos x="60" y="44"/>
                  </a:cxn>
                  <a:cxn ang="0">
                    <a:pos x="52" y="49"/>
                  </a:cxn>
                  <a:cxn ang="0">
                    <a:pos x="44" y="59"/>
                  </a:cxn>
                  <a:cxn ang="0">
                    <a:pos x="36" y="65"/>
                  </a:cxn>
                  <a:cxn ang="0">
                    <a:pos x="32" y="67"/>
                  </a:cxn>
                  <a:cxn ang="0">
                    <a:pos x="23" y="68"/>
                  </a:cxn>
                  <a:cxn ang="0">
                    <a:pos x="11" y="73"/>
                  </a:cxn>
                  <a:cxn ang="0">
                    <a:pos x="3" y="83"/>
                  </a:cxn>
                  <a:cxn ang="0">
                    <a:pos x="1" y="71"/>
                  </a:cxn>
                  <a:cxn ang="0">
                    <a:pos x="1" y="59"/>
                  </a:cxn>
                  <a:cxn ang="0">
                    <a:pos x="3" y="45"/>
                  </a:cxn>
                  <a:cxn ang="0">
                    <a:pos x="6" y="17"/>
                  </a:cxn>
                  <a:cxn ang="0">
                    <a:pos x="4" y="11"/>
                  </a:cxn>
                  <a:cxn ang="0">
                    <a:pos x="0" y="6"/>
                  </a:cxn>
                  <a:cxn ang="0">
                    <a:pos x="0" y="1"/>
                  </a:cxn>
                </a:cxnLst>
                <a:rect l="0" t="0" r="r" b="b"/>
                <a:pathLst>
                  <a:path w="62" h="83">
                    <a:moveTo>
                      <a:pt x="0" y="1"/>
                    </a:moveTo>
                    <a:lnTo>
                      <a:pt x="2" y="0"/>
                    </a:lnTo>
                    <a:lnTo>
                      <a:pt x="11" y="2"/>
                    </a:lnTo>
                    <a:lnTo>
                      <a:pt x="24" y="11"/>
                    </a:lnTo>
                    <a:lnTo>
                      <a:pt x="27" y="17"/>
                    </a:lnTo>
                    <a:lnTo>
                      <a:pt x="33" y="18"/>
                    </a:lnTo>
                    <a:lnTo>
                      <a:pt x="49" y="18"/>
                    </a:lnTo>
                    <a:lnTo>
                      <a:pt x="50" y="22"/>
                    </a:lnTo>
                    <a:lnTo>
                      <a:pt x="60" y="19"/>
                    </a:lnTo>
                    <a:lnTo>
                      <a:pt x="63" y="21"/>
                    </a:lnTo>
                    <a:lnTo>
                      <a:pt x="63" y="33"/>
                    </a:lnTo>
                    <a:lnTo>
                      <a:pt x="60" y="44"/>
                    </a:lnTo>
                    <a:lnTo>
                      <a:pt x="52" y="49"/>
                    </a:lnTo>
                    <a:lnTo>
                      <a:pt x="44" y="59"/>
                    </a:lnTo>
                    <a:lnTo>
                      <a:pt x="36" y="65"/>
                    </a:lnTo>
                    <a:lnTo>
                      <a:pt x="32" y="67"/>
                    </a:lnTo>
                    <a:lnTo>
                      <a:pt x="23" y="68"/>
                    </a:lnTo>
                    <a:lnTo>
                      <a:pt x="11" y="73"/>
                    </a:lnTo>
                    <a:lnTo>
                      <a:pt x="3" y="83"/>
                    </a:lnTo>
                    <a:lnTo>
                      <a:pt x="1" y="71"/>
                    </a:lnTo>
                    <a:lnTo>
                      <a:pt x="1" y="59"/>
                    </a:lnTo>
                    <a:lnTo>
                      <a:pt x="3" y="45"/>
                    </a:lnTo>
                    <a:lnTo>
                      <a:pt x="6" y="17"/>
                    </a:lnTo>
                    <a:lnTo>
                      <a:pt x="4" y="11"/>
                    </a:lnTo>
                    <a:lnTo>
                      <a:pt x="0" y="6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59" name="Freeform 76"/>
              <p:cNvSpPr>
                <a:spLocks noChangeAspect="1"/>
              </p:cNvSpPr>
              <p:nvPr/>
            </p:nvSpPr>
            <p:spPr bwMode="gray">
              <a:xfrm>
                <a:off x="3858" y="2367"/>
                <a:ext cx="12" cy="21"/>
              </a:xfrm>
              <a:custGeom>
                <a:avLst/>
                <a:gdLst/>
                <a:ahLst/>
                <a:cxnLst>
                  <a:cxn ang="0">
                    <a:pos x="29" y="8"/>
                  </a:cxn>
                  <a:cxn ang="0">
                    <a:pos x="39" y="0"/>
                  </a:cxn>
                  <a:cxn ang="0">
                    <a:pos x="43" y="1"/>
                  </a:cxn>
                  <a:cxn ang="0">
                    <a:pos x="59" y="5"/>
                  </a:cxn>
                  <a:cxn ang="0">
                    <a:pos x="59" y="14"/>
                  </a:cxn>
                  <a:cxn ang="0">
                    <a:pos x="57" y="25"/>
                  </a:cxn>
                  <a:cxn ang="0">
                    <a:pos x="52" y="30"/>
                  </a:cxn>
                  <a:cxn ang="0">
                    <a:pos x="51" y="41"/>
                  </a:cxn>
                  <a:cxn ang="0">
                    <a:pos x="41" y="62"/>
                  </a:cxn>
                  <a:cxn ang="0">
                    <a:pos x="40" y="75"/>
                  </a:cxn>
                  <a:cxn ang="0">
                    <a:pos x="41" y="83"/>
                  </a:cxn>
                  <a:cxn ang="0">
                    <a:pos x="44" y="90"/>
                  </a:cxn>
                  <a:cxn ang="0">
                    <a:pos x="43" y="101"/>
                  </a:cxn>
                  <a:cxn ang="0">
                    <a:pos x="34" y="107"/>
                  </a:cxn>
                  <a:cxn ang="0">
                    <a:pos x="25" y="97"/>
                  </a:cxn>
                  <a:cxn ang="0">
                    <a:pos x="19" y="89"/>
                  </a:cxn>
                  <a:cxn ang="0">
                    <a:pos x="13" y="86"/>
                  </a:cxn>
                  <a:cxn ang="0">
                    <a:pos x="6" y="79"/>
                  </a:cxn>
                  <a:cxn ang="0">
                    <a:pos x="0" y="69"/>
                  </a:cxn>
                  <a:cxn ang="0">
                    <a:pos x="3" y="57"/>
                  </a:cxn>
                  <a:cxn ang="0">
                    <a:pos x="18" y="51"/>
                  </a:cxn>
                  <a:cxn ang="0">
                    <a:pos x="22" y="42"/>
                  </a:cxn>
                  <a:cxn ang="0">
                    <a:pos x="22" y="25"/>
                  </a:cxn>
                  <a:cxn ang="0">
                    <a:pos x="27" y="10"/>
                  </a:cxn>
                  <a:cxn ang="0">
                    <a:pos x="29" y="8"/>
                  </a:cxn>
                </a:cxnLst>
                <a:rect l="0" t="0" r="r" b="b"/>
                <a:pathLst>
                  <a:path w="59" h="107">
                    <a:moveTo>
                      <a:pt x="29" y="8"/>
                    </a:moveTo>
                    <a:lnTo>
                      <a:pt x="39" y="0"/>
                    </a:lnTo>
                    <a:lnTo>
                      <a:pt x="43" y="1"/>
                    </a:lnTo>
                    <a:lnTo>
                      <a:pt x="59" y="5"/>
                    </a:lnTo>
                    <a:lnTo>
                      <a:pt x="59" y="14"/>
                    </a:lnTo>
                    <a:lnTo>
                      <a:pt x="57" y="25"/>
                    </a:lnTo>
                    <a:lnTo>
                      <a:pt x="52" y="30"/>
                    </a:lnTo>
                    <a:lnTo>
                      <a:pt x="51" y="41"/>
                    </a:lnTo>
                    <a:lnTo>
                      <a:pt x="41" y="62"/>
                    </a:lnTo>
                    <a:lnTo>
                      <a:pt x="40" y="75"/>
                    </a:lnTo>
                    <a:lnTo>
                      <a:pt x="41" y="83"/>
                    </a:lnTo>
                    <a:lnTo>
                      <a:pt x="44" y="90"/>
                    </a:lnTo>
                    <a:lnTo>
                      <a:pt x="43" y="101"/>
                    </a:lnTo>
                    <a:lnTo>
                      <a:pt x="34" y="107"/>
                    </a:lnTo>
                    <a:lnTo>
                      <a:pt x="25" y="97"/>
                    </a:lnTo>
                    <a:lnTo>
                      <a:pt x="19" y="89"/>
                    </a:lnTo>
                    <a:lnTo>
                      <a:pt x="13" y="86"/>
                    </a:lnTo>
                    <a:lnTo>
                      <a:pt x="6" y="79"/>
                    </a:lnTo>
                    <a:lnTo>
                      <a:pt x="0" y="69"/>
                    </a:lnTo>
                    <a:lnTo>
                      <a:pt x="3" y="57"/>
                    </a:lnTo>
                    <a:lnTo>
                      <a:pt x="18" y="51"/>
                    </a:lnTo>
                    <a:lnTo>
                      <a:pt x="22" y="42"/>
                    </a:lnTo>
                    <a:lnTo>
                      <a:pt x="22" y="25"/>
                    </a:lnTo>
                    <a:lnTo>
                      <a:pt x="27" y="10"/>
                    </a:lnTo>
                    <a:lnTo>
                      <a:pt x="29" y="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60" name="Freeform 77"/>
              <p:cNvSpPr>
                <a:spLocks noChangeAspect="1"/>
              </p:cNvSpPr>
              <p:nvPr/>
            </p:nvSpPr>
            <p:spPr bwMode="gray">
              <a:xfrm>
                <a:off x="3879" y="2361"/>
                <a:ext cx="10" cy="1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5"/>
                  </a:cxn>
                  <a:cxn ang="0">
                    <a:pos x="6" y="8"/>
                  </a:cxn>
                  <a:cxn ang="0">
                    <a:pos x="11" y="6"/>
                  </a:cxn>
                  <a:cxn ang="0">
                    <a:pos x="16" y="8"/>
                  </a:cxn>
                  <a:cxn ang="0">
                    <a:pos x="29" y="7"/>
                  </a:cxn>
                  <a:cxn ang="0">
                    <a:pos x="37" y="18"/>
                  </a:cxn>
                  <a:cxn ang="0">
                    <a:pos x="38" y="43"/>
                  </a:cxn>
                  <a:cxn ang="0">
                    <a:pos x="43" y="51"/>
                  </a:cxn>
                  <a:cxn ang="0">
                    <a:pos x="48" y="64"/>
                  </a:cxn>
                  <a:cxn ang="0">
                    <a:pos x="51" y="69"/>
                  </a:cxn>
                  <a:cxn ang="0">
                    <a:pos x="44" y="72"/>
                  </a:cxn>
                  <a:cxn ang="0">
                    <a:pos x="38" y="70"/>
                  </a:cxn>
                  <a:cxn ang="0">
                    <a:pos x="37" y="81"/>
                  </a:cxn>
                  <a:cxn ang="0">
                    <a:pos x="29" y="78"/>
                  </a:cxn>
                  <a:cxn ang="0">
                    <a:pos x="26" y="67"/>
                  </a:cxn>
                  <a:cxn ang="0">
                    <a:pos x="26" y="43"/>
                  </a:cxn>
                  <a:cxn ang="0">
                    <a:pos x="19" y="30"/>
                  </a:cxn>
                  <a:cxn ang="0">
                    <a:pos x="8" y="34"/>
                  </a:cxn>
                  <a:cxn ang="0">
                    <a:pos x="6" y="22"/>
                  </a:cxn>
                  <a:cxn ang="0">
                    <a:pos x="3" y="10"/>
                  </a:cxn>
                  <a:cxn ang="0">
                    <a:pos x="1" y="6"/>
                  </a:cxn>
                  <a:cxn ang="0">
                    <a:pos x="0" y="0"/>
                  </a:cxn>
                </a:cxnLst>
                <a:rect l="0" t="0" r="r" b="b"/>
                <a:pathLst>
                  <a:path w="51" h="81">
                    <a:moveTo>
                      <a:pt x="0" y="0"/>
                    </a:moveTo>
                    <a:lnTo>
                      <a:pt x="2" y="5"/>
                    </a:lnTo>
                    <a:lnTo>
                      <a:pt x="6" y="8"/>
                    </a:lnTo>
                    <a:lnTo>
                      <a:pt x="11" y="6"/>
                    </a:lnTo>
                    <a:lnTo>
                      <a:pt x="16" y="8"/>
                    </a:lnTo>
                    <a:lnTo>
                      <a:pt x="29" y="7"/>
                    </a:lnTo>
                    <a:lnTo>
                      <a:pt x="37" y="18"/>
                    </a:lnTo>
                    <a:lnTo>
                      <a:pt x="38" y="43"/>
                    </a:lnTo>
                    <a:lnTo>
                      <a:pt x="43" y="51"/>
                    </a:lnTo>
                    <a:lnTo>
                      <a:pt x="48" y="64"/>
                    </a:lnTo>
                    <a:lnTo>
                      <a:pt x="51" y="69"/>
                    </a:lnTo>
                    <a:lnTo>
                      <a:pt x="44" y="72"/>
                    </a:lnTo>
                    <a:lnTo>
                      <a:pt x="38" y="70"/>
                    </a:lnTo>
                    <a:lnTo>
                      <a:pt x="37" y="81"/>
                    </a:lnTo>
                    <a:lnTo>
                      <a:pt x="29" y="78"/>
                    </a:lnTo>
                    <a:lnTo>
                      <a:pt x="26" y="67"/>
                    </a:lnTo>
                    <a:lnTo>
                      <a:pt x="26" y="43"/>
                    </a:lnTo>
                    <a:lnTo>
                      <a:pt x="19" y="30"/>
                    </a:lnTo>
                    <a:lnTo>
                      <a:pt x="8" y="34"/>
                    </a:lnTo>
                    <a:lnTo>
                      <a:pt x="6" y="22"/>
                    </a:lnTo>
                    <a:lnTo>
                      <a:pt x="3" y="10"/>
                    </a:lnTo>
                    <a:lnTo>
                      <a:pt x="1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61" name="Freeform 78"/>
              <p:cNvSpPr>
                <a:spLocks noChangeAspect="1"/>
              </p:cNvSpPr>
              <p:nvPr/>
            </p:nvSpPr>
            <p:spPr bwMode="gray">
              <a:xfrm>
                <a:off x="3869" y="2363"/>
                <a:ext cx="7" cy="20"/>
              </a:xfrm>
              <a:custGeom>
                <a:avLst/>
                <a:gdLst/>
                <a:ahLst/>
                <a:cxnLst>
                  <a:cxn ang="0">
                    <a:pos x="35" y="2"/>
                  </a:cxn>
                  <a:cxn ang="0">
                    <a:pos x="37" y="0"/>
                  </a:cxn>
                  <a:cxn ang="0">
                    <a:pos x="38" y="5"/>
                  </a:cxn>
                  <a:cxn ang="0">
                    <a:pos x="37" y="10"/>
                  </a:cxn>
                  <a:cxn ang="0">
                    <a:pos x="37" y="33"/>
                  </a:cxn>
                  <a:cxn ang="0">
                    <a:pos x="36" y="48"/>
                  </a:cxn>
                  <a:cxn ang="0">
                    <a:pos x="24" y="58"/>
                  </a:cxn>
                  <a:cxn ang="0">
                    <a:pos x="15" y="75"/>
                  </a:cxn>
                  <a:cxn ang="0">
                    <a:pos x="10" y="86"/>
                  </a:cxn>
                  <a:cxn ang="0">
                    <a:pos x="6" y="96"/>
                  </a:cxn>
                  <a:cxn ang="0">
                    <a:pos x="3" y="99"/>
                  </a:cxn>
                  <a:cxn ang="0">
                    <a:pos x="0" y="87"/>
                  </a:cxn>
                  <a:cxn ang="0">
                    <a:pos x="0" y="78"/>
                  </a:cxn>
                  <a:cxn ang="0">
                    <a:pos x="8" y="58"/>
                  </a:cxn>
                  <a:cxn ang="0">
                    <a:pos x="17" y="41"/>
                  </a:cxn>
                  <a:cxn ang="0">
                    <a:pos x="26" y="21"/>
                  </a:cxn>
                  <a:cxn ang="0">
                    <a:pos x="31" y="5"/>
                  </a:cxn>
                  <a:cxn ang="0">
                    <a:pos x="35" y="2"/>
                  </a:cxn>
                </a:cxnLst>
                <a:rect l="0" t="0" r="r" b="b"/>
                <a:pathLst>
                  <a:path w="38" h="99">
                    <a:moveTo>
                      <a:pt x="35" y="2"/>
                    </a:moveTo>
                    <a:lnTo>
                      <a:pt x="37" y="0"/>
                    </a:lnTo>
                    <a:lnTo>
                      <a:pt x="38" y="5"/>
                    </a:lnTo>
                    <a:lnTo>
                      <a:pt x="37" y="10"/>
                    </a:lnTo>
                    <a:lnTo>
                      <a:pt x="37" y="33"/>
                    </a:lnTo>
                    <a:lnTo>
                      <a:pt x="36" y="48"/>
                    </a:lnTo>
                    <a:lnTo>
                      <a:pt x="24" y="58"/>
                    </a:lnTo>
                    <a:lnTo>
                      <a:pt x="15" y="75"/>
                    </a:lnTo>
                    <a:lnTo>
                      <a:pt x="10" y="86"/>
                    </a:lnTo>
                    <a:lnTo>
                      <a:pt x="6" y="96"/>
                    </a:lnTo>
                    <a:lnTo>
                      <a:pt x="3" y="99"/>
                    </a:lnTo>
                    <a:lnTo>
                      <a:pt x="0" y="87"/>
                    </a:lnTo>
                    <a:lnTo>
                      <a:pt x="0" y="78"/>
                    </a:lnTo>
                    <a:lnTo>
                      <a:pt x="8" y="58"/>
                    </a:lnTo>
                    <a:lnTo>
                      <a:pt x="17" y="41"/>
                    </a:lnTo>
                    <a:lnTo>
                      <a:pt x="26" y="21"/>
                    </a:lnTo>
                    <a:lnTo>
                      <a:pt x="31" y="5"/>
                    </a:lnTo>
                    <a:lnTo>
                      <a:pt x="35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62" name="Freeform 79"/>
              <p:cNvSpPr>
                <a:spLocks noChangeAspect="1"/>
              </p:cNvSpPr>
              <p:nvPr/>
            </p:nvSpPr>
            <p:spPr bwMode="gray">
              <a:xfrm>
                <a:off x="3874" y="2375"/>
                <a:ext cx="8" cy="7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0" y="16"/>
                  </a:cxn>
                  <a:cxn ang="0">
                    <a:pos x="2" y="16"/>
                  </a:cxn>
                  <a:cxn ang="0">
                    <a:pos x="9" y="12"/>
                  </a:cxn>
                  <a:cxn ang="0">
                    <a:pos x="12" y="5"/>
                  </a:cxn>
                  <a:cxn ang="0">
                    <a:pos x="20" y="0"/>
                  </a:cxn>
                  <a:cxn ang="0">
                    <a:pos x="32" y="5"/>
                  </a:cxn>
                  <a:cxn ang="0">
                    <a:pos x="39" y="3"/>
                  </a:cxn>
                  <a:cxn ang="0">
                    <a:pos x="39" y="14"/>
                  </a:cxn>
                  <a:cxn ang="0">
                    <a:pos x="38" y="18"/>
                  </a:cxn>
                  <a:cxn ang="0">
                    <a:pos x="39" y="24"/>
                  </a:cxn>
                  <a:cxn ang="0">
                    <a:pos x="37" y="27"/>
                  </a:cxn>
                  <a:cxn ang="0">
                    <a:pos x="22" y="31"/>
                  </a:cxn>
                  <a:cxn ang="0">
                    <a:pos x="7" y="30"/>
                  </a:cxn>
                  <a:cxn ang="0">
                    <a:pos x="4" y="26"/>
                  </a:cxn>
                  <a:cxn ang="0">
                    <a:pos x="0" y="18"/>
                  </a:cxn>
                </a:cxnLst>
                <a:rect l="0" t="0" r="r" b="b"/>
                <a:pathLst>
                  <a:path w="39" h="31">
                    <a:moveTo>
                      <a:pt x="0" y="18"/>
                    </a:moveTo>
                    <a:lnTo>
                      <a:pt x="0" y="16"/>
                    </a:lnTo>
                    <a:lnTo>
                      <a:pt x="2" y="16"/>
                    </a:lnTo>
                    <a:lnTo>
                      <a:pt x="9" y="12"/>
                    </a:lnTo>
                    <a:lnTo>
                      <a:pt x="12" y="5"/>
                    </a:lnTo>
                    <a:lnTo>
                      <a:pt x="20" y="0"/>
                    </a:lnTo>
                    <a:lnTo>
                      <a:pt x="32" y="5"/>
                    </a:lnTo>
                    <a:lnTo>
                      <a:pt x="39" y="3"/>
                    </a:lnTo>
                    <a:lnTo>
                      <a:pt x="39" y="14"/>
                    </a:lnTo>
                    <a:lnTo>
                      <a:pt x="38" y="18"/>
                    </a:lnTo>
                    <a:lnTo>
                      <a:pt x="39" y="24"/>
                    </a:lnTo>
                    <a:lnTo>
                      <a:pt x="37" y="27"/>
                    </a:lnTo>
                    <a:lnTo>
                      <a:pt x="22" y="31"/>
                    </a:lnTo>
                    <a:lnTo>
                      <a:pt x="7" y="30"/>
                    </a:lnTo>
                    <a:lnTo>
                      <a:pt x="4" y="26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63" name="Freeform 80"/>
              <p:cNvSpPr>
                <a:spLocks noChangeAspect="1"/>
              </p:cNvSpPr>
              <p:nvPr/>
            </p:nvSpPr>
            <p:spPr bwMode="gray">
              <a:xfrm>
                <a:off x="3853" y="2380"/>
                <a:ext cx="51" cy="46"/>
              </a:xfrm>
              <a:custGeom>
                <a:avLst/>
                <a:gdLst/>
                <a:ahLst/>
                <a:cxnLst>
                  <a:cxn ang="0">
                    <a:pos x="190" y="0"/>
                  </a:cxn>
                  <a:cxn ang="0">
                    <a:pos x="207" y="10"/>
                  </a:cxn>
                  <a:cxn ang="0">
                    <a:pos x="224" y="26"/>
                  </a:cxn>
                  <a:cxn ang="0">
                    <a:pos x="233" y="33"/>
                  </a:cxn>
                  <a:cxn ang="0">
                    <a:pos x="240" y="51"/>
                  </a:cxn>
                  <a:cxn ang="0">
                    <a:pos x="242" y="70"/>
                  </a:cxn>
                  <a:cxn ang="0">
                    <a:pos x="246" y="86"/>
                  </a:cxn>
                  <a:cxn ang="0">
                    <a:pos x="250" y="110"/>
                  </a:cxn>
                  <a:cxn ang="0">
                    <a:pos x="254" y="142"/>
                  </a:cxn>
                  <a:cxn ang="0">
                    <a:pos x="243" y="152"/>
                  </a:cxn>
                  <a:cxn ang="0">
                    <a:pos x="238" y="185"/>
                  </a:cxn>
                  <a:cxn ang="0">
                    <a:pos x="227" y="167"/>
                  </a:cxn>
                  <a:cxn ang="0">
                    <a:pos x="221" y="142"/>
                  </a:cxn>
                  <a:cxn ang="0">
                    <a:pos x="212" y="131"/>
                  </a:cxn>
                  <a:cxn ang="0">
                    <a:pos x="192" y="158"/>
                  </a:cxn>
                  <a:cxn ang="0">
                    <a:pos x="197" y="179"/>
                  </a:cxn>
                  <a:cxn ang="0">
                    <a:pos x="206" y="201"/>
                  </a:cxn>
                  <a:cxn ang="0">
                    <a:pos x="194" y="227"/>
                  </a:cxn>
                  <a:cxn ang="0">
                    <a:pos x="184" y="211"/>
                  </a:cxn>
                  <a:cxn ang="0">
                    <a:pos x="174" y="211"/>
                  </a:cxn>
                  <a:cxn ang="0">
                    <a:pos x="156" y="210"/>
                  </a:cxn>
                  <a:cxn ang="0">
                    <a:pos x="125" y="189"/>
                  </a:cxn>
                  <a:cxn ang="0">
                    <a:pos x="119" y="171"/>
                  </a:cxn>
                  <a:cxn ang="0">
                    <a:pos x="113" y="150"/>
                  </a:cxn>
                  <a:cxn ang="0">
                    <a:pos x="125" y="126"/>
                  </a:cxn>
                  <a:cxn ang="0">
                    <a:pos x="105" y="108"/>
                  </a:cxn>
                  <a:cxn ang="0">
                    <a:pos x="89" y="104"/>
                  </a:cxn>
                  <a:cxn ang="0">
                    <a:pos x="81" y="125"/>
                  </a:cxn>
                  <a:cxn ang="0">
                    <a:pos x="68" y="121"/>
                  </a:cxn>
                  <a:cxn ang="0">
                    <a:pos x="55" y="126"/>
                  </a:cxn>
                  <a:cxn ang="0">
                    <a:pos x="50" y="123"/>
                  </a:cxn>
                  <a:cxn ang="0">
                    <a:pos x="39" y="112"/>
                  </a:cxn>
                  <a:cxn ang="0">
                    <a:pos x="16" y="153"/>
                  </a:cxn>
                  <a:cxn ang="0">
                    <a:pos x="3" y="155"/>
                  </a:cxn>
                  <a:cxn ang="0">
                    <a:pos x="7" y="121"/>
                  </a:cxn>
                  <a:cxn ang="0">
                    <a:pos x="22" y="93"/>
                  </a:cxn>
                  <a:cxn ang="0">
                    <a:pos x="56" y="76"/>
                  </a:cxn>
                  <a:cxn ang="0">
                    <a:pos x="73" y="64"/>
                  </a:cxn>
                  <a:cxn ang="0">
                    <a:pos x="99" y="64"/>
                  </a:cxn>
                  <a:cxn ang="0">
                    <a:pos x="98" y="94"/>
                  </a:cxn>
                  <a:cxn ang="0">
                    <a:pos x="127" y="69"/>
                  </a:cxn>
                  <a:cxn ang="0">
                    <a:pos x="146" y="66"/>
                  </a:cxn>
                  <a:cxn ang="0">
                    <a:pos x="153" y="49"/>
                  </a:cxn>
                  <a:cxn ang="0">
                    <a:pos x="169" y="46"/>
                  </a:cxn>
                  <a:cxn ang="0">
                    <a:pos x="189" y="43"/>
                  </a:cxn>
                  <a:cxn ang="0">
                    <a:pos x="194" y="26"/>
                  </a:cxn>
                  <a:cxn ang="0">
                    <a:pos x="191" y="1"/>
                  </a:cxn>
                </a:cxnLst>
                <a:rect l="0" t="0" r="r" b="b"/>
                <a:pathLst>
                  <a:path w="254" h="226">
                    <a:moveTo>
                      <a:pt x="191" y="1"/>
                    </a:moveTo>
                    <a:lnTo>
                      <a:pt x="190" y="0"/>
                    </a:lnTo>
                    <a:lnTo>
                      <a:pt x="200" y="0"/>
                    </a:lnTo>
                    <a:lnTo>
                      <a:pt x="207" y="10"/>
                    </a:lnTo>
                    <a:lnTo>
                      <a:pt x="215" y="13"/>
                    </a:lnTo>
                    <a:lnTo>
                      <a:pt x="224" y="26"/>
                    </a:lnTo>
                    <a:lnTo>
                      <a:pt x="229" y="26"/>
                    </a:lnTo>
                    <a:lnTo>
                      <a:pt x="233" y="33"/>
                    </a:lnTo>
                    <a:lnTo>
                      <a:pt x="240" y="46"/>
                    </a:lnTo>
                    <a:lnTo>
                      <a:pt x="240" y="51"/>
                    </a:lnTo>
                    <a:lnTo>
                      <a:pt x="231" y="64"/>
                    </a:lnTo>
                    <a:lnTo>
                      <a:pt x="242" y="70"/>
                    </a:lnTo>
                    <a:lnTo>
                      <a:pt x="242" y="81"/>
                    </a:lnTo>
                    <a:lnTo>
                      <a:pt x="246" y="86"/>
                    </a:lnTo>
                    <a:lnTo>
                      <a:pt x="248" y="104"/>
                    </a:lnTo>
                    <a:lnTo>
                      <a:pt x="250" y="110"/>
                    </a:lnTo>
                    <a:lnTo>
                      <a:pt x="254" y="124"/>
                    </a:lnTo>
                    <a:lnTo>
                      <a:pt x="254" y="142"/>
                    </a:lnTo>
                    <a:lnTo>
                      <a:pt x="249" y="150"/>
                    </a:lnTo>
                    <a:lnTo>
                      <a:pt x="243" y="152"/>
                    </a:lnTo>
                    <a:lnTo>
                      <a:pt x="238" y="161"/>
                    </a:lnTo>
                    <a:lnTo>
                      <a:pt x="238" y="185"/>
                    </a:lnTo>
                    <a:lnTo>
                      <a:pt x="231" y="179"/>
                    </a:lnTo>
                    <a:lnTo>
                      <a:pt x="227" y="167"/>
                    </a:lnTo>
                    <a:lnTo>
                      <a:pt x="227" y="151"/>
                    </a:lnTo>
                    <a:lnTo>
                      <a:pt x="221" y="142"/>
                    </a:lnTo>
                    <a:lnTo>
                      <a:pt x="217" y="134"/>
                    </a:lnTo>
                    <a:lnTo>
                      <a:pt x="212" y="131"/>
                    </a:lnTo>
                    <a:lnTo>
                      <a:pt x="207" y="135"/>
                    </a:lnTo>
                    <a:lnTo>
                      <a:pt x="192" y="158"/>
                    </a:lnTo>
                    <a:lnTo>
                      <a:pt x="191" y="172"/>
                    </a:lnTo>
                    <a:lnTo>
                      <a:pt x="197" y="179"/>
                    </a:lnTo>
                    <a:lnTo>
                      <a:pt x="202" y="189"/>
                    </a:lnTo>
                    <a:lnTo>
                      <a:pt x="206" y="201"/>
                    </a:lnTo>
                    <a:lnTo>
                      <a:pt x="206" y="207"/>
                    </a:lnTo>
                    <a:lnTo>
                      <a:pt x="194" y="227"/>
                    </a:lnTo>
                    <a:lnTo>
                      <a:pt x="186" y="223"/>
                    </a:lnTo>
                    <a:lnTo>
                      <a:pt x="184" y="211"/>
                    </a:lnTo>
                    <a:lnTo>
                      <a:pt x="183" y="205"/>
                    </a:lnTo>
                    <a:lnTo>
                      <a:pt x="174" y="211"/>
                    </a:lnTo>
                    <a:lnTo>
                      <a:pt x="164" y="212"/>
                    </a:lnTo>
                    <a:lnTo>
                      <a:pt x="156" y="210"/>
                    </a:lnTo>
                    <a:lnTo>
                      <a:pt x="133" y="199"/>
                    </a:lnTo>
                    <a:lnTo>
                      <a:pt x="125" y="189"/>
                    </a:lnTo>
                    <a:lnTo>
                      <a:pt x="120" y="182"/>
                    </a:lnTo>
                    <a:lnTo>
                      <a:pt x="119" y="171"/>
                    </a:lnTo>
                    <a:lnTo>
                      <a:pt x="116" y="162"/>
                    </a:lnTo>
                    <a:lnTo>
                      <a:pt x="113" y="150"/>
                    </a:lnTo>
                    <a:lnTo>
                      <a:pt x="125" y="134"/>
                    </a:lnTo>
                    <a:lnTo>
                      <a:pt x="125" y="126"/>
                    </a:lnTo>
                    <a:lnTo>
                      <a:pt x="116" y="116"/>
                    </a:lnTo>
                    <a:lnTo>
                      <a:pt x="105" y="108"/>
                    </a:lnTo>
                    <a:lnTo>
                      <a:pt x="97" y="104"/>
                    </a:lnTo>
                    <a:lnTo>
                      <a:pt x="89" y="104"/>
                    </a:lnTo>
                    <a:lnTo>
                      <a:pt x="81" y="119"/>
                    </a:lnTo>
                    <a:lnTo>
                      <a:pt x="81" y="125"/>
                    </a:lnTo>
                    <a:lnTo>
                      <a:pt x="73" y="121"/>
                    </a:lnTo>
                    <a:lnTo>
                      <a:pt x="68" y="121"/>
                    </a:lnTo>
                    <a:lnTo>
                      <a:pt x="68" y="114"/>
                    </a:lnTo>
                    <a:lnTo>
                      <a:pt x="55" y="126"/>
                    </a:lnTo>
                    <a:lnTo>
                      <a:pt x="54" y="132"/>
                    </a:lnTo>
                    <a:lnTo>
                      <a:pt x="50" y="123"/>
                    </a:lnTo>
                    <a:lnTo>
                      <a:pt x="47" y="112"/>
                    </a:lnTo>
                    <a:lnTo>
                      <a:pt x="39" y="112"/>
                    </a:lnTo>
                    <a:lnTo>
                      <a:pt x="28" y="124"/>
                    </a:lnTo>
                    <a:lnTo>
                      <a:pt x="16" y="153"/>
                    </a:lnTo>
                    <a:lnTo>
                      <a:pt x="9" y="156"/>
                    </a:lnTo>
                    <a:lnTo>
                      <a:pt x="3" y="155"/>
                    </a:lnTo>
                    <a:lnTo>
                      <a:pt x="0" y="144"/>
                    </a:lnTo>
                    <a:lnTo>
                      <a:pt x="7" y="121"/>
                    </a:lnTo>
                    <a:lnTo>
                      <a:pt x="12" y="104"/>
                    </a:lnTo>
                    <a:lnTo>
                      <a:pt x="22" y="93"/>
                    </a:lnTo>
                    <a:lnTo>
                      <a:pt x="52" y="85"/>
                    </a:lnTo>
                    <a:lnTo>
                      <a:pt x="56" y="76"/>
                    </a:lnTo>
                    <a:lnTo>
                      <a:pt x="63" y="69"/>
                    </a:lnTo>
                    <a:lnTo>
                      <a:pt x="73" y="64"/>
                    </a:lnTo>
                    <a:lnTo>
                      <a:pt x="79" y="56"/>
                    </a:lnTo>
                    <a:lnTo>
                      <a:pt x="99" y="64"/>
                    </a:lnTo>
                    <a:lnTo>
                      <a:pt x="104" y="76"/>
                    </a:lnTo>
                    <a:lnTo>
                      <a:pt x="98" y="94"/>
                    </a:lnTo>
                    <a:lnTo>
                      <a:pt x="120" y="85"/>
                    </a:lnTo>
                    <a:lnTo>
                      <a:pt x="127" y="69"/>
                    </a:lnTo>
                    <a:lnTo>
                      <a:pt x="138" y="64"/>
                    </a:lnTo>
                    <a:lnTo>
                      <a:pt x="146" y="66"/>
                    </a:lnTo>
                    <a:lnTo>
                      <a:pt x="151" y="60"/>
                    </a:lnTo>
                    <a:lnTo>
                      <a:pt x="153" y="49"/>
                    </a:lnTo>
                    <a:lnTo>
                      <a:pt x="158" y="43"/>
                    </a:lnTo>
                    <a:lnTo>
                      <a:pt x="169" y="46"/>
                    </a:lnTo>
                    <a:lnTo>
                      <a:pt x="181" y="40"/>
                    </a:lnTo>
                    <a:lnTo>
                      <a:pt x="189" y="43"/>
                    </a:lnTo>
                    <a:lnTo>
                      <a:pt x="192" y="39"/>
                    </a:lnTo>
                    <a:lnTo>
                      <a:pt x="194" y="26"/>
                    </a:lnTo>
                    <a:lnTo>
                      <a:pt x="191" y="7"/>
                    </a:lnTo>
                    <a:lnTo>
                      <a:pt x="191" y="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</p:grpSp>
        <p:sp>
          <p:nvSpPr>
            <p:cNvPr id="26" name="Freeform 81"/>
            <p:cNvSpPr>
              <a:spLocks noChangeAspect="1"/>
            </p:cNvSpPr>
            <p:nvPr/>
          </p:nvSpPr>
          <p:spPr bwMode="gray">
            <a:xfrm>
              <a:off x="7884907" y="4162571"/>
              <a:ext cx="23853" cy="20954"/>
            </a:xfrm>
            <a:custGeom>
              <a:avLst/>
              <a:gdLst/>
              <a:ahLst/>
              <a:cxnLst>
                <a:cxn ang="0">
                  <a:pos x="67" y="9"/>
                </a:cxn>
                <a:cxn ang="0">
                  <a:pos x="72" y="14"/>
                </a:cxn>
                <a:cxn ang="0">
                  <a:pos x="76" y="21"/>
                </a:cxn>
                <a:cxn ang="0">
                  <a:pos x="77" y="26"/>
                </a:cxn>
                <a:cxn ang="0">
                  <a:pos x="77" y="32"/>
                </a:cxn>
                <a:cxn ang="0">
                  <a:pos x="76" y="37"/>
                </a:cxn>
                <a:cxn ang="0">
                  <a:pos x="70" y="37"/>
                </a:cxn>
                <a:cxn ang="0">
                  <a:pos x="65" y="35"/>
                </a:cxn>
                <a:cxn ang="0">
                  <a:pos x="61" y="27"/>
                </a:cxn>
                <a:cxn ang="0">
                  <a:pos x="59" y="20"/>
                </a:cxn>
                <a:cxn ang="0">
                  <a:pos x="56" y="16"/>
                </a:cxn>
                <a:cxn ang="0">
                  <a:pos x="51" y="16"/>
                </a:cxn>
                <a:cxn ang="0">
                  <a:pos x="46" y="19"/>
                </a:cxn>
                <a:cxn ang="0">
                  <a:pos x="43" y="24"/>
                </a:cxn>
                <a:cxn ang="0">
                  <a:pos x="41" y="48"/>
                </a:cxn>
                <a:cxn ang="0">
                  <a:pos x="39" y="56"/>
                </a:cxn>
                <a:cxn ang="0">
                  <a:pos x="34" y="58"/>
                </a:cxn>
                <a:cxn ang="0">
                  <a:pos x="29" y="57"/>
                </a:cxn>
                <a:cxn ang="0">
                  <a:pos x="26" y="53"/>
                </a:cxn>
                <a:cxn ang="0">
                  <a:pos x="21" y="48"/>
                </a:cxn>
                <a:cxn ang="0">
                  <a:pos x="17" y="42"/>
                </a:cxn>
                <a:cxn ang="0">
                  <a:pos x="7" y="31"/>
                </a:cxn>
                <a:cxn ang="0">
                  <a:pos x="3" y="29"/>
                </a:cxn>
                <a:cxn ang="0">
                  <a:pos x="0" y="27"/>
                </a:cxn>
                <a:cxn ang="0">
                  <a:pos x="2" y="25"/>
                </a:cxn>
                <a:cxn ang="0">
                  <a:pos x="11" y="22"/>
                </a:cxn>
                <a:cxn ang="0">
                  <a:pos x="26" y="21"/>
                </a:cxn>
                <a:cxn ang="0">
                  <a:pos x="33" y="16"/>
                </a:cxn>
                <a:cxn ang="0">
                  <a:pos x="53" y="0"/>
                </a:cxn>
                <a:cxn ang="0">
                  <a:pos x="55" y="8"/>
                </a:cxn>
                <a:cxn ang="0">
                  <a:pos x="67" y="9"/>
                </a:cxn>
              </a:cxnLst>
              <a:rect l="0" t="0" r="r" b="b"/>
              <a:pathLst>
                <a:path w="77" h="57">
                  <a:moveTo>
                    <a:pt x="67" y="9"/>
                  </a:moveTo>
                  <a:lnTo>
                    <a:pt x="72" y="14"/>
                  </a:lnTo>
                  <a:lnTo>
                    <a:pt x="76" y="21"/>
                  </a:lnTo>
                  <a:lnTo>
                    <a:pt x="77" y="26"/>
                  </a:lnTo>
                  <a:lnTo>
                    <a:pt x="77" y="32"/>
                  </a:lnTo>
                  <a:lnTo>
                    <a:pt x="76" y="37"/>
                  </a:lnTo>
                  <a:lnTo>
                    <a:pt x="70" y="37"/>
                  </a:lnTo>
                  <a:lnTo>
                    <a:pt x="65" y="35"/>
                  </a:lnTo>
                  <a:lnTo>
                    <a:pt x="61" y="27"/>
                  </a:lnTo>
                  <a:lnTo>
                    <a:pt x="59" y="20"/>
                  </a:lnTo>
                  <a:lnTo>
                    <a:pt x="56" y="16"/>
                  </a:lnTo>
                  <a:lnTo>
                    <a:pt x="51" y="16"/>
                  </a:lnTo>
                  <a:lnTo>
                    <a:pt x="46" y="19"/>
                  </a:lnTo>
                  <a:lnTo>
                    <a:pt x="43" y="24"/>
                  </a:lnTo>
                  <a:lnTo>
                    <a:pt x="41" y="48"/>
                  </a:lnTo>
                  <a:lnTo>
                    <a:pt x="39" y="56"/>
                  </a:lnTo>
                  <a:lnTo>
                    <a:pt x="34" y="58"/>
                  </a:lnTo>
                  <a:lnTo>
                    <a:pt x="29" y="57"/>
                  </a:lnTo>
                  <a:lnTo>
                    <a:pt x="26" y="53"/>
                  </a:lnTo>
                  <a:lnTo>
                    <a:pt x="21" y="48"/>
                  </a:lnTo>
                  <a:lnTo>
                    <a:pt x="17" y="42"/>
                  </a:lnTo>
                  <a:lnTo>
                    <a:pt x="7" y="31"/>
                  </a:lnTo>
                  <a:lnTo>
                    <a:pt x="3" y="29"/>
                  </a:lnTo>
                  <a:lnTo>
                    <a:pt x="0" y="27"/>
                  </a:lnTo>
                  <a:lnTo>
                    <a:pt x="2" y="25"/>
                  </a:lnTo>
                  <a:lnTo>
                    <a:pt x="11" y="22"/>
                  </a:lnTo>
                  <a:lnTo>
                    <a:pt x="26" y="21"/>
                  </a:lnTo>
                  <a:lnTo>
                    <a:pt x="33" y="16"/>
                  </a:lnTo>
                  <a:lnTo>
                    <a:pt x="53" y="0"/>
                  </a:lnTo>
                  <a:lnTo>
                    <a:pt x="55" y="8"/>
                  </a:lnTo>
                  <a:lnTo>
                    <a:pt x="67" y="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27" name="Freeform 82"/>
            <p:cNvSpPr>
              <a:spLocks noChangeAspect="1"/>
            </p:cNvSpPr>
            <p:nvPr/>
          </p:nvSpPr>
          <p:spPr bwMode="gray">
            <a:xfrm>
              <a:off x="7921481" y="4321469"/>
              <a:ext cx="4771" cy="15716"/>
            </a:xfrm>
            <a:custGeom>
              <a:avLst/>
              <a:gdLst/>
              <a:ahLst/>
              <a:cxnLst>
                <a:cxn ang="0">
                  <a:pos x="8" y="1"/>
                </a:cxn>
                <a:cxn ang="0">
                  <a:pos x="9" y="0"/>
                </a:cxn>
                <a:cxn ang="0">
                  <a:pos x="11" y="10"/>
                </a:cxn>
                <a:cxn ang="0">
                  <a:pos x="13" y="26"/>
                </a:cxn>
                <a:cxn ang="0">
                  <a:pos x="15" y="33"/>
                </a:cxn>
                <a:cxn ang="0">
                  <a:pos x="9" y="41"/>
                </a:cxn>
                <a:cxn ang="0">
                  <a:pos x="4" y="42"/>
                </a:cxn>
                <a:cxn ang="0">
                  <a:pos x="0" y="27"/>
                </a:cxn>
                <a:cxn ang="0">
                  <a:pos x="0" y="13"/>
                </a:cxn>
                <a:cxn ang="0">
                  <a:pos x="3" y="4"/>
                </a:cxn>
                <a:cxn ang="0">
                  <a:pos x="8" y="0"/>
                </a:cxn>
                <a:cxn ang="0">
                  <a:pos x="8" y="1"/>
                </a:cxn>
              </a:cxnLst>
              <a:rect l="0" t="0" r="r" b="b"/>
              <a:pathLst>
                <a:path w="15" h="42">
                  <a:moveTo>
                    <a:pt x="8" y="1"/>
                  </a:moveTo>
                  <a:lnTo>
                    <a:pt x="9" y="0"/>
                  </a:lnTo>
                  <a:lnTo>
                    <a:pt x="11" y="10"/>
                  </a:lnTo>
                  <a:lnTo>
                    <a:pt x="13" y="26"/>
                  </a:lnTo>
                  <a:lnTo>
                    <a:pt x="15" y="33"/>
                  </a:lnTo>
                  <a:lnTo>
                    <a:pt x="9" y="41"/>
                  </a:lnTo>
                  <a:lnTo>
                    <a:pt x="4" y="42"/>
                  </a:lnTo>
                  <a:lnTo>
                    <a:pt x="0" y="27"/>
                  </a:lnTo>
                  <a:lnTo>
                    <a:pt x="0" y="13"/>
                  </a:lnTo>
                  <a:lnTo>
                    <a:pt x="3" y="4"/>
                  </a:lnTo>
                  <a:lnTo>
                    <a:pt x="8" y="0"/>
                  </a:lnTo>
                  <a:lnTo>
                    <a:pt x="8" y="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28" name="Freeform 83"/>
            <p:cNvSpPr>
              <a:spLocks noChangeAspect="1"/>
            </p:cNvSpPr>
            <p:nvPr/>
          </p:nvSpPr>
          <p:spPr bwMode="gray">
            <a:xfrm>
              <a:off x="8072544" y="4419252"/>
              <a:ext cx="42934" cy="20954"/>
            </a:xfrm>
            <a:custGeom>
              <a:avLst/>
              <a:gdLst/>
              <a:ahLst/>
              <a:cxnLst>
                <a:cxn ang="0">
                  <a:pos x="0" y="39"/>
                </a:cxn>
                <a:cxn ang="0">
                  <a:pos x="2" y="38"/>
                </a:cxn>
                <a:cxn ang="0">
                  <a:pos x="11" y="29"/>
                </a:cxn>
                <a:cxn ang="0">
                  <a:pos x="18" y="17"/>
                </a:cxn>
                <a:cxn ang="0">
                  <a:pos x="27" y="16"/>
                </a:cxn>
                <a:cxn ang="0">
                  <a:pos x="55" y="11"/>
                </a:cxn>
                <a:cxn ang="0">
                  <a:pos x="61" y="7"/>
                </a:cxn>
                <a:cxn ang="0">
                  <a:pos x="71" y="10"/>
                </a:cxn>
                <a:cxn ang="0">
                  <a:pos x="98" y="7"/>
                </a:cxn>
                <a:cxn ang="0">
                  <a:pos x="109" y="3"/>
                </a:cxn>
                <a:cxn ang="0">
                  <a:pos x="118" y="2"/>
                </a:cxn>
                <a:cxn ang="0">
                  <a:pos x="124" y="0"/>
                </a:cxn>
                <a:cxn ang="0">
                  <a:pos x="132" y="2"/>
                </a:cxn>
                <a:cxn ang="0">
                  <a:pos x="133" y="6"/>
                </a:cxn>
                <a:cxn ang="0">
                  <a:pos x="129" y="19"/>
                </a:cxn>
                <a:cxn ang="0">
                  <a:pos x="113" y="23"/>
                </a:cxn>
                <a:cxn ang="0">
                  <a:pos x="88" y="37"/>
                </a:cxn>
                <a:cxn ang="0">
                  <a:pos x="73" y="40"/>
                </a:cxn>
                <a:cxn ang="0">
                  <a:pos x="61" y="46"/>
                </a:cxn>
                <a:cxn ang="0">
                  <a:pos x="39" y="51"/>
                </a:cxn>
                <a:cxn ang="0">
                  <a:pos x="23" y="61"/>
                </a:cxn>
                <a:cxn ang="0">
                  <a:pos x="18" y="59"/>
                </a:cxn>
                <a:cxn ang="0">
                  <a:pos x="0" y="39"/>
                </a:cxn>
              </a:cxnLst>
              <a:rect l="0" t="0" r="r" b="b"/>
              <a:pathLst>
                <a:path w="133" h="61">
                  <a:moveTo>
                    <a:pt x="0" y="39"/>
                  </a:moveTo>
                  <a:lnTo>
                    <a:pt x="2" y="38"/>
                  </a:lnTo>
                  <a:lnTo>
                    <a:pt x="11" y="29"/>
                  </a:lnTo>
                  <a:lnTo>
                    <a:pt x="18" y="17"/>
                  </a:lnTo>
                  <a:lnTo>
                    <a:pt x="27" y="16"/>
                  </a:lnTo>
                  <a:lnTo>
                    <a:pt x="55" y="11"/>
                  </a:lnTo>
                  <a:lnTo>
                    <a:pt x="61" y="7"/>
                  </a:lnTo>
                  <a:lnTo>
                    <a:pt x="71" y="10"/>
                  </a:lnTo>
                  <a:lnTo>
                    <a:pt x="98" y="7"/>
                  </a:lnTo>
                  <a:lnTo>
                    <a:pt x="109" y="3"/>
                  </a:lnTo>
                  <a:lnTo>
                    <a:pt x="118" y="2"/>
                  </a:lnTo>
                  <a:lnTo>
                    <a:pt x="124" y="0"/>
                  </a:lnTo>
                  <a:lnTo>
                    <a:pt x="132" y="2"/>
                  </a:lnTo>
                  <a:lnTo>
                    <a:pt x="133" y="6"/>
                  </a:lnTo>
                  <a:lnTo>
                    <a:pt x="129" y="19"/>
                  </a:lnTo>
                  <a:lnTo>
                    <a:pt x="113" y="23"/>
                  </a:lnTo>
                  <a:lnTo>
                    <a:pt x="88" y="37"/>
                  </a:lnTo>
                  <a:lnTo>
                    <a:pt x="73" y="40"/>
                  </a:lnTo>
                  <a:lnTo>
                    <a:pt x="61" y="46"/>
                  </a:lnTo>
                  <a:lnTo>
                    <a:pt x="39" y="51"/>
                  </a:lnTo>
                  <a:lnTo>
                    <a:pt x="23" y="61"/>
                  </a:lnTo>
                  <a:lnTo>
                    <a:pt x="18" y="59"/>
                  </a:lnTo>
                  <a:lnTo>
                    <a:pt x="0" y="3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29" name="Freeform 84"/>
            <p:cNvSpPr>
              <a:spLocks noChangeAspect="1"/>
            </p:cNvSpPr>
            <p:nvPr/>
          </p:nvSpPr>
          <p:spPr bwMode="gray">
            <a:xfrm>
              <a:off x="8051872" y="4433222"/>
              <a:ext cx="27033" cy="24446"/>
            </a:xfrm>
            <a:custGeom>
              <a:avLst/>
              <a:gdLst/>
              <a:ahLst/>
              <a:cxnLst>
                <a:cxn ang="0">
                  <a:pos x="85" y="20"/>
                </a:cxn>
                <a:cxn ang="0">
                  <a:pos x="85" y="22"/>
                </a:cxn>
                <a:cxn ang="0">
                  <a:pos x="80" y="35"/>
                </a:cxn>
                <a:cxn ang="0">
                  <a:pos x="69" y="46"/>
                </a:cxn>
                <a:cxn ang="0">
                  <a:pos x="63" y="54"/>
                </a:cxn>
                <a:cxn ang="0">
                  <a:pos x="54" y="58"/>
                </a:cxn>
                <a:cxn ang="0">
                  <a:pos x="49" y="60"/>
                </a:cxn>
                <a:cxn ang="0">
                  <a:pos x="40" y="63"/>
                </a:cxn>
                <a:cxn ang="0">
                  <a:pos x="31" y="68"/>
                </a:cxn>
                <a:cxn ang="0">
                  <a:pos x="21" y="70"/>
                </a:cxn>
                <a:cxn ang="0">
                  <a:pos x="15" y="71"/>
                </a:cxn>
                <a:cxn ang="0">
                  <a:pos x="5" y="71"/>
                </a:cxn>
                <a:cxn ang="0">
                  <a:pos x="0" y="66"/>
                </a:cxn>
                <a:cxn ang="0">
                  <a:pos x="8" y="58"/>
                </a:cxn>
                <a:cxn ang="0">
                  <a:pos x="9" y="52"/>
                </a:cxn>
                <a:cxn ang="0">
                  <a:pos x="6" y="46"/>
                </a:cxn>
                <a:cxn ang="0">
                  <a:pos x="8" y="31"/>
                </a:cxn>
                <a:cxn ang="0">
                  <a:pos x="15" y="23"/>
                </a:cxn>
                <a:cxn ang="0">
                  <a:pos x="22" y="17"/>
                </a:cxn>
                <a:cxn ang="0">
                  <a:pos x="32" y="15"/>
                </a:cxn>
                <a:cxn ang="0">
                  <a:pos x="41" y="9"/>
                </a:cxn>
                <a:cxn ang="0">
                  <a:pos x="48" y="6"/>
                </a:cxn>
                <a:cxn ang="0">
                  <a:pos x="53" y="4"/>
                </a:cxn>
                <a:cxn ang="0">
                  <a:pos x="62" y="3"/>
                </a:cxn>
                <a:cxn ang="0">
                  <a:pos x="67" y="0"/>
                </a:cxn>
                <a:cxn ang="0">
                  <a:pos x="85" y="20"/>
                </a:cxn>
              </a:cxnLst>
              <a:rect l="0" t="0" r="r" b="b"/>
              <a:pathLst>
                <a:path w="85" h="71">
                  <a:moveTo>
                    <a:pt x="85" y="20"/>
                  </a:moveTo>
                  <a:lnTo>
                    <a:pt x="85" y="22"/>
                  </a:lnTo>
                  <a:lnTo>
                    <a:pt x="80" y="35"/>
                  </a:lnTo>
                  <a:lnTo>
                    <a:pt x="69" y="46"/>
                  </a:lnTo>
                  <a:lnTo>
                    <a:pt x="63" y="54"/>
                  </a:lnTo>
                  <a:lnTo>
                    <a:pt x="54" y="58"/>
                  </a:lnTo>
                  <a:lnTo>
                    <a:pt x="49" y="60"/>
                  </a:lnTo>
                  <a:lnTo>
                    <a:pt x="40" y="63"/>
                  </a:lnTo>
                  <a:lnTo>
                    <a:pt x="31" y="68"/>
                  </a:lnTo>
                  <a:lnTo>
                    <a:pt x="21" y="70"/>
                  </a:lnTo>
                  <a:lnTo>
                    <a:pt x="15" y="71"/>
                  </a:lnTo>
                  <a:lnTo>
                    <a:pt x="5" y="71"/>
                  </a:lnTo>
                  <a:lnTo>
                    <a:pt x="0" y="66"/>
                  </a:lnTo>
                  <a:lnTo>
                    <a:pt x="8" y="58"/>
                  </a:lnTo>
                  <a:lnTo>
                    <a:pt x="9" y="52"/>
                  </a:lnTo>
                  <a:lnTo>
                    <a:pt x="6" y="46"/>
                  </a:lnTo>
                  <a:lnTo>
                    <a:pt x="8" y="31"/>
                  </a:lnTo>
                  <a:lnTo>
                    <a:pt x="15" y="23"/>
                  </a:lnTo>
                  <a:lnTo>
                    <a:pt x="22" y="17"/>
                  </a:lnTo>
                  <a:lnTo>
                    <a:pt x="32" y="15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3" y="4"/>
                  </a:lnTo>
                  <a:lnTo>
                    <a:pt x="62" y="3"/>
                  </a:lnTo>
                  <a:lnTo>
                    <a:pt x="67" y="0"/>
                  </a:lnTo>
                  <a:lnTo>
                    <a:pt x="85" y="2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30" name="Freeform 85"/>
            <p:cNvSpPr>
              <a:spLocks noChangeAspect="1"/>
            </p:cNvSpPr>
            <p:nvPr/>
          </p:nvSpPr>
          <p:spPr bwMode="gray">
            <a:xfrm>
              <a:off x="8128199" y="4312739"/>
              <a:ext cx="50884" cy="20954"/>
            </a:xfrm>
            <a:custGeom>
              <a:avLst/>
              <a:gdLst/>
              <a:ahLst/>
              <a:cxnLst>
                <a:cxn ang="0">
                  <a:pos x="3" y="38"/>
                </a:cxn>
                <a:cxn ang="0">
                  <a:pos x="1" y="37"/>
                </a:cxn>
                <a:cxn ang="0">
                  <a:pos x="0" y="24"/>
                </a:cxn>
                <a:cxn ang="0">
                  <a:pos x="2" y="18"/>
                </a:cxn>
                <a:cxn ang="0">
                  <a:pos x="7" y="14"/>
                </a:cxn>
                <a:cxn ang="0">
                  <a:pos x="12" y="8"/>
                </a:cxn>
                <a:cxn ang="0">
                  <a:pos x="17" y="3"/>
                </a:cxn>
                <a:cxn ang="0">
                  <a:pos x="43" y="5"/>
                </a:cxn>
                <a:cxn ang="0">
                  <a:pos x="54" y="4"/>
                </a:cxn>
                <a:cxn ang="0">
                  <a:pos x="63" y="2"/>
                </a:cxn>
                <a:cxn ang="0">
                  <a:pos x="70" y="5"/>
                </a:cxn>
                <a:cxn ang="0">
                  <a:pos x="88" y="0"/>
                </a:cxn>
                <a:cxn ang="0">
                  <a:pos x="99" y="4"/>
                </a:cxn>
                <a:cxn ang="0">
                  <a:pos x="108" y="11"/>
                </a:cxn>
                <a:cxn ang="0">
                  <a:pos x="116" y="13"/>
                </a:cxn>
                <a:cxn ang="0">
                  <a:pos x="125" y="13"/>
                </a:cxn>
                <a:cxn ang="0">
                  <a:pos x="132" y="10"/>
                </a:cxn>
                <a:cxn ang="0">
                  <a:pos x="142" y="14"/>
                </a:cxn>
                <a:cxn ang="0">
                  <a:pos x="148" y="30"/>
                </a:cxn>
                <a:cxn ang="0">
                  <a:pos x="152" y="35"/>
                </a:cxn>
                <a:cxn ang="0">
                  <a:pos x="160" y="37"/>
                </a:cxn>
                <a:cxn ang="0">
                  <a:pos x="162" y="50"/>
                </a:cxn>
                <a:cxn ang="0">
                  <a:pos x="157" y="59"/>
                </a:cxn>
                <a:cxn ang="0">
                  <a:pos x="149" y="54"/>
                </a:cxn>
                <a:cxn ang="0">
                  <a:pos x="108" y="32"/>
                </a:cxn>
                <a:cxn ang="0">
                  <a:pos x="98" y="30"/>
                </a:cxn>
                <a:cxn ang="0">
                  <a:pos x="88" y="30"/>
                </a:cxn>
                <a:cxn ang="0">
                  <a:pos x="88" y="35"/>
                </a:cxn>
                <a:cxn ang="0">
                  <a:pos x="83" y="36"/>
                </a:cxn>
                <a:cxn ang="0">
                  <a:pos x="72" y="35"/>
                </a:cxn>
                <a:cxn ang="0">
                  <a:pos x="62" y="34"/>
                </a:cxn>
                <a:cxn ang="0">
                  <a:pos x="54" y="26"/>
                </a:cxn>
                <a:cxn ang="0">
                  <a:pos x="45" y="30"/>
                </a:cxn>
                <a:cxn ang="0">
                  <a:pos x="41" y="35"/>
                </a:cxn>
                <a:cxn ang="0">
                  <a:pos x="34" y="37"/>
                </a:cxn>
                <a:cxn ang="0">
                  <a:pos x="24" y="32"/>
                </a:cxn>
                <a:cxn ang="0">
                  <a:pos x="13" y="21"/>
                </a:cxn>
                <a:cxn ang="0">
                  <a:pos x="11" y="24"/>
                </a:cxn>
                <a:cxn ang="0">
                  <a:pos x="3" y="38"/>
                </a:cxn>
              </a:cxnLst>
              <a:rect l="0" t="0" r="r" b="b"/>
              <a:pathLst>
                <a:path w="162" h="59">
                  <a:moveTo>
                    <a:pt x="3" y="38"/>
                  </a:moveTo>
                  <a:lnTo>
                    <a:pt x="1" y="37"/>
                  </a:lnTo>
                  <a:lnTo>
                    <a:pt x="0" y="24"/>
                  </a:lnTo>
                  <a:lnTo>
                    <a:pt x="2" y="18"/>
                  </a:lnTo>
                  <a:lnTo>
                    <a:pt x="7" y="14"/>
                  </a:lnTo>
                  <a:lnTo>
                    <a:pt x="12" y="8"/>
                  </a:lnTo>
                  <a:lnTo>
                    <a:pt x="17" y="3"/>
                  </a:lnTo>
                  <a:lnTo>
                    <a:pt x="43" y="5"/>
                  </a:lnTo>
                  <a:lnTo>
                    <a:pt x="54" y="4"/>
                  </a:lnTo>
                  <a:lnTo>
                    <a:pt x="63" y="2"/>
                  </a:lnTo>
                  <a:lnTo>
                    <a:pt x="70" y="5"/>
                  </a:lnTo>
                  <a:lnTo>
                    <a:pt x="88" y="0"/>
                  </a:lnTo>
                  <a:lnTo>
                    <a:pt x="99" y="4"/>
                  </a:lnTo>
                  <a:lnTo>
                    <a:pt x="108" y="11"/>
                  </a:lnTo>
                  <a:lnTo>
                    <a:pt x="116" y="13"/>
                  </a:lnTo>
                  <a:lnTo>
                    <a:pt x="125" y="13"/>
                  </a:lnTo>
                  <a:lnTo>
                    <a:pt x="132" y="10"/>
                  </a:lnTo>
                  <a:lnTo>
                    <a:pt x="142" y="14"/>
                  </a:lnTo>
                  <a:lnTo>
                    <a:pt x="148" y="30"/>
                  </a:lnTo>
                  <a:lnTo>
                    <a:pt x="152" y="35"/>
                  </a:lnTo>
                  <a:lnTo>
                    <a:pt x="160" y="37"/>
                  </a:lnTo>
                  <a:lnTo>
                    <a:pt x="162" y="50"/>
                  </a:lnTo>
                  <a:lnTo>
                    <a:pt x="157" y="59"/>
                  </a:lnTo>
                  <a:lnTo>
                    <a:pt x="149" y="54"/>
                  </a:lnTo>
                  <a:lnTo>
                    <a:pt x="108" y="32"/>
                  </a:lnTo>
                  <a:lnTo>
                    <a:pt x="98" y="30"/>
                  </a:lnTo>
                  <a:lnTo>
                    <a:pt x="88" y="30"/>
                  </a:lnTo>
                  <a:lnTo>
                    <a:pt x="88" y="35"/>
                  </a:lnTo>
                  <a:lnTo>
                    <a:pt x="83" y="36"/>
                  </a:lnTo>
                  <a:lnTo>
                    <a:pt x="72" y="35"/>
                  </a:lnTo>
                  <a:lnTo>
                    <a:pt x="62" y="34"/>
                  </a:lnTo>
                  <a:lnTo>
                    <a:pt x="54" y="26"/>
                  </a:lnTo>
                  <a:lnTo>
                    <a:pt x="45" y="30"/>
                  </a:lnTo>
                  <a:lnTo>
                    <a:pt x="41" y="35"/>
                  </a:lnTo>
                  <a:lnTo>
                    <a:pt x="34" y="37"/>
                  </a:lnTo>
                  <a:lnTo>
                    <a:pt x="24" y="32"/>
                  </a:lnTo>
                  <a:lnTo>
                    <a:pt x="13" y="21"/>
                  </a:lnTo>
                  <a:lnTo>
                    <a:pt x="11" y="24"/>
                  </a:lnTo>
                  <a:lnTo>
                    <a:pt x="3" y="3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31" name="Freeform 86"/>
            <p:cNvSpPr>
              <a:spLocks noChangeAspect="1"/>
            </p:cNvSpPr>
            <p:nvPr/>
          </p:nvSpPr>
          <p:spPr bwMode="gray">
            <a:xfrm>
              <a:off x="7970775" y="4227178"/>
              <a:ext cx="109720" cy="141437"/>
            </a:xfrm>
            <a:custGeom>
              <a:avLst/>
              <a:gdLst/>
              <a:ahLst/>
              <a:cxnLst>
                <a:cxn ang="0">
                  <a:pos x="141" y="30"/>
                </a:cxn>
                <a:cxn ang="0">
                  <a:pos x="163" y="33"/>
                </a:cxn>
                <a:cxn ang="0">
                  <a:pos x="184" y="36"/>
                </a:cxn>
                <a:cxn ang="0">
                  <a:pos x="205" y="43"/>
                </a:cxn>
                <a:cxn ang="0">
                  <a:pos x="229" y="42"/>
                </a:cxn>
                <a:cxn ang="0">
                  <a:pos x="288" y="42"/>
                </a:cxn>
                <a:cxn ang="0">
                  <a:pos x="325" y="6"/>
                </a:cxn>
                <a:cxn ang="0">
                  <a:pos x="344" y="4"/>
                </a:cxn>
                <a:cxn ang="0">
                  <a:pos x="339" y="30"/>
                </a:cxn>
                <a:cxn ang="0">
                  <a:pos x="303" y="69"/>
                </a:cxn>
                <a:cxn ang="0">
                  <a:pos x="268" y="78"/>
                </a:cxn>
                <a:cxn ang="0">
                  <a:pos x="218" y="68"/>
                </a:cxn>
                <a:cxn ang="0">
                  <a:pos x="164" y="72"/>
                </a:cxn>
                <a:cxn ang="0">
                  <a:pos x="145" y="69"/>
                </a:cxn>
                <a:cxn ang="0">
                  <a:pos x="121" y="72"/>
                </a:cxn>
                <a:cxn ang="0">
                  <a:pos x="87" y="69"/>
                </a:cxn>
                <a:cxn ang="0">
                  <a:pos x="67" y="107"/>
                </a:cxn>
                <a:cxn ang="0">
                  <a:pos x="86" y="148"/>
                </a:cxn>
                <a:cxn ang="0">
                  <a:pos x="124" y="164"/>
                </a:cxn>
                <a:cxn ang="0">
                  <a:pos x="151" y="143"/>
                </a:cxn>
                <a:cxn ang="0">
                  <a:pos x="172" y="148"/>
                </a:cxn>
                <a:cxn ang="0">
                  <a:pos x="215" y="138"/>
                </a:cxn>
                <a:cxn ang="0">
                  <a:pos x="244" y="124"/>
                </a:cxn>
                <a:cxn ang="0">
                  <a:pos x="243" y="150"/>
                </a:cxn>
                <a:cxn ang="0">
                  <a:pos x="198" y="172"/>
                </a:cxn>
                <a:cxn ang="0">
                  <a:pos x="166" y="189"/>
                </a:cxn>
                <a:cxn ang="0">
                  <a:pos x="137" y="193"/>
                </a:cxn>
                <a:cxn ang="0">
                  <a:pos x="180" y="251"/>
                </a:cxn>
                <a:cxn ang="0">
                  <a:pos x="196" y="271"/>
                </a:cxn>
                <a:cxn ang="0">
                  <a:pos x="184" y="286"/>
                </a:cxn>
                <a:cxn ang="0">
                  <a:pos x="202" y="309"/>
                </a:cxn>
                <a:cxn ang="0">
                  <a:pos x="216" y="320"/>
                </a:cxn>
                <a:cxn ang="0">
                  <a:pos x="211" y="337"/>
                </a:cxn>
                <a:cxn ang="0">
                  <a:pos x="175" y="354"/>
                </a:cxn>
                <a:cxn ang="0">
                  <a:pos x="146" y="348"/>
                </a:cxn>
                <a:cxn ang="0">
                  <a:pos x="143" y="314"/>
                </a:cxn>
                <a:cxn ang="0">
                  <a:pos x="113" y="280"/>
                </a:cxn>
                <a:cxn ang="0">
                  <a:pos x="119" y="245"/>
                </a:cxn>
                <a:cxn ang="0">
                  <a:pos x="92" y="245"/>
                </a:cxn>
                <a:cxn ang="0">
                  <a:pos x="83" y="280"/>
                </a:cxn>
                <a:cxn ang="0">
                  <a:pos x="86" y="354"/>
                </a:cxn>
                <a:cxn ang="0">
                  <a:pos x="85" y="397"/>
                </a:cxn>
                <a:cxn ang="0">
                  <a:pos x="55" y="404"/>
                </a:cxn>
                <a:cxn ang="0">
                  <a:pos x="27" y="384"/>
                </a:cxn>
                <a:cxn ang="0">
                  <a:pos x="43" y="316"/>
                </a:cxn>
                <a:cxn ang="0">
                  <a:pos x="22" y="284"/>
                </a:cxn>
                <a:cxn ang="0">
                  <a:pos x="0" y="259"/>
                </a:cxn>
                <a:cxn ang="0">
                  <a:pos x="18" y="210"/>
                </a:cxn>
                <a:cxn ang="0">
                  <a:pos x="37" y="144"/>
                </a:cxn>
                <a:cxn ang="0">
                  <a:pos x="51" y="138"/>
                </a:cxn>
                <a:cxn ang="0">
                  <a:pos x="45" y="97"/>
                </a:cxn>
                <a:cxn ang="0">
                  <a:pos x="55" y="80"/>
                </a:cxn>
                <a:cxn ang="0">
                  <a:pos x="73" y="46"/>
                </a:cxn>
                <a:cxn ang="0">
                  <a:pos x="93" y="51"/>
                </a:cxn>
                <a:cxn ang="0">
                  <a:pos x="110" y="24"/>
                </a:cxn>
              </a:cxnLst>
              <a:rect l="0" t="0" r="r" b="b"/>
              <a:pathLst>
                <a:path w="345" h="402">
                  <a:moveTo>
                    <a:pt x="120" y="22"/>
                  </a:moveTo>
                  <a:lnTo>
                    <a:pt x="139" y="24"/>
                  </a:lnTo>
                  <a:lnTo>
                    <a:pt x="141" y="30"/>
                  </a:lnTo>
                  <a:lnTo>
                    <a:pt x="147" y="35"/>
                  </a:lnTo>
                  <a:lnTo>
                    <a:pt x="155" y="36"/>
                  </a:lnTo>
                  <a:lnTo>
                    <a:pt x="163" y="33"/>
                  </a:lnTo>
                  <a:lnTo>
                    <a:pt x="169" y="33"/>
                  </a:lnTo>
                  <a:lnTo>
                    <a:pt x="178" y="35"/>
                  </a:lnTo>
                  <a:lnTo>
                    <a:pt x="184" y="36"/>
                  </a:lnTo>
                  <a:lnTo>
                    <a:pt x="193" y="36"/>
                  </a:lnTo>
                  <a:lnTo>
                    <a:pt x="201" y="38"/>
                  </a:lnTo>
                  <a:lnTo>
                    <a:pt x="205" y="43"/>
                  </a:lnTo>
                  <a:lnTo>
                    <a:pt x="216" y="47"/>
                  </a:lnTo>
                  <a:lnTo>
                    <a:pt x="222" y="46"/>
                  </a:lnTo>
                  <a:lnTo>
                    <a:pt x="229" y="42"/>
                  </a:lnTo>
                  <a:lnTo>
                    <a:pt x="237" y="41"/>
                  </a:lnTo>
                  <a:lnTo>
                    <a:pt x="274" y="46"/>
                  </a:lnTo>
                  <a:lnTo>
                    <a:pt x="288" y="42"/>
                  </a:lnTo>
                  <a:lnTo>
                    <a:pt x="309" y="21"/>
                  </a:lnTo>
                  <a:lnTo>
                    <a:pt x="317" y="16"/>
                  </a:lnTo>
                  <a:lnTo>
                    <a:pt x="325" y="6"/>
                  </a:lnTo>
                  <a:lnTo>
                    <a:pt x="335" y="0"/>
                  </a:lnTo>
                  <a:lnTo>
                    <a:pt x="341" y="2"/>
                  </a:lnTo>
                  <a:lnTo>
                    <a:pt x="344" y="4"/>
                  </a:lnTo>
                  <a:lnTo>
                    <a:pt x="345" y="13"/>
                  </a:lnTo>
                  <a:lnTo>
                    <a:pt x="344" y="20"/>
                  </a:lnTo>
                  <a:lnTo>
                    <a:pt x="339" y="30"/>
                  </a:lnTo>
                  <a:lnTo>
                    <a:pt x="323" y="47"/>
                  </a:lnTo>
                  <a:lnTo>
                    <a:pt x="313" y="60"/>
                  </a:lnTo>
                  <a:lnTo>
                    <a:pt x="303" y="69"/>
                  </a:lnTo>
                  <a:lnTo>
                    <a:pt x="293" y="75"/>
                  </a:lnTo>
                  <a:lnTo>
                    <a:pt x="280" y="75"/>
                  </a:lnTo>
                  <a:lnTo>
                    <a:pt x="268" y="78"/>
                  </a:lnTo>
                  <a:lnTo>
                    <a:pt x="245" y="78"/>
                  </a:lnTo>
                  <a:lnTo>
                    <a:pt x="234" y="70"/>
                  </a:lnTo>
                  <a:lnTo>
                    <a:pt x="218" y="68"/>
                  </a:lnTo>
                  <a:lnTo>
                    <a:pt x="201" y="68"/>
                  </a:lnTo>
                  <a:lnTo>
                    <a:pt x="178" y="69"/>
                  </a:lnTo>
                  <a:lnTo>
                    <a:pt x="164" y="72"/>
                  </a:lnTo>
                  <a:lnTo>
                    <a:pt x="156" y="68"/>
                  </a:lnTo>
                  <a:lnTo>
                    <a:pt x="148" y="68"/>
                  </a:lnTo>
                  <a:lnTo>
                    <a:pt x="145" y="69"/>
                  </a:lnTo>
                  <a:lnTo>
                    <a:pt x="135" y="67"/>
                  </a:lnTo>
                  <a:lnTo>
                    <a:pt x="130" y="68"/>
                  </a:lnTo>
                  <a:lnTo>
                    <a:pt x="121" y="72"/>
                  </a:lnTo>
                  <a:lnTo>
                    <a:pt x="109" y="72"/>
                  </a:lnTo>
                  <a:lnTo>
                    <a:pt x="98" y="69"/>
                  </a:lnTo>
                  <a:lnTo>
                    <a:pt x="87" y="69"/>
                  </a:lnTo>
                  <a:lnTo>
                    <a:pt x="77" y="80"/>
                  </a:lnTo>
                  <a:lnTo>
                    <a:pt x="70" y="94"/>
                  </a:lnTo>
                  <a:lnTo>
                    <a:pt x="67" y="107"/>
                  </a:lnTo>
                  <a:lnTo>
                    <a:pt x="67" y="137"/>
                  </a:lnTo>
                  <a:lnTo>
                    <a:pt x="75" y="144"/>
                  </a:lnTo>
                  <a:lnTo>
                    <a:pt x="86" y="148"/>
                  </a:lnTo>
                  <a:lnTo>
                    <a:pt x="100" y="171"/>
                  </a:lnTo>
                  <a:lnTo>
                    <a:pt x="121" y="170"/>
                  </a:lnTo>
                  <a:lnTo>
                    <a:pt x="124" y="164"/>
                  </a:lnTo>
                  <a:lnTo>
                    <a:pt x="132" y="156"/>
                  </a:lnTo>
                  <a:lnTo>
                    <a:pt x="140" y="146"/>
                  </a:lnTo>
                  <a:lnTo>
                    <a:pt x="151" y="143"/>
                  </a:lnTo>
                  <a:lnTo>
                    <a:pt x="159" y="145"/>
                  </a:lnTo>
                  <a:lnTo>
                    <a:pt x="163" y="145"/>
                  </a:lnTo>
                  <a:lnTo>
                    <a:pt x="172" y="148"/>
                  </a:lnTo>
                  <a:lnTo>
                    <a:pt x="177" y="140"/>
                  </a:lnTo>
                  <a:lnTo>
                    <a:pt x="193" y="138"/>
                  </a:lnTo>
                  <a:lnTo>
                    <a:pt x="215" y="138"/>
                  </a:lnTo>
                  <a:lnTo>
                    <a:pt x="217" y="129"/>
                  </a:lnTo>
                  <a:lnTo>
                    <a:pt x="233" y="124"/>
                  </a:lnTo>
                  <a:lnTo>
                    <a:pt x="244" y="124"/>
                  </a:lnTo>
                  <a:lnTo>
                    <a:pt x="250" y="133"/>
                  </a:lnTo>
                  <a:lnTo>
                    <a:pt x="249" y="144"/>
                  </a:lnTo>
                  <a:lnTo>
                    <a:pt x="243" y="150"/>
                  </a:lnTo>
                  <a:lnTo>
                    <a:pt x="231" y="144"/>
                  </a:lnTo>
                  <a:lnTo>
                    <a:pt x="218" y="146"/>
                  </a:lnTo>
                  <a:lnTo>
                    <a:pt x="198" y="172"/>
                  </a:lnTo>
                  <a:lnTo>
                    <a:pt x="189" y="180"/>
                  </a:lnTo>
                  <a:lnTo>
                    <a:pt x="173" y="187"/>
                  </a:lnTo>
                  <a:lnTo>
                    <a:pt x="166" y="189"/>
                  </a:lnTo>
                  <a:lnTo>
                    <a:pt x="155" y="196"/>
                  </a:lnTo>
                  <a:lnTo>
                    <a:pt x="150" y="197"/>
                  </a:lnTo>
                  <a:lnTo>
                    <a:pt x="137" y="193"/>
                  </a:lnTo>
                  <a:lnTo>
                    <a:pt x="139" y="203"/>
                  </a:lnTo>
                  <a:lnTo>
                    <a:pt x="152" y="212"/>
                  </a:lnTo>
                  <a:lnTo>
                    <a:pt x="180" y="251"/>
                  </a:lnTo>
                  <a:lnTo>
                    <a:pt x="185" y="252"/>
                  </a:lnTo>
                  <a:lnTo>
                    <a:pt x="190" y="263"/>
                  </a:lnTo>
                  <a:lnTo>
                    <a:pt x="196" y="271"/>
                  </a:lnTo>
                  <a:lnTo>
                    <a:pt x="193" y="277"/>
                  </a:lnTo>
                  <a:lnTo>
                    <a:pt x="185" y="279"/>
                  </a:lnTo>
                  <a:lnTo>
                    <a:pt x="184" y="286"/>
                  </a:lnTo>
                  <a:lnTo>
                    <a:pt x="185" y="293"/>
                  </a:lnTo>
                  <a:lnTo>
                    <a:pt x="198" y="301"/>
                  </a:lnTo>
                  <a:lnTo>
                    <a:pt x="202" y="309"/>
                  </a:lnTo>
                  <a:lnTo>
                    <a:pt x="202" y="317"/>
                  </a:lnTo>
                  <a:lnTo>
                    <a:pt x="209" y="321"/>
                  </a:lnTo>
                  <a:lnTo>
                    <a:pt x="216" y="320"/>
                  </a:lnTo>
                  <a:lnTo>
                    <a:pt x="218" y="328"/>
                  </a:lnTo>
                  <a:lnTo>
                    <a:pt x="215" y="332"/>
                  </a:lnTo>
                  <a:lnTo>
                    <a:pt x="211" y="337"/>
                  </a:lnTo>
                  <a:lnTo>
                    <a:pt x="196" y="337"/>
                  </a:lnTo>
                  <a:lnTo>
                    <a:pt x="182" y="341"/>
                  </a:lnTo>
                  <a:lnTo>
                    <a:pt x="175" y="354"/>
                  </a:lnTo>
                  <a:lnTo>
                    <a:pt x="166" y="360"/>
                  </a:lnTo>
                  <a:lnTo>
                    <a:pt x="150" y="359"/>
                  </a:lnTo>
                  <a:lnTo>
                    <a:pt x="146" y="348"/>
                  </a:lnTo>
                  <a:lnTo>
                    <a:pt x="145" y="333"/>
                  </a:lnTo>
                  <a:lnTo>
                    <a:pt x="148" y="321"/>
                  </a:lnTo>
                  <a:lnTo>
                    <a:pt x="143" y="314"/>
                  </a:lnTo>
                  <a:lnTo>
                    <a:pt x="131" y="305"/>
                  </a:lnTo>
                  <a:lnTo>
                    <a:pt x="120" y="294"/>
                  </a:lnTo>
                  <a:lnTo>
                    <a:pt x="113" y="280"/>
                  </a:lnTo>
                  <a:lnTo>
                    <a:pt x="121" y="264"/>
                  </a:lnTo>
                  <a:lnTo>
                    <a:pt x="121" y="253"/>
                  </a:lnTo>
                  <a:lnTo>
                    <a:pt x="119" y="245"/>
                  </a:lnTo>
                  <a:lnTo>
                    <a:pt x="116" y="239"/>
                  </a:lnTo>
                  <a:lnTo>
                    <a:pt x="105" y="237"/>
                  </a:lnTo>
                  <a:lnTo>
                    <a:pt x="92" y="245"/>
                  </a:lnTo>
                  <a:lnTo>
                    <a:pt x="81" y="253"/>
                  </a:lnTo>
                  <a:lnTo>
                    <a:pt x="76" y="267"/>
                  </a:lnTo>
                  <a:lnTo>
                    <a:pt x="83" y="280"/>
                  </a:lnTo>
                  <a:lnTo>
                    <a:pt x="83" y="294"/>
                  </a:lnTo>
                  <a:lnTo>
                    <a:pt x="82" y="344"/>
                  </a:lnTo>
                  <a:lnTo>
                    <a:pt x="86" y="354"/>
                  </a:lnTo>
                  <a:lnTo>
                    <a:pt x="80" y="368"/>
                  </a:lnTo>
                  <a:lnTo>
                    <a:pt x="81" y="384"/>
                  </a:lnTo>
                  <a:lnTo>
                    <a:pt x="85" y="397"/>
                  </a:lnTo>
                  <a:lnTo>
                    <a:pt x="82" y="400"/>
                  </a:lnTo>
                  <a:lnTo>
                    <a:pt x="67" y="401"/>
                  </a:lnTo>
                  <a:lnTo>
                    <a:pt x="55" y="404"/>
                  </a:lnTo>
                  <a:lnTo>
                    <a:pt x="42" y="403"/>
                  </a:lnTo>
                  <a:lnTo>
                    <a:pt x="33" y="398"/>
                  </a:lnTo>
                  <a:lnTo>
                    <a:pt x="27" y="384"/>
                  </a:lnTo>
                  <a:lnTo>
                    <a:pt x="34" y="363"/>
                  </a:lnTo>
                  <a:lnTo>
                    <a:pt x="35" y="350"/>
                  </a:lnTo>
                  <a:lnTo>
                    <a:pt x="43" y="316"/>
                  </a:lnTo>
                  <a:lnTo>
                    <a:pt x="39" y="310"/>
                  </a:lnTo>
                  <a:lnTo>
                    <a:pt x="34" y="284"/>
                  </a:lnTo>
                  <a:lnTo>
                    <a:pt x="22" y="284"/>
                  </a:lnTo>
                  <a:lnTo>
                    <a:pt x="11" y="285"/>
                  </a:lnTo>
                  <a:lnTo>
                    <a:pt x="2" y="273"/>
                  </a:lnTo>
                  <a:lnTo>
                    <a:pt x="0" y="259"/>
                  </a:lnTo>
                  <a:lnTo>
                    <a:pt x="1" y="240"/>
                  </a:lnTo>
                  <a:lnTo>
                    <a:pt x="12" y="226"/>
                  </a:lnTo>
                  <a:lnTo>
                    <a:pt x="18" y="210"/>
                  </a:lnTo>
                  <a:lnTo>
                    <a:pt x="26" y="196"/>
                  </a:lnTo>
                  <a:lnTo>
                    <a:pt x="24" y="166"/>
                  </a:lnTo>
                  <a:lnTo>
                    <a:pt x="37" y="144"/>
                  </a:lnTo>
                  <a:lnTo>
                    <a:pt x="44" y="137"/>
                  </a:lnTo>
                  <a:lnTo>
                    <a:pt x="49" y="128"/>
                  </a:lnTo>
                  <a:lnTo>
                    <a:pt x="51" y="138"/>
                  </a:lnTo>
                  <a:lnTo>
                    <a:pt x="54" y="126"/>
                  </a:lnTo>
                  <a:lnTo>
                    <a:pt x="53" y="105"/>
                  </a:lnTo>
                  <a:lnTo>
                    <a:pt x="45" y="97"/>
                  </a:lnTo>
                  <a:lnTo>
                    <a:pt x="48" y="97"/>
                  </a:lnTo>
                  <a:lnTo>
                    <a:pt x="55" y="86"/>
                  </a:lnTo>
                  <a:lnTo>
                    <a:pt x="55" y="80"/>
                  </a:lnTo>
                  <a:lnTo>
                    <a:pt x="57" y="69"/>
                  </a:lnTo>
                  <a:lnTo>
                    <a:pt x="62" y="58"/>
                  </a:lnTo>
                  <a:lnTo>
                    <a:pt x="73" y="46"/>
                  </a:lnTo>
                  <a:lnTo>
                    <a:pt x="78" y="46"/>
                  </a:lnTo>
                  <a:lnTo>
                    <a:pt x="86" y="52"/>
                  </a:lnTo>
                  <a:lnTo>
                    <a:pt x="93" y="51"/>
                  </a:lnTo>
                  <a:lnTo>
                    <a:pt x="102" y="40"/>
                  </a:lnTo>
                  <a:lnTo>
                    <a:pt x="104" y="27"/>
                  </a:lnTo>
                  <a:lnTo>
                    <a:pt x="110" y="24"/>
                  </a:lnTo>
                  <a:lnTo>
                    <a:pt x="120" y="2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32" name="Freeform 87"/>
            <p:cNvSpPr>
              <a:spLocks noChangeAspect="1"/>
            </p:cNvSpPr>
            <p:nvPr/>
          </p:nvSpPr>
          <p:spPr bwMode="gray">
            <a:xfrm>
              <a:off x="8118658" y="4216701"/>
              <a:ext cx="25442" cy="59369"/>
            </a:xfrm>
            <a:custGeom>
              <a:avLst/>
              <a:gdLst/>
              <a:ahLst/>
              <a:cxnLst>
                <a:cxn ang="0">
                  <a:pos x="31" y="0"/>
                </a:cxn>
                <a:cxn ang="0">
                  <a:pos x="32" y="0"/>
                </a:cxn>
                <a:cxn ang="0">
                  <a:pos x="34" y="2"/>
                </a:cxn>
                <a:cxn ang="0">
                  <a:pos x="36" y="6"/>
                </a:cxn>
                <a:cxn ang="0">
                  <a:pos x="31" y="14"/>
                </a:cxn>
                <a:cxn ang="0">
                  <a:pos x="27" y="17"/>
                </a:cxn>
                <a:cxn ang="0">
                  <a:pos x="26" y="21"/>
                </a:cxn>
                <a:cxn ang="0">
                  <a:pos x="31" y="25"/>
                </a:cxn>
                <a:cxn ang="0">
                  <a:pos x="34" y="36"/>
                </a:cxn>
                <a:cxn ang="0">
                  <a:pos x="36" y="45"/>
                </a:cxn>
                <a:cxn ang="0">
                  <a:pos x="34" y="53"/>
                </a:cxn>
                <a:cxn ang="0">
                  <a:pos x="22" y="65"/>
                </a:cxn>
                <a:cxn ang="0">
                  <a:pos x="15" y="72"/>
                </a:cxn>
                <a:cxn ang="0">
                  <a:pos x="15" y="74"/>
                </a:cxn>
                <a:cxn ang="0">
                  <a:pos x="22" y="75"/>
                </a:cxn>
                <a:cxn ang="0">
                  <a:pos x="28" y="69"/>
                </a:cxn>
                <a:cxn ang="0">
                  <a:pos x="37" y="63"/>
                </a:cxn>
                <a:cxn ang="0">
                  <a:pos x="47" y="45"/>
                </a:cxn>
                <a:cxn ang="0">
                  <a:pos x="57" y="40"/>
                </a:cxn>
                <a:cxn ang="0">
                  <a:pos x="68" y="38"/>
                </a:cxn>
                <a:cxn ang="0">
                  <a:pos x="70" y="41"/>
                </a:cxn>
                <a:cxn ang="0">
                  <a:pos x="74" y="49"/>
                </a:cxn>
                <a:cxn ang="0">
                  <a:pos x="74" y="63"/>
                </a:cxn>
                <a:cxn ang="0">
                  <a:pos x="52" y="78"/>
                </a:cxn>
                <a:cxn ang="0">
                  <a:pos x="52" y="81"/>
                </a:cxn>
                <a:cxn ang="0">
                  <a:pos x="69" y="92"/>
                </a:cxn>
                <a:cxn ang="0">
                  <a:pos x="70" y="99"/>
                </a:cxn>
                <a:cxn ang="0">
                  <a:pos x="74" y="103"/>
                </a:cxn>
                <a:cxn ang="0">
                  <a:pos x="80" y="107"/>
                </a:cxn>
                <a:cxn ang="0">
                  <a:pos x="70" y="108"/>
                </a:cxn>
                <a:cxn ang="0">
                  <a:pos x="62" y="102"/>
                </a:cxn>
                <a:cxn ang="0">
                  <a:pos x="47" y="100"/>
                </a:cxn>
                <a:cxn ang="0">
                  <a:pos x="36" y="96"/>
                </a:cxn>
                <a:cxn ang="0">
                  <a:pos x="31" y="102"/>
                </a:cxn>
                <a:cxn ang="0">
                  <a:pos x="30" y="118"/>
                </a:cxn>
                <a:cxn ang="0">
                  <a:pos x="32" y="137"/>
                </a:cxn>
                <a:cxn ang="0">
                  <a:pos x="37" y="146"/>
                </a:cxn>
                <a:cxn ang="0">
                  <a:pos x="43" y="158"/>
                </a:cxn>
                <a:cxn ang="0">
                  <a:pos x="54" y="170"/>
                </a:cxn>
                <a:cxn ang="0">
                  <a:pos x="49" y="170"/>
                </a:cxn>
                <a:cxn ang="0">
                  <a:pos x="39" y="160"/>
                </a:cxn>
                <a:cxn ang="0">
                  <a:pos x="21" y="137"/>
                </a:cxn>
                <a:cxn ang="0">
                  <a:pos x="17" y="106"/>
                </a:cxn>
                <a:cxn ang="0">
                  <a:pos x="12" y="92"/>
                </a:cxn>
                <a:cxn ang="0">
                  <a:pos x="12" y="80"/>
                </a:cxn>
                <a:cxn ang="0">
                  <a:pos x="10" y="72"/>
                </a:cxn>
                <a:cxn ang="0">
                  <a:pos x="5" y="68"/>
                </a:cxn>
                <a:cxn ang="0">
                  <a:pos x="0" y="59"/>
                </a:cxn>
                <a:cxn ang="0">
                  <a:pos x="1" y="49"/>
                </a:cxn>
                <a:cxn ang="0">
                  <a:pos x="3" y="48"/>
                </a:cxn>
                <a:cxn ang="0">
                  <a:pos x="10" y="25"/>
                </a:cxn>
                <a:cxn ang="0">
                  <a:pos x="15" y="15"/>
                </a:cxn>
                <a:cxn ang="0">
                  <a:pos x="31" y="0"/>
                </a:cxn>
              </a:cxnLst>
              <a:rect l="0" t="0" r="r" b="b"/>
              <a:pathLst>
                <a:path w="80" h="170">
                  <a:moveTo>
                    <a:pt x="31" y="0"/>
                  </a:moveTo>
                  <a:lnTo>
                    <a:pt x="32" y="0"/>
                  </a:lnTo>
                  <a:lnTo>
                    <a:pt x="34" y="2"/>
                  </a:lnTo>
                  <a:lnTo>
                    <a:pt x="36" y="6"/>
                  </a:lnTo>
                  <a:lnTo>
                    <a:pt x="31" y="14"/>
                  </a:lnTo>
                  <a:lnTo>
                    <a:pt x="27" y="17"/>
                  </a:lnTo>
                  <a:lnTo>
                    <a:pt x="26" y="21"/>
                  </a:lnTo>
                  <a:lnTo>
                    <a:pt x="31" y="25"/>
                  </a:lnTo>
                  <a:lnTo>
                    <a:pt x="34" y="36"/>
                  </a:lnTo>
                  <a:lnTo>
                    <a:pt x="36" y="45"/>
                  </a:lnTo>
                  <a:lnTo>
                    <a:pt x="34" y="53"/>
                  </a:lnTo>
                  <a:lnTo>
                    <a:pt x="22" y="65"/>
                  </a:lnTo>
                  <a:lnTo>
                    <a:pt x="15" y="72"/>
                  </a:lnTo>
                  <a:lnTo>
                    <a:pt x="15" y="74"/>
                  </a:lnTo>
                  <a:lnTo>
                    <a:pt x="22" y="75"/>
                  </a:lnTo>
                  <a:lnTo>
                    <a:pt x="28" y="69"/>
                  </a:lnTo>
                  <a:lnTo>
                    <a:pt x="37" y="63"/>
                  </a:lnTo>
                  <a:lnTo>
                    <a:pt x="47" y="45"/>
                  </a:lnTo>
                  <a:lnTo>
                    <a:pt x="57" y="40"/>
                  </a:lnTo>
                  <a:lnTo>
                    <a:pt x="68" y="38"/>
                  </a:lnTo>
                  <a:lnTo>
                    <a:pt x="70" y="41"/>
                  </a:lnTo>
                  <a:lnTo>
                    <a:pt x="74" y="49"/>
                  </a:lnTo>
                  <a:lnTo>
                    <a:pt x="74" y="63"/>
                  </a:lnTo>
                  <a:lnTo>
                    <a:pt x="52" y="78"/>
                  </a:lnTo>
                  <a:lnTo>
                    <a:pt x="52" y="81"/>
                  </a:lnTo>
                  <a:lnTo>
                    <a:pt x="69" y="92"/>
                  </a:lnTo>
                  <a:lnTo>
                    <a:pt x="70" y="99"/>
                  </a:lnTo>
                  <a:lnTo>
                    <a:pt x="74" y="103"/>
                  </a:lnTo>
                  <a:lnTo>
                    <a:pt x="80" y="107"/>
                  </a:lnTo>
                  <a:lnTo>
                    <a:pt x="70" y="108"/>
                  </a:lnTo>
                  <a:lnTo>
                    <a:pt x="62" y="102"/>
                  </a:lnTo>
                  <a:lnTo>
                    <a:pt x="47" y="100"/>
                  </a:lnTo>
                  <a:lnTo>
                    <a:pt x="36" y="96"/>
                  </a:lnTo>
                  <a:lnTo>
                    <a:pt x="31" y="102"/>
                  </a:lnTo>
                  <a:lnTo>
                    <a:pt x="30" y="118"/>
                  </a:lnTo>
                  <a:lnTo>
                    <a:pt x="32" y="137"/>
                  </a:lnTo>
                  <a:lnTo>
                    <a:pt x="37" y="146"/>
                  </a:lnTo>
                  <a:lnTo>
                    <a:pt x="43" y="158"/>
                  </a:lnTo>
                  <a:lnTo>
                    <a:pt x="54" y="170"/>
                  </a:lnTo>
                  <a:lnTo>
                    <a:pt x="49" y="170"/>
                  </a:lnTo>
                  <a:lnTo>
                    <a:pt x="39" y="160"/>
                  </a:lnTo>
                  <a:lnTo>
                    <a:pt x="21" y="137"/>
                  </a:lnTo>
                  <a:lnTo>
                    <a:pt x="17" y="106"/>
                  </a:lnTo>
                  <a:lnTo>
                    <a:pt x="12" y="92"/>
                  </a:lnTo>
                  <a:lnTo>
                    <a:pt x="12" y="80"/>
                  </a:lnTo>
                  <a:lnTo>
                    <a:pt x="10" y="72"/>
                  </a:lnTo>
                  <a:lnTo>
                    <a:pt x="5" y="68"/>
                  </a:lnTo>
                  <a:lnTo>
                    <a:pt x="0" y="59"/>
                  </a:lnTo>
                  <a:lnTo>
                    <a:pt x="1" y="49"/>
                  </a:lnTo>
                  <a:lnTo>
                    <a:pt x="3" y="48"/>
                  </a:lnTo>
                  <a:lnTo>
                    <a:pt x="10" y="25"/>
                  </a:lnTo>
                  <a:lnTo>
                    <a:pt x="15" y="15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33" name="Freeform 88"/>
            <p:cNvSpPr>
              <a:spLocks noChangeAspect="1"/>
            </p:cNvSpPr>
            <p:nvPr/>
          </p:nvSpPr>
          <p:spPr bwMode="gray">
            <a:xfrm>
              <a:off x="8180673" y="4267339"/>
              <a:ext cx="181276" cy="167629"/>
            </a:xfrm>
            <a:custGeom>
              <a:avLst/>
              <a:gdLst/>
              <a:ahLst/>
              <a:cxnLst>
                <a:cxn ang="0">
                  <a:pos x="549" y="469"/>
                </a:cxn>
                <a:cxn ang="0">
                  <a:pos x="503" y="428"/>
                </a:cxn>
                <a:cxn ang="0">
                  <a:pos x="474" y="427"/>
                </a:cxn>
                <a:cxn ang="0">
                  <a:pos x="441" y="433"/>
                </a:cxn>
                <a:cxn ang="0">
                  <a:pos x="426" y="433"/>
                </a:cxn>
                <a:cxn ang="0">
                  <a:pos x="378" y="431"/>
                </a:cxn>
                <a:cxn ang="0">
                  <a:pos x="419" y="383"/>
                </a:cxn>
                <a:cxn ang="0">
                  <a:pos x="444" y="385"/>
                </a:cxn>
                <a:cxn ang="0">
                  <a:pos x="431" y="368"/>
                </a:cxn>
                <a:cxn ang="0">
                  <a:pos x="421" y="335"/>
                </a:cxn>
                <a:cxn ang="0">
                  <a:pos x="406" y="293"/>
                </a:cxn>
                <a:cxn ang="0">
                  <a:pos x="378" y="269"/>
                </a:cxn>
                <a:cxn ang="0">
                  <a:pos x="342" y="250"/>
                </a:cxn>
                <a:cxn ang="0">
                  <a:pos x="290" y="235"/>
                </a:cxn>
                <a:cxn ang="0">
                  <a:pos x="229" y="223"/>
                </a:cxn>
                <a:cxn ang="0">
                  <a:pos x="210" y="206"/>
                </a:cxn>
                <a:cxn ang="0">
                  <a:pos x="188" y="203"/>
                </a:cxn>
                <a:cxn ang="0">
                  <a:pos x="168" y="183"/>
                </a:cxn>
                <a:cxn ang="0">
                  <a:pos x="161" y="149"/>
                </a:cxn>
                <a:cxn ang="0">
                  <a:pos x="152" y="167"/>
                </a:cxn>
                <a:cxn ang="0">
                  <a:pos x="132" y="203"/>
                </a:cxn>
                <a:cxn ang="0">
                  <a:pos x="105" y="190"/>
                </a:cxn>
                <a:cxn ang="0">
                  <a:pos x="95" y="163"/>
                </a:cxn>
                <a:cxn ang="0">
                  <a:pos x="56" y="141"/>
                </a:cxn>
                <a:cxn ang="0">
                  <a:pos x="95" y="130"/>
                </a:cxn>
                <a:cxn ang="0">
                  <a:pos x="147" y="120"/>
                </a:cxn>
                <a:cxn ang="0">
                  <a:pos x="162" y="93"/>
                </a:cxn>
                <a:cxn ang="0">
                  <a:pos x="94" y="106"/>
                </a:cxn>
                <a:cxn ang="0">
                  <a:pos x="55" y="83"/>
                </a:cxn>
                <a:cxn ang="0">
                  <a:pos x="27" y="63"/>
                </a:cxn>
                <a:cxn ang="0">
                  <a:pos x="2" y="51"/>
                </a:cxn>
                <a:cxn ang="0">
                  <a:pos x="29" y="23"/>
                </a:cxn>
                <a:cxn ang="0">
                  <a:pos x="78" y="0"/>
                </a:cxn>
                <a:cxn ang="0">
                  <a:pos x="126" y="18"/>
                </a:cxn>
                <a:cxn ang="0">
                  <a:pos x="178" y="49"/>
                </a:cxn>
                <a:cxn ang="0">
                  <a:pos x="179" y="114"/>
                </a:cxn>
                <a:cxn ang="0">
                  <a:pos x="205" y="122"/>
                </a:cxn>
                <a:cxn ang="0">
                  <a:pos x="234" y="164"/>
                </a:cxn>
                <a:cxn ang="0">
                  <a:pos x="269" y="148"/>
                </a:cxn>
                <a:cxn ang="0">
                  <a:pos x="302" y="103"/>
                </a:cxn>
                <a:cxn ang="0">
                  <a:pos x="345" y="90"/>
                </a:cxn>
                <a:cxn ang="0">
                  <a:pos x="380" y="57"/>
                </a:cxn>
                <a:cxn ang="0">
                  <a:pos x="421" y="77"/>
                </a:cxn>
                <a:cxn ang="0">
                  <a:pos x="471" y="100"/>
                </a:cxn>
                <a:cxn ang="0">
                  <a:pos x="506" y="104"/>
                </a:cxn>
                <a:cxn ang="0">
                  <a:pos x="534" y="114"/>
                </a:cxn>
                <a:cxn ang="0">
                  <a:pos x="543" y="121"/>
                </a:cxn>
                <a:cxn ang="0">
                  <a:pos x="555" y="129"/>
                </a:cxn>
                <a:cxn ang="0">
                  <a:pos x="555" y="351"/>
                </a:cxn>
                <a:cxn ang="0">
                  <a:pos x="568" y="480"/>
                </a:cxn>
              </a:cxnLst>
              <a:rect l="0" t="0" r="r" b="b"/>
              <a:pathLst>
                <a:path w="568" h="480">
                  <a:moveTo>
                    <a:pt x="568" y="480"/>
                  </a:moveTo>
                  <a:lnTo>
                    <a:pt x="568" y="479"/>
                  </a:lnTo>
                  <a:lnTo>
                    <a:pt x="556" y="475"/>
                  </a:lnTo>
                  <a:lnTo>
                    <a:pt x="549" y="469"/>
                  </a:lnTo>
                  <a:lnTo>
                    <a:pt x="532" y="455"/>
                  </a:lnTo>
                  <a:lnTo>
                    <a:pt x="523" y="444"/>
                  </a:lnTo>
                  <a:lnTo>
                    <a:pt x="513" y="433"/>
                  </a:lnTo>
                  <a:lnTo>
                    <a:pt x="503" y="428"/>
                  </a:lnTo>
                  <a:lnTo>
                    <a:pt x="501" y="425"/>
                  </a:lnTo>
                  <a:lnTo>
                    <a:pt x="497" y="421"/>
                  </a:lnTo>
                  <a:lnTo>
                    <a:pt x="484" y="423"/>
                  </a:lnTo>
                  <a:lnTo>
                    <a:pt x="474" y="427"/>
                  </a:lnTo>
                  <a:lnTo>
                    <a:pt x="455" y="423"/>
                  </a:lnTo>
                  <a:lnTo>
                    <a:pt x="447" y="431"/>
                  </a:lnTo>
                  <a:lnTo>
                    <a:pt x="442" y="426"/>
                  </a:lnTo>
                  <a:lnTo>
                    <a:pt x="441" y="433"/>
                  </a:lnTo>
                  <a:lnTo>
                    <a:pt x="441" y="436"/>
                  </a:lnTo>
                  <a:lnTo>
                    <a:pt x="438" y="437"/>
                  </a:lnTo>
                  <a:lnTo>
                    <a:pt x="431" y="437"/>
                  </a:lnTo>
                  <a:lnTo>
                    <a:pt x="426" y="433"/>
                  </a:lnTo>
                  <a:lnTo>
                    <a:pt x="405" y="439"/>
                  </a:lnTo>
                  <a:lnTo>
                    <a:pt x="385" y="440"/>
                  </a:lnTo>
                  <a:lnTo>
                    <a:pt x="378" y="440"/>
                  </a:lnTo>
                  <a:lnTo>
                    <a:pt x="378" y="431"/>
                  </a:lnTo>
                  <a:lnTo>
                    <a:pt x="384" y="421"/>
                  </a:lnTo>
                  <a:lnTo>
                    <a:pt x="390" y="405"/>
                  </a:lnTo>
                  <a:lnTo>
                    <a:pt x="406" y="386"/>
                  </a:lnTo>
                  <a:lnTo>
                    <a:pt x="419" y="383"/>
                  </a:lnTo>
                  <a:lnTo>
                    <a:pt x="427" y="384"/>
                  </a:lnTo>
                  <a:lnTo>
                    <a:pt x="437" y="390"/>
                  </a:lnTo>
                  <a:lnTo>
                    <a:pt x="444" y="393"/>
                  </a:lnTo>
                  <a:lnTo>
                    <a:pt x="444" y="385"/>
                  </a:lnTo>
                  <a:lnTo>
                    <a:pt x="433" y="377"/>
                  </a:lnTo>
                  <a:lnTo>
                    <a:pt x="435" y="373"/>
                  </a:lnTo>
                  <a:lnTo>
                    <a:pt x="442" y="372"/>
                  </a:lnTo>
                  <a:lnTo>
                    <a:pt x="431" y="368"/>
                  </a:lnTo>
                  <a:lnTo>
                    <a:pt x="420" y="359"/>
                  </a:lnTo>
                  <a:lnTo>
                    <a:pt x="426" y="357"/>
                  </a:lnTo>
                  <a:lnTo>
                    <a:pt x="430" y="341"/>
                  </a:lnTo>
                  <a:lnTo>
                    <a:pt x="421" y="335"/>
                  </a:lnTo>
                  <a:lnTo>
                    <a:pt x="414" y="321"/>
                  </a:lnTo>
                  <a:lnTo>
                    <a:pt x="410" y="300"/>
                  </a:lnTo>
                  <a:lnTo>
                    <a:pt x="410" y="297"/>
                  </a:lnTo>
                  <a:lnTo>
                    <a:pt x="406" y="293"/>
                  </a:lnTo>
                  <a:lnTo>
                    <a:pt x="395" y="277"/>
                  </a:lnTo>
                  <a:lnTo>
                    <a:pt x="389" y="277"/>
                  </a:lnTo>
                  <a:lnTo>
                    <a:pt x="383" y="275"/>
                  </a:lnTo>
                  <a:lnTo>
                    <a:pt x="378" y="269"/>
                  </a:lnTo>
                  <a:lnTo>
                    <a:pt x="377" y="269"/>
                  </a:lnTo>
                  <a:lnTo>
                    <a:pt x="372" y="262"/>
                  </a:lnTo>
                  <a:lnTo>
                    <a:pt x="361" y="260"/>
                  </a:lnTo>
                  <a:lnTo>
                    <a:pt x="342" y="250"/>
                  </a:lnTo>
                  <a:lnTo>
                    <a:pt x="334" y="251"/>
                  </a:lnTo>
                  <a:lnTo>
                    <a:pt x="313" y="240"/>
                  </a:lnTo>
                  <a:lnTo>
                    <a:pt x="299" y="237"/>
                  </a:lnTo>
                  <a:lnTo>
                    <a:pt x="290" y="235"/>
                  </a:lnTo>
                  <a:lnTo>
                    <a:pt x="270" y="228"/>
                  </a:lnTo>
                  <a:lnTo>
                    <a:pt x="260" y="227"/>
                  </a:lnTo>
                  <a:lnTo>
                    <a:pt x="243" y="224"/>
                  </a:lnTo>
                  <a:lnTo>
                    <a:pt x="229" y="223"/>
                  </a:lnTo>
                  <a:lnTo>
                    <a:pt x="228" y="219"/>
                  </a:lnTo>
                  <a:lnTo>
                    <a:pt x="224" y="218"/>
                  </a:lnTo>
                  <a:lnTo>
                    <a:pt x="215" y="213"/>
                  </a:lnTo>
                  <a:lnTo>
                    <a:pt x="210" y="206"/>
                  </a:lnTo>
                  <a:lnTo>
                    <a:pt x="207" y="199"/>
                  </a:lnTo>
                  <a:lnTo>
                    <a:pt x="199" y="199"/>
                  </a:lnTo>
                  <a:lnTo>
                    <a:pt x="189" y="197"/>
                  </a:lnTo>
                  <a:lnTo>
                    <a:pt x="188" y="203"/>
                  </a:lnTo>
                  <a:lnTo>
                    <a:pt x="184" y="197"/>
                  </a:lnTo>
                  <a:lnTo>
                    <a:pt x="175" y="191"/>
                  </a:lnTo>
                  <a:lnTo>
                    <a:pt x="170" y="189"/>
                  </a:lnTo>
                  <a:lnTo>
                    <a:pt x="168" y="183"/>
                  </a:lnTo>
                  <a:lnTo>
                    <a:pt x="158" y="179"/>
                  </a:lnTo>
                  <a:lnTo>
                    <a:pt x="156" y="171"/>
                  </a:lnTo>
                  <a:lnTo>
                    <a:pt x="157" y="162"/>
                  </a:lnTo>
                  <a:lnTo>
                    <a:pt x="161" y="149"/>
                  </a:lnTo>
                  <a:lnTo>
                    <a:pt x="159" y="142"/>
                  </a:lnTo>
                  <a:lnTo>
                    <a:pt x="157" y="148"/>
                  </a:lnTo>
                  <a:lnTo>
                    <a:pt x="156" y="159"/>
                  </a:lnTo>
                  <a:lnTo>
                    <a:pt x="152" y="167"/>
                  </a:lnTo>
                  <a:lnTo>
                    <a:pt x="145" y="181"/>
                  </a:lnTo>
                  <a:lnTo>
                    <a:pt x="142" y="189"/>
                  </a:lnTo>
                  <a:lnTo>
                    <a:pt x="138" y="196"/>
                  </a:lnTo>
                  <a:lnTo>
                    <a:pt x="132" y="203"/>
                  </a:lnTo>
                  <a:lnTo>
                    <a:pt x="113" y="206"/>
                  </a:lnTo>
                  <a:lnTo>
                    <a:pt x="108" y="203"/>
                  </a:lnTo>
                  <a:lnTo>
                    <a:pt x="105" y="200"/>
                  </a:lnTo>
                  <a:lnTo>
                    <a:pt x="105" y="190"/>
                  </a:lnTo>
                  <a:lnTo>
                    <a:pt x="102" y="179"/>
                  </a:lnTo>
                  <a:lnTo>
                    <a:pt x="103" y="174"/>
                  </a:lnTo>
                  <a:lnTo>
                    <a:pt x="103" y="163"/>
                  </a:lnTo>
                  <a:lnTo>
                    <a:pt x="95" y="163"/>
                  </a:lnTo>
                  <a:lnTo>
                    <a:pt x="88" y="149"/>
                  </a:lnTo>
                  <a:lnTo>
                    <a:pt x="78" y="143"/>
                  </a:lnTo>
                  <a:lnTo>
                    <a:pt x="65" y="143"/>
                  </a:lnTo>
                  <a:lnTo>
                    <a:pt x="56" y="141"/>
                  </a:lnTo>
                  <a:lnTo>
                    <a:pt x="57" y="132"/>
                  </a:lnTo>
                  <a:lnTo>
                    <a:pt x="67" y="127"/>
                  </a:lnTo>
                  <a:lnTo>
                    <a:pt x="81" y="127"/>
                  </a:lnTo>
                  <a:lnTo>
                    <a:pt x="95" y="130"/>
                  </a:lnTo>
                  <a:lnTo>
                    <a:pt x="115" y="119"/>
                  </a:lnTo>
                  <a:lnTo>
                    <a:pt x="125" y="115"/>
                  </a:lnTo>
                  <a:lnTo>
                    <a:pt x="135" y="119"/>
                  </a:lnTo>
                  <a:lnTo>
                    <a:pt x="147" y="120"/>
                  </a:lnTo>
                  <a:lnTo>
                    <a:pt x="156" y="116"/>
                  </a:lnTo>
                  <a:lnTo>
                    <a:pt x="157" y="105"/>
                  </a:lnTo>
                  <a:lnTo>
                    <a:pt x="161" y="99"/>
                  </a:lnTo>
                  <a:lnTo>
                    <a:pt x="162" y="93"/>
                  </a:lnTo>
                  <a:lnTo>
                    <a:pt x="152" y="97"/>
                  </a:lnTo>
                  <a:lnTo>
                    <a:pt x="132" y="101"/>
                  </a:lnTo>
                  <a:lnTo>
                    <a:pt x="110" y="106"/>
                  </a:lnTo>
                  <a:lnTo>
                    <a:pt x="94" y="106"/>
                  </a:lnTo>
                  <a:lnTo>
                    <a:pt x="86" y="104"/>
                  </a:lnTo>
                  <a:lnTo>
                    <a:pt x="77" y="106"/>
                  </a:lnTo>
                  <a:lnTo>
                    <a:pt x="62" y="99"/>
                  </a:lnTo>
                  <a:lnTo>
                    <a:pt x="55" y="83"/>
                  </a:lnTo>
                  <a:lnTo>
                    <a:pt x="52" y="72"/>
                  </a:lnTo>
                  <a:lnTo>
                    <a:pt x="46" y="67"/>
                  </a:lnTo>
                  <a:lnTo>
                    <a:pt x="36" y="62"/>
                  </a:lnTo>
                  <a:lnTo>
                    <a:pt x="27" y="63"/>
                  </a:lnTo>
                  <a:lnTo>
                    <a:pt x="19" y="60"/>
                  </a:lnTo>
                  <a:lnTo>
                    <a:pt x="17" y="66"/>
                  </a:lnTo>
                  <a:lnTo>
                    <a:pt x="0" y="58"/>
                  </a:lnTo>
                  <a:lnTo>
                    <a:pt x="2" y="51"/>
                  </a:lnTo>
                  <a:lnTo>
                    <a:pt x="7" y="45"/>
                  </a:lnTo>
                  <a:lnTo>
                    <a:pt x="16" y="28"/>
                  </a:lnTo>
                  <a:lnTo>
                    <a:pt x="19" y="25"/>
                  </a:lnTo>
                  <a:lnTo>
                    <a:pt x="29" y="23"/>
                  </a:lnTo>
                  <a:lnTo>
                    <a:pt x="38" y="23"/>
                  </a:lnTo>
                  <a:lnTo>
                    <a:pt x="48" y="19"/>
                  </a:lnTo>
                  <a:lnTo>
                    <a:pt x="66" y="3"/>
                  </a:lnTo>
                  <a:lnTo>
                    <a:pt x="78" y="0"/>
                  </a:lnTo>
                  <a:lnTo>
                    <a:pt x="93" y="0"/>
                  </a:lnTo>
                  <a:lnTo>
                    <a:pt x="107" y="2"/>
                  </a:lnTo>
                  <a:lnTo>
                    <a:pt x="119" y="11"/>
                  </a:lnTo>
                  <a:lnTo>
                    <a:pt x="126" y="18"/>
                  </a:lnTo>
                  <a:lnTo>
                    <a:pt x="135" y="23"/>
                  </a:lnTo>
                  <a:lnTo>
                    <a:pt x="168" y="23"/>
                  </a:lnTo>
                  <a:lnTo>
                    <a:pt x="172" y="39"/>
                  </a:lnTo>
                  <a:lnTo>
                    <a:pt x="178" y="49"/>
                  </a:lnTo>
                  <a:lnTo>
                    <a:pt x="179" y="65"/>
                  </a:lnTo>
                  <a:lnTo>
                    <a:pt x="175" y="77"/>
                  </a:lnTo>
                  <a:lnTo>
                    <a:pt x="174" y="90"/>
                  </a:lnTo>
                  <a:lnTo>
                    <a:pt x="179" y="114"/>
                  </a:lnTo>
                  <a:lnTo>
                    <a:pt x="193" y="132"/>
                  </a:lnTo>
                  <a:lnTo>
                    <a:pt x="194" y="127"/>
                  </a:lnTo>
                  <a:lnTo>
                    <a:pt x="195" y="119"/>
                  </a:lnTo>
                  <a:lnTo>
                    <a:pt x="205" y="122"/>
                  </a:lnTo>
                  <a:lnTo>
                    <a:pt x="210" y="138"/>
                  </a:lnTo>
                  <a:lnTo>
                    <a:pt x="213" y="142"/>
                  </a:lnTo>
                  <a:lnTo>
                    <a:pt x="218" y="153"/>
                  </a:lnTo>
                  <a:lnTo>
                    <a:pt x="234" y="164"/>
                  </a:lnTo>
                  <a:lnTo>
                    <a:pt x="242" y="164"/>
                  </a:lnTo>
                  <a:lnTo>
                    <a:pt x="255" y="163"/>
                  </a:lnTo>
                  <a:lnTo>
                    <a:pt x="261" y="151"/>
                  </a:lnTo>
                  <a:lnTo>
                    <a:pt x="269" y="148"/>
                  </a:lnTo>
                  <a:lnTo>
                    <a:pt x="275" y="143"/>
                  </a:lnTo>
                  <a:lnTo>
                    <a:pt x="276" y="135"/>
                  </a:lnTo>
                  <a:lnTo>
                    <a:pt x="296" y="120"/>
                  </a:lnTo>
                  <a:lnTo>
                    <a:pt x="302" y="103"/>
                  </a:lnTo>
                  <a:lnTo>
                    <a:pt x="310" y="100"/>
                  </a:lnTo>
                  <a:lnTo>
                    <a:pt x="318" y="100"/>
                  </a:lnTo>
                  <a:lnTo>
                    <a:pt x="336" y="97"/>
                  </a:lnTo>
                  <a:lnTo>
                    <a:pt x="345" y="90"/>
                  </a:lnTo>
                  <a:lnTo>
                    <a:pt x="344" y="81"/>
                  </a:lnTo>
                  <a:lnTo>
                    <a:pt x="349" y="77"/>
                  </a:lnTo>
                  <a:lnTo>
                    <a:pt x="361" y="67"/>
                  </a:lnTo>
                  <a:lnTo>
                    <a:pt x="380" y="57"/>
                  </a:lnTo>
                  <a:lnTo>
                    <a:pt x="387" y="60"/>
                  </a:lnTo>
                  <a:lnTo>
                    <a:pt x="390" y="65"/>
                  </a:lnTo>
                  <a:lnTo>
                    <a:pt x="410" y="72"/>
                  </a:lnTo>
                  <a:lnTo>
                    <a:pt x="421" y="77"/>
                  </a:lnTo>
                  <a:lnTo>
                    <a:pt x="427" y="78"/>
                  </a:lnTo>
                  <a:lnTo>
                    <a:pt x="432" y="83"/>
                  </a:lnTo>
                  <a:lnTo>
                    <a:pt x="455" y="90"/>
                  </a:lnTo>
                  <a:lnTo>
                    <a:pt x="471" y="100"/>
                  </a:lnTo>
                  <a:lnTo>
                    <a:pt x="479" y="104"/>
                  </a:lnTo>
                  <a:lnTo>
                    <a:pt x="491" y="108"/>
                  </a:lnTo>
                  <a:lnTo>
                    <a:pt x="501" y="106"/>
                  </a:lnTo>
                  <a:lnTo>
                    <a:pt x="506" y="104"/>
                  </a:lnTo>
                  <a:lnTo>
                    <a:pt x="514" y="108"/>
                  </a:lnTo>
                  <a:lnTo>
                    <a:pt x="519" y="106"/>
                  </a:lnTo>
                  <a:lnTo>
                    <a:pt x="523" y="108"/>
                  </a:lnTo>
                  <a:lnTo>
                    <a:pt x="534" y="114"/>
                  </a:lnTo>
                  <a:lnTo>
                    <a:pt x="539" y="114"/>
                  </a:lnTo>
                  <a:lnTo>
                    <a:pt x="541" y="116"/>
                  </a:lnTo>
                  <a:lnTo>
                    <a:pt x="541" y="119"/>
                  </a:lnTo>
                  <a:lnTo>
                    <a:pt x="543" y="121"/>
                  </a:lnTo>
                  <a:lnTo>
                    <a:pt x="549" y="121"/>
                  </a:lnTo>
                  <a:lnTo>
                    <a:pt x="551" y="120"/>
                  </a:lnTo>
                  <a:lnTo>
                    <a:pt x="556" y="120"/>
                  </a:lnTo>
                  <a:lnTo>
                    <a:pt x="555" y="129"/>
                  </a:lnTo>
                  <a:lnTo>
                    <a:pt x="560" y="254"/>
                  </a:lnTo>
                  <a:lnTo>
                    <a:pt x="560" y="326"/>
                  </a:lnTo>
                  <a:lnTo>
                    <a:pt x="556" y="347"/>
                  </a:lnTo>
                  <a:lnTo>
                    <a:pt x="555" y="351"/>
                  </a:lnTo>
                  <a:lnTo>
                    <a:pt x="562" y="368"/>
                  </a:lnTo>
                  <a:lnTo>
                    <a:pt x="562" y="409"/>
                  </a:lnTo>
                  <a:lnTo>
                    <a:pt x="565" y="466"/>
                  </a:lnTo>
                  <a:lnTo>
                    <a:pt x="568" y="48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34" name="Freeform 89"/>
            <p:cNvSpPr>
              <a:spLocks noChangeAspect="1"/>
            </p:cNvSpPr>
            <p:nvPr/>
          </p:nvSpPr>
          <p:spPr bwMode="gray">
            <a:xfrm>
              <a:off x="8528915" y="4309247"/>
              <a:ext cx="41344" cy="4190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2" y="0"/>
                </a:cxn>
                <a:cxn ang="0">
                  <a:pos x="20" y="11"/>
                </a:cxn>
                <a:cxn ang="0">
                  <a:pos x="26" y="16"/>
                </a:cxn>
                <a:cxn ang="0">
                  <a:pos x="34" y="20"/>
                </a:cxn>
                <a:cxn ang="0">
                  <a:pos x="54" y="35"/>
                </a:cxn>
                <a:cxn ang="0">
                  <a:pos x="66" y="36"/>
                </a:cxn>
                <a:cxn ang="0">
                  <a:pos x="75" y="43"/>
                </a:cxn>
                <a:cxn ang="0">
                  <a:pos x="81" y="49"/>
                </a:cxn>
                <a:cxn ang="0">
                  <a:pos x="95" y="58"/>
                </a:cxn>
                <a:cxn ang="0">
                  <a:pos x="100" y="66"/>
                </a:cxn>
                <a:cxn ang="0">
                  <a:pos x="107" y="71"/>
                </a:cxn>
                <a:cxn ang="0">
                  <a:pos x="117" y="74"/>
                </a:cxn>
                <a:cxn ang="0">
                  <a:pos x="121" y="78"/>
                </a:cxn>
                <a:cxn ang="0">
                  <a:pos x="124" y="87"/>
                </a:cxn>
                <a:cxn ang="0">
                  <a:pos x="129" y="93"/>
                </a:cxn>
                <a:cxn ang="0">
                  <a:pos x="129" y="100"/>
                </a:cxn>
                <a:cxn ang="0">
                  <a:pos x="124" y="107"/>
                </a:cxn>
                <a:cxn ang="0">
                  <a:pos x="120" y="119"/>
                </a:cxn>
                <a:cxn ang="0">
                  <a:pos x="111" y="119"/>
                </a:cxn>
                <a:cxn ang="0">
                  <a:pos x="105" y="93"/>
                </a:cxn>
                <a:cxn ang="0">
                  <a:pos x="97" y="71"/>
                </a:cxn>
                <a:cxn ang="0">
                  <a:pos x="86" y="53"/>
                </a:cxn>
                <a:cxn ang="0">
                  <a:pos x="80" y="49"/>
                </a:cxn>
                <a:cxn ang="0">
                  <a:pos x="66" y="47"/>
                </a:cxn>
                <a:cxn ang="0">
                  <a:pos x="54" y="39"/>
                </a:cxn>
                <a:cxn ang="0">
                  <a:pos x="46" y="31"/>
                </a:cxn>
                <a:cxn ang="0">
                  <a:pos x="40" y="30"/>
                </a:cxn>
                <a:cxn ang="0">
                  <a:pos x="31" y="23"/>
                </a:cxn>
                <a:cxn ang="0">
                  <a:pos x="26" y="21"/>
                </a:cxn>
                <a:cxn ang="0">
                  <a:pos x="9" y="10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129" h="119">
                  <a:moveTo>
                    <a:pt x="0" y="3"/>
                  </a:moveTo>
                  <a:lnTo>
                    <a:pt x="2" y="0"/>
                  </a:lnTo>
                  <a:lnTo>
                    <a:pt x="20" y="11"/>
                  </a:lnTo>
                  <a:lnTo>
                    <a:pt x="26" y="16"/>
                  </a:lnTo>
                  <a:lnTo>
                    <a:pt x="34" y="20"/>
                  </a:lnTo>
                  <a:lnTo>
                    <a:pt x="54" y="35"/>
                  </a:lnTo>
                  <a:lnTo>
                    <a:pt x="66" y="36"/>
                  </a:lnTo>
                  <a:lnTo>
                    <a:pt x="75" y="43"/>
                  </a:lnTo>
                  <a:lnTo>
                    <a:pt x="81" y="49"/>
                  </a:lnTo>
                  <a:lnTo>
                    <a:pt x="95" y="58"/>
                  </a:lnTo>
                  <a:lnTo>
                    <a:pt x="100" y="66"/>
                  </a:lnTo>
                  <a:lnTo>
                    <a:pt x="107" y="71"/>
                  </a:lnTo>
                  <a:lnTo>
                    <a:pt x="117" y="74"/>
                  </a:lnTo>
                  <a:lnTo>
                    <a:pt x="121" y="78"/>
                  </a:lnTo>
                  <a:lnTo>
                    <a:pt x="124" y="87"/>
                  </a:lnTo>
                  <a:lnTo>
                    <a:pt x="129" y="93"/>
                  </a:lnTo>
                  <a:lnTo>
                    <a:pt x="129" y="100"/>
                  </a:lnTo>
                  <a:lnTo>
                    <a:pt x="124" y="107"/>
                  </a:lnTo>
                  <a:lnTo>
                    <a:pt x="120" y="119"/>
                  </a:lnTo>
                  <a:lnTo>
                    <a:pt x="111" y="119"/>
                  </a:lnTo>
                  <a:lnTo>
                    <a:pt x="105" y="93"/>
                  </a:lnTo>
                  <a:lnTo>
                    <a:pt x="97" y="71"/>
                  </a:lnTo>
                  <a:lnTo>
                    <a:pt x="86" y="53"/>
                  </a:lnTo>
                  <a:lnTo>
                    <a:pt x="80" y="49"/>
                  </a:lnTo>
                  <a:lnTo>
                    <a:pt x="66" y="47"/>
                  </a:lnTo>
                  <a:lnTo>
                    <a:pt x="54" y="39"/>
                  </a:lnTo>
                  <a:lnTo>
                    <a:pt x="46" y="31"/>
                  </a:lnTo>
                  <a:lnTo>
                    <a:pt x="40" y="30"/>
                  </a:lnTo>
                  <a:lnTo>
                    <a:pt x="31" y="23"/>
                  </a:lnTo>
                  <a:lnTo>
                    <a:pt x="26" y="21"/>
                  </a:lnTo>
                  <a:lnTo>
                    <a:pt x="9" y="10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35" name="Freeform 90"/>
            <p:cNvSpPr>
              <a:spLocks noChangeAspect="1"/>
            </p:cNvSpPr>
            <p:nvPr/>
          </p:nvSpPr>
          <p:spPr bwMode="gray">
            <a:xfrm>
              <a:off x="7678189" y="3806360"/>
              <a:ext cx="125622" cy="289858"/>
            </a:xfrm>
            <a:custGeom>
              <a:avLst/>
              <a:gdLst/>
              <a:ahLst/>
              <a:cxnLst>
                <a:cxn ang="0">
                  <a:pos x="237" y="758"/>
                </a:cxn>
                <a:cxn ang="0">
                  <a:pos x="250" y="749"/>
                </a:cxn>
                <a:cxn ang="0">
                  <a:pos x="270" y="727"/>
                </a:cxn>
                <a:cxn ang="0">
                  <a:pos x="321" y="713"/>
                </a:cxn>
                <a:cxn ang="0">
                  <a:pos x="376" y="679"/>
                </a:cxn>
                <a:cxn ang="0">
                  <a:pos x="387" y="654"/>
                </a:cxn>
                <a:cxn ang="0">
                  <a:pos x="388" y="643"/>
                </a:cxn>
                <a:cxn ang="0">
                  <a:pos x="388" y="607"/>
                </a:cxn>
                <a:cxn ang="0">
                  <a:pos x="395" y="596"/>
                </a:cxn>
                <a:cxn ang="0">
                  <a:pos x="389" y="557"/>
                </a:cxn>
                <a:cxn ang="0">
                  <a:pos x="382" y="507"/>
                </a:cxn>
                <a:cxn ang="0">
                  <a:pos x="336" y="409"/>
                </a:cxn>
                <a:cxn ang="0">
                  <a:pos x="323" y="401"/>
                </a:cxn>
                <a:cxn ang="0">
                  <a:pos x="281" y="372"/>
                </a:cxn>
                <a:cxn ang="0">
                  <a:pos x="255" y="344"/>
                </a:cxn>
                <a:cxn ang="0">
                  <a:pos x="228" y="297"/>
                </a:cxn>
                <a:cxn ang="0">
                  <a:pos x="194" y="245"/>
                </a:cxn>
                <a:cxn ang="0">
                  <a:pos x="239" y="171"/>
                </a:cxn>
                <a:cxn ang="0">
                  <a:pos x="258" y="140"/>
                </a:cxn>
                <a:cxn ang="0">
                  <a:pos x="307" y="105"/>
                </a:cxn>
                <a:cxn ang="0">
                  <a:pos x="312" y="97"/>
                </a:cxn>
                <a:cxn ang="0">
                  <a:pos x="255" y="77"/>
                </a:cxn>
                <a:cxn ang="0">
                  <a:pos x="244" y="26"/>
                </a:cxn>
                <a:cxn ang="0">
                  <a:pos x="184" y="5"/>
                </a:cxn>
                <a:cxn ang="0">
                  <a:pos x="142" y="19"/>
                </a:cxn>
                <a:cxn ang="0">
                  <a:pos x="104" y="33"/>
                </a:cxn>
                <a:cxn ang="0">
                  <a:pos x="71" y="31"/>
                </a:cxn>
                <a:cxn ang="0">
                  <a:pos x="36" y="33"/>
                </a:cxn>
                <a:cxn ang="0">
                  <a:pos x="13" y="37"/>
                </a:cxn>
                <a:cxn ang="0">
                  <a:pos x="12" y="60"/>
                </a:cxn>
                <a:cxn ang="0">
                  <a:pos x="41" y="112"/>
                </a:cxn>
                <a:cxn ang="0">
                  <a:pos x="97" y="134"/>
                </a:cxn>
                <a:cxn ang="0">
                  <a:pos x="129" y="162"/>
                </a:cxn>
                <a:cxn ang="0">
                  <a:pos x="146" y="192"/>
                </a:cxn>
                <a:cxn ang="0">
                  <a:pos x="107" y="208"/>
                </a:cxn>
                <a:cxn ang="0">
                  <a:pos x="107" y="231"/>
                </a:cxn>
                <a:cxn ang="0">
                  <a:pos x="165" y="280"/>
                </a:cxn>
                <a:cxn ang="0">
                  <a:pos x="213" y="332"/>
                </a:cxn>
                <a:cxn ang="0">
                  <a:pos x="238" y="371"/>
                </a:cxn>
                <a:cxn ang="0">
                  <a:pos x="265" y="396"/>
                </a:cxn>
                <a:cxn ang="0">
                  <a:pos x="292" y="457"/>
                </a:cxn>
                <a:cxn ang="0">
                  <a:pos x="299" y="558"/>
                </a:cxn>
                <a:cxn ang="0">
                  <a:pos x="281" y="625"/>
                </a:cxn>
                <a:cxn ang="0">
                  <a:pos x="238" y="646"/>
                </a:cxn>
                <a:cxn ang="0">
                  <a:pos x="206" y="674"/>
                </a:cxn>
                <a:cxn ang="0">
                  <a:pos x="194" y="697"/>
                </a:cxn>
                <a:cxn ang="0">
                  <a:pos x="158" y="705"/>
                </a:cxn>
                <a:cxn ang="0">
                  <a:pos x="134" y="726"/>
                </a:cxn>
                <a:cxn ang="0">
                  <a:pos x="161" y="752"/>
                </a:cxn>
                <a:cxn ang="0">
                  <a:pos x="148" y="797"/>
                </a:cxn>
                <a:cxn ang="0">
                  <a:pos x="153" y="832"/>
                </a:cxn>
                <a:cxn ang="0">
                  <a:pos x="195" y="797"/>
                </a:cxn>
                <a:cxn ang="0">
                  <a:pos x="228" y="773"/>
                </a:cxn>
              </a:cxnLst>
              <a:rect l="0" t="0" r="r" b="b"/>
              <a:pathLst>
                <a:path w="395" h="832">
                  <a:moveTo>
                    <a:pt x="228" y="773"/>
                  </a:moveTo>
                  <a:lnTo>
                    <a:pt x="238" y="776"/>
                  </a:lnTo>
                  <a:lnTo>
                    <a:pt x="242" y="768"/>
                  </a:lnTo>
                  <a:lnTo>
                    <a:pt x="237" y="758"/>
                  </a:lnTo>
                  <a:lnTo>
                    <a:pt x="239" y="753"/>
                  </a:lnTo>
                  <a:lnTo>
                    <a:pt x="245" y="754"/>
                  </a:lnTo>
                  <a:lnTo>
                    <a:pt x="247" y="748"/>
                  </a:lnTo>
                  <a:lnTo>
                    <a:pt x="250" y="749"/>
                  </a:lnTo>
                  <a:lnTo>
                    <a:pt x="249" y="741"/>
                  </a:lnTo>
                  <a:lnTo>
                    <a:pt x="253" y="737"/>
                  </a:lnTo>
                  <a:lnTo>
                    <a:pt x="255" y="731"/>
                  </a:lnTo>
                  <a:lnTo>
                    <a:pt x="270" y="727"/>
                  </a:lnTo>
                  <a:lnTo>
                    <a:pt x="276" y="731"/>
                  </a:lnTo>
                  <a:lnTo>
                    <a:pt x="283" y="731"/>
                  </a:lnTo>
                  <a:lnTo>
                    <a:pt x="308" y="716"/>
                  </a:lnTo>
                  <a:lnTo>
                    <a:pt x="321" y="713"/>
                  </a:lnTo>
                  <a:lnTo>
                    <a:pt x="330" y="701"/>
                  </a:lnTo>
                  <a:lnTo>
                    <a:pt x="361" y="687"/>
                  </a:lnTo>
                  <a:lnTo>
                    <a:pt x="367" y="681"/>
                  </a:lnTo>
                  <a:lnTo>
                    <a:pt x="376" y="679"/>
                  </a:lnTo>
                  <a:lnTo>
                    <a:pt x="378" y="673"/>
                  </a:lnTo>
                  <a:lnTo>
                    <a:pt x="379" y="665"/>
                  </a:lnTo>
                  <a:lnTo>
                    <a:pt x="385" y="660"/>
                  </a:lnTo>
                  <a:lnTo>
                    <a:pt x="387" y="654"/>
                  </a:lnTo>
                  <a:lnTo>
                    <a:pt x="383" y="650"/>
                  </a:lnTo>
                  <a:lnTo>
                    <a:pt x="385" y="646"/>
                  </a:lnTo>
                  <a:lnTo>
                    <a:pt x="388" y="647"/>
                  </a:lnTo>
                  <a:lnTo>
                    <a:pt x="388" y="643"/>
                  </a:lnTo>
                  <a:lnTo>
                    <a:pt x="383" y="619"/>
                  </a:lnTo>
                  <a:lnTo>
                    <a:pt x="384" y="615"/>
                  </a:lnTo>
                  <a:lnTo>
                    <a:pt x="388" y="618"/>
                  </a:lnTo>
                  <a:lnTo>
                    <a:pt x="388" y="607"/>
                  </a:lnTo>
                  <a:lnTo>
                    <a:pt x="392" y="602"/>
                  </a:lnTo>
                  <a:lnTo>
                    <a:pt x="395" y="603"/>
                  </a:lnTo>
                  <a:lnTo>
                    <a:pt x="395" y="607"/>
                  </a:lnTo>
                  <a:lnTo>
                    <a:pt x="395" y="596"/>
                  </a:lnTo>
                  <a:lnTo>
                    <a:pt x="394" y="587"/>
                  </a:lnTo>
                  <a:lnTo>
                    <a:pt x="390" y="585"/>
                  </a:lnTo>
                  <a:lnTo>
                    <a:pt x="389" y="569"/>
                  </a:lnTo>
                  <a:lnTo>
                    <a:pt x="389" y="557"/>
                  </a:lnTo>
                  <a:lnTo>
                    <a:pt x="388" y="549"/>
                  </a:lnTo>
                  <a:lnTo>
                    <a:pt x="388" y="539"/>
                  </a:lnTo>
                  <a:lnTo>
                    <a:pt x="385" y="536"/>
                  </a:lnTo>
                  <a:lnTo>
                    <a:pt x="382" y="507"/>
                  </a:lnTo>
                  <a:lnTo>
                    <a:pt x="366" y="456"/>
                  </a:lnTo>
                  <a:lnTo>
                    <a:pt x="344" y="434"/>
                  </a:lnTo>
                  <a:lnTo>
                    <a:pt x="337" y="424"/>
                  </a:lnTo>
                  <a:lnTo>
                    <a:pt x="336" y="409"/>
                  </a:lnTo>
                  <a:lnTo>
                    <a:pt x="335" y="413"/>
                  </a:lnTo>
                  <a:lnTo>
                    <a:pt x="329" y="414"/>
                  </a:lnTo>
                  <a:lnTo>
                    <a:pt x="329" y="409"/>
                  </a:lnTo>
                  <a:lnTo>
                    <a:pt x="323" y="401"/>
                  </a:lnTo>
                  <a:lnTo>
                    <a:pt x="306" y="398"/>
                  </a:lnTo>
                  <a:lnTo>
                    <a:pt x="298" y="387"/>
                  </a:lnTo>
                  <a:lnTo>
                    <a:pt x="290" y="378"/>
                  </a:lnTo>
                  <a:lnTo>
                    <a:pt x="281" y="372"/>
                  </a:lnTo>
                  <a:lnTo>
                    <a:pt x="274" y="362"/>
                  </a:lnTo>
                  <a:lnTo>
                    <a:pt x="270" y="359"/>
                  </a:lnTo>
                  <a:lnTo>
                    <a:pt x="265" y="351"/>
                  </a:lnTo>
                  <a:lnTo>
                    <a:pt x="255" y="344"/>
                  </a:lnTo>
                  <a:lnTo>
                    <a:pt x="248" y="334"/>
                  </a:lnTo>
                  <a:lnTo>
                    <a:pt x="236" y="324"/>
                  </a:lnTo>
                  <a:lnTo>
                    <a:pt x="234" y="312"/>
                  </a:lnTo>
                  <a:lnTo>
                    <a:pt x="228" y="297"/>
                  </a:lnTo>
                  <a:lnTo>
                    <a:pt x="217" y="290"/>
                  </a:lnTo>
                  <a:lnTo>
                    <a:pt x="197" y="270"/>
                  </a:lnTo>
                  <a:lnTo>
                    <a:pt x="191" y="258"/>
                  </a:lnTo>
                  <a:lnTo>
                    <a:pt x="194" y="245"/>
                  </a:lnTo>
                  <a:lnTo>
                    <a:pt x="197" y="235"/>
                  </a:lnTo>
                  <a:lnTo>
                    <a:pt x="199" y="222"/>
                  </a:lnTo>
                  <a:lnTo>
                    <a:pt x="211" y="195"/>
                  </a:lnTo>
                  <a:lnTo>
                    <a:pt x="239" y="171"/>
                  </a:lnTo>
                  <a:lnTo>
                    <a:pt x="243" y="166"/>
                  </a:lnTo>
                  <a:lnTo>
                    <a:pt x="247" y="152"/>
                  </a:lnTo>
                  <a:lnTo>
                    <a:pt x="253" y="145"/>
                  </a:lnTo>
                  <a:lnTo>
                    <a:pt x="258" y="140"/>
                  </a:lnTo>
                  <a:lnTo>
                    <a:pt x="276" y="132"/>
                  </a:lnTo>
                  <a:lnTo>
                    <a:pt x="286" y="124"/>
                  </a:lnTo>
                  <a:lnTo>
                    <a:pt x="287" y="116"/>
                  </a:lnTo>
                  <a:lnTo>
                    <a:pt x="307" y="105"/>
                  </a:lnTo>
                  <a:lnTo>
                    <a:pt x="315" y="108"/>
                  </a:lnTo>
                  <a:lnTo>
                    <a:pt x="318" y="106"/>
                  </a:lnTo>
                  <a:lnTo>
                    <a:pt x="319" y="102"/>
                  </a:lnTo>
                  <a:lnTo>
                    <a:pt x="312" y="97"/>
                  </a:lnTo>
                  <a:lnTo>
                    <a:pt x="293" y="98"/>
                  </a:lnTo>
                  <a:lnTo>
                    <a:pt x="283" y="96"/>
                  </a:lnTo>
                  <a:lnTo>
                    <a:pt x="278" y="91"/>
                  </a:lnTo>
                  <a:lnTo>
                    <a:pt x="255" y="77"/>
                  </a:lnTo>
                  <a:lnTo>
                    <a:pt x="248" y="65"/>
                  </a:lnTo>
                  <a:lnTo>
                    <a:pt x="243" y="50"/>
                  </a:lnTo>
                  <a:lnTo>
                    <a:pt x="248" y="35"/>
                  </a:lnTo>
                  <a:lnTo>
                    <a:pt x="244" y="26"/>
                  </a:lnTo>
                  <a:lnTo>
                    <a:pt x="224" y="25"/>
                  </a:lnTo>
                  <a:lnTo>
                    <a:pt x="211" y="21"/>
                  </a:lnTo>
                  <a:lnTo>
                    <a:pt x="196" y="15"/>
                  </a:lnTo>
                  <a:lnTo>
                    <a:pt x="184" y="5"/>
                  </a:lnTo>
                  <a:lnTo>
                    <a:pt x="169" y="0"/>
                  </a:lnTo>
                  <a:lnTo>
                    <a:pt x="162" y="1"/>
                  </a:lnTo>
                  <a:lnTo>
                    <a:pt x="152" y="12"/>
                  </a:lnTo>
                  <a:lnTo>
                    <a:pt x="142" y="19"/>
                  </a:lnTo>
                  <a:lnTo>
                    <a:pt x="127" y="27"/>
                  </a:lnTo>
                  <a:lnTo>
                    <a:pt x="121" y="28"/>
                  </a:lnTo>
                  <a:lnTo>
                    <a:pt x="113" y="26"/>
                  </a:lnTo>
                  <a:lnTo>
                    <a:pt x="104" y="33"/>
                  </a:lnTo>
                  <a:lnTo>
                    <a:pt x="94" y="38"/>
                  </a:lnTo>
                  <a:lnTo>
                    <a:pt x="91" y="32"/>
                  </a:lnTo>
                  <a:lnTo>
                    <a:pt x="77" y="36"/>
                  </a:lnTo>
                  <a:lnTo>
                    <a:pt x="71" y="31"/>
                  </a:lnTo>
                  <a:lnTo>
                    <a:pt x="65" y="32"/>
                  </a:lnTo>
                  <a:lnTo>
                    <a:pt x="50" y="42"/>
                  </a:lnTo>
                  <a:lnTo>
                    <a:pt x="44" y="41"/>
                  </a:lnTo>
                  <a:lnTo>
                    <a:pt x="36" y="33"/>
                  </a:lnTo>
                  <a:lnTo>
                    <a:pt x="23" y="31"/>
                  </a:lnTo>
                  <a:lnTo>
                    <a:pt x="21" y="28"/>
                  </a:lnTo>
                  <a:lnTo>
                    <a:pt x="17" y="31"/>
                  </a:lnTo>
                  <a:lnTo>
                    <a:pt x="13" y="37"/>
                  </a:lnTo>
                  <a:lnTo>
                    <a:pt x="7" y="44"/>
                  </a:lnTo>
                  <a:lnTo>
                    <a:pt x="7" y="48"/>
                  </a:lnTo>
                  <a:lnTo>
                    <a:pt x="0" y="44"/>
                  </a:lnTo>
                  <a:lnTo>
                    <a:pt x="12" y="60"/>
                  </a:lnTo>
                  <a:lnTo>
                    <a:pt x="29" y="80"/>
                  </a:lnTo>
                  <a:lnTo>
                    <a:pt x="39" y="90"/>
                  </a:lnTo>
                  <a:lnTo>
                    <a:pt x="44" y="100"/>
                  </a:lnTo>
                  <a:lnTo>
                    <a:pt x="41" y="112"/>
                  </a:lnTo>
                  <a:lnTo>
                    <a:pt x="43" y="120"/>
                  </a:lnTo>
                  <a:lnTo>
                    <a:pt x="57" y="135"/>
                  </a:lnTo>
                  <a:lnTo>
                    <a:pt x="77" y="139"/>
                  </a:lnTo>
                  <a:lnTo>
                    <a:pt x="97" y="134"/>
                  </a:lnTo>
                  <a:lnTo>
                    <a:pt x="113" y="135"/>
                  </a:lnTo>
                  <a:lnTo>
                    <a:pt x="122" y="146"/>
                  </a:lnTo>
                  <a:lnTo>
                    <a:pt x="127" y="155"/>
                  </a:lnTo>
                  <a:lnTo>
                    <a:pt x="129" y="162"/>
                  </a:lnTo>
                  <a:lnTo>
                    <a:pt x="137" y="168"/>
                  </a:lnTo>
                  <a:lnTo>
                    <a:pt x="141" y="177"/>
                  </a:lnTo>
                  <a:lnTo>
                    <a:pt x="147" y="183"/>
                  </a:lnTo>
                  <a:lnTo>
                    <a:pt x="146" y="192"/>
                  </a:lnTo>
                  <a:lnTo>
                    <a:pt x="130" y="208"/>
                  </a:lnTo>
                  <a:lnTo>
                    <a:pt x="125" y="208"/>
                  </a:lnTo>
                  <a:lnTo>
                    <a:pt x="114" y="205"/>
                  </a:lnTo>
                  <a:lnTo>
                    <a:pt x="107" y="208"/>
                  </a:lnTo>
                  <a:lnTo>
                    <a:pt x="103" y="213"/>
                  </a:lnTo>
                  <a:lnTo>
                    <a:pt x="99" y="222"/>
                  </a:lnTo>
                  <a:lnTo>
                    <a:pt x="100" y="229"/>
                  </a:lnTo>
                  <a:lnTo>
                    <a:pt x="107" y="231"/>
                  </a:lnTo>
                  <a:lnTo>
                    <a:pt x="115" y="237"/>
                  </a:lnTo>
                  <a:lnTo>
                    <a:pt x="134" y="247"/>
                  </a:lnTo>
                  <a:lnTo>
                    <a:pt x="161" y="267"/>
                  </a:lnTo>
                  <a:lnTo>
                    <a:pt x="165" y="280"/>
                  </a:lnTo>
                  <a:lnTo>
                    <a:pt x="188" y="301"/>
                  </a:lnTo>
                  <a:lnTo>
                    <a:pt x="191" y="311"/>
                  </a:lnTo>
                  <a:lnTo>
                    <a:pt x="208" y="331"/>
                  </a:lnTo>
                  <a:lnTo>
                    <a:pt x="213" y="332"/>
                  </a:lnTo>
                  <a:lnTo>
                    <a:pt x="231" y="344"/>
                  </a:lnTo>
                  <a:lnTo>
                    <a:pt x="236" y="358"/>
                  </a:lnTo>
                  <a:lnTo>
                    <a:pt x="239" y="370"/>
                  </a:lnTo>
                  <a:lnTo>
                    <a:pt x="238" y="371"/>
                  </a:lnTo>
                  <a:lnTo>
                    <a:pt x="239" y="372"/>
                  </a:lnTo>
                  <a:lnTo>
                    <a:pt x="243" y="386"/>
                  </a:lnTo>
                  <a:lnTo>
                    <a:pt x="251" y="386"/>
                  </a:lnTo>
                  <a:lnTo>
                    <a:pt x="265" y="396"/>
                  </a:lnTo>
                  <a:lnTo>
                    <a:pt x="274" y="404"/>
                  </a:lnTo>
                  <a:lnTo>
                    <a:pt x="278" y="421"/>
                  </a:lnTo>
                  <a:lnTo>
                    <a:pt x="291" y="450"/>
                  </a:lnTo>
                  <a:lnTo>
                    <a:pt x="292" y="457"/>
                  </a:lnTo>
                  <a:lnTo>
                    <a:pt x="292" y="490"/>
                  </a:lnTo>
                  <a:lnTo>
                    <a:pt x="290" y="527"/>
                  </a:lnTo>
                  <a:lnTo>
                    <a:pt x="292" y="543"/>
                  </a:lnTo>
                  <a:lnTo>
                    <a:pt x="299" y="558"/>
                  </a:lnTo>
                  <a:lnTo>
                    <a:pt x="298" y="607"/>
                  </a:lnTo>
                  <a:lnTo>
                    <a:pt x="296" y="619"/>
                  </a:lnTo>
                  <a:lnTo>
                    <a:pt x="290" y="628"/>
                  </a:lnTo>
                  <a:lnTo>
                    <a:pt x="281" y="625"/>
                  </a:lnTo>
                  <a:lnTo>
                    <a:pt x="271" y="634"/>
                  </a:lnTo>
                  <a:lnTo>
                    <a:pt x="264" y="638"/>
                  </a:lnTo>
                  <a:lnTo>
                    <a:pt x="256" y="638"/>
                  </a:lnTo>
                  <a:lnTo>
                    <a:pt x="238" y="646"/>
                  </a:lnTo>
                  <a:lnTo>
                    <a:pt x="237" y="656"/>
                  </a:lnTo>
                  <a:lnTo>
                    <a:pt x="218" y="657"/>
                  </a:lnTo>
                  <a:lnTo>
                    <a:pt x="208" y="661"/>
                  </a:lnTo>
                  <a:lnTo>
                    <a:pt x="206" y="674"/>
                  </a:lnTo>
                  <a:lnTo>
                    <a:pt x="207" y="683"/>
                  </a:lnTo>
                  <a:lnTo>
                    <a:pt x="208" y="692"/>
                  </a:lnTo>
                  <a:lnTo>
                    <a:pt x="202" y="694"/>
                  </a:lnTo>
                  <a:lnTo>
                    <a:pt x="194" y="697"/>
                  </a:lnTo>
                  <a:lnTo>
                    <a:pt x="183" y="704"/>
                  </a:lnTo>
                  <a:lnTo>
                    <a:pt x="173" y="708"/>
                  </a:lnTo>
                  <a:lnTo>
                    <a:pt x="165" y="705"/>
                  </a:lnTo>
                  <a:lnTo>
                    <a:pt x="158" y="705"/>
                  </a:lnTo>
                  <a:lnTo>
                    <a:pt x="157" y="715"/>
                  </a:lnTo>
                  <a:lnTo>
                    <a:pt x="152" y="720"/>
                  </a:lnTo>
                  <a:lnTo>
                    <a:pt x="145" y="724"/>
                  </a:lnTo>
                  <a:lnTo>
                    <a:pt x="134" y="726"/>
                  </a:lnTo>
                  <a:lnTo>
                    <a:pt x="129" y="727"/>
                  </a:lnTo>
                  <a:lnTo>
                    <a:pt x="136" y="738"/>
                  </a:lnTo>
                  <a:lnTo>
                    <a:pt x="154" y="746"/>
                  </a:lnTo>
                  <a:lnTo>
                    <a:pt x="161" y="752"/>
                  </a:lnTo>
                  <a:lnTo>
                    <a:pt x="157" y="760"/>
                  </a:lnTo>
                  <a:lnTo>
                    <a:pt x="150" y="770"/>
                  </a:lnTo>
                  <a:lnTo>
                    <a:pt x="148" y="786"/>
                  </a:lnTo>
                  <a:lnTo>
                    <a:pt x="148" y="797"/>
                  </a:lnTo>
                  <a:lnTo>
                    <a:pt x="151" y="810"/>
                  </a:lnTo>
                  <a:lnTo>
                    <a:pt x="156" y="822"/>
                  </a:lnTo>
                  <a:lnTo>
                    <a:pt x="151" y="827"/>
                  </a:lnTo>
                  <a:lnTo>
                    <a:pt x="153" y="832"/>
                  </a:lnTo>
                  <a:lnTo>
                    <a:pt x="162" y="830"/>
                  </a:lnTo>
                  <a:lnTo>
                    <a:pt x="175" y="821"/>
                  </a:lnTo>
                  <a:lnTo>
                    <a:pt x="186" y="807"/>
                  </a:lnTo>
                  <a:lnTo>
                    <a:pt x="195" y="797"/>
                  </a:lnTo>
                  <a:lnTo>
                    <a:pt x="216" y="789"/>
                  </a:lnTo>
                  <a:lnTo>
                    <a:pt x="220" y="785"/>
                  </a:lnTo>
                  <a:lnTo>
                    <a:pt x="220" y="778"/>
                  </a:lnTo>
                  <a:lnTo>
                    <a:pt x="228" y="7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36" name="Freeform 91"/>
            <p:cNvSpPr>
              <a:spLocks noChangeAspect="1"/>
            </p:cNvSpPr>
            <p:nvPr/>
          </p:nvSpPr>
          <p:spPr bwMode="gray">
            <a:xfrm>
              <a:off x="7808581" y="4127649"/>
              <a:ext cx="168555" cy="115245"/>
            </a:xfrm>
            <a:custGeom>
              <a:avLst/>
              <a:gdLst/>
              <a:ahLst/>
              <a:cxnLst>
                <a:cxn ang="0">
                  <a:pos x="249" y="133"/>
                </a:cxn>
                <a:cxn ang="0">
                  <a:pos x="268" y="155"/>
                </a:cxn>
                <a:cxn ang="0">
                  <a:pos x="281" y="158"/>
                </a:cxn>
                <a:cxn ang="0">
                  <a:pos x="288" y="121"/>
                </a:cxn>
                <a:cxn ang="0">
                  <a:pos x="301" y="122"/>
                </a:cxn>
                <a:cxn ang="0">
                  <a:pos x="312" y="139"/>
                </a:cxn>
                <a:cxn ang="0">
                  <a:pos x="319" y="128"/>
                </a:cxn>
                <a:cxn ang="0">
                  <a:pos x="309" y="111"/>
                </a:cxn>
                <a:cxn ang="0">
                  <a:pos x="328" y="96"/>
                </a:cxn>
                <a:cxn ang="0">
                  <a:pos x="324" y="81"/>
                </a:cxn>
                <a:cxn ang="0">
                  <a:pos x="351" y="64"/>
                </a:cxn>
                <a:cxn ang="0">
                  <a:pos x="383" y="20"/>
                </a:cxn>
                <a:cxn ang="0">
                  <a:pos x="392" y="0"/>
                </a:cxn>
                <a:cxn ang="0">
                  <a:pos x="395" y="14"/>
                </a:cxn>
                <a:cxn ang="0">
                  <a:pos x="404" y="9"/>
                </a:cxn>
                <a:cxn ang="0">
                  <a:pos x="417" y="4"/>
                </a:cxn>
                <a:cxn ang="0">
                  <a:pos x="433" y="20"/>
                </a:cxn>
                <a:cxn ang="0">
                  <a:pos x="442" y="43"/>
                </a:cxn>
                <a:cxn ang="0">
                  <a:pos x="448" y="57"/>
                </a:cxn>
                <a:cxn ang="0">
                  <a:pos x="463" y="54"/>
                </a:cxn>
                <a:cxn ang="0">
                  <a:pos x="462" y="68"/>
                </a:cxn>
                <a:cxn ang="0">
                  <a:pos x="474" y="65"/>
                </a:cxn>
                <a:cxn ang="0">
                  <a:pos x="502" y="80"/>
                </a:cxn>
                <a:cxn ang="0">
                  <a:pos x="530" y="95"/>
                </a:cxn>
                <a:cxn ang="0">
                  <a:pos x="512" y="108"/>
                </a:cxn>
                <a:cxn ang="0">
                  <a:pos x="482" y="110"/>
                </a:cxn>
                <a:cxn ang="0">
                  <a:pos x="476" y="126"/>
                </a:cxn>
                <a:cxn ang="0">
                  <a:pos x="492" y="137"/>
                </a:cxn>
                <a:cxn ang="0">
                  <a:pos x="463" y="149"/>
                </a:cxn>
                <a:cxn ang="0">
                  <a:pos x="446" y="143"/>
                </a:cxn>
                <a:cxn ang="0">
                  <a:pos x="439" y="151"/>
                </a:cxn>
                <a:cxn ang="0">
                  <a:pos x="412" y="142"/>
                </a:cxn>
                <a:cxn ang="0">
                  <a:pos x="336" y="150"/>
                </a:cxn>
                <a:cxn ang="0">
                  <a:pos x="323" y="201"/>
                </a:cxn>
                <a:cxn ang="0">
                  <a:pos x="282" y="275"/>
                </a:cxn>
                <a:cxn ang="0">
                  <a:pos x="265" y="299"/>
                </a:cxn>
                <a:cxn ang="0">
                  <a:pos x="231" y="307"/>
                </a:cxn>
                <a:cxn ang="0">
                  <a:pos x="189" y="306"/>
                </a:cxn>
                <a:cxn ang="0">
                  <a:pos x="178" y="296"/>
                </a:cxn>
                <a:cxn ang="0">
                  <a:pos x="139" y="305"/>
                </a:cxn>
                <a:cxn ang="0">
                  <a:pos x="105" y="326"/>
                </a:cxn>
                <a:cxn ang="0">
                  <a:pos x="77" y="323"/>
                </a:cxn>
                <a:cxn ang="0">
                  <a:pos x="40" y="325"/>
                </a:cxn>
                <a:cxn ang="0">
                  <a:pos x="0" y="269"/>
                </a:cxn>
                <a:cxn ang="0">
                  <a:pos x="7" y="264"/>
                </a:cxn>
                <a:cxn ang="0">
                  <a:pos x="28" y="283"/>
                </a:cxn>
                <a:cxn ang="0">
                  <a:pos x="53" y="284"/>
                </a:cxn>
                <a:cxn ang="0">
                  <a:pos x="84" y="293"/>
                </a:cxn>
                <a:cxn ang="0">
                  <a:pos x="91" y="269"/>
                </a:cxn>
                <a:cxn ang="0">
                  <a:pos x="96" y="250"/>
                </a:cxn>
                <a:cxn ang="0">
                  <a:pos x="103" y="239"/>
                </a:cxn>
                <a:cxn ang="0">
                  <a:pos x="116" y="221"/>
                </a:cxn>
                <a:cxn ang="0">
                  <a:pos x="137" y="218"/>
                </a:cxn>
                <a:cxn ang="0">
                  <a:pos x="161" y="215"/>
                </a:cxn>
                <a:cxn ang="0">
                  <a:pos x="190" y="201"/>
                </a:cxn>
                <a:cxn ang="0">
                  <a:pos x="215" y="167"/>
                </a:cxn>
                <a:cxn ang="0">
                  <a:pos x="240" y="131"/>
                </a:cxn>
              </a:cxnLst>
              <a:rect l="0" t="0" r="r" b="b"/>
              <a:pathLst>
                <a:path w="530" h="330">
                  <a:moveTo>
                    <a:pt x="242" y="129"/>
                  </a:moveTo>
                  <a:lnTo>
                    <a:pt x="245" y="131"/>
                  </a:lnTo>
                  <a:lnTo>
                    <a:pt x="249" y="133"/>
                  </a:lnTo>
                  <a:lnTo>
                    <a:pt x="259" y="144"/>
                  </a:lnTo>
                  <a:lnTo>
                    <a:pt x="263" y="150"/>
                  </a:lnTo>
                  <a:lnTo>
                    <a:pt x="268" y="155"/>
                  </a:lnTo>
                  <a:lnTo>
                    <a:pt x="271" y="159"/>
                  </a:lnTo>
                  <a:lnTo>
                    <a:pt x="276" y="160"/>
                  </a:lnTo>
                  <a:lnTo>
                    <a:pt x="281" y="158"/>
                  </a:lnTo>
                  <a:lnTo>
                    <a:pt x="283" y="150"/>
                  </a:lnTo>
                  <a:lnTo>
                    <a:pt x="285" y="126"/>
                  </a:lnTo>
                  <a:lnTo>
                    <a:pt x="288" y="121"/>
                  </a:lnTo>
                  <a:lnTo>
                    <a:pt x="293" y="118"/>
                  </a:lnTo>
                  <a:lnTo>
                    <a:pt x="298" y="118"/>
                  </a:lnTo>
                  <a:lnTo>
                    <a:pt x="301" y="122"/>
                  </a:lnTo>
                  <a:lnTo>
                    <a:pt x="303" y="129"/>
                  </a:lnTo>
                  <a:lnTo>
                    <a:pt x="307" y="137"/>
                  </a:lnTo>
                  <a:lnTo>
                    <a:pt x="312" y="139"/>
                  </a:lnTo>
                  <a:lnTo>
                    <a:pt x="318" y="139"/>
                  </a:lnTo>
                  <a:lnTo>
                    <a:pt x="319" y="134"/>
                  </a:lnTo>
                  <a:lnTo>
                    <a:pt x="319" y="128"/>
                  </a:lnTo>
                  <a:lnTo>
                    <a:pt x="318" y="123"/>
                  </a:lnTo>
                  <a:lnTo>
                    <a:pt x="314" y="116"/>
                  </a:lnTo>
                  <a:lnTo>
                    <a:pt x="309" y="111"/>
                  </a:lnTo>
                  <a:lnTo>
                    <a:pt x="315" y="110"/>
                  </a:lnTo>
                  <a:lnTo>
                    <a:pt x="320" y="106"/>
                  </a:lnTo>
                  <a:lnTo>
                    <a:pt x="328" y="96"/>
                  </a:lnTo>
                  <a:lnTo>
                    <a:pt x="322" y="94"/>
                  </a:lnTo>
                  <a:lnTo>
                    <a:pt x="319" y="88"/>
                  </a:lnTo>
                  <a:lnTo>
                    <a:pt x="324" y="81"/>
                  </a:lnTo>
                  <a:lnTo>
                    <a:pt x="329" y="79"/>
                  </a:lnTo>
                  <a:lnTo>
                    <a:pt x="339" y="79"/>
                  </a:lnTo>
                  <a:lnTo>
                    <a:pt x="351" y="64"/>
                  </a:lnTo>
                  <a:lnTo>
                    <a:pt x="357" y="53"/>
                  </a:lnTo>
                  <a:lnTo>
                    <a:pt x="357" y="47"/>
                  </a:lnTo>
                  <a:lnTo>
                    <a:pt x="383" y="20"/>
                  </a:lnTo>
                  <a:lnTo>
                    <a:pt x="387" y="13"/>
                  </a:lnTo>
                  <a:lnTo>
                    <a:pt x="388" y="6"/>
                  </a:lnTo>
                  <a:lnTo>
                    <a:pt x="392" y="0"/>
                  </a:lnTo>
                  <a:lnTo>
                    <a:pt x="394" y="0"/>
                  </a:lnTo>
                  <a:lnTo>
                    <a:pt x="395" y="3"/>
                  </a:lnTo>
                  <a:lnTo>
                    <a:pt x="395" y="14"/>
                  </a:lnTo>
                  <a:lnTo>
                    <a:pt x="393" y="20"/>
                  </a:lnTo>
                  <a:lnTo>
                    <a:pt x="393" y="22"/>
                  </a:lnTo>
                  <a:lnTo>
                    <a:pt x="404" y="9"/>
                  </a:lnTo>
                  <a:lnTo>
                    <a:pt x="408" y="2"/>
                  </a:lnTo>
                  <a:lnTo>
                    <a:pt x="415" y="2"/>
                  </a:lnTo>
                  <a:lnTo>
                    <a:pt x="417" y="4"/>
                  </a:lnTo>
                  <a:lnTo>
                    <a:pt x="422" y="19"/>
                  </a:lnTo>
                  <a:lnTo>
                    <a:pt x="428" y="22"/>
                  </a:lnTo>
                  <a:lnTo>
                    <a:pt x="433" y="20"/>
                  </a:lnTo>
                  <a:lnTo>
                    <a:pt x="443" y="29"/>
                  </a:lnTo>
                  <a:lnTo>
                    <a:pt x="446" y="40"/>
                  </a:lnTo>
                  <a:lnTo>
                    <a:pt x="442" y="43"/>
                  </a:lnTo>
                  <a:lnTo>
                    <a:pt x="443" y="57"/>
                  </a:lnTo>
                  <a:lnTo>
                    <a:pt x="444" y="58"/>
                  </a:lnTo>
                  <a:lnTo>
                    <a:pt x="448" y="57"/>
                  </a:lnTo>
                  <a:lnTo>
                    <a:pt x="452" y="57"/>
                  </a:lnTo>
                  <a:lnTo>
                    <a:pt x="458" y="54"/>
                  </a:lnTo>
                  <a:lnTo>
                    <a:pt x="463" y="54"/>
                  </a:lnTo>
                  <a:lnTo>
                    <a:pt x="467" y="59"/>
                  </a:lnTo>
                  <a:lnTo>
                    <a:pt x="465" y="64"/>
                  </a:lnTo>
                  <a:lnTo>
                    <a:pt x="462" y="68"/>
                  </a:lnTo>
                  <a:lnTo>
                    <a:pt x="463" y="70"/>
                  </a:lnTo>
                  <a:lnTo>
                    <a:pt x="469" y="70"/>
                  </a:lnTo>
                  <a:lnTo>
                    <a:pt x="474" y="65"/>
                  </a:lnTo>
                  <a:lnTo>
                    <a:pt x="480" y="65"/>
                  </a:lnTo>
                  <a:lnTo>
                    <a:pt x="486" y="69"/>
                  </a:lnTo>
                  <a:lnTo>
                    <a:pt x="502" y="80"/>
                  </a:lnTo>
                  <a:lnTo>
                    <a:pt x="523" y="86"/>
                  </a:lnTo>
                  <a:lnTo>
                    <a:pt x="529" y="91"/>
                  </a:lnTo>
                  <a:lnTo>
                    <a:pt x="530" y="95"/>
                  </a:lnTo>
                  <a:lnTo>
                    <a:pt x="528" y="100"/>
                  </a:lnTo>
                  <a:lnTo>
                    <a:pt x="518" y="104"/>
                  </a:lnTo>
                  <a:lnTo>
                    <a:pt x="512" y="108"/>
                  </a:lnTo>
                  <a:lnTo>
                    <a:pt x="501" y="112"/>
                  </a:lnTo>
                  <a:lnTo>
                    <a:pt x="491" y="115"/>
                  </a:lnTo>
                  <a:lnTo>
                    <a:pt x="482" y="110"/>
                  </a:lnTo>
                  <a:lnTo>
                    <a:pt x="475" y="113"/>
                  </a:lnTo>
                  <a:lnTo>
                    <a:pt x="474" y="121"/>
                  </a:lnTo>
                  <a:lnTo>
                    <a:pt x="476" y="126"/>
                  </a:lnTo>
                  <a:lnTo>
                    <a:pt x="482" y="132"/>
                  </a:lnTo>
                  <a:lnTo>
                    <a:pt x="487" y="133"/>
                  </a:lnTo>
                  <a:lnTo>
                    <a:pt x="492" y="137"/>
                  </a:lnTo>
                  <a:lnTo>
                    <a:pt x="494" y="140"/>
                  </a:lnTo>
                  <a:lnTo>
                    <a:pt x="480" y="143"/>
                  </a:lnTo>
                  <a:lnTo>
                    <a:pt x="463" y="149"/>
                  </a:lnTo>
                  <a:lnTo>
                    <a:pt x="457" y="149"/>
                  </a:lnTo>
                  <a:lnTo>
                    <a:pt x="452" y="147"/>
                  </a:lnTo>
                  <a:lnTo>
                    <a:pt x="446" y="143"/>
                  </a:lnTo>
                  <a:lnTo>
                    <a:pt x="444" y="143"/>
                  </a:lnTo>
                  <a:lnTo>
                    <a:pt x="443" y="148"/>
                  </a:lnTo>
                  <a:lnTo>
                    <a:pt x="439" y="151"/>
                  </a:lnTo>
                  <a:lnTo>
                    <a:pt x="435" y="151"/>
                  </a:lnTo>
                  <a:lnTo>
                    <a:pt x="421" y="147"/>
                  </a:lnTo>
                  <a:lnTo>
                    <a:pt x="412" y="142"/>
                  </a:lnTo>
                  <a:lnTo>
                    <a:pt x="361" y="140"/>
                  </a:lnTo>
                  <a:lnTo>
                    <a:pt x="342" y="142"/>
                  </a:lnTo>
                  <a:lnTo>
                    <a:pt x="336" y="150"/>
                  </a:lnTo>
                  <a:lnTo>
                    <a:pt x="330" y="167"/>
                  </a:lnTo>
                  <a:lnTo>
                    <a:pt x="328" y="189"/>
                  </a:lnTo>
                  <a:lnTo>
                    <a:pt x="323" y="201"/>
                  </a:lnTo>
                  <a:lnTo>
                    <a:pt x="297" y="230"/>
                  </a:lnTo>
                  <a:lnTo>
                    <a:pt x="291" y="257"/>
                  </a:lnTo>
                  <a:lnTo>
                    <a:pt x="282" y="275"/>
                  </a:lnTo>
                  <a:lnTo>
                    <a:pt x="275" y="287"/>
                  </a:lnTo>
                  <a:lnTo>
                    <a:pt x="271" y="294"/>
                  </a:lnTo>
                  <a:lnTo>
                    <a:pt x="265" y="299"/>
                  </a:lnTo>
                  <a:lnTo>
                    <a:pt x="252" y="303"/>
                  </a:lnTo>
                  <a:lnTo>
                    <a:pt x="240" y="305"/>
                  </a:lnTo>
                  <a:lnTo>
                    <a:pt x="231" y="307"/>
                  </a:lnTo>
                  <a:lnTo>
                    <a:pt x="220" y="314"/>
                  </a:lnTo>
                  <a:lnTo>
                    <a:pt x="210" y="314"/>
                  </a:lnTo>
                  <a:lnTo>
                    <a:pt x="189" y="306"/>
                  </a:lnTo>
                  <a:lnTo>
                    <a:pt x="184" y="306"/>
                  </a:lnTo>
                  <a:lnTo>
                    <a:pt x="183" y="299"/>
                  </a:lnTo>
                  <a:lnTo>
                    <a:pt x="178" y="296"/>
                  </a:lnTo>
                  <a:lnTo>
                    <a:pt x="151" y="295"/>
                  </a:lnTo>
                  <a:lnTo>
                    <a:pt x="146" y="296"/>
                  </a:lnTo>
                  <a:lnTo>
                    <a:pt x="139" y="305"/>
                  </a:lnTo>
                  <a:lnTo>
                    <a:pt x="123" y="323"/>
                  </a:lnTo>
                  <a:lnTo>
                    <a:pt x="115" y="327"/>
                  </a:lnTo>
                  <a:lnTo>
                    <a:pt x="105" y="326"/>
                  </a:lnTo>
                  <a:lnTo>
                    <a:pt x="96" y="326"/>
                  </a:lnTo>
                  <a:lnTo>
                    <a:pt x="87" y="330"/>
                  </a:lnTo>
                  <a:lnTo>
                    <a:pt x="77" y="323"/>
                  </a:lnTo>
                  <a:lnTo>
                    <a:pt x="66" y="325"/>
                  </a:lnTo>
                  <a:lnTo>
                    <a:pt x="54" y="328"/>
                  </a:lnTo>
                  <a:lnTo>
                    <a:pt x="40" y="325"/>
                  </a:lnTo>
                  <a:lnTo>
                    <a:pt x="27" y="314"/>
                  </a:lnTo>
                  <a:lnTo>
                    <a:pt x="0" y="274"/>
                  </a:lnTo>
                  <a:lnTo>
                    <a:pt x="0" y="269"/>
                  </a:lnTo>
                  <a:lnTo>
                    <a:pt x="2" y="268"/>
                  </a:lnTo>
                  <a:lnTo>
                    <a:pt x="5" y="266"/>
                  </a:lnTo>
                  <a:lnTo>
                    <a:pt x="7" y="264"/>
                  </a:lnTo>
                  <a:lnTo>
                    <a:pt x="10" y="273"/>
                  </a:lnTo>
                  <a:lnTo>
                    <a:pt x="13" y="278"/>
                  </a:lnTo>
                  <a:lnTo>
                    <a:pt x="28" y="283"/>
                  </a:lnTo>
                  <a:lnTo>
                    <a:pt x="34" y="284"/>
                  </a:lnTo>
                  <a:lnTo>
                    <a:pt x="48" y="283"/>
                  </a:lnTo>
                  <a:lnTo>
                    <a:pt x="53" y="284"/>
                  </a:lnTo>
                  <a:lnTo>
                    <a:pt x="59" y="288"/>
                  </a:lnTo>
                  <a:lnTo>
                    <a:pt x="67" y="290"/>
                  </a:lnTo>
                  <a:lnTo>
                    <a:pt x="84" y="293"/>
                  </a:lnTo>
                  <a:lnTo>
                    <a:pt x="86" y="285"/>
                  </a:lnTo>
                  <a:lnTo>
                    <a:pt x="89" y="279"/>
                  </a:lnTo>
                  <a:lnTo>
                    <a:pt x="91" y="269"/>
                  </a:lnTo>
                  <a:lnTo>
                    <a:pt x="93" y="263"/>
                  </a:lnTo>
                  <a:lnTo>
                    <a:pt x="91" y="253"/>
                  </a:lnTo>
                  <a:lnTo>
                    <a:pt x="96" y="250"/>
                  </a:lnTo>
                  <a:lnTo>
                    <a:pt x="102" y="251"/>
                  </a:lnTo>
                  <a:lnTo>
                    <a:pt x="103" y="253"/>
                  </a:lnTo>
                  <a:lnTo>
                    <a:pt x="103" y="239"/>
                  </a:lnTo>
                  <a:lnTo>
                    <a:pt x="105" y="235"/>
                  </a:lnTo>
                  <a:lnTo>
                    <a:pt x="113" y="225"/>
                  </a:lnTo>
                  <a:lnTo>
                    <a:pt x="116" y="221"/>
                  </a:lnTo>
                  <a:lnTo>
                    <a:pt x="134" y="220"/>
                  </a:lnTo>
                  <a:lnTo>
                    <a:pt x="137" y="219"/>
                  </a:lnTo>
                  <a:lnTo>
                    <a:pt x="137" y="218"/>
                  </a:lnTo>
                  <a:lnTo>
                    <a:pt x="142" y="217"/>
                  </a:lnTo>
                  <a:lnTo>
                    <a:pt x="152" y="217"/>
                  </a:lnTo>
                  <a:lnTo>
                    <a:pt x="161" y="215"/>
                  </a:lnTo>
                  <a:lnTo>
                    <a:pt x="174" y="214"/>
                  </a:lnTo>
                  <a:lnTo>
                    <a:pt x="179" y="212"/>
                  </a:lnTo>
                  <a:lnTo>
                    <a:pt x="190" y="201"/>
                  </a:lnTo>
                  <a:lnTo>
                    <a:pt x="205" y="183"/>
                  </a:lnTo>
                  <a:lnTo>
                    <a:pt x="207" y="177"/>
                  </a:lnTo>
                  <a:lnTo>
                    <a:pt x="215" y="167"/>
                  </a:lnTo>
                  <a:lnTo>
                    <a:pt x="231" y="154"/>
                  </a:lnTo>
                  <a:lnTo>
                    <a:pt x="238" y="143"/>
                  </a:lnTo>
                  <a:lnTo>
                    <a:pt x="240" y="131"/>
                  </a:lnTo>
                  <a:lnTo>
                    <a:pt x="242" y="12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37" name="Freeform 92"/>
            <p:cNvSpPr>
              <a:spLocks noChangeAspect="1"/>
            </p:cNvSpPr>
            <p:nvPr/>
          </p:nvSpPr>
          <p:spPr bwMode="gray">
            <a:xfrm>
              <a:off x="7644797" y="4131141"/>
              <a:ext cx="71557" cy="103022"/>
            </a:xfrm>
            <a:custGeom>
              <a:avLst/>
              <a:gdLst/>
              <a:ahLst/>
              <a:cxnLst>
                <a:cxn ang="0">
                  <a:pos x="5" y="16"/>
                </a:cxn>
                <a:cxn ang="0">
                  <a:pos x="2" y="16"/>
                </a:cxn>
                <a:cxn ang="0">
                  <a:pos x="7" y="24"/>
                </a:cxn>
                <a:cxn ang="0">
                  <a:pos x="10" y="43"/>
                </a:cxn>
                <a:cxn ang="0">
                  <a:pos x="14" y="55"/>
                </a:cxn>
                <a:cxn ang="0">
                  <a:pos x="15" y="87"/>
                </a:cxn>
                <a:cxn ang="0">
                  <a:pos x="18" y="98"/>
                </a:cxn>
                <a:cxn ang="0">
                  <a:pos x="26" y="104"/>
                </a:cxn>
                <a:cxn ang="0">
                  <a:pos x="27" y="115"/>
                </a:cxn>
                <a:cxn ang="0">
                  <a:pos x="26" y="130"/>
                </a:cxn>
                <a:cxn ang="0">
                  <a:pos x="32" y="141"/>
                </a:cxn>
                <a:cxn ang="0">
                  <a:pos x="33" y="148"/>
                </a:cxn>
                <a:cxn ang="0">
                  <a:pos x="52" y="173"/>
                </a:cxn>
                <a:cxn ang="0">
                  <a:pos x="60" y="183"/>
                </a:cxn>
                <a:cxn ang="0">
                  <a:pos x="66" y="196"/>
                </a:cxn>
                <a:cxn ang="0">
                  <a:pos x="68" y="208"/>
                </a:cxn>
                <a:cxn ang="0">
                  <a:pos x="77" y="218"/>
                </a:cxn>
                <a:cxn ang="0">
                  <a:pos x="93" y="229"/>
                </a:cxn>
                <a:cxn ang="0">
                  <a:pos x="114" y="248"/>
                </a:cxn>
                <a:cxn ang="0">
                  <a:pos x="129" y="253"/>
                </a:cxn>
                <a:cxn ang="0">
                  <a:pos x="144" y="265"/>
                </a:cxn>
                <a:cxn ang="0">
                  <a:pos x="152" y="269"/>
                </a:cxn>
                <a:cxn ang="0">
                  <a:pos x="166" y="276"/>
                </a:cxn>
                <a:cxn ang="0">
                  <a:pos x="178" y="287"/>
                </a:cxn>
                <a:cxn ang="0">
                  <a:pos x="182" y="285"/>
                </a:cxn>
                <a:cxn ang="0">
                  <a:pos x="185" y="291"/>
                </a:cxn>
                <a:cxn ang="0">
                  <a:pos x="189" y="287"/>
                </a:cxn>
                <a:cxn ang="0">
                  <a:pos x="192" y="281"/>
                </a:cxn>
                <a:cxn ang="0">
                  <a:pos x="198" y="277"/>
                </a:cxn>
                <a:cxn ang="0">
                  <a:pos x="211" y="280"/>
                </a:cxn>
                <a:cxn ang="0">
                  <a:pos x="220" y="288"/>
                </a:cxn>
                <a:cxn ang="0">
                  <a:pos x="224" y="281"/>
                </a:cxn>
                <a:cxn ang="0">
                  <a:pos x="226" y="265"/>
                </a:cxn>
                <a:cxn ang="0">
                  <a:pos x="210" y="237"/>
                </a:cxn>
                <a:cxn ang="0">
                  <a:pos x="205" y="222"/>
                </a:cxn>
                <a:cxn ang="0">
                  <a:pos x="188" y="210"/>
                </a:cxn>
                <a:cxn ang="0">
                  <a:pos x="182" y="191"/>
                </a:cxn>
                <a:cxn ang="0">
                  <a:pos x="179" y="151"/>
                </a:cxn>
                <a:cxn ang="0">
                  <a:pos x="183" y="126"/>
                </a:cxn>
                <a:cxn ang="0">
                  <a:pos x="183" y="108"/>
                </a:cxn>
                <a:cxn ang="0">
                  <a:pos x="181" y="95"/>
                </a:cxn>
                <a:cxn ang="0">
                  <a:pos x="174" y="83"/>
                </a:cxn>
                <a:cxn ang="0">
                  <a:pos x="158" y="60"/>
                </a:cxn>
                <a:cxn ang="0">
                  <a:pos x="136" y="44"/>
                </a:cxn>
                <a:cxn ang="0">
                  <a:pos x="123" y="28"/>
                </a:cxn>
                <a:cxn ang="0">
                  <a:pos x="111" y="29"/>
                </a:cxn>
                <a:cxn ang="0">
                  <a:pos x="103" y="41"/>
                </a:cxn>
                <a:cxn ang="0">
                  <a:pos x="92" y="43"/>
                </a:cxn>
                <a:cxn ang="0">
                  <a:pos x="81" y="41"/>
                </a:cxn>
                <a:cxn ang="0">
                  <a:pos x="58" y="56"/>
                </a:cxn>
                <a:cxn ang="0">
                  <a:pos x="54" y="45"/>
                </a:cxn>
                <a:cxn ang="0">
                  <a:pos x="57" y="29"/>
                </a:cxn>
                <a:cxn ang="0">
                  <a:pos x="47" y="14"/>
                </a:cxn>
                <a:cxn ang="0">
                  <a:pos x="37" y="12"/>
                </a:cxn>
                <a:cxn ang="0">
                  <a:pos x="20" y="9"/>
                </a:cxn>
                <a:cxn ang="0">
                  <a:pos x="12" y="0"/>
                </a:cxn>
                <a:cxn ang="0">
                  <a:pos x="0" y="0"/>
                </a:cxn>
                <a:cxn ang="0">
                  <a:pos x="5" y="16"/>
                </a:cxn>
              </a:cxnLst>
              <a:rect l="0" t="0" r="r" b="b"/>
              <a:pathLst>
                <a:path w="226" h="291">
                  <a:moveTo>
                    <a:pt x="5" y="16"/>
                  </a:moveTo>
                  <a:lnTo>
                    <a:pt x="2" y="16"/>
                  </a:lnTo>
                  <a:lnTo>
                    <a:pt x="7" y="24"/>
                  </a:lnTo>
                  <a:lnTo>
                    <a:pt x="10" y="43"/>
                  </a:lnTo>
                  <a:lnTo>
                    <a:pt x="14" y="55"/>
                  </a:lnTo>
                  <a:lnTo>
                    <a:pt x="15" y="87"/>
                  </a:lnTo>
                  <a:lnTo>
                    <a:pt x="18" y="98"/>
                  </a:lnTo>
                  <a:lnTo>
                    <a:pt x="26" y="104"/>
                  </a:lnTo>
                  <a:lnTo>
                    <a:pt x="27" y="115"/>
                  </a:lnTo>
                  <a:lnTo>
                    <a:pt x="26" y="130"/>
                  </a:lnTo>
                  <a:lnTo>
                    <a:pt x="32" y="141"/>
                  </a:lnTo>
                  <a:lnTo>
                    <a:pt x="33" y="148"/>
                  </a:lnTo>
                  <a:lnTo>
                    <a:pt x="52" y="173"/>
                  </a:lnTo>
                  <a:lnTo>
                    <a:pt x="60" y="183"/>
                  </a:lnTo>
                  <a:lnTo>
                    <a:pt x="66" y="196"/>
                  </a:lnTo>
                  <a:lnTo>
                    <a:pt x="68" y="208"/>
                  </a:lnTo>
                  <a:lnTo>
                    <a:pt x="77" y="218"/>
                  </a:lnTo>
                  <a:lnTo>
                    <a:pt x="93" y="229"/>
                  </a:lnTo>
                  <a:lnTo>
                    <a:pt x="114" y="248"/>
                  </a:lnTo>
                  <a:lnTo>
                    <a:pt x="129" y="253"/>
                  </a:lnTo>
                  <a:lnTo>
                    <a:pt x="144" y="265"/>
                  </a:lnTo>
                  <a:lnTo>
                    <a:pt x="152" y="269"/>
                  </a:lnTo>
                  <a:lnTo>
                    <a:pt x="166" y="276"/>
                  </a:lnTo>
                  <a:lnTo>
                    <a:pt x="178" y="287"/>
                  </a:lnTo>
                  <a:lnTo>
                    <a:pt x="182" y="285"/>
                  </a:lnTo>
                  <a:lnTo>
                    <a:pt x="185" y="291"/>
                  </a:lnTo>
                  <a:lnTo>
                    <a:pt x="189" y="287"/>
                  </a:lnTo>
                  <a:lnTo>
                    <a:pt x="192" y="281"/>
                  </a:lnTo>
                  <a:lnTo>
                    <a:pt x="198" y="277"/>
                  </a:lnTo>
                  <a:lnTo>
                    <a:pt x="211" y="280"/>
                  </a:lnTo>
                  <a:lnTo>
                    <a:pt x="220" y="288"/>
                  </a:lnTo>
                  <a:lnTo>
                    <a:pt x="224" y="281"/>
                  </a:lnTo>
                  <a:lnTo>
                    <a:pt x="226" y="265"/>
                  </a:lnTo>
                  <a:lnTo>
                    <a:pt x="210" y="237"/>
                  </a:lnTo>
                  <a:lnTo>
                    <a:pt x="205" y="222"/>
                  </a:lnTo>
                  <a:lnTo>
                    <a:pt x="188" y="210"/>
                  </a:lnTo>
                  <a:lnTo>
                    <a:pt x="182" y="191"/>
                  </a:lnTo>
                  <a:lnTo>
                    <a:pt x="179" y="151"/>
                  </a:lnTo>
                  <a:lnTo>
                    <a:pt x="183" y="126"/>
                  </a:lnTo>
                  <a:lnTo>
                    <a:pt x="183" y="108"/>
                  </a:lnTo>
                  <a:lnTo>
                    <a:pt x="181" y="95"/>
                  </a:lnTo>
                  <a:lnTo>
                    <a:pt x="174" y="83"/>
                  </a:lnTo>
                  <a:lnTo>
                    <a:pt x="158" y="60"/>
                  </a:lnTo>
                  <a:lnTo>
                    <a:pt x="136" y="44"/>
                  </a:lnTo>
                  <a:lnTo>
                    <a:pt x="123" y="28"/>
                  </a:lnTo>
                  <a:lnTo>
                    <a:pt x="111" y="29"/>
                  </a:lnTo>
                  <a:lnTo>
                    <a:pt x="103" y="41"/>
                  </a:lnTo>
                  <a:lnTo>
                    <a:pt x="92" y="43"/>
                  </a:lnTo>
                  <a:lnTo>
                    <a:pt x="81" y="41"/>
                  </a:lnTo>
                  <a:lnTo>
                    <a:pt x="58" y="56"/>
                  </a:lnTo>
                  <a:lnTo>
                    <a:pt x="54" y="45"/>
                  </a:lnTo>
                  <a:lnTo>
                    <a:pt x="57" y="29"/>
                  </a:lnTo>
                  <a:lnTo>
                    <a:pt x="47" y="14"/>
                  </a:lnTo>
                  <a:lnTo>
                    <a:pt x="37" y="12"/>
                  </a:lnTo>
                  <a:lnTo>
                    <a:pt x="20" y="9"/>
                  </a:lnTo>
                  <a:lnTo>
                    <a:pt x="12" y="0"/>
                  </a:lnTo>
                  <a:lnTo>
                    <a:pt x="0" y="0"/>
                  </a:lnTo>
                  <a:lnTo>
                    <a:pt x="5" y="1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38" name="Freeform 93"/>
            <p:cNvSpPr>
              <a:spLocks noChangeAspect="1"/>
            </p:cNvSpPr>
            <p:nvPr/>
          </p:nvSpPr>
          <p:spPr bwMode="gray">
            <a:xfrm>
              <a:off x="7600273" y="3856997"/>
              <a:ext cx="136752" cy="295097"/>
            </a:xfrm>
            <a:custGeom>
              <a:avLst/>
              <a:gdLst/>
              <a:ahLst/>
              <a:cxnLst>
                <a:cxn ang="0">
                  <a:pos x="125" y="24"/>
                </a:cxn>
                <a:cxn ang="0">
                  <a:pos x="77" y="49"/>
                </a:cxn>
                <a:cxn ang="0">
                  <a:pos x="23" y="67"/>
                </a:cxn>
                <a:cxn ang="0">
                  <a:pos x="0" y="135"/>
                </a:cxn>
                <a:cxn ang="0">
                  <a:pos x="40" y="199"/>
                </a:cxn>
                <a:cxn ang="0">
                  <a:pos x="52" y="252"/>
                </a:cxn>
                <a:cxn ang="0">
                  <a:pos x="53" y="283"/>
                </a:cxn>
                <a:cxn ang="0">
                  <a:pos x="38" y="315"/>
                </a:cxn>
                <a:cxn ang="0">
                  <a:pos x="58" y="366"/>
                </a:cxn>
                <a:cxn ang="0">
                  <a:pos x="82" y="434"/>
                </a:cxn>
                <a:cxn ang="0">
                  <a:pos x="111" y="503"/>
                </a:cxn>
                <a:cxn ang="0">
                  <a:pos x="72" y="559"/>
                </a:cxn>
                <a:cxn ang="0">
                  <a:pos x="59" y="597"/>
                </a:cxn>
                <a:cxn ang="0">
                  <a:pos x="37" y="681"/>
                </a:cxn>
                <a:cxn ang="0">
                  <a:pos x="80" y="725"/>
                </a:cxn>
                <a:cxn ang="0">
                  <a:pos x="118" y="774"/>
                </a:cxn>
                <a:cxn ang="0">
                  <a:pos x="160" y="797"/>
                </a:cxn>
                <a:cxn ang="0">
                  <a:pos x="194" y="833"/>
                </a:cxn>
                <a:cxn ang="0">
                  <a:pos x="243" y="829"/>
                </a:cxn>
                <a:cxn ang="0">
                  <a:pos x="215" y="778"/>
                </a:cxn>
                <a:cxn ang="0">
                  <a:pos x="157" y="745"/>
                </a:cxn>
                <a:cxn ang="0">
                  <a:pos x="131" y="676"/>
                </a:cxn>
                <a:cxn ang="0">
                  <a:pos x="102" y="651"/>
                </a:cxn>
                <a:cxn ang="0">
                  <a:pos x="85" y="607"/>
                </a:cxn>
                <a:cxn ang="0">
                  <a:pos x="93" y="568"/>
                </a:cxn>
                <a:cxn ang="0">
                  <a:pos x="112" y="515"/>
                </a:cxn>
                <a:cxn ang="0">
                  <a:pos x="133" y="439"/>
                </a:cxn>
                <a:cxn ang="0">
                  <a:pos x="161" y="409"/>
                </a:cxn>
                <a:cxn ang="0">
                  <a:pos x="179" y="455"/>
                </a:cxn>
                <a:cxn ang="0">
                  <a:pos x="189" y="458"/>
                </a:cxn>
                <a:cxn ang="0">
                  <a:pos x="251" y="476"/>
                </a:cxn>
                <a:cxn ang="0">
                  <a:pos x="271" y="489"/>
                </a:cxn>
                <a:cxn ang="0">
                  <a:pos x="292" y="510"/>
                </a:cxn>
                <a:cxn ang="0">
                  <a:pos x="265" y="462"/>
                </a:cxn>
                <a:cxn ang="0">
                  <a:pos x="265" y="407"/>
                </a:cxn>
                <a:cxn ang="0">
                  <a:pos x="298" y="366"/>
                </a:cxn>
                <a:cxn ang="0">
                  <a:pos x="368" y="365"/>
                </a:cxn>
                <a:cxn ang="0">
                  <a:pos x="416" y="365"/>
                </a:cxn>
                <a:cxn ang="0">
                  <a:pos x="431" y="302"/>
                </a:cxn>
                <a:cxn ang="0">
                  <a:pos x="416" y="275"/>
                </a:cxn>
                <a:cxn ang="0">
                  <a:pos x="389" y="252"/>
                </a:cxn>
                <a:cxn ang="0">
                  <a:pos x="382" y="191"/>
                </a:cxn>
                <a:cxn ang="0">
                  <a:pos x="360" y="165"/>
                </a:cxn>
                <a:cxn ang="0">
                  <a:pos x="323" y="134"/>
                </a:cxn>
                <a:cxn ang="0">
                  <a:pos x="292" y="153"/>
                </a:cxn>
                <a:cxn ang="0">
                  <a:pos x="255" y="156"/>
                </a:cxn>
                <a:cxn ang="0">
                  <a:pos x="220" y="151"/>
                </a:cxn>
                <a:cxn ang="0">
                  <a:pos x="183" y="182"/>
                </a:cxn>
                <a:cxn ang="0">
                  <a:pos x="188" y="126"/>
                </a:cxn>
                <a:cxn ang="0">
                  <a:pos x="190" y="81"/>
                </a:cxn>
                <a:cxn ang="0">
                  <a:pos x="163" y="59"/>
                </a:cxn>
                <a:cxn ang="0">
                  <a:pos x="152" y="16"/>
                </a:cxn>
                <a:cxn ang="0">
                  <a:pos x="141" y="0"/>
                </a:cxn>
              </a:cxnLst>
              <a:rect l="0" t="0" r="r" b="b"/>
              <a:pathLst>
                <a:path w="431" h="844">
                  <a:moveTo>
                    <a:pt x="144" y="0"/>
                  </a:moveTo>
                  <a:lnTo>
                    <a:pt x="138" y="3"/>
                  </a:lnTo>
                  <a:lnTo>
                    <a:pt x="131" y="11"/>
                  </a:lnTo>
                  <a:lnTo>
                    <a:pt x="125" y="24"/>
                  </a:lnTo>
                  <a:lnTo>
                    <a:pt x="112" y="27"/>
                  </a:lnTo>
                  <a:lnTo>
                    <a:pt x="103" y="32"/>
                  </a:lnTo>
                  <a:lnTo>
                    <a:pt x="88" y="43"/>
                  </a:lnTo>
                  <a:lnTo>
                    <a:pt x="77" y="49"/>
                  </a:lnTo>
                  <a:lnTo>
                    <a:pt x="66" y="60"/>
                  </a:lnTo>
                  <a:lnTo>
                    <a:pt x="55" y="64"/>
                  </a:lnTo>
                  <a:lnTo>
                    <a:pt x="37" y="65"/>
                  </a:lnTo>
                  <a:lnTo>
                    <a:pt x="23" y="67"/>
                  </a:lnTo>
                  <a:lnTo>
                    <a:pt x="9" y="106"/>
                  </a:lnTo>
                  <a:lnTo>
                    <a:pt x="7" y="118"/>
                  </a:lnTo>
                  <a:lnTo>
                    <a:pt x="9" y="128"/>
                  </a:lnTo>
                  <a:lnTo>
                    <a:pt x="0" y="135"/>
                  </a:lnTo>
                  <a:lnTo>
                    <a:pt x="1" y="142"/>
                  </a:lnTo>
                  <a:lnTo>
                    <a:pt x="7" y="159"/>
                  </a:lnTo>
                  <a:lnTo>
                    <a:pt x="17" y="182"/>
                  </a:lnTo>
                  <a:lnTo>
                    <a:pt x="40" y="199"/>
                  </a:lnTo>
                  <a:lnTo>
                    <a:pt x="48" y="209"/>
                  </a:lnTo>
                  <a:lnTo>
                    <a:pt x="50" y="225"/>
                  </a:lnTo>
                  <a:lnTo>
                    <a:pt x="49" y="240"/>
                  </a:lnTo>
                  <a:lnTo>
                    <a:pt x="52" y="252"/>
                  </a:lnTo>
                  <a:lnTo>
                    <a:pt x="61" y="253"/>
                  </a:lnTo>
                  <a:lnTo>
                    <a:pt x="65" y="263"/>
                  </a:lnTo>
                  <a:lnTo>
                    <a:pt x="59" y="269"/>
                  </a:lnTo>
                  <a:lnTo>
                    <a:pt x="53" y="283"/>
                  </a:lnTo>
                  <a:lnTo>
                    <a:pt x="50" y="291"/>
                  </a:lnTo>
                  <a:lnTo>
                    <a:pt x="50" y="304"/>
                  </a:lnTo>
                  <a:lnTo>
                    <a:pt x="47" y="307"/>
                  </a:lnTo>
                  <a:lnTo>
                    <a:pt x="38" y="315"/>
                  </a:lnTo>
                  <a:lnTo>
                    <a:pt x="34" y="323"/>
                  </a:lnTo>
                  <a:lnTo>
                    <a:pt x="33" y="337"/>
                  </a:lnTo>
                  <a:lnTo>
                    <a:pt x="39" y="354"/>
                  </a:lnTo>
                  <a:lnTo>
                    <a:pt x="58" y="366"/>
                  </a:lnTo>
                  <a:lnTo>
                    <a:pt x="76" y="386"/>
                  </a:lnTo>
                  <a:lnTo>
                    <a:pt x="79" y="392"/>
                  </a:lnTo>
                  <a:lnTo>
                    <a:pt x="81" y="401"/>
                  </a:lnTo>
                  <a:lnTo>
                    <a:pt x="82" y="434"/>
                  </a:lnTo>
                  <a:lnTo>
                    <a:pt x="88" y="452"/>
                  </a:lnTo>
                  <a:lnTo>
                    <a:pt x="91" y="454"/>
                  </a:lnTo>
                  <a:lnTo>
                    <a:pt x="96" y="469"/>
                  </a:lnTo>
                  <a:lnTo>
                    <a:pt x="111" y="503"/>
                  </a:lnTo>
                  <a:lnTo>
                    <a:pt x="109" y="510"/>
                  </a:lnTo>
                  <a:lnTo>
                    <a:pt x="91" y="540"/>
                  </a:lnTo>
                  <a:lnTo>
                    <a:pt x="80" y="547"/>
                  </a:lnTo>
                  <a:lnTo>
                    <a:pt x="72" y="559"/>
                  </a:lnTo>
                  <a:lnTo>
                    <a:pt x="70" y="574"/>
                  </a:lnTo>
                  <a:lnTo>
                    <a:pt x="65" y="586"/>
                  </a:lnTo>
                  <a:lnTo>
                    <a:pt x="60" y="594"/>
                  </a:lnTo>
                  <a:lnTo>
                    <a:pt x="59" y="597"/>
                  </a:lnTo>
                  <a:lnTo>
                    <a:pt x="54" y="610"/>
                  </a:lnTo>
                  <a:lnTo>
                    <a:pt x="53" y="618"/>
                  </a:lnTo>
                  <a:lnTo>
                    <a:pt x="39" y="664"/>
                  </a:lnTo>
                  <a:lnTo>
                    <a:pt x="37" y="681"/>
                  </a:lnTo>
                  <a:lnTo>
                    <a:pt x="37" y="696"/>
                  </a:lnTo>
                  <a:lnTo>
                    <a:pt x="40" y="705"/>
                  </a:lnTo>
                  <a:lnTo>
                    <a:pt x="60" y="703"/>
                  </a:lnTo>
                  <a:lnTo>
                    <a:pt x="80" y="725"/>
                  </a:lnTo>
                  <a:lnTo>
                    <a:pt x="86" y="729"/>
                  </a:lnTo>
                  <a:lnTo>
                    <a:pt x="101" y="750"/>
                  </a:lnTo>
                  <a:lnTo>
                    <a:pt x="112" y="759"/>
                  </a:lnTo>
                  <a:lnTo>
                    <a:pt x="118" y="774"/>
                  </a:lnTo>
                  <a:lnTo>
                    <a:pt x="145" y="804"/>
                  </a:lnTo>
                  <a:lnTo>
                    <a:pt x="140" y="788"/>
                  </a:lnTo>
                  <a:lnTo>
                    <a:pt x="152" y="788"/>
                  </a:lnTo>
                  <a:lnTo>
                    <a:pt x="160" y="797"/>
                  </a:lnTo>
                  <a:lnTo>
                    <a:pt x="177" y="800"/>
                  </a:lnTo>
                  <a:lnTo>
                    <a:pt x="187" y="802"/>
                  </a:lnTo>
                  <a:lnTo>
                    <a:pt x="197" y="817"/>
                  </a:lnTo>
                  <a:lnTo>
                    <a:pt x="194" y="833"/>
                  </a:lnTo>
                  <a:lnTo>
                    <a:pt x="198" y="844"/>
                  </a:lnTo>
                  <a:lnTo>
                    <a:pt x="221" y="829"/>
                  </a:lnTo>
                  <a:lnTo>
                    <a:pt x="232" y="831"/>
                  </a:lnTo>
                  <a:lnTo>
                    <a:pt x="243" y="829"/>
                  </a:lnTo>
                  <a:lnTo>
                    <a:pt x="251" y="817"/>
                  </a:lnTo>
                  <a:lnTo>
                    <a:pt x="242" y="804"/>
                  </a:lnTo>
                  <a:lnTo>
                    <a:pt x="230" y="790"/>
                  </a:lnTo>
                  <a:lnTo>
                    <a:pt x="215" y="778"/>
                  </a:lnTo>
                  <a:lnTo>
                    <a:pt x="181" y="773"/>
                  </a:lnTo>
                  <a:lnTo>
                    <a:pt x="168" y="758"/>
                  </a:lnTo>
                  <a:lnTo>
                    <a:pt x="162" y="754"/>
                  </a:lnTo>
                  <a:lnTo>
                    <a:pt x="157" y="745"/>
                  </a:lnTo>
                  <a:lnTo>
                    <a:pt x="151" y="709"/>
                  </a:lnTo>
                  <a:lnTo>
                    <a:pt x="145" y="699"/>
                  </a:lnTo>
                  <a:lnTo>
                    <a:pt x="136" y="691"/>
                  </a:lnTo>
                  <a:lnTo>
                    <a:pt x="131" y="676"/>
                  </a:lnTo>
                  <a:lnTo>
                    <a:pt x="129" y="660"/>
                  </a:lnTo>
                  <a:lnTo>
                    <a:pt x="124" y="649"/>
                  </a:lnTo>
                  <a:lnTo>
                    <a:pt x="114" y="646"/>
                  </a:lnTo>
                  <a:lnTo>
                    <a:pt x="102" y="651"/>
                  </a:lnTo>
                  <a:lnTo>
                    <a:pt x="92" y="649"/>
                  </a:lnTo>
                  <a:lnTo>
                    <a:pt x="88" y="640"/>
                  </a:lnTo>
                  <a:lnTo>
                    <a:pt x="86" y="623"/>
                  </a:lnTo>
                  <a:lnTo>
                    <a:pt x="85" y="607"/>
                  </a:lnTo>
                  <a:lnTo>
                    <a:pt x="85" y="592"/>
                  </a:lnTo>
                  <a:lnTo>
                    <a:pt x="86" y="586"/>
                  </a:lnTo>
                  <a:lnTo>
                    <a:pt x="92" y="578"/>
                  </a:lnTo>
                  <a:lnTo>
                    <a:pt x="93" y="568"/>
                  </a:lnTo>
                  <a:lnTo>
                    <a:pt x="98" y="563"/>
                  </a:lnTo>
                  <a:lnTo>
                    <a:pt x="103" y="553"/>
                  </a:lnTo>
                  <a:lnTo>
                    <a:pt x="103" y="542"/>
                  </a:lnTo>
                  <a:lnTo>
                    <a:pt x="112" y="515"/>
                  </a:lnTo>
                  <a:lnTo>
                    <a:pt x="119" y="501"/>
                  </a:lnTo>
                  <a:lnTo>
                    <a:pt x="126" y="487"/>
                  </a:lnTo>
                  <a:lnTo>
                    <a:pt x="128" y="471"/>
                  </a:lnTo>
                  <a:lnTo>
                    <a:pt x="133" y="439"/>
                  </a:lnTo>
                  <a:lnTo>
                    <a:pt x="129" y="415"/>
                  </a:lnTo>
                  <a:lnTo>
                    <a:pt x="142" y="411"/>
                  </a:lnTo>
                  <a:lnTo>
                    <a:pt x="157" y="409"/>
                  </a:lnTo>
                  <a:lnTo>
                    <a:pt x="161" y="409"/>
                  </a:lnTo>
                  <a:lnTo>
                    <a:pt x="168" y="411"/>
                  </a:lnTo>
                  <a:lnTo>
                    <a:pt x="179" y="414"/>
                  </a:lnTo>
                  <a:lnTo>
                    <a:pt x="182" y="419"/>
                  </a:lnTo>
                  <a:lnTo>
                    <a:pt x="179" y="455"/>
                  </a:lnTo>
                  <a:lnTo>
                    <a:pt x="183" y="462"/>
                  </a:lnTo>
                  <a:lnTo>
                    <a:pt x="187" y="462"/>
                  </a:lnTo>
                  <a:lnTo>
                    <a:pt x="184" y="458"/>
                  </a:lnTo>
                  <a:lnTo>
                    <a:pt x="189" y="458"/>
                  </a:lnTo>
                  <a:lnTo>
                    <a:pt x="212" y="460"/>
                  </a:lnTo>
                  <a:lnTo>
                    <a:pt x="222" y="458"/>
                  </a:lnTo>
                  <a:lnTo>
                    <a:pt x="233" y="461"/>
                  </a:lnTo>
                  <a:lnTo>
                    <a:pt x="251" y="476"/>
                  </a:lnTo>
                  <a:lnTo>
                    <a:pt x="257" y="484"/>
                  </a:lnTo>
                  <a:lnTo>
                    <a:pt x="264" y="488"/>
                  </a:lnTo>
                  <a:lnTo>
                    <a:pt x="270" y="492"/>
                  </a:lnTo>
                  <a:lnTo>
                    <a:pt x="271" y="489"/>
                  </a:lnTo>
                  <a:lnTo>
                    <a:pt x="276" y="493"/>
                  </a:lnTo>
                  <a:lnTo>
                    <a:pt x="285" y="511"/>
                  </a:lnTo>
                  <a:lnTo>
                    <a:pt x="291" y="516"/>
                  </a:lnTo>
                  <a:lnTo>
                    <a:pt x="292" y="510"/>
                  </a:lnTo>
                  <a:lnTo>
                    <a:pt x="292" y="501"/>
                  </a:lnTo>
                  <a:lnTo>
                    <a:pt x="286" y="487"/>
                  </a:lnTo>
                  <a:lnTo>
                    <a:pt x="280" y="473"/>
                  </a:lnTo>
                  <a:lnTo>
                    <a:pt x="265" y="462"/>
                  </a:lnTo>
                  <a:lnTo>
                    <a:pt x="258" y="440"/>
                  </a:lnTo>
                  <a:lnTo>
                    <a:pt x="255" y="429"/>
                  </a:lnTo>
                  <a:lnTo>
                    <a:pt x="258" y="411"/>
                  </a:lnTo>
                  <a:lnTo>
                    <a:pt x="265" y="407"/>
                  </a:lnTo>
                  <a:lnTo>
                    <a:pt x="270" y="396"/>
                  </a:lnTo>
                  <a:lnTo>
                    <a:pt x="278" y="392"/>
                  </a:lnTo>
                  <a:lnTo>
                    <a:pt x="292" y="372"/>
                  </a:lnTo>
                  <a:lnTo>
                    <a:pt x="298" y="366"/>
                  </a:lnTo>
                  <a:lnTo>
                    <a:pt x="307" y="363"/>
                  </a:lnTo>
                  <a:lnTo>
                    <a:pt x="334" y="365"/>
                  </a:lnTo>
                  <a:lnTo>
                    <a:pt x="350" y="368"/>
                  </a:lnTo>
                  <a:lnTo>
                    <a:pt x="368" y="365"/>
                  </a:lnTo>
                  <a:lnTo>
                    <a:pt x="396" y="364"/>
                  </a:lnTo>
                  <a:lnTo>
                    <a:pt x="405" y="374"/>
                  </a:lnTo>
                  <a:lnTo>
                    <a:pt x="416" y="369"/>
                  </a:lnTo>
                  <a:lnTo>
                    <a:pt x="416" y="365"/>
                  </a:lnTo>
                  <a:lnTo>
                    <a:pt x="420" y="365"/>
                  </a:lnTo>
                  <a:lnTo>
                    <a:pt x="427" y="354"/>
                  </a:lnTo>
                  <a:lnTo>
                    <a:pt x="427" y="312"/>
                  </a:lnTo>
                  <a:lnTo>
                    <a:pt x="431" y="302"/>
                  </a:lnTo>
                  <a:lnTo>
                    <a:pt x="430" y="293"/>
                  </a:lnTo>
                  <a:lnTo>
                    <a:pt x="429" y="286"/>
                  </a:lnTo>
                  <a:lnTo>
                    <a:pt x="424" y="280"/>
                  </a:lnTo>
                  <a:lnTo>
                    <a:pt x="416" y="275"/>
                  </a:lnTo>
                  <a:lnTo>
                    <a:pt x="414" y="268"/>
                  </a:lnTo>
                  <a:lnTo>
                    <a:pt x="404" y="267"/>
                  </a:lnTo>
                  <a:lnTo>
                    <a:pt x="397" y="262"/>
                  </a:lnTo>
                  <a:lnTo>
                    <a:pt x="389" y="252"/>
                  </a:lnTo>
                  <a:lnTo>
                    <a:pt x="386" y="241"/>
                  </a:lnTo>
                  <a:lnTo>
                    <a:pt x="387" y="216"/>
                  </a:lnTo>
                  <a:lnTo>
                    <a:pt x="386" y="203"/>
                  </a:lnTo>
                  <a:lnTo>
                    <a:pt x="382" y="191"/>
                  </a:lnTo>
                  <a:lnTo>
                    <a:pt x="377" y="181"/>
                  </a:lnTo>
                  <a:lnTo>
                    <a:pt x="370" y="176"/>
                  </a:lnTo>
                  <a:lnTo>
                    <a:pt x="368" y="169"/>
                  </a:lnTo>
                  <a:lnTo>
                    <a:pt x="360" y="165"/>
                  </a:lnTo>
                  <a:lnTo>
                    <a:pt x="353" y="158"/>
                  </a:lnTo>
                  <a:lnTo>
                    <a:pt x="348" y="150"/>
                  </a:lnTo>
                  <a:lnTo>
                    <a:pt x="335" y="135"/>
                  </a:lnTo>
                  <a:lnTo>
                    <a:pt x="323" y="134"/>
                  </a:lnTo>
                  <a:lnTo>
                    <a:pt x="312" y="135"/>
                  </a:lnTo>
                  <a:lnTo>
                    <a:pt x="301" y="138"/>
                  </a:lnTo>
                  <a:lnTo>
                    <a:pt x="297" y="149"/>
                  </a:lnTo>
                  <a:lnTo>
                    <a:pt x="292" y="153"/>
                  </a:lnTo>
                  <a:lnTo>
                    <a:pt x="285" y="156"/>
                  </a:lnTo>
                  <a:lnTo>
                    <a:pt x="273" y="162"/>
                  </a:lnTo>
                  <a:lnTo>
                    <a:pt x="264" y="162"/>
                  </a:lnTo>
                  <a:lnTo>
                    <a:pt x="255" y="156"/>
                  </a:lnTo>
                  <a:lnTo>
                    <a:pt x="249" y="146"/>
                  </a:lnTo>
                  <a:lnTo>
                    <a:pt x="242" y="144"/>
                  </a:lnTo>
                  <a:lnTo>
                    <a:pt x="233" y="146"/>
                  </a:lnTo>
                  <a:lnTo>
                    <a:pt x="220" y="151"/>
                  </a:lnTo>
                  <a:lnTo>
                    <a:pt x="208" y="164"/>
                  </a:lnTo>
                  <a:lnTo>
                    <a:pt x="195" y="169"/>
                  </a:lnTo>
                  <a:lnTo>
                    <a:pt x="188" y="178"/>
                  </a:lnTo>
                  <a:lnTo>
                    <a:pt x="183" y="182"/>
                  </a:lnTo>
                  <a:lnTo>
                    <a:pt x="184" y="177"/>
                  </a:lnTo>
                  <a:lnTo>
                    <a:pt x="181" y="164"/>
                  </a:lnTo>
                  <a:lnTo>
                    <a:pt x="185" y="150"/>
                  </a:lnTo>
                  <a:lnTo>
                    <a:pt x="188" y="126"/>
                  </a:lnTo>
                  <a:lnTo>
                    <a:pt x="193" y="115"/>
                  </a:lnTo>
                  <a:lnTo>
                    <a:pt x="193" y="106"/>
                  </a:lnTo>
                  <a:lnTo>
                    <a:pt x="194" y="97"/>
                  </a:lnTo>
                  <a:lnTo>
                    <a:pt x="190" y="81"/>
                  </a:lnTo>
                  <a:lnTo>
                    <a:pt x="194" y="64"/>
                  </a:lnTo>
                  <a:lnTo>
                    <a:pt x="190" y="60"/>
                  </a:lnTo>
                  <a:lnTo>
                    <a:pt x="169" y="60"/>
                  </a:lnTo>
                  <a:lnTo>
                    <a:pt x="163" y="59"/>
                  </a:lnTo>
                  <a:lnTo>
                    <a:pt x="161" y="58"/>
                  </a:lnTo>
                  <a:lnTo>
                    <a:pt x="161" y="40"/>
                  </a:lnTo>
                  <a:lnTo>
                    <a:pt x="158" y="25"/>
                  </a:lnTo>
                  <a:lnTo>
                    <a:pt x="152" y="16"/>
                  </a:lnTo>
                  <a:lnTo>
                    <a:pt x="149" y="11"/>
                  </a:lnTo>
                  <a:lnTo>
                    <a:pt x="142" y="14"/>
                  </a:lnTo>
                  <a:lnTo>
                    <a:pt x="140" y="8"/>
                  </a:lnTo>
                  <a:lnTo>
                    <a:pt x="141" y="0"/>
                  </a:lnTo>
                  <a:lnTo>
                    <a:pt x="144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39" name="Freeform 94"/>
            <p:cNvSpPr>
              <a:spLocks noChangeAspect="1"/>
            </p:cNvSpPr>
            <p:nvPr/>
          </p:nvSpPr>
          <p:spPr bwMode="gray">
            <a:xfrm>
              <a:off x="7506454" y="3698100"/>
              <a:ext cx="154244" cy="366688"/>
            </a:xfrm>
            <a:custGeom>
              <a:avLst/>
              <a:gdLst/>
              <a:ahLst/>
              <a:cxnLst>
                <a:cxn ang="0">
                  <a:pos x="125" y="657"/>
                </a:cxn>
                <a:cxn ang="0">
                  <a:pos x="116" y="592"/>
                </a:cxn>
                <a:cxn ang="0">
                  <a:pos x="89" y="559"/>
                </a:cxn>
                <a:cxn ang="0">
                  <a:pos x="85" y="536"/>
                </a:cxn>
                <a:cxn ang="0">
                  <a:pos x="78" y="512"/>
                </a:cxn>
                <a:cxn ang="0">
                  <a:pos x="22" y="470"/>
                </a:cxn>
                <a:cxn ang="0">
                  <a:pos x="0" y="443"/>
                </a:cxn>
                <a:cxn ang="0">
                  <a:pos x="19" y="416"/>
                </a:cxn>
                <a:cxn ang="0">
                  <a:pos x="27" y="376"/>
                </a:cxn>
                <a:cxn ang="0">
                  <a:pos x="47" y="365"/>
                </a:cxn>
                <a:cxn ang="0">
                  <a:pos x="42" y="326"/>
                </a:cxn>
                <a:cxn ang="0">
                  <a:pos x="59" y="276"/>
                </a:cxn>
                <a:cxn ang="0">
                  <a:pos x="101" y="268"/>
                </a:cxn>
                <a:cxn ang="0">
                  <a:pos x="134" y="197"/>
                </a:cxn>
                <a:cxn ang="0">
                  <a:pos x="160" y="155"/>
                </a:cxn>
                <a:cxn ang="0">
                  <a:pos x="194" y="92"/>
                </a:cxn>
                <a:cxn ang="0">
                  <a:pos x="242" y="63"/>
                </a:cxn>
                <a:cxn ang="0">
                  <a:pos x="264" y="33"/>
                </a:cxn>
                <a:cxn ang="0">
                  <a:pos x="290" y="5"/>
                </a:cxn>
                <a:cxn ang="0">
                  <a:pos x="322" y="20"/>
                </a:cxn>
                <a:cxn ang="0">
                  <a:pos x="354" y="79"/>
                </a:cxn>
                <a:cxn ang="0">
                  <a:pos x="342" y="163"/>
                </a:cxn>
                <a:cxn ang="0">
                  <a:pos x="311" y="198"/>
                </a:cxn>
                <a:cxn ang="0">
                  <a:pos x="304" y="256"/>
                </a:cxn>
                <a:cxn ang="0">
                  <a:pos x="323" y="258"/>
                </a:cxn>
                <a:cxn ang="0">
                  <a:pos x="366" y="281"/>
                </a:cxn>
                <a:cxn ang="0">
                  <a:pos x="391" y="346"/>
                </a:cxn>
                <a:cxn ang="0">
                  <a:pos x="423" y="387"/>
                </a:cxn>
                <a:cxn ang="0">
                  <a:pos x="488" y="391"/>
                </a:cxn>
                <a:cxn ang="0">
                  <a:pos x="456" y="427"/>
                </a:cxn>
                <a:cxn ang="0">
                  <a:pos x="445" y="443"/>
                </a:cxn>
                <a:cxn ang="0">
                  <a:pos x="426" y="464"/>
                </a:cxn>
                <a:cxn ang="0">
                  <a:pos x="383" y="496"/>
                </a:cxn>
                <a:cxn ang="0">
                  <a:pos x="332" y="518"/>
                </a:cxn>
                <a:cxn ang="0">
                  <a:pos x="304" y="581"/>
                </a:cxn>
                <a:cxn ang="0">
                  <a:pos x="312" y="635"/>
                </a:cxn>
                <a:cxn ang="0">
                  <a:pos x="344" y="693"/>
                </a:cxn>
                <a:cxn ang="0">
                  <a:pos x="354" y="722"/>
                </a:cxn>
                <a:cxn ang="0">
                  <a:pos x="342" y="760"/>
                </a:cxn>
                <a:cxn ang="0">
                  <a:pos x="334" y="807"/>
                </a:cxn>
                <a:cxn ang="0">
                  <a:pos x="376" y="854"/>
                </a:cxn>
                <a:cxn ang="0">
                  <a:pos x="391" y="922"/>
                </a:cxn>
                <a:cxn ang="0">
                  <a:pos x="375" y="1000"/>
                </a:cxn>
                <a:cxn ang="0">
                  <a:pos x="355" y="1047"/>
                </a:cxn>
                <a:cxn ang="0">
                  <a:pos x="349" y="1017"/>
                </a:cxn>
                <a:cxn ang="0">
                  <a:pos x="351" y="958"/>
                </a:cxn>
                <a:cxn ang="0">
                  <a:pos x="351" y="937"/>
                </a:cxn>
                <a:cxn ang="0">
                  <a:pos x="333" y="851"/>
                </a:cxn>
                <a:cxn ang="0">
                  <a:pos x="317" y="821"/>
                </a:cxn>
                <a:cxn ang="0">
                  <a:pos x="297" y="721"/>
                </a:cxn>
                <a:cxn ang="0">
                  <a:pos x="279" y="688"/>
                </a:cxn>
                <a:cxn ang="0">
                  <a:pos x="251" y="653"/>
                </a:cxn>
                <a:cxn ang="0">
                  <a:pos x="226" y="693"/>
                </a:cxn>
                <a:cxn ang="0">
                  <a:pos x="179" y="726"/>
                </a:cxn>
                <a:cxn ang="0">
                  <a:pos x="154" y="728"/>
                </a:cxn>
                <a:cxn ang="0">
                  <a:pos x="122" y="726"/>
                </a:cxn>
                <a:cxn ang="0">
                  <a:pos x="112" y="704"/>
                </a:cxn>
              </a:cxnLst>
              <a:rect l="0" t="0" r="r" b="b"/>
              <a:pathLst>
                <a:path w="489" h="1050">
                  <a:moveTo>
                    <a:pt x="112" y="704"/>
                  </a:moveTo>
                  <a:lnTo>
                    <a:pt x="117" y="690"/>
                  </a:lnTo>
                  <a:lnTo>
                    <a:pt x="119" y="673"/>
                  </a:lnTo>
                  <a:lnTo>
                    <a:pt x="125" y="657"/>
                  </a:lnTo>
                  <a:lnTo>
                    <a:pt x="125" y="638"/>
                  </a:lnTo>
                  <a:lnTo>
                    <a:pt x="121" y="607"/>
                  </a:lnTo>
                  <a:lnTo>
                    <a:pt x="117" y="599"/>
                  </a:lnTo>
                  <a:lnTo>
                    <a:pt x="116" y="592"/>
                  </a:lnTo>
                  <a:lnTo>
                    <a:pt x="109" y="580"/>
                  </a:lnTo>
                  <a:lnTo>
                    <a:pt x="95" y="556"/>
                  </a:lnTo>
                  <a:lnTo>
                    <a:pt x="92" y="545"/>
                  </a:lnTo>
                  <a:lnTo>
                    <a:pt x="89" y="559"/>
                  </a:lnTo>
                  <a:lnTo>
                    <a:pt x="78" y="553"/>
                  </a:lnTo>
                  <a:lnTo>
                    <a:pt x="71" y="539"/>
                  </a:lnTo>
                  <a:lnTo>
                    <a:pt x="74" y="531"/>
                  </a:lnTo>
                  <a:lnTo>
                    <a:pt x="85" y="536"/>
                  </a:lnTo>
                  <a:lnTo>
                    <a:pt x="84" y="531"/>
                  </a:lnTo>
                  <a:lnTo>
                    <a:pt x="76" y="525"/>
                  </a:lnTo>
                  <a:lnTo>
                    <a:pt x="79" y="518"/>
                  </a:lnTo>
                  <a:lnTo>
                    <a:pt x="78" y="512"/>
                  </a:lnTo>
                  <a:lnTo>
                    <a:pt x="38" y="493"/>
                  </a:lnTo>
                  <a:lnTo>
                    <a:pt x="37" y="482"/>
                  </a:lnTo>
                  <a:lnTo>
                    <a:pt x="28" y="479"/>
                  </a:lnTo>
                  <a:lnTo>
                    <a:pt x="22" y="470"/>
                  </a:lnTo>
                  <a:lnTo>
                    <a:pt x="21" y="474"/>
                  </a:lnTo>
                  <a:lnTo>
                    <a:pt x="14" y="468"/>
                  </a:lnTo>
                  <a:lnTo>
                    <a:pt x="10" y="458"/>
                  </a:lnTo>
                  <a:lnTo>
                    <a:pt x="0" y="443"/>
                  </a:lnTo>
                  <a:lnTo>
                    <a:pt x="1" y="425"/>
                  </a:lnTo>
                  <a:lnTo>
                    <a:pt x="3" y="418"/>
                  </a:lnTo>
                  <a:lnTo>
                    <a:pt x="7" y="413"/>
                  </a:lnTo>
                  <a:lnTo>
                    <a:pt x="19" y="416"/>
                  </a:lnTo>
                  <a:lnTo>
                    <a:pt x="17" y="387"/>
                  </a:lnTo>
                  <a:lnTo>
                    <a:pt x="19" y="384"/>
                  </a:lnTo>
                  <a:lnTo>
                    <a:pt x="22" y="381"/>
                  </a:lnTo>
                  <a:lnTo>
                    <a:pt x="27" y="376"/>
                  </a:lnTo>
                  <a:lnTo>
                    <a:pt x="36" y="378"/>
                  </a:lnTo>
                  <a:lnTo>
                    <a:pt x="41" y="377"/>
                  </a:lnTo>
                  <a:lnTo>
                    <a:pt x="46" y="371"/>
                  </a:lnTo>
                  <a:lnTo>
                    <a:pt x="47" y="365"/>
                  </a:lnTo>
                  <a:lnTo>
                    <a:pt x="44" y="365"/>
                  </a:lnTo>
                  <a:lnTo>
                    <a:pt x="41" y="355"/>
                  </a:lnTo>
                  <a:lnTo>
                    <a:pt x="41" y="339"/>
                  </a:lnTo>
                  <a:lnTo>
                    <a:pt x="42" y="326"/>
                  </a:lnTo>
                  <a:lnTo>
                    <a:pt x="53" y="327"/>
                  </a:lnTo>
                  <a:lnTo>
                    <a:pt x="57" y="322"/>
                  </a:lnTo>
                  <a:lnTo>
                    <a:pt x="60" y="302"/>
                  </a:lnTo>
                  <a:lnTo>
                    <a:pt x="59" y="276"/>
                  </a:lnTo>
                  <a:lnTo>
                    <a:pt x="66" y="269"/>
                  </a:lnTo>
                  <a:lnTo>
                    <a:pt x="80" y="265"/>
                  </a:lnTo>
                  <a:lnTo>
                    <a:pt x="93" y="268"/>
                  </a:lnTo>
                  <a:lnTo>
                    <a:pt x="101" y="268"/>
                  </a:lnTo>
                  <a:lnTo>
                    <a:pt x="106" y="263"/>
                  </a:lnTo>
                  <a:lnTo>
                    <a:pt x="112" y="243"/>
                  </a:lnTo>
                  <a:lnTo>
                    <a:pt x="130" y="208"/>
                  </a:lnTo>
                  <a:lnTo>
                    <a:pt x="134" y="197"/>
                  </a:lnTo>
                  <a:lnTo>
                    <a:pt x="132" y="187"/>
                  </a:lnTo>
                  <a:lnTo>
                    <a:pt x="138" y="178"/>
                  </a:lnTo>
                  <a:lnTo>
                    <a:pt x="154" y="167"/>
                  </a:lnTo>
                  <a:lnTo>
                    <a:pt x="160" y="155"/>
                  </a:lnTo>
                  <a:lnTo>
                    <a:pt x="159" y="127"/>
                  </a:lnTo>
                  <a:lnTo>
                    <a:pt x="166" y="111"/>
                  </a:lnTo>
                  <a:lnTo>
                    <a:pt x="179" y="100"/>
                  </a:lnTo>
                  <a:lnTo>
                    <a:pt x="194" y="92"/>
                  </a:lnTo>
                  <a:lnTo>
                    <a:pt x="204" y="84"/>
                  </a:lnTo>
                  <a:lnTo>
                    <a:pt x="211" y="70"/>
                  </a:lnTo>
                  <a:lnTo>
                    <a:pt x="231" y="66"/>
                  </a:lnTo>
                  <a:lnTo>
                    <a:pt x="242" y="63"/>
                  </a:lnTo>
                  <a:lnTo>
                    <a:pt x="258" y="68"/>
                  </a:lnTo>
                  <a:lnTo>
                    <a:pt x="263" y="63"/>
                  </a:lnTo>
                  <a:lnTo>
                    <a:pt x="259" y="47"/>
                  </a:lnTo>
                  <a:lnTo>
                    <a:pt x="264" y="33"/>
                  </a:lnTo>
                  <a:lnTo>
                    <a:pt x="275" y="28"/>
                  </a:lnTo>
                  <a:lnTo>
                    <a:pt x="281" y="21"/>
                  </a:lnTo>
                  <a:lnTo>
                    <a:pt x="281" y="9"/>
                  </a:lnTo>
                  <a:lnTo>
                    <a:pt x="290" y="5"/>
                  </a:lnTo>
                  <a:lnTo>
                    <a:pt x="294" y="0"/>
                  </a:lnTo>
                  <a:lnTo>
                    <a:pt x="297" y="0"/>
                  </a:lnTo>
                  <a:lnTo>
                    <a:pt x="310" y="6"/>
                  </a:lnTo>
                  <a:lnTo>
                    <a:pt x="322" y="20"/>
                  </a:lnTo>
                  <a:lnTo>
                    <a:pt x="326" y="37"/>
                  </a:lnTo>
                  <a:lnTo>
                    <a:pt x="331" y="45"/>
                  </a:lnTo>
                  <a:lnTo>
                    <a:pt x="347" y="47"/>
                  </a:lnTo>
                  <a:lnTo>
                    <a:pt x="354" y="79"/>
                  </a:lnTo>
                  <a:lnTo>
                    <a:pt x="355" y="100"/>
                  </a:lnTo>
                  <a:lnTo>
                    <a:pt x="351" y="128"/>
                  </a:lnTo>
                  <a:lnTo>
                    <a:pt x="351" y="136"/>
                  </a:lnTo>
                  <a:lnTo>
                    <a:pt x="342" y="163"/>
                  </a:lnTo>
                  <a:lnTo>
                    <a:pt x="333" y="174"/>
                  </a:lnTo>
                  <a:lnTo>
                    <a:pt x="326" y="177"/>
                  </a:lnTo>
                  <a:lnTo>
                    <a:pt x="322" y="187"/>
                  </a:lnTo>
                  <a:lnTo>
                    <a:pt x="311" y="198"/>
                  </a:lnTo>
                  <a:lnTo>
                    <a:pt x="307" y="217"/>
                  </a:lnTo>
                  <a:lnTo>
                    <a:pt x="301" y="231"/>
                  </a:lnTo>
                  <a:lnTo>
                    <a:pt x="305" y="247"/>
                  </a:lnTo>
                  <a:lnTo>
                    <a:pt x="304" y="256"/>
                  </a:lnTo>
                  <a:lnTo>
                    <a:pt x="294" y="273"/>
                  </a:lnTo>
                  <a:lnTo>
                    <a:pt x="299" y="278"/>
                  </a:lnTo>
                  <a:lnTo>
                    <a:pt x="312" y="264"/>
                  </a:lnTo>
                  <a:lnTo>
                    <a:pt x="323" y="258"/>
                  </a:lnTo>
                  <a:lnTo>
                    <a:pt x="342" y="257"/>
                  </a:lnTo>
                  <a:lnTo>
                    <a:pt x="361" y="256"/>
                  </a:lnTo>
                  <a:lnTo>
                    <a:pt x="361" y="267"/>
                  </a:lnTo>
                  <a:lnTo>
                    <a:pt x="366" y="281"/>
                  </a:lnTo>
                  <a:lnTo>
                    <a:pt x="367" y="301"/>
                  </a:lnTo>
                  <a:lnTo>
                    <a:pt x="381" y="311"/>
                  </a:lnTo>
                  <a:lnTo>
                    <a:pt x="397" y="319"/>
                  </a:lnTo>
                  <a:lnTo>
                    <a:pt x="391" y="346"/>
                  </a:lnTo>
                  <a:lnTo>
                    <a:pt x="387" y="366"/>
                  </a:lnTo>
                  <a:lnTo>
                    <a:pt x="402" y="369"/>
                  </a:lnTo>
                  <a:lnTo>
                    <a:pt x="420" y="375"/>
                  </a:lnTo>
                  <a:lnTo>
                    <a:pt x="423" y="387"/>
                  </a:lnTo>
                  <a:lnTo>
                    <a:pt x="441" y="404"/>
                  </a:lnTo>
                  <a:lnTo>
                    <a:pt x="461" y="402"/>
                  </a:lnTo>
                  <a:lnTo>
                    <a:pt x="476" y="389"/>
                  </a:lnTo>
                  <a:lnTo>
                    <a:pt x="488" y="391"/>
                  </a:lnTo>
                  <a:lnTo>
                    <a:pt x="489" y="397"/>
                  </a:lnTo>
                  <a:lnTo>
                    <a:pt x="488" y="402"/>
                  </a:lnTo>
                  <a:lnTo>
                    <a:pt x="483" y="409"/>
                  </a:lnTo>
                  <a:lnTo>
                    <a:pt x="456" y="427"/>
                  </a:lnTo>
                  <a:lnTo>
                    <a:pt x="456" y="432"/>
                  </a:lnTo>
                  <a:lnTo>
                    <a:pt x="458" y="440"/>
                  </a:lnTo>
                  <a:lnTo>
                    <a:pt x="452" y="441"/>
                  </a:lnTo>
                  <a:lnTo>
                    <a:pt x="445" y="443"/>
                  </a:lnTo>
                  <a:lnTo>
                    <a:pt x="440" y="447"/>
                  </a:lnTo>
                  <a:lnTo>
                    <a:pt x="439" y="453"/>
                  </a:lnTo>
                  <a:lnTo>
                    <a:pt x="433" y="456"/>
                  </a:lnTo>
                  <a:lnTo>
                    <a:pt x="426" y="464"/>
                  </a:lnTo>
                  <a:lnTo>
                    <a:pt x="420" y="477"/>
                  </a:lnTo>
                  <a:lnTo>
                    <a:pt x="407" y="480"/>
                  </a:lnTo>
                  <a:lnTo>
                    <a:pt x="398" y="485"/>
                  </a:lnTo>
                  <a:lnTo>
                    <a:pt x="383" y="496"/>
                  </a:lnTo>
                  <a:lnTo>
                    <a:pt x="372" y="502"/>
                  </a:lnTo>
                  <a:lnTo>
                    <a:pt x="361" y="513"/>
                  </a:lnTo>
                  <a:lnTo>
                    <a:pt x="350" y="517"/>
                  </a:lnTo>
                  <a:lnTo>
                    <a:pt x="332" y="518"/>
                  </a:lnTo>
                  <a:lnTo>
                    <a:pt x="318" y="520"/>
                  </a:lnTo>
                  <a:lnTo>
                    <a:pt x="304" y="559"/>
                  </a:lnTo>
                  <a:lnTo>
                    <a:pt x="302" y="571"/>
                  </a:lnTo>
                  <a:lnTo>
                    <a:pt x="304" y="581"/>
                  </a:lnTo>
                  <a:lnTo>
                    <a:pt x="295" y="588"/>
                  </a:lnTo>
                  <a:lnTo>
                    <a:pt x="296" y="595"/>
                  </a:lnTo>
                  <a:lnTo>
                    <a:pt x="302" y="612"/>
                  </a:lnTo>
                  <a:lnTo>
                    <a:pt x="312" y="635"/>
                  </a:lnTo>
                  <a:lnTo>
                    <a:pt x="335" y="652"/>
                  </a:lnTo>
                  <a:lnTo>
                    <a:pt x="343" y="662"/>
                  </a:lnTo>
                  <a:lnTo>
                    <a:pt x="345" y="678"/>
                  </a:lnTo>
                  <a:lnTo>
                    <a:pt x="344" y="693"/>
                  </a:lnTo>
                  <a:lnTo>
                    <a:pt x="347" y="705"/>
                  </a:lnTo>
                  <a:lnTo>
                    <a:pt x="356" y="706"/>
                  </a:lnTo>
                  <a:lnTo>
                    <a:pt x="360" y="716"/>
                  </a:lnTo>
                  <a:lnTo>
                    <a:pt x="354" y="722"/>
                  </a:lnTo>
                  <a:lnTo>
                    <a:pt x="348" y="736"/>
                  </a:lnTo>
                  <a:lnTo>
                    <a:pt x="345" y="744"/>
                  </a:lnTo>
                  <a:lnTo>
                    <a:pt x="345" y="757"/>
                  </a:lnTo>
                  <a:lnTo>
                    <a:pt x="342" y="760"/>
                  </a:lnTo>
                  <a:lnTo>
                    <a:pt x="333" y="768"/>
                  </a:lnTo>
                  <a:lnTo>
                    <a:pt x="329" y="776"/>
                  </a:lnTo>
                  <a:lnTo>
                    <a:pt x="328" y="790"/>
                  </a:lnTo>
                  <a:lnTo>
                    <a:pt x="334" y="807"/>
                  </a:lnTo>
                  <a:lnTo>
                    <a:pt x="353" y="819"/>
                  </a:lnTo>
                  <a:lnTo>
                    <a:pt x="371" y="839"/>
                  </a:lnTo>
                  <a:lnTo>
                    <a:pt x="374" y="845"/>
                  </a:lnTo>
                  <a:lnTo>
                    <a:pt x="376" y="854"/>
                  </a:lnTo>
                  <a:lnTo>
                    <a:pt x="377" y="887"/>
                  </a:lnTo>
                  <a:lnTo>
                    <a:pt x="383" y="905"/>
                  </a:lnTo>
                  <a:lnTo>
                    <a:pt x="386" y="907"/>
                  </a:lnTo>
                  <a:lnTo>
                    <a:pt x="391" y="922"/>
                  </a:lnTo>
                  <a:lnTo>
                    <a:pt x="406" y="956"/>
                  </a:lnTo>
                  <a:lnTo>
                    <a:pt x="404" y="963"/>
                  </a:lnTo>
                  <a:lnTo>
                    <a:pt x="386" y="993"/>
                  </a:lnTo>
                  <a:lnTo>
                    <a:pt x="375" y="1000"/>
                  </a:lnTo>
                  <a:lnTo>
                    <a:pt x="367" y="1012"/>
                  </a:lnTo>
                  <a:lnTo>
                    <a:pt x="365" y="1027"/>
                  </a:lnTo>
                  <a:lnTo>
                    <a:pt x="360" y="1039"/>
                  </a:lnTo>
                  <a:lnTo>
                    <a:pt x="355" y="1047"/>
                  </a:lnTo>
                  <a:lnTo>
                    <a:pt x="354" y="1050"/>
                  </a:lnTo>
                  <a:lnTo>
                    <a:pt x="344" y="1043"/>
                  </a:lnTo>
                  <a:lnTo>
                    <a:pt x="345" y="1031"/>
                  </a:lnTo>
                  <a:lnTo>
                    <a:pt x="349" y="1017"/>
                  </a:lnTo>
                  <a:lnTo>
                    <a:pt x="359" y="993"/>
                  </a:lnTo>
                  <a:lnTo>
                    <a:pt x="359" y="981"/>
                  </a:lnTo>
                  <a:lnTo>
                    <a:pt x="361" y="964"/>
                  </a:lnTo>
                  <a:lnTo>
                    <a:pt x="351" y="958"/>
                  </a:lnTo>
                  <a:lnTo>
                    <a:pt x="344" y="953"/>
                  </a:lnTo>
                  <a:lnTo>
                    <a:pt x="345" y="946"/>
                  </a:lnTo>
                  <a:lnTo>
                    <a:pt x="354" y="947"/>
                  </a:lnTo>
                  <a:lnTo>
                    <a:pt x="351" y="937"/>
                  </a:lnTo>
                  <a:lnTo>
                    <a:pt x="354" y="924"/>
                  </a:lnTo>
                  <a:lnTo>
                    <a:pt x="349" y="897"/>
                  </a:lnTo>
                  <a:lnTo>
                    <a:pt x="338" y="870"/>
                  </a:lnTo>
                  <a:lnTo>
                    <a:pt x="333" y="851"/>
                  </a:lnTo>
                  <a:lnTo>
                    <a:pt x="329" y="855"/>
                  </a:lnTo>
                  <a:lnTo>
                    <a:pt x="327" y="860"/>
                  </a:lnTo>
                  <a:lnTo>
                    <a:pt x="322" y="844"/>
                  </a:lnTo>
                  <a:lnTo>
                    <a:pt x="317" y="821"/>
                  </a:lnTo>
                  <a:lnTo>
                    <a:pt x="311" y="805"/>
                  </a:lnTo>
                  <a:lnTo>
                    <a:pt x="306" y="784"/>
                  </a:lnTo>
                  <a:lnTo>
                    <a:pt x="301" y="759"/>
                  </a:lnTo>
                  <a:lnTo>
                    <a:pt x="297" y="721"/>
                  </a:lnTo>
                  <a:lnTo>
                    <a:pt x="299" y="695"/>
                  </a:lnTo>
                  <a:lnTo>
                    <a:pt x="295" y="695"/>
                  </a:lnTo>
                  <a:lnTo>
                    <a:pt x="291" y="694"/>
                  </a:lnTo>
                  <a:lnTo>
                    <a:pt x="279" y="688"/>
                  </a:lnTo>
                  <a:lnTo>
                    <a:pt x="269" y="679"/>
                  </a:lnTo>
                  <a:lnTo>
                    <a:pt x="262" y="671"/>
                  </a:lnTo>
                  <a:lnTo>
                    <a:pt x="254" y="673"/>
                  </a:lnTo>
                  <a:lnTo>
                    <a:pt x="251" y="653"/>
                  </a:lnTo>
                  <a:lnTo>
                    <a:pt x="246" y="642"/>
                  </a:lnTo>
                  <a:lnTo>
                    <a:pt x="246" y="662"/>
                  </a:lnTo>
                  <a:lnTo>
                    <a:pt x="241" y="685"/>
                  </a:lnTo>
                  <a:lnTo>
                    <a:pt x="226" y="693"/>
                  </a:lnTo>
                  <a:lnTo>
                    <a:pt x="211" y="700"/>
                  </a:lnTo>
                  <a:lnTo>
                    <a:pt x="200" y="710"/>
                  </a:lnTo>
                  <a:lnTo>
                    <a:pt x="189" y="717"/>
                  </a:lnTo>
                  <a:lnTo>
                    <a:pt x="179" y="726"/>
                  </a:lnTo>
                  <a:lnTo>
                    <a:pt x="170" y="738"/>
                  </a:lnTo>
                  <a:lnTo>
                    <a:pt x="165" y="733"/>
                  </a:lnTo>
                  <a:lnTo>
                    <a:pt x="159" y="735"/>
                  </a:lnTo>
                  <a:lnTo>
                    <a:pt x="154" y="728"/>
                  </a:lnTo>
                  <a:lnTo>
                    <a:pt x="146" y="738"/>
                  </a:lnTo>
                  <a:lnTo>
                    <a:pt x="136" y="733"/>
                  </a:lnTo>
                  <a:lnTo>
                    <a:pt x="127" y="730"/>
                  </a:lnTo>
                  <a:lnTo>
                    <a:pt x="122" y="726"/>
                  </a:lnTo>
                  <a:lnTo>
                    <a:pt x="125" y="717"/>
                  </a:lnTo>
                  <a:lnTo>
                    <a:pt x="116" y="725"/>
                  </a:lnTo>
                  <a:lnTo>
                    <a:pt x="109" y="721"/>
                  </a:lnTo>
                  <a:lnTo>
                    <a:pt x="112" y="70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40" name="Freeform 95"/>
            <p:cNvSpPr>
              <a:spLocks noChangeAspect="1"/>
            </p:cNvSpPr>
            <p:nvPr/>
          </p:nvSpPr>
          <p:spPr bwMode="gray">
            <a:xfrm>
              <a:off x="7681369" y="3977481"/>
              <a:ext cx="92228" cy="82069"/>
            </a:xfrm>
            <a:custGeom>
              <a:avLst/>
              <a:gdLst/>
              <a:ahLst/>
              <a:cxnLst>
                <a:cxn ang="0">
                  <a:pos x="115" y="236"/>
                </a:cxn>
                <a:cxn ang="0">
                  <a:pos x="106" y="230"/>
                </a:cxn>
                <a:cxn ang="0">
                  <a:pos x="82" y="232"/>
                </a:cxn>
                <a:cxn ang="0">
                  <a:pos x="72" y="221"/>
                </a:cxn>
                <a:cxn ang="0">
                  <a:pos x="75" y="204"/>
                </a:cxn>
                <a:cxn ang="0">
                  <a:pos x="64" y="203"/>
                </a:cxn>
                <a:cxn ang="0">
                  <a:pos x="50" y="214"/>
                </a:cxn>
                <a:cxn ang="0">
                  <a:pos x="41" y="186"/>
                </a:cxn>
                <a:cxn ang="0">
                  <a:pos x="45" y="184"/>
                </a:cxn>
                <a:cxn ang="0">
                  <a:pos x="36" y="172"/>
                </a:cxn>
                <a:cxn ang="0">
                  <a:pos x="37" y="157"/>
                </a:cxn>
                <a:cxn ang="0">
                  <a:pos x="25" y="129"/>
                </a:cxn>
                <a:cxn ang="0">
                  <a:pos x="3" y="96"/>
                </a:cxn>
                <a:cxn ang="0">
                  <a:pos x="3" y="67"/>
                </a:cxn>
                <a:cxn ang="0">
                  <a:pos x="15" y="52"/>
                </a:cxn>
                <a:cxn ang="0">
                  <a:pos x="37" y="28"/>
                </a:cxn>
                <a:cxn ang="0">
                  <a:pos x="52" y="19"/>
                </a:cxn>
                <a:cxn ang="0">
                  <a:pos x="95" y="24"/>
                </a:cxn>
                <a:cxn ang="0">
                  <a:pos x="141" y="20"/>
                </a:cxn>
                <a:cxn ang="0">
                  <a:pos x="161" y="25"/>
                </a:cxn>
                <a:cxn ang="0">
                  <a:pos x="187" y="37"/>
                </a:cxn>
                <a:cxn ang="0">
                  <a:pos x="207" y="38"/>
                </a:cxn>
                <a:cxn ang="0">
                  <a:pos x="223" y="15"/>
                </a:cxn>
                <a:cxn ang="0">
                  <a:pos x="242" y="11"/>
                </a:cxn>
                <a:cxn ang="0">
                  <a:pos x="258" y="20"/>
                </a:cxn>
                <a:cxn ang="0">
                  <a:pos x="279" y="6"/>
                </a:cxn>
                <a:cxn ang="0">
                  <a:pos x="281" y="37"/>
                </a:cxn>
                <a:cxn ang="0">
                  <a:pos x="290" y="68"/>
                </a:cxn>
                <a:cxn ang="0">
                  <a:pos x="287" y="129"/>
                </a:cxn>
                <a:cxn ang="0">
                  <a:pos x="272" y="135"/>
                </a:cxn>
                <a:cxn ang="0">
                  <a:pos x="255" y="148"/>
                </a:cxn>
                <a:cxn ang="0">
                  <a:pos x="229" y="156"/>
                </a:cxn>
                <a:cxn ang="0">
                  <a:pos x="209" y="167"/>
                </a:cxn>
                <a:cxn ang="0">
                  <a:pos x="197" y="184"/>
                </a:cxn>
                <a:cxn ang="0">
                  <a:pos x="199" y="202"/>
                </a:cxn>
                <a:cxn ang="0">
                  <a:pos x="185" y="207"/>
                </a:cxn>
                <a:cxn ang="0">
                  <a:pos x="164" y="218"/>
                </a:cxn>
                <a:cxn ang="0">
                  <a:pos x="149" y="215"/>
                </a:cxn>
                <a:cxn ang="0">
                  <a:pos x="143" y="230"/>
                </a:cxn>
                <a:cxn ang="0">
                  <a:pos x="125" y="236"/>
                </a:cxn>
              </a:cxnLst>
              <a:rect l="0" t="0" r="r" b="b"/>
              <a:pathLst>
                <a:path w="290" h="236">
                  <a:moveTo>
                    <a:pt x="120" y="237"/>
                  </a:moveTo>
                  <a:lnTo>
                    <a:pt x="115" y="236"/>
                  </a:lnTo>
                  <a:lnTo>
                    <a:pt x="112" y="234"/>
                  </a:lnTo>
                  <a:lnTo>
                    <a:pt x="106" y="230"/>
                  </a:lnTo>
                  <a:lnTo>
                    <a:pt x="89" y="229"/>
                  </a:lnTo>
                  <a:lnTo>
                    <a:pt x="82" y="232"/>
                  </a:lnTo>
                  <a:lnTo>
                    <a:pt x="72" y="232"/>
                  </a:lnTo>
                  <a:lnTo>
                    <a:pt x="72" y="221"/>
                  </a:lnTo>
                  <a:lnTo>
                    <a:pt x="77" y="214"/>
                  </a:lnTo>
                  <a:lnTo>
                    <a:pt x="75" y="204"/>
                  </a:lnTo>
                  <a:lnTo>
                    <a:pt x="69" y="202"/>
                  </a:lnTo>
                  <a:lnTo>
                    <a:pt x="64" y="203"/>
                  </a:lnTo>
                  <a:lnTo>
                    <a:pt x="59" y="211"/>
                  </a:lnTo>
                  <a:lnTo>
                    <a:pt x="50" y="214"/>
                  </a:lnTo>
                  <a:lnTo>
                    <a:pt x="41" y="188"/>
                  </a:lnTo>
                  <a:lnTo>
                    <a:pt x="41" y="186"/>
                  </a:lnTo>
                  <a:lnTo>
                    <a:pt x="45" y="189"/>
                  </a:lnTo>
                  <a:lnTo>
                    <a:pt x="45" y="184"/>
                  </a:lnTo>
                  <a:lnTo>
                    <a:pt x="36" y="173"/>
                  </a:lnTo>
                  <a:lnTo>
                    <a:pt x="36" y="172"/>
                  </a:lnTo>
                  <a:lnTo>
                    <a:pt x="37" y="166"/>
                  </a:lnTo>
                  <a:lnTo>
                    <a:pt x="37" y="157"/>
                  </a:lnTo>
                  <a:lnTo>
                    <a:pt x="31" y="143"/>
                  </a:lnTo>
                  <a:lnTo>
                    <a:pt x="25" y="129"/>
                  </a:lnTo>
                  <a:lnTo>
                    <a:pt x="10" y="118"/>
                  </a:lnTo>
                  <a:lnTo>
                    <a:pt x="3" y="96"/>
                  </a:lnTo>
                  <a:lnTo>
                    <a:pt x="0" y="85"/>
                  </a:lnTo>
                  <a:lnTo>
                    <a:pt x="3" y="67"/>
                  </a:lnTo>
                  <a:lnTo>
                    <a:pt x="10" y="63"/>
                  </a:lnTo>
                  <a:lnTo>
                    <a:pt x="15" y="52"/>
                  </a:lnTo>
                  <a:lnTo>
                    <a:pt x="23" y="48"/>
                  </a:lnTo>
                  <a:lnTo>
                    <a:pt x="37" y="28"/>
                  </a:lnTo>
                  <a:lnTo>
                    <a:pt x="43" y="22"/>
                  </a:lnTo>
                  <a:lnTo>
                    <a:pt x="52" y="19"/>
                  </a:lnTo>
                  <a:lnTo>
                    <a:pt x="79" y="21"/>
                  </a:lnTo>
                  <a:lnTo>
                    <a:pt x="95" y="24"/>
                  </a:lnTo>
                  <a:lnTo>
                    <a:pt x="113" y="21"/>
                  </a:lnTo>
                  <a:lnTo>
                    <a:pt x="141" y="20"/>
                  </a:lnTo>
                  <a:lnTo>
                    <a:pt x="150" y="30"/>
                  </a:lnTo>
                  <a:lnTo>
                    <a:pt x="161" y="25"/>
                  </a:lnTo>
                  <a:lnTo>
                    <a:pt x="169" y="33"/>
                  </a:lnTo>
                  <a:lnTo>
                    <a:pt x="187" y="37"/>
                  </a:lnTo>
                  <a:lnTo>
                    <a:pt x="198" y="41"/>
                  </a:lnTo>
                  <a:lnTo>
                    <a:pt x="207" y="38"/>
                  </a:lnTo>
                  <a:lnTo>
                    <a:pt x="207" y="24"/>
                  </a:lnTo>
                  <a:lnTo>
                    <a:pt x="223" y="15"/>
                  </a:lnTo>
                  <a:lnTo>
                    <a:pt x="234" y="11"/>
                  </a:lnTo>
                  <a:lnTo>
                    <a:pt x="242" y="11"/>
                  </a:lnTo>
                  <a:lnTo>
                    <a:pt x="251" y="20"/>
                  </a:lnTo>
                  <a:lnTo>
                    <a:pt x="258" y="20"/>
                  </a:lnTo>
                  <a:lnTo>
                    <a:pt x="268" y="15"/>
                  </a:lnTo>
                  <a:lnTo>
                    <a:pt x="279" y="6"/>
                  </a:lnTo>
                  <a:lnTo>
                    <a:pt x="283" y="0"/>
                  </a:lnTo>
                  <a:lnTo>
                    <a:pt x="281" y="37"/>
                  </a:lnTo>
                  <a:lnTo>
                    <a:pt x="283" y="53"/>
                  </a:lnTo>
                  <a:lnTo>
                    <a:pt x="290" y="68"/>
                  </a:lnTo>
                  <a:lnTo>
                    <a:pt x="289" y="117"/>
                  </a:lnTo>
                  <a:lnTo>
                    <a:pt x="287" y="129"/>
                  </a:lnTo>
                  <a:lnTo>
                    <a:pt x="281" y="138"/>
                  </a:lnTo>
                  <a:lnTo>
                    <a:pt x="272" y="135"/>
                  </a:lnTo>
                  <a:lnTo>
                    <a:pt x="262" y="144"/>
                  </a:lnTo>
                  <a:lnTo>
                    <a:pt x="255" y="148"/>
                  </a:lnTo>
                  <a:lnTo>
                    <a:pt x="247" y="148"/>
                  </a:lnTo>
                  <a:lnTo>
                    <a:pt x="229" y="156"/>
                  </a:lnTo>
                  <a:lnTo>
                    <a:pt x="228" y="166"/>
                  </a:lnTo>
                  <a:lnTo>
                    <a:pt x="209" y="167"/>
                  </a:lnTo>
                  <a:lnTo>
                    <a:pt x="199" y="171"/>
                  </a:lnTo>
                  <a:lnTo>
                    <a:pt x="197" y="184"/>
                  </a:lnTo>
                  <a:lnTo>
                    <a:pt x="198" y="193"/>
                  </a:lnTo>
                  <a:lnTo>
                    <a:pt x="199" y="202"/>
                  </a:lnTo>
                  <a:lnTo>
                    <a:pt x="193" y="204"/>
                  </a:lnTo>
                  <a:lnTo>
                    <a:pt x="185" y="207"/>
                  </a:lnTo>
                  <a:lnTo>
                    <a:pt x="174" y="214"/>
                  </a:lnTo>
                  <a:lnTo>
                    <a:pt x="164" y="218"/>
                  </a:lnTo>
                  <a:lnTo>
                    <a:pt x="156" y="215"/>
                  </a:lnTo>
                  <a:lnTo>
                    <a:pt x="149" y="215"/>
                  </a:lnTo>
                  <a:lnTo>
                    <a:pt x="148" y="225"/>
                  </a:lnTo>
                  <a:lnTo>
                    <a:pt x="143" y="230"/>
                  </a:lnTo>
                  <a:lnTo>
                    <a:pt x="136" y="234"/>
                  </a:lnTo>
                  <a:lnTo>
                    <a:pt x="125" y="236"/>
                  </a:lnTo>
                  <a:lnTo>
                    <a:pt x="120" y="23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41" name="Freeform 96"/>
            <p:cNvSpPr>
              <a:spLocks noChangeAspect="1"/>
            </p:cNvSpPr>
            <p:nvPr/>
          </p:nvSpPr>
          <p:spPr bwMode="gray">
            <a:xfrm>
              <a:off x="7644797" y="3820329"/>
              <a:ext cx="125622" cy="171121"/>
            </a:xfrm>
            <a:custGeom>
              <a:avLst/>
              <a:gdLst/>
              <a:ahLst/>
              <a:cxnLst>
                <a:cxn ang="0">
                  <a:pos x="135" y="39"/>
                </a:cxn>
                <a:cxn ang="0">
                  <a:pos x="147" y="71"/>
                </a:cxn>
                <a:cxn ang="0">
                  <a:pos x="183" y="98"/>
                </a:cxn>
                <a:cxn ang="0">
                  <a:pos x="228" y="105"/>
                </a:cxn>
                <a:cxn ang="0">
                  <a:pos x="243" y="127"/>
                </a:cxn>
                <a:cxn ang="0">
                  <a:pos x="252" y="151"/>
                </a:cxn>
                <a:cxn ang="0">
                  <a:pos x="220" y="164"/>
                </a:cxn>
                <a:cxn ang="0">
                  <a:pos x="205" y="181"/>
                </a:cxn>
                <a:cxn ang="0">
                  <a:pos x="221" y="196"/>
                </a:cxn>
                <a:cxn ang="0">
                  <a:pos x="271" y="239"/>
                </a:cxn>
                <a:cxn ang="0">
                  <a:pos x="314" y="290"/>
                </a:cxn>
                <a:cxn ang="0">
                  <a:pos x="342" y="317"/>
                </a:cxn>
                <a:cxn ang="0">
                  <a:pos x="345" y="331"/>
                </a:cxn>
                <a:cxn ang="0">
                  <a:pos x="371" y="355"/>
                </a:cxn>
                <a:cxn ang="0">
                  <a:pos x="397" y="409"/>
                </a:cxn>
                <a:cxn ang="0">
                  <a:pos x="394" y="455"/>
                </a:cxn>
                <a:cxn ang="0">
                  <a:pos x="366" y="469"/>
                </a:cxn>
                <a:cxn ang="0">
                  <a:pos x="338" y="464"/>
                </a:cxn>
                <a:cxn ang="0">
                  <a:pos x="313" y="490"/>
                </a:cxn>
                <a:cxn ang="0">
                  <a:pos x="276" y="474"/>
                </a:cxn>
                <a:cxn ang="0">
                  <a:pos x="287" y="459"/>
                </a:cxn>
                <a:cxn ang="0">
                  <a:pos x="290" y="398"/>
                </a:cxn>
                <a:cxn ang="0">
                  <a:pos x="276" y="380"/>
                </a:cxn>
                <a:cxn ang="0">
                  <a:pos x="257" y="367"/>
                </a:cxn>
                <a:cxn ang="0">
                  <a:pos x="247" y="321"/>
                </a:cxn>
                <a:cxn ang="0">
                  <a:pos x="237" y="286"/>
                </a:cxn>
                <a:cxn ang="0">
                  <a:pos x="220" y="270"/>
                </a:cxn>
                <a:cxn ang="0">
                  <a:pos x="195" y="240"/>
                </a:cxn>
                <a:cxn ang="0">
                  <a:pos x="161" y="243"/>
                </a:cxn>
                <a:cxn ang="0">
                  <a:pos x="145" y="261"/>
                </a:cxn>
                <a:cxn ang="0">
                  <a:pos x="115" y="261"/>
                </a:cxn>
                <a:cxn ang="0">
                  <a:pos x="93" y="251"/>
                </a:cxn>
                <a:cxn ang="0">
                  <a:pos x="55" y="274"/>
                </a:cxn>
                <a:cxn ang="0">
                  <a:pos x="44" y="282"/>
                </a:cxn>
                <a:cxn ang="0">
                  <a:pos x="48" y="231"/>
                </a:cxn>
                <a:cxn ang="0">
                  <a:pos x="54" y="202"/>
                </a:cxn>
                <a:cxn ang="0">
                  <a:pos x="50" y="165"/>
                </a:cxn>
                <a:cxn ang="0">
                  <a:pos x="21" y="163"/>
                </a:cxn>
                <a:cxn ang="0">
                  <a:pos x="12" y="121"/>
                </a:cxn>
                <a:cxn ang="0">
                  <a:pos x="0" y="113"/>
                </a:cxn>
                <a:cxn ang="0">
                  <a:pos x="5" y="99"/>
                </a:cxn>
                <a:cxn ang="0">
                  <a:pos x="23" y="92"/>
                </a:cxn>
                <a:cxn ang="0">
                  <a:pos x="48" y="61"/>
                </a:cxn>
                <a:cxn ang="0">
                  <a:pos x="59" y="76"/>
                </a:cxn>
                <a:cxn ang="0">
                  <a:pos x="85" y="52"/>
                </a:cxn>
                <a:cxn ang="0">
                  <a:pos x="77" y="7"/>
                </a:cxn>
                <a:cxn ang="0">
                  <a:pos x="106" y="3"/>
                </a:cxn>
              </a:cxnLst>
              <a:rect l="0" t="0" r="r" b="b"/>
              <a:pathLst>
                <a:path w="398" h="490">
                  <a:moveTo>
                    <a:pt x="106" y="3"/>
                  </a:moveTo>
                  <a:lnTo>
                    <a:pt x="118" y="19"/>
                  </a:lnTo>
                  <a:lnTo>
                    <a:pt x="135" y="39"/>
                  </a:lnTo>
                  <a:lnTo>
                    <a:pt x="145" y="49"/>
                  </a:lnTo>
                  <a:lnTo>
                    <a:pt x="150" y="59"/>
                  </a:lnTo>
                  <a:lnTo>
                    <a:pt x="147" y="71"/>
                  </a:lnTo>
                  <a:lnTo>
                    <a:pt x="149" y="79"/>
                  </a:lnTo>
                  <a:lnTo>
                    <a:pt x="163" y="94"/>
                  </a:lnTo>
                  <a:lnTo>
                    <a:pt x="183" y="98"/>
                  </a:lnTo>
                  <a:lnTo>
                    <a:pt x="203" y="93"/>
                  </a:lnTo>
                  <a:lnTo>
                    <a:pt x="219" y="94"/>
                  </a:lnTo>
                  <a:lnTo>
                    <a:pt x="228" y="105"/>
                  </a:lnTo>
                  <a:lnTo>
                    <a:pt x="233" y="114"/>
                  </a:lnTo>
                  <a:lnTo>
                    <a:pt x="235" y="121"/>
                  </a:lnTo>
                  <a:lnTo>
                    <a:pt x="243" y="127"/>
                  </a:lnTo>
                  <a:lnTo>
                    <a:pt x="247" y="136"/>
                  </a:lnTo>
                  <a:lnTo>
                    <a:pt x="253" y="142"/>
                  </a:lnTo>
                  <a:lnTo>
                    <a:pt x="252" y="151"/>
                  </a:lnTo>
                  <a:lnTo>
                    <a:pt x="236" y="167"/>
                  </a:lnTo>
                  <a:lnTo>
                    <a:pt x="231" y="167"/>
                  </a:lnTo>
                  <a:lnTo>
                    <a:pt x="220" y="164"/>
                  </a:lnTo>
                  <a:lnTo>
                    <a:pt x="213" y="167"/>
                  </a:lnTo>
                  <a:lnTo>
                    <a:pt x="209" y="172"/>
                  </a:lnTo>
                  <a:lnTo>
                    <a:pt x="205" y="181"/>
                  </a:lnTo>
                  <a:lnTo>
                    <a:pt x="206" y="188"/>
                  </a:lnTo>
                  <a:lnTo>
                    <a:pt x="213" y="190"/>
                  </a:lnTo>
                  <a:lnTo>
                    <a:pt x="221" y="196"/>
                  </a:lnTo>
                  <a:lnTo>
                    <a:pt x="240" y="206"/>
                  </a:lnTo>
                  <a:lnTo>
                    <a:pt x="267" y="226"/>
                  </a:lnTo>
                  <a:lnTo>
                    <a:pt x="271" y="239"/>
                  </a:lnTo>
                  <a:lnTo>
                    <a:pt x="294" y="260"/>
                  </a:lnTo>
                  <a:lnTo>
                    <a:pt x="297" y="270"/>
                  </a:lnTo>
                  <a:lnTo>
                    <a:pt x="314" y="290"/>
                  </a:lnTo>
                  <a:lnTo>
                    <a:pt x="319" y="291"/>
                  </a:lnTo>
                  <a:lnTo>
                    <a:pt x="337" y="303"/>
                  </a:lnTo>
                  <a:lnTo>
                    <a:pt x="342" y="317"/>
                  </a:lnTo>
                  <a:lnTo>
                    <a:pt x="345" y="329"/>
                  </a:lnTo>
                  <a:lnTo>
                    <a:pt x="344" y="330"/>
                  </a:lnTo>
                  <a:lnTo>
                    <a:pt x="345" y="331"/>
                  </a:lnTo>
                  <a:lnTo>
                    <a:pt x="349" y="345"/>
                  </a:lnTo>
                  <a:lnTo>
                    <a:pt x="357" y="345"/>
                  </a:lnTo>
                  <a:lnTo>
                    <a:pt x="371" y="355"/>
                  </a:lnTo>
                  <a:lnTo>
                    <a:pt x="380" y="363"/>
                  </a:lnTo>
                  <a:lnTo>
                    <a:pt x="384" y="380"/>
                  </a:lnTo>
                  <a:lnTo>
                    <a:pt x="397" y="409"/>
                  </a:lnTo>
                  <a:lnTo>
                    <a:pt x="398" y="416"/>
                  </a:lnTo>
                  <a:lnTo>
                    <a:pt x="398" y="449"/>
                  </a:lnTo>
                  <a:lnTo>
                    <a:pt x="394" y="455"/>
                  </a:lnTo>
                  <a:lnTo>
                    <a:pt x="383" y="464"/>
                  </a:lnTo>
                  <a:lnTo>
                    <a:pt x="373" y="469"/>
                  </a:lnTo>
                  <a:lnTo>
                    <a:pt x="366" y="469"/>
                  </a:lnTo>
                  <a:lnTo>
                    <a:pt x="357" y="460"/>
                  </a:lnTo>
                  <a:lnTo>
                    <a:pt x="349" y="460"/>
                  </a:lnTo>
                  <a:lnTo>
                    <a:pt x="338" y="464"/>
                  </a:lnTo>
                  <a:lnTo>
                    <a:pt x="322" y="473"/>
                  </a:lnTo>
                  <a:lnTo>
                    <a:pt x="322" y="487"/>
                  </a:lnTo>
                  <a:lnTo>
                    <a:pt x="313" y="490"/>
                  </a:lnTo>
                  <a:lnTo>
                    <a:pt x="302" y="486"/>
                  </a:lnTo>
                  <a:lnTo>
                    <a:pt x="284" y="482"/>
                  </a:lnTo>
                  <a:lnTo>
                    <a:pt x="276" y="474"/>
                  </a:lnTo>
                  <a:lnTo>
                    <a:pt x="276" y="470"/>
                  </a:lnTo>
                  <a:lnTo>
                    <a:pt x="280" y="470"/>
                  </a:lnTo>
                  <a:lnTo>
                    <a:pt x="287" y="459"/>
                  </a:lnTo>
                  <a:lnTo>
                    <a:pt x="287" y="417"/>
                  </a:lnTo>
                  <a:lnTo>
                    <a:pt x="291" y="407"/>
                  </a:lnTo>
                  <a:lnTo>
                    <a:pt x="290" y="398"/>
                  </a:lnTo>
                  <a:lnTo>
                    <a:pt x="289" y="391"/>
                  </a:lnTo>
                  <a:lnTo>
                    <a:pt x="284" y="385"/>
                  </a:lnTo>
                  <a:lnTo>
                    <a:pt x="276" y="380"/>
                  </a:lnTo>
                  <a:lnTo>
                    <a:pt x="274" y="373"/>
                  </a:lnTo>
                  <a:lnTo>
                    <a:pt x="264" y="372"/>
                  </a:lnTo>
                  <a:lnTo>
                    <a:pt x="257" y="367"/>
                  </a:lnTo>
                  <a:lnTo>
                    <a:pt x="249" y="357"/>
                  </a:lnTo>
                  <a:lnTo>
                    <a:pt x="246" y="346"/>
                  </a:lnTo>
                  <a:lnTo>
                    <a:pt x="247" y="321"/>
                  </a:lnTo>
                  <a:lnTo>
                    <a:pt x="246" y="308"/>
                  </a:lnTo>
                  <a:lnTo>
                    <a:pt x="242" y="296"/>
                  </a:lnTo>
                  <a:lnTo>
                    <a:pt x="237" y="286"/>
                  </a:lnTo>
                  <a:lnTo>
                    <a:pt x="230" y="281"/>
                  </a:lnTo>
                  <a:lnTo>
                    <a:pt x="228" y="274"/>
                  </a:lnTo>
                  <a:lnTo>
                    <a:pt x="220" y="270"/>
                  </a:lnTo>
                  <a:lnTo>
                    <a:pt x="213" y="263"/>
                  </a:lnTo>
                  <a:lnTo>
                    <a:pt x="208" y="255"/>
                  </a:lnTo>
                  <a:lnTo>
                    <a:pt x="195" y="240"/>
                  </a:lnTo>
                  <a:lnTo>
                    <a:pt x="183" y="239"/>
                  </a:lnTo>
                  <a:lnTo>
                    <a:pt x="172" y="240"/>
                  </a:lnTo>
                  <a:lnTo>
                    <a:pt x="161" y="243"/>
                  </a:lnTo>
                  <a:lnTo>
                    <a:pt x="157" y="254"/>
                  </a:lnTo>
                  <a:lnTo>
                    <a:pt x="152" y="258"/>
                  </a:lnTo>
                  <a:lnTo>
                    <a:pt x="145" y="261"/>
                  </a:lnTo>
                  <a:lnTo>
                    <a:pt x="133" y="267"/>
                  </a:lnTo>
                  <a:lnTo>
                    <a:pt x="124" y="267"/>
                  </a:lnTo>
                  <a:lnTo>
                    <a:pt x="115" y="261"/>
                  </a:lnTo>
                  <a:lnTo>
                    <a:pt x="109" y="251"/>
                  </a:lnTo>
                  <a:lnTo>
                    <a:pt x="102" y="249"/>
                  </a:lnTo>
                  <a:lnTo>
                    <a:pt x="93" y="251"/>
                  </a:lnTo>
                  <a:lnTo>
                    <a:pt x="80" y="256"/>
                  </a:lnTo>
                  <a:lnTo>
                    <a:pt x="68" y="269"/>
                  </a:lnTo>
                  <a:lnTo>
                    <a:pt x="55" y="274"/>
                  </a:lnTo>
                  <a:lnTo>
                    <a:pt x="48" y="283"/>
                  </a:lnTo>
                  <a:lnTo>
                    <a:pt x="43" y="287"/>
                  </a:lnTo>
                  <a:lnTo>
                    <a:pt x="44" y="282"/>
                  </a:lnTo>
                  <a:lnTo>
                    <a:pt x="41" y="269"/>
                  </a:lnTo>
                  <a:lnTo>
                    <a:pt x="45" y="255"/>
                  </a:lnTo>
                  <a:lnTo>
                    <a:pt x="48" y="231"/>
                  </a:lnTo>
                  <a:lnTo>
                    <a:pt x="53" y="220"/>
                  </a:lnTo>
                  <a:lnTo>
                    <a:pt x="53" y="211"/>
                  </a:lnTo>
                  <a:lnTo>
                    <a:pt x="54" y="202"/>
                  </a:lnTo>
                  <a:lnTo>
                    <a:pt x="50" y="186"/>
                  </a:lnTo>
                  <a:lnTo>
                    <a:pt x="54" y="169"/>
                  </a:lnTo>
                  <a:lnTo>
                    <a:pt x="50" y="165"/>
                  </a:lnTo>
                  <a:lnTo>
                    <a:pt x="29" y="165"/>
                  </a:lnTo>
                  <a:lnTo>
                    <a:pt x="23" y="164"/>
                  </a:lnTo>
                  <a:lnTo>
                    <a:pt x="21" y="163"/>
                  </a:lnTo>
                  <a:lnTo>
                    <a:pt x="21" y="145"/>
                  </a:lnTo>
                  <a:lnTo>
                    <a:pt x="18" y="130"/>
                  </a:lnTo>
                  <a:lnTo>
                    <a:pt x="12" y="121"/>
                  </a:lnTo>
                  <a:lnTo>
                    <a:pt x="9" y="116"/>
                  </a:lnTo>
                  <a:lnTo>
                    <a:pt x="2" y="119"/>
                  </a:lnTo>
                  <a:lnTo>
                    <a:pt x="0" y="113"/>
                  </a:lnTo>
                  <a:lnTo>
                    <a:pt x="1" y="105"/>
                  </a:lnTo>
                  <a:lnTo>
                    <a:pt x="4" y="105"/>
                  </a:lnTo>
                  <a:lnTo>
                    <a:pt x="5" y="99"/>
                  </a:lnTo>
                  <a:lnTo>
                    <a:pt x="10" y="95"/>
                  </a:lnTo>
                  <a:lnTo>
                    <a:pt x="17" y="93"/>
                  </a:lnTo>
                  <a:lnTo>
                    <a:pt x="23" y="92"/>
                  </a:lnTo>
                  <a:lnTo>
                    <a:pt x="21" y="84"/>
                  </a:lnTo>
                  <a:lnTo>
                    <a:pt x="21" y="79"/>
                  </a:lnTo>
                  <a:lnTo>
                    <a:pt x="48" y="61"/>
                  </a:lnTo>
                  <a:lnTo>
                    <a:pt x="53" y="54"/>
                  </a:lnTo>
                  <a:lnTo>
                    <a:pt x="54" y="49"/>
                  </a:lnTo>
                  <a:lnTo>
                    <a:pt x="59" y="76"/>
                  </a:lnTo>
                  <a:lnTo>
                    <a:pt x="80" y="71"/>
                  </a:lnTo>
                  <a:lnTo>
                    <a:pt x="84" y="67"/>
                  </a:lnTo>
                  <a:lnTo>
                    <a:pt x="85" y="52"/>
                  </a:lnTo>
                  <a:lnTo>
                    <a:pt x="79" y="36"/>
                  </a:lnTo>
                  <a:lnTo>
                    <a:pt x="76" y="19"/>
                  </a:lnTo>
                  <a:lnTo>
                    <a:pt x="77" y="7"/>
                  </a:lnTo>
                  <a:lnTo>
                    <a:pt x="86" y="0"/>
                  </a:lnTo>
                  <a:lnTo>
                    <a:pt x="106" y="1"/>
                  </a:lnTo>
                  <a:lnTo>
                    <a:pt x="106" y="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grpSp>
          <p:nvGrpSpPr>
            <p:cNvPr id="42" name="Group 97"/>
            <p:cNvGrpSpPr>
              <a:grpSpLocks noChangeAspect="1"/>
            </p:cNvGrpSpPr>
            <p:nvPr/>
          </p:nvGrpSpPr>
          <p:grpSpPr>
            <a:xfrm>
              <a:off x="6957856" y="3500786"/>
              <a:ext cx="637647" cy="646069"/>
              <a:chOff x="3183" y="2052"/>
              <a:chExt cx="401" cy="370"/>
            </a:xfrm>
            <a:grpFill/>
          </p:grpSpPr>
          <p:sp>
            <p:nvSpPr>
              <p:cNvPr id="346" name="Freeform 98"/>
              <p:cNvSpPr>
                <a:spLocks noChangeAspect="1"/>
              </p:cNvSpPr>
              <p:nvPr/>
            </p:nvSpPr>
            <p:spPr bwMode="gray">
              <a:xfrm>
                <a:off x="3509" y="2232"/>
                <a:ext cx="3" cy="5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26"/>
                  </a:cxn>
                  <a:cxn ang="0">
                    <a:pos x="9" y="27"/>
                  </a:cxn>
                  <a:cxn ang="0">
                    <a:pos x="14" y="21"/>
                  </a:cxn>
                  <a:cxn ang="0">
                    <a:pos x="14" y="12"/>
                  </a:cxn>
                  <a:cxn ang="0">
                    <a:pos x="9" y="3"/>
                  </a:cxn>
                  <a:cxn ang="0">
                    <a:pos x="5" y="0"/>
                  </a:cxn>
                  <a:cxn ang="0">
                    <a:pos x="0" y="4"/>
                  </a:cxn>
                </a:cxnLst>
                <a:rect l="0" t="0" r="r" b="b"/>
                <a:pathLst>
                  <a:path w="14" h="27">
                    <a:moveTo>
                      <a:pt x="0" y="4"/>
                    </a:moveTo>
                    <a:lnTo>
                      <a:pt x="1" y="26"/>
                    </a:lnTo>
                    <a:lnTo>
                      <a:pt x="9" y="27"/>
                    </a:lnTo>
                    <a:lnTo>
                      <a:pt x="14" y="21"/>
                    </a:lnTo>
                    <a:lnTo>
                      <a:pt x="14" y="12"/>
                    </a:lnTo>
                    <a:lnTo>
                      <a:pt x="9" y="3"/>
                    </a:lnTo>
                    <a:lnTo>
                      <a:pt x="5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47" name="Freeform 99"/>
              <p:cNvSpPr>
                <a:spLocks noChangeAspect="1"/>
              </p:cNvSpPr>
              <p:nvPr/>
            </p:nvSpPr>
            <p:spPr bwMode="gray">
              <a:xfrm>
                <a:off x="3262" y="2066"/>
                <a:ext cx="322" cy="332"/>
              </a:xfrm>
              <a:custGeom>
                <a:avLst/>
                <a:gdLst/>
                <a:ahLst/>
                <a:cxnLst>
                  <a:cxn ang="0">
                    <a:pos x="351" y="1334"/>
                  </a:cxn>
                  <a:cxn ang="0">
                    <a:pos x="468" y="1614"/>
                  </a:cxn>
                  <a:cxn ang="0">
                    <a:pos x="594" y="1598"/>
                  </a:cxn>
                  <a:cxn ang="0">
                    <a:pos x="655" y="1431"/>
                  </a:cxn>
                  <a:cxn ang="0">
                    <a:pos x="659" y="1302"/>
                  </a:cxn>
                  <a:cxn ang="0">
                    <a:pos x="733" y="1205"/>
                  </a:cxn>
                  <a:cxn ang="0">
                    <a:pos x="880" y="1087"/>
                  </a:cxn>
                  <a:cxn ang="0">
                    <a:pos x="1036" y="913"/>
                  </a:cxn>
                  <a:cxn ang="0">
                    <a:pos x="1107" y="902"/>
                  </a:cxn>
                  <a:cxn ang="0">
                    <a:pos x="1134" y="854"/>
                  </a:cxn>
                  <a:cxn ang="0">
                    <a:pos x="1120" y="738"/>
                  </a:cxn>
                  <a:cxn ang="0">
                    <a:pos x="1122" y="669"/>
                  </a:cxn>
                  <a:cxn ang="0">
                    <a:pos x="1143" y="613"/>
                  </a:cxn>
                  <a:cxn ang="0">
                    <a:pos x="1264" y="679"/>
                  </a:cxn>
                  <a:cxn ang="0">
                    <a:pos x="1268" y="798"/>
                  </a:cxn>
                  <a:cxn ang="0">
                    <a:pos x="1346" y="881"/>
                  </a:cxn>
                  <a:cxn ang="0">
                    <a:pos x="1387" y="799"/>
                  </a:cxn>
                  <a:cxn ang="0">
                    <a:pos x="1487" y="652"/>
                  </a:cxn>
                  <a:cxn ang="0">
                    <a:pos x="1602" y="525"/>
                  </a:cxn>
                  <a:cxn ang="0">
                    <a:pos x="1532" y="422"/>
                  </a:cxn>
                  <a:cxn ang="0">
                    <a:pos x="1379" y="492"/>
                  </a:cxn>
                  <a:cxn ang="0">
                    <a:pos x="1319" y="570"/>
                  </a:cxn>
                  <a:cxn ang="0">
                    <a:pos x="1160" y="592"/>
                  </a:cxn>
                  <a:cxn ang="0">
                    <a:pos x="1133" y="551"/>
                  </a:cxn>
                  <a:cxn ang="0">
                    <a:pos x="1090" y="541"/>
                  </a:cxn>
                  <a:cxn ang="0">
                    <a:pos x="1046" y="615"/>
                  </a:cxn>
                  <a:cxn ang="0">
                    <a:pos x="873" y="555"/>
                  </a:cxn>
                  <a:cxn ang="0">
                    <a:pos x="772" y="530"/>
                  </a:cxn>
                  <a:cxn ang="0">
                    <a:pos x="676" y="480"/>
                  </a:cxn>
                  <a:cxn ang="0">
                    <a:pos x="675" y="409"/>
                  </a:cxn>
                  <a:cxn ang="0">
                    <a:pos x="690" y="367"/>
                  </a:cxn>
                  <a:cxn ang="0">
                    <a:pos x="631" y="332"/>
                  </a:cxn>
                  <a:cxn ang="0">
                    <a:pos x="589" y="304"/>
                  </a:cxn>
                  <a:cxn ang="0">
                    <a:pos x="581" y="224"/>
                  </a:cxn>
                  <a:cxn ang="0">
                    <a:pos x="617" y="223"/>
                  </a:cxn>
                  <a:cxn ang="0">
                    <a:pos x="597" y="174"/>
                  </a:cxn>
                  <a:cxn ang="0">
                    <a:pos x="628" y="126"/>
                  </a:cxn>
                  <a:cxn ang="0">
                    <a:pos x="666" y="52"/>
                  </a:cxn>
                  <a:cxn ang="0">
                    <a:pos x="642" y="22"/>
                  </a:cxn>
                  <a:cxn ang="0">
                    <a:pos x="599" y="6"/>
                  </a:cxn>
                  <a:cxn ang="0">
                    <a:pos x="489" y="68"/>
                  </a:cxn>
                  <a:cxn ang="0">
                    <a:pos x="427" y="92"/>
                  </a:cxn>
                  <a:cxn ang="0">
                    <a:pos x="333" y="79"/>
                  </a:cxn>
                  <a:cxn ang="0">
                    <a:pos x="320" y="126"/>
                  </a:cxn>
                  <a:cxn ang="0">
                    <a:pos x="321" y="181"/>
                  </a:cxn>
                  <a:cxn ang="0">
                    <a:pos x="384" y="232"/>
                  </a:cxn>
                  <a:cxn ang="0">
                    <a:pos x="362" y="267"/>
                  </a:cxn>
                  <a:cxn ang="0">
                    <a:pos x="371" y="324"/>
                  </a:cxn>
                  <a:cxn ang="0">
                    <a:pos x="314" y="388"/>
                  </a:cxn>
                  <a:cxn ang="0">
                    <a:pos x="212" y="504"/>
                  </a:cxn>
                  <a:cxn ang="0">
                    <a:pos x="132" y="513"/>
                  </a:cxn>
                  <a:cxn ang="0">
                    <a:pos x="111" y="603"/>
                  </a:cxn>
                  <a:cxn ang="0">
                    <a:pos x="142" y="669"/>
                  </a:cxn>
                  <a:cxn ang="0">
                    <a:pos x="166" y="733"/>
                  </a:cxn>
                  <a:cxn ang="0">
                    <a:pos x="127" y="734"/>
                  </a:cxn>
                  <a:cxn ang="0">
                    <a:pos x="47" y="740"/>
                  </a:cxn>
                  <a:cxn ang="0">
                    <a:pos x="0" y="773"/>
                  </a:cxn>
                  <a:cxn ang="0">
                    <a:pos x="124" y="814"/>
                  </a:cxn>
                  <a:cxn ang="0">
                    <a:pos x="131" y="945"/>
                  </a:cxn>
                  <a:cxn ang="0">
                    <a:pos x="229" y="857"/>
                  </a:cxn>
                  <a:cxn ang="0">
                    <a:pos x="246" y="924"/>
                  </a:cxn>
                  <a:cxn ang="0">
                    <a:pos x="261" y="1041"/>
                  </a:cxn>
                  <a:cxn ang="0">
                    <a:pos x="276" y="1157"/>
                  </a:cxn>
                </a:cxnLst>
                <a:rect l="0" t="0" r="r" b="b"/>
                <a:pathLst>
                  <a:path w="1608" h="1661">
                    <a:moveTo>
                      <a:pt x="304" y="1236"/>
                    </a:moveTo>
                    <a:lnTo>
                      <a:pt x="306" y="1238"/>
                    </a:lnTo>
                    <a:lnTo>
                      <a:pt x="310" y="1250"/>
                    </a:lnTo>
                    <a:lnTo>
                      <a:pt x="312" y="1252"/>
                    </a:lnTo>
                    <a:lnTo>
                      <a:pt x="315" y="1249"/>
                    </a:lnTo>
                    <a:lnTo>
                      <a:pt x="320" y="1250"/>
                    </a:lnTo>
                    <a:lnTo>
                      <a:pt x="316" y="1255"/>
                    </a:lnTo>
                    <a:lnTo>
                      <a:pt x="316" y="1260"/>
                    </a:lnTo>
                    <a:lnTo>
                      <a:pt x="322" y="1281"/>
                    </a:lnTo>
                    <a:lnTo>
                      <a:pt x="331" y="1293"/>
                    </a:lnTo>
                    <a:lnTo>
                      <a:pt x="338" y="1297"/>
                    </a:lnTo>
                    <a:lnTo>
                      <a:pt x="348" y="1319"/>
                    </a:lnTo>
                    <a:lnTo>
                      <a:pt x="351" y="1334"/>
                    </a:lnTo>
                    <a:lnTo>
                      <a:pt x="358" y="1343"/>
                    </a:lnTo>
                    <a:lnTo>
                      <a:pt x="364" y="1358"/>
                    </a:lnTo>
                    <a:lnTo>
                      <a:pt x="370" y="1388"/>
                    </a:lnTo>
                    <a:lnTo>
                      <a:pt x="382" y="1426"/>
                    </a:lnTo>
                    <a:lnTo>
                      <a:pt x="382" y="1429"/>
                    </a:lnTo>
                    <a:lnTo>
                      <a:pt x="391" y="1444"/>
                    </a:lnTo>
                    <a:lnTo>
                      <a:pt x="401" y="1453"/>
                    </a:lnTo>
                    <a:lnTo>
                      <a:pt x="418" y="1475"/>
                    </a:lnTo>
                    <a:lnTo>
                      <a:pt x="425" y="1494"/>
                    </a:lnTo>
                    <a:lnTo>
                      <a:pt x="432" y="1519"/>
                    </a:lnTo>
                    <a:lnTo>
                      <a:pt x="454" y="1572"/>
                    </a:lnTo>
                    <a:lnTo>
                      <a:pt x="461" y="1600"/>
                    </a:lnTo>
                    <a:lnTo>
                      <a:pt x="468" y="1614"/>
                    </a:lnTo>
                    <a:lnTo>
                      <a:pt x="481" y="1633"/>
                    </a:lnTo>
                    <a:lnTo>
                      <a:pt x="495" y="1650"/>
                    </a:lnTo>
                    <a:lnTo>
                      <a:pt x="508" y="1661"/>
                    </a:lnTo>
                    <a:lnTo>
                      <a:pt x="525" y="1661"/>
                    </a:lnTo>
                    <a:lnTo>
                      <a:pt x="534" y="1653"/>
                    </a:lnTo>
                    <a:lnTo>
                      <a:pt x="534" y="1650"/>
                    </a:lnTo>
                    <a:lnTo>
                      <a:pt x="540" y="1647"/>
                    </a:lnTo>
                    <a:lnTo>
                      <a:pt x="546" y="1642"/>
                    </a:lnTo>
                    <a:lnTo>
                      <a:pt x="548" y="1636"/>
                    </a:lnTo>
                    <a:lnTo>
                      <a:pt x="547" y="1632"/>
                    </a:lnTo>
                    <a:lnTo>
                      <a:pt x="554" y="1611"/>
                    </a:lnTo>
                    <a:lnTo>
                      <a:pt x="577" y="1600"/>
                    </a:lnTo>
                    <a:lnTo>
                      <a:pt x="594" y="1598"/>
                    </a:lnTo>
                    <a:lnTo>
                      <a:pt x="593" y="1588"/>
                    </a:lnTo>
                    <a:lnTo>
                      <a:pt x="594" y="1578"/>
                    </a:lnTo>
                    <a:lnTo>
                      <a:pt x="607" y="1560"/>
                    </a:lnTo>
                    <a:lnTo>
                      <a:pt x="610" y="1552"/>
                    </a:lnTo>
                    <a:lnTo>
                      <a:pt x="615" y="1541"/>
                    </a:lnTo>
                    <a:lnTo>
                      <a:pt x="628" y="1539"/>
                    </a:lnTo>
                    <a:lnTo>
                      <a:pt x="632" y="1542"/>
                    </a:lnTo>
                    <a:lnTo>
                      <a:pt x="643" y="1542"/>
                    </a:lnTo>
                    <a:lnTo>
                      <a:pt x="643" y="1525"/>
                    </a:lnTo>
                    <a:lnTo>
                      <a:pt x="640" y="1496"/>
                    </a:lnTo>
                    <a:lnTo>
                      <a:pt x="640" y="1467"/>
                    </a:lnTo>
                    <a:lnTo>
                      <a:pt x="643" y="1456"/>
                    </a:lnTo>
                    <a:lnTo>
                      <a:pt x="655" y="1431"/>
                    </a:lnTo>
                    <a:lnTo>
                      <a:pt x="660" y="1417"/>
                    </a:lnTo>
                    <a:lnTo>
                      <a:pt x="667" y="1390"/>
                    </a:lnTo>
                    <a:lnTo>
                      <a:pt x="669" y="1381"/>
                    </a:lnTo>
                    <a:lnTo>
                      <a:pt x="667" y="1368"/>
                    </a:lnTo>
                    <a:lnTo>
                      <a:pt x="661" y="1363"/>
                    </a:lnTo>
                    <a:lnTo>
                      <a:pt x="660" y="1358"/>
                    </a:lnTo>
                    <a:lnTo>
                      <a:pt x="658" y="1356"/>
                    </a:lnTo>
                    <a:lnTo>
                      <a:pt x="660" y="1352"/>
                    </a:lnTo>
                    <a:lnTo>
                      <a:pt x="664" y="1356"/>
                    </a:lnTo>
                    <a:lnTo>
                      <a:pt x="656" y="1324"/>
                    </a:lnTo>
                    <a:lnTo>
                      <a:pt x="659" y="1314"/>
                    </a:lnTo>
                    <a:lnTo>
                      <a:pt x="659" y="1304"/>
                    </a:lnTo>
                    <a:lnTo>
                      <a:pt x="659" y="1302"/>
                    </a:lnTo>
                    <a:lnTo>
                      <a:pt x="655" y="1297"/>
                    </a:lnTo>
                    <a:lnTo>
                      <a:pt x="654" y="1284"/>
                    </a:lnTo>
                    <a:lnTo>
                      <a:pt x="654" y="1262"/>
                    </a:lnTo>
                    <a:lnTo>
                      <a:pt x="661" y="1251"/>
                    </a:lnTo>
                    <a:lnTo>
                      <a:pt x="670" y="1238"/>
                    </a:lnTo>
                    <a:lnTo>
                      <a:pt x="680" y="1233"/>
                    </a:lnTo>
                    <a:lnTo>
                      <a:pt x="688" y="1232"/>
                    </a:lnTo>
                    <a:lnTo>
                      <a:pt x="698" y="1238"/>
                    </a:lnTo>
                    <a:lnTo>
                      <a:pt x="706" y="1234"/>
                    </a:lnTo>
                    <a:lnTo>
                      <a:pt x="713" y="1222"/>
                    </a:lnTo>
                    <a:lnTo>
                      <a:pt x="718" y="1208"/>
                    </a:lnTo>
                    <a:lnTo>
                      <a:pt x="720" y="1208"/>
                    </a:lnTo>
                    <a:lnTo>
                      <a:pt x="733" y="1205"/>
                    </a:lnTo>
                    <a:lnTo>
                      <a:pt x="746" y="1202"/>
                    </a:lnTo>
                    <a:lnTo>
                      <a:pt x="769" y="1193"/>
                    </a:lnTo>
                    <a:lnTo>
                      <a:pt x="776" y="1185"/>
                    </a:lnTo>
                    <a:lnTo>
                      <a:pt x="776" y="1174"/>
                    </a:lnTo>
                    <a:lnTo>
                      <a:pt x="782" y="1164"/>
                    </a:lnTo>
                    <a:lnTo>
                      <a:pt x="795" y="1155"/>
                    </a:lnTo>
                    <a:lnTo>
                      <a:pt x="820" y="1136"/>
                    </a:lnTo>
                    <a:lnTo>
                      <a:pt x="837" y="1123"/>
                    </a:lnTo>
                    <a:lnTo>
                      <a:pt x="849" y="1109"/>
                    </a:lnTo>
                    <a:lnTo>
                      <a:pt x="864" y="1098"/>
                    </a:lnTo>
                    <a:lnTo>
                      <a:pt x="875" y="1092"/>
                    </a:lnTo>
                    <a:lnTo>
                      <a:pt x="878" y="1088"/>
                    </a:lnTo>
                    <a:lnTo>
                      <a:pt x="880" y="1087"/>
                    </a:lnTo>
                    <a:lnTo>
                      <a:pt x="890" y="1077"/>
                    </a:lnTo>
                    <a:lnTo>
                      <a:pt x="925" y="1034"/>
                    </a:lnTo>
                    <a:lnTo>
                      <a:pt x="938" y="1024"/>
                    </a:lnTo>
                    <a:lnTo>
                      <a:pt x="968" y="1007"/>
                    </a:lnTo>
                    <a:lnTo>
                      <a:pt x="986" y="1001"/>
                    </a:lnTo>
                    <a:lnTo>
                      <a:pt x="995" y="996"/>
                    </a:lnTo>
                    <a:lnTo>
                      <a:pt x="998" y="996"/>
                    </a:lnTo>
                    <a:lnTo>
                      <a:pt x="1015" y="981"/>
                    </a:lnTo>
                    <a:lnTo>
                      <a:pt x="1024" y="970"/>
                    </a:lnTo>
                    <a:lnTo>
                      <a:pt x="1026" y="964"/>
                    </a:lnTo>
                    <a:lnTo>
                      <a:pt x="1036" y="953"/>
                    </a:lnTo>
                    <a:lnTo>
                      <a:pt x="1030" y="929"/>
                    </a:lnTo>
                    <a:lnTo>
                      <a:pt x="1036" y="913"/>
                    </a:lnTo>
                    <a:lnTo>
                      <a:pt x="1068" y="897"/>
                    </a:lnTo>
                    <a:lnTo>
                      <a:pt x="1078" y="894"/>
                    </a:lnTo>
                    <a:lnTo>
                      <a:pt x="1084" y="889"/>
                    </a:lnTo>
                    <a:lnTo>
                      <a:pt x="1089" y="880"/>
                    </a:lnTo>
                    <a:lnTo>
                      <a:pt x="1091" y="874"/>
                    </a:lnTo>
                    <a:lnTo>
                      <a:pt x="1096" y="868"/>
                    </a:lnTo>
                    <a:lnTo>
                      <a:pt x="1100" y="868"/>
                    </a:lnTo>
                    <a:lnTo>
                      <a:pt x="1097" y="880"/>
                    </a:lnTo>
                    <a:lnTo>
                      <a:pt x="1097" y="893"/>
                    </a:lnTo>
                    <a:lnTo>
                      <a:pt x="1099" y="894"/>
                    </a:lnTo>
                    <a:lnTo>
                      <a:pt x="1101" y="894"/>
                    </a:lnTo>
                    <a:lnTo>
                      <a:pt x="1104" y="895"/>
                    </a:lnTo>
                    <a:lnTo>
                      <a:pt x="1107" y="902"/>
                    </a:lnTo>
                    <a:lnTo>
                      <a:pt x="1116" y="901"/>
                    </a:lnTo>
                    <a:lnTo>
                      <a:pt x="1121" y="897"/>
                    </a:lnTo>
                    <a:lnTo>
                      <a:pt x="1124" y="899"/>
                    </a:lnTo>
                    <a:lnTo>
                      <a:pt x="1126" y="890"/>
                    </a:lnTo>
                    <a:lnTo>
                      <a:pt x="1128" y="886"/>
                    </a:lnTo>
                    <a:lnTo>
                      <a:pt x="1131" y="896"/>
                    </a:lnTo>
                    <a:lnTo>
                      <a:pt x="1134" y="900"/>
                    </a:lnTo>
                    <a:lnTo>
                      <a:pt x="1142" y="897"/>
                    </a:lnTo>
                    <a:lnTo>
                      <a:pt x="1135" y="884"/>
                    </a:lnTo>
                    <a:lnTo>
                      <a:pt x="1137" y="878"/>
                    </a:lnTo>
                    <a:lnTo>
                      <a:pt x="1135" y="874"/>
                    </a:lnTo>
                    <a:lnTo>
                      <a:pt x="1133" y="863"/>
                    </a:lnTo>
                    <a:lnTo>
                      <a:pt x="1134" y="854"/>
                    </a:lnTo>
                    <a:lnTo>
                      <a:pt x="1132" y="846"/>
                    </a:lnTo>
                    <a:lnTo>
                      <a:pt x="1127" y="841"/>
                    </a:lnTo>
                    <a:lnTo>
                      <a:pt x="1124" y="832"/>
                    </a:lnTo>
                    <a:lnTo>
                      <a:pt x="1124" y="823"/>
                    </a:lnTo>
                    <a:lnTo>
                      <a:pt x="1126" y="820"/>
                    </a:lnTo>
                    <a:lnTo>
                      <a:pt x="1127" y="804"/>
                    </a:lnTo>
                    <a:lnTo>
                      <a:pt x="1126" y="800"/>
                    </a:lnTo>
                    <a:lnTo>
                      <a:pt x="1122" y="799"/>
                    </a:lnTo>
                    <a:lnTo>
                      <a:pt x="1122" y="784"/>
                    </a:lnTo>
                    <a:lnTo>
                      <a:pt x="1116" y="778"/>
                    </a:lnTo>
                    <a:lnTo>
                      <a:pt x="1116" y="770"/>
                    </a:lnTo>
                    <a:lnTo>
                      <a:pt x="1118" y="759"/>
                    </a:lnTo>
                    <a:lnTo>
                      <a:pt x="1120" y="738"/>
                    </a:lnTo>
                    <a:lnTo>
                      <a:pt x="1111" y="728"/>
                    </a:lnTo>
                    <a:lnTo>
                      <a:pt x="1105" y="723"/>
                    </a:lnTo>
                    <a:lnTo>
                      <a:pt x="1094" y="718"/>
                    </a:lnTo>
                    <a:lnTo>
                      <a:pt x="1085" y="714"/>
                    </a:lnTo>
                    <a:lnTo>
                      <a:pt x="1084" y="708"/>
                    </a:lnTo>
                    <a:lnTo>
                      <a:pt x="1085" y="703"/>
                    </a:lnTo>
                    <a:lnTo>
                      <a:pt x="1090" y="695"/>
                    </a:lnTo>
                    <a:lnTo>
                      <a:pt x="1097" y="694"/>
                    </a:lnTo>
                    <a:lnTo>
                      <a:pt x="1104" y="690"/>
                    </a:lnTo>
                    <a:lnTo>
                      <a:pt x="1106" y="683"/>
                    </a:lnTo>
                    <a:lnTo>
                      <a:pt x="1126" y="681"/>
                    </a:lnTo>
                    <a:lnTo>
                      <a:pt x="1126" y="673"/>
                    </a:lnTo>
                    <a:lnTo>
                      <a:pt x="1122" y="669"/>
                    </a:lnTo>
                    <a:lnTo>
                      <a:pt x="1123" y="665"/>
                    </a:lnTo>
                    <a:lnTo>
                      <a:pt x="1108" y="667"/>
                    </a:lnTo>
                    <a:lnTo>
                      <a:pt x="1101" y="662"/>
                    </a:lnTo>
                    <a:lnTo>
                      <a:pt x="1099" y="648"/>
                    </a:lnTo>
                    <a:lnTo>
                      <a:pt x="1095" y="644"/>
                    </a:lnTo>
                    <a:lnTo>
                      <a:pt x="1110" y="620"/>
                    </a:lnTo>
                    <a:lnTo>
                      <a:pt x="1112" y="608"/>
                    </a:lnTo>
                    <a:lnTo>
                      <a:pt x="1117" y="605"/>
                    </a:lnTo>
                    <a:lnTo>
                      <a:pt x="1126" y="622"/>
                    </a:lnTo>
                    <a:lnTo>
                      <a:pt x="1132" y="630"/>
                    </a:lnTo>
                    <a:lnTo>
                      <a:pt x="1133" y="622"/>
                    </a:lnTo>
                    <a:lnTo>
                      <a:pt x="1137" y="610"/>
                    </a:lnTo>
                    <a:lnTo>
                      <a:pt x="1143" y="613"/>
                    </a:lnTo>
                    <a:lnTo>
                      <a:pt x="1145" y="627"/>
                    </a:lnTo>
                    <a:lnTo>
                      <a:pt x="1153" y="636"/>
                    </a:lnTo>
                    <a:lnTo>
                      <a:pt x="1159" y="632"/>
                    </a:lnTo>
                    <a:lnTo>
                      <a:pt x="1166" y="638"/>
                    </a:lnTo>
                    <a:lnTo>
                      <a:pt x="1175" y="624"/>
                    </a:lnTo>
                    <a:lnTo>
                      <a:pt x="1177" y="628"/>
                    </a:lnTo>
                    <a:lnTo>
                      <a:pt x="1180" y="648"/>
                    </a:lnTo>
                    <a:lnTo>
                      <a:pt x="1185" y="667"/>
                    </a:lnTo>
                    <a:lnTo>
                      <a:pt x="1192" y="675"/>
                    </a:lnTo>
                    <a:lnTo>
                      <a:pt x="1203" y="680"/>
                    </a:lnTo>
                    <a:lnTo>
                      <a:pt x="1246" y="684"/>
                    </a:lnTo>
                    <a:lnTo>
                      <a:pt x="1250" y="681"/>
                    </a:lnTo>
                    <a:lnTo>
                      <a:pt x="1264" y="679"/>
                    </a:lnTo>
                    <a:lnTo>
                      <a:pt x="1288" y="681"/>
                    </a:lnTo>
                    <a:lnTo>
                      <a:pt x="1311" y="685"/>
                    </a:lnTo>
                    <a:lnTo>
                      <a:pt x="1326" y="691"/>
                    </a:lnTo>
                    <a:lnTo>
                      <a:pt x="1325" y="696"/>
                    </a:lnTo>
                    <a:lnTo>
                      <a:pt x="1315" y="701"/>
                    </a:lnTo>
                    <a:lnTo>
                      <a:pt x="1310" y="714"/>
                    </a:lnTo>
                    <a:lnTo>
                      <a:pt x="1298" y="729"/>
                    </a:lnTo>
                    <a:lnTo>
                      <a:pt x="1288" y="739"/>
                    </a:lnTo>
                    <a:lnTo>
                      <a:pt x="1276" y="744"/>
                    </a:lnTo>
                    <a:lnTo>
                      <a:pt x="1262" y="754"/>
                    </a:lnTo>
                    <a:lnTo>
                      <a:pt x="1260" y="762"/>
                    </a:lnTo>
                    <a:lnTo>
                      <a:pt x="1261" y="778"/>
                    </a:lnTo>
                    <a:lnTo>
                      <a:pt x="1268" y="798"/>
                    </a:lnTo>
                    <a:lnTo>
                      <a:pt x="1278" y="799"/>
                    </a:lnTo>
                    <a:lnTo>
                      <a:pt x="1284" y="809"/>
                    </a:lnTo>
                    <a:lnTo>
                      <a:pt x="1292" y="814"/>
                    </a:lnTo>
                    <a:lnTo>
                      <a:pt x="1295" y="807"/>
                    </a:lnTo>
                    <a:lnTo>
                      <a:pt x="1301" y="786"/>
                    </a:lnTo>
                    <a:lnTo>
                      <a:pt x="1312" y="771"/>
                    </a:lnTo>
                    <a:lnTo>
                      <a:pt x="1319" y="772"/>
                    </a:lnTo>
                    <a:lnTo>
                      <a:pt x="1326" y="786"/>
                    </a:lnTo>
                    <a:lnTo>
                      <a:pt x="1331" y="803"/>
                    </a:lnTo>
                    <a:lnTo>
                      <a:pt x="1333" y="811"/>
                    </a:lnTo>
                    <a:lnTo>
                      <a:pt x="1336" y="819"/>
                    </a:lnTo>
                    <a:lnTo>
                      <a:pt x="1342" y="847"/>
                    </a:lnTo>
                    <a:lnTo>
                      <a:pt x="1346" y="881"/>
                    </a:lnTo>
                    <a:lnTo>
                      <a:pt x="1349" y="878"/>
                    </a:lnTo>
                    <a:lnTo>
                      <a:pt x="1354" y="873"/>
                    </a:lnTo>
                    <a:lnTo>
                      <a:pt x="1363" y="875"/>
                    </a:lnTo>
                    <a:lnTo>
                      <a:pt x="1368" y="874"/>
                    </a:lnTo>
                    <a:lnTo>
                      <a:pt x="1373" y="868"/>
                    </a:lnTo>
                    <a:lnTo>
                      <a:pt x="1374" y="862"/>
                    </a:lnTo>
                    <a:lnTo>
                      <a:pt x="1371" y="862"/>
                    </a:lnTo>
                    <a:lnTo>
                      <a:pt x="1368" y="852"/>
                    </a:lnTo>
                    <a:lnTo>
                      <a:pt x="1368" y="836"/>
                    </a:lnTo>
                    <a:lnTo>
                      <a:pt x="1369" y="823"/>
                    </a:lnTo>
                    <a:lnTo>
                      <a:pt x="1380" y="824"/>
                    </a:lnTo>
                    <a:lnTo>
                      <a:pt x="1384" y="819"/>
                    </a:lnTo>
                    <a:lnTo>
                      <a:pt x="1387" y="799"/>
                    </a:lnTo>
                    <a:lnTo>
                      <a:pt x="1386" y="773"/>
                    </a:lnTo>
                    <a:lnTo>
                      <a:pt x="1393" y="766"/>
                    </a:lnTo>
                    <a:lnTo>
                      <a:pt x="1407" y="762"/>
                    </a:lnTo>
                    <a:lnTo>
                      <a:pt x="1420" y="765"/>
                    </a:lnTo>
                    <a:lnTo>
                      <a:pt x="1428" y="765"/>
                    </a:lnTo>
                    <a:lnTo>
                      <a:pt x="1433" y="760"/>
                    </a:lnTo>
                    <a:lnTo>
                      <a:pt x="1439" y="740"/>
                    </a:lnTo>
                    <a:lnTo>
                      <a:pt x="1457" y="705"/>
                    </a:lnTo>
                    <a:lnTo>
                      <a:pt x="1461" y="694"/>
                    </a:lnTo>
                    <a:lnTo>
                      <a:pt x="1459" y="684"/>
                    </a:lnTo>
                    <a:lnTo>
                      <a:pt x="1465" y="675"/>
                    </a:lnTo>
                    <a:lnTo>
                      <a:pt x="1481" y="664"/>
                    </a:lnTo>
                    <a:lnTo>
                      <a:pt x="1487" y="652"/>
                    </a:lnTo>
                    <a:lnTo>
                      <a:pt x="1486" y="624"/>
                    </a:lnTo>
                    <a:lnTo>
                      <a:pt x="1493" y="608"/>
                    </a:lnTo>
                    <a:lnTo>
                      <a:pt x="1506" y="597"/>
                    </a:lnTo>
                    <a:lnTo>
                      <a:pt x="1521" y="589"/>
                    </a:lnTo>
                    <a:lnTo>
                      <a:pt x="1531" y="581"/>
                    </a:lnTo>
                    <a:lnTo>
                      <a:pt x="1538" y="567"/>
                    </a:lnTo>
                    <a:lnTo>
                      <a:pt x="1558" y="563"/>
                    </a:lnTo>
                    <a:lnTo>
                      <a:pt x="1569" y="560"/>
                    </a:lnTo>
                    <a:lnTo>
                      <a:pt x="1585" y="565"/>
                    </a:lnTo>
                    <a:lnTo>
                      <a:pt x="1590" y="560"/>
                    </a:lnTo>
                    <a:lnTo>
                      <a:pt x="1586" y="544"/>
                    </a:lnTo>
                    <a:lnTo>
                      <a:pt x="1591" y="530"/>
                    </a:lnTo>
                    <a:lnTo>
                      <a:pt x="1602" y="525"/>
                    </a:lnTo>
                    <a:lnTo>
                      <a:pt x="1608" y="518"/>
                    </a:lnTo>
                    <a:lnTo>
                      <a:pt x="1608" y="506"/>
                    </a:lnTo>
                    <a:lnTo>
                      <a:pt x="1604" y="493"/>
                    </a:lnTo>
                    <a:lnTo>
                      <a:pt x="1594" y="490"/>
                    </a:lnTo>
                    <a:lnTo>
                      <a:pt x="1580" y="490"/>
                    </a:lnTo>
                    <a:lnTo>
                      <a:pt x="1570" y="486"/>
                    </a:lnTo>
                    <a:lnTo>
                      <a:pt x="1552" y="486"/>
                    </a:lnTo>
                    <a:lnTo>
                      <a:pt x="1554" y="470"/>
                    </a:lnTo>
                    <a:lnTo>
                      <a:pt x="1556" y="455"/>
                    </a:lnTo>
                    <a:lnTo>
                      <a:pt x="1543" y="453"/>
                    </a:lnTo>
                    <a:lnTo>
                      <a:pt x="1541" y="442"/>
                    </a:lnTo>
                    <a:lnTo>
                      <a:pt x="1543" y="434"/>
                    </a:lnTo>
                    <a:lnTo>
                      <a:pt x="1532" y="422"/>
                    </a:lnTo>
                    <a:lnTo>
                      <a:pt x="1520" y="426"/>
                    </a:lnTo>
                    <a:lnTo>
                      <a:pt x="1505" y="436"/>
                    </a:lnTo>
                    <a:lnTo>
                      <a:pt x="1492" y="439"/>
                    </a:lnTo>
                    <a:lnTo>
                      <a:pt x="1472" y="441"/>
                    </a:lnTo>
                    <a:lnTo>
                      <a:pt x="1463" y="439"/>
                    </a:lnTo>
                    <a:lnTo>
                      <a:pt x="1457" y="434"/>
                    </a:lnTo>
                    <a:lnTo>
                      <a:pt x="1452" y="433"/>
                    </a:lnTo>
                    <a:lnTo>
                      <a:pt x="1443" y="438"/>
                    </a:lnTo>
                    <a:lnTo>
                      <a:pt x="1434" y="444"/>
                    </a:lnTo>
                    <a:lnTo>
                      <a:pt x="1428" y="455"/>
                    </a:lnTo>
                    <a:lnTo>
                      <a:pt x="1408" y="472"/>
                    </a:lnTo>
                    <a:lnTo>
                      <a:pt x="1393" y="476"/>
                    </a:lnTo>
                    <a:lnTo>
                      <a:pt x="1379" y="492"/>
                    </a:lnTo>
                    <a:lnTo>
                      <a:pt x="1369" y="499"/>
                    </a:lnTo>
                    <a:lnTo>
                      <a:pt x="1354" y="507"/>
                    </a:lnTo>
                    <a:lnTo>
                      <a:pt x="1342" y="515"/>
                    </a:lnTo>
                    <a:lnTo>
                      <a:pt x="1314" y="522"/>
                    </a:lnTo>
                    <a:lnTo>
                      <a:pt x="1296" y="527"/>
                    </a:lnTo>
                    <a:lnTo>
                      <a:pt x="1298" y="529"/>
                    </a:lnTo>
                    <a:lnTo>
                      <a:pt x="1298" y="531"/>
                    </a:lnTo>
                    <a:lnTo>
                      <a:pt x="1295" y="538"/>
                    </a:lnTo>
                    <a:lnTo>
                      <a:pt x="1295" y="540"/>
                    </a:lnTo>
                    <a:lnTo>
                      <a:pt x="1296" y="542"/>
                    </a:lnTo>
                    <a:lnTo>
                      <a:pt x="1315" y="550"/>
                    </a:lnTo>
                    <a:lnTo>
                      <a:pt x="1321" y="556"/>
                    </a:lnTo>
                    <a:lnTo>
                      <a:pt x="1319" y="570"/>
                    </a:lnTo>
                    <a:lnTo>
                      <a:pt x="1320" y="574"/>
                    </a:lnTo>
                    <a:lnTo>
                      <a:pt x="1320" y="577"/>
                    </a:lnTo>
                    <a:lnTo>
                      <a:pt x="1312" y="581"/>
                    </a:lnTo>
                    <a:lnTo>
                      <a:pt x="1292" y="584"/>
                    </a:lnTo>
                    <a:lnTo>
                      <a:pt x="1278" y="585"/>
                    </a:lnTo>
                    <a:lnTo>
                      <a:pt x="1257" y="589"/>
                    </a:lnTo>
                    <a:lnTo>
                      <a:pt x="1249" y="590"/>
                    </a:lnTo>
                    <a:lnTo>
                      <a:pt x="1240" y="590"/>
                    </a:lnTo>
                    <a:lnTo>
                      <a:pt x="1230" y="587"/>
                    </a:lnTo>
                    <a:lnTo>
                      <a:pt x="1225" y="587"/>
                    </a:lnTo>
                    <a:lnTo>
                      <a:pt x="1202" y="595"/>
                    </a:lnTo>
                    <a:lnTo>
                      <a:pt x="1183" y="595"/>
                    </a:lnTo>
                    <a:lnTo>
                      <a:pt x="1160" y="592"/>
                    </a:lnTo>
                    <a:lnTo>
                      <a:pt x="1149" y="588"/>
                    </a:lnTo>
                    <a:lnTo>
                      <a:pt x="1145" y="585"/>
                    </a:lnTo>
                    <a:lnTo>
                      <a:pt x="1142" y="585"/>
                    </a:lnTo>
                    <a:lnTo>
                      <a:pt x="1140" y="584"/>
                    </a:lnTo>
                    <a:lnTo>
                      <a:pt x="1140" y="577"/>
                    </a:lnTo>
                    <a:lnTo>
                      <a:pt x="1139" y="574"/>
                    </a:lnTo>
                    <a:lnTo>
                      <a:pt x="1134" y="573"/>
                    </a:lnTo>
                    <a:lnTo>
                      <a:pt x="1134" y="568"/>
                    </a:lnTo>
                    <a:lnTo>
                      <a:pt x="1143" y="560"/>
                    </a:lnTo>
                    <a:lnTo>
                      <a:pt x="1144" y="556"/>
                    </a:lnTo>
                    <a:lnTo>
                      <a:pt x="1139" y="556"/>
                    </a:lnTo>
                    <a:lnTo>
                      <a:pt x="1135" y="554"/>
                    </a:lnTo>
                    <a:lnTo>
                      <a:pt x="1133" y="551"/>
                    </a:lnTo>
                    <a:lnTo>
                      <a:pt x="1133" y="544"/>
                    </a:lnTo>
                    <a:lnTo>
                      <a:pt x="1137" y="531"/>
                    </a:lnTo>
                    <a:lnTo>
                      <a:pt x="1137" y="525"/>
                    </a:lnTo>
                    <a:lnTo>
                      <a:pt x="1134" y="515"/>
                    </a:lnTo>
                    <a:lnTo>
                      <a:pt x="1133" y="512"/>
                    </a:lnTo>
                    <a:lnTo>
                      <a:pt x="1128" y="509"/>
                    </a:lnTo>
                    <a:lnTo>
                      <a:pt x="1123" y="511"/>
                    </a:lnTo>
                    <a:lnTo>
                      <a:pt x="1115" y="517"/>
                    </a:lnTo>
                    <a:lnTo>
                      <a:pt x="1107" y="517"/>
                    </a:lnTo>
                    <a:lnTo>
                      <a:pt x="1099" y="520"/>
                    </a:lnTo>
                    <a:lnTo>
                      <a:pt x="1097" y="522"/>
                    </a:lnTo>
                    <a:lnTo>
                      <a:pt x="1094" y="529"/>
                    </a:lnTo>
                    <a:lnTo>
                      <a:pt x="1090" y="541"/>
                    </a:lnTo>
                    <a:lnTo>
                      <a:pt x="1091" y="556"/>
                    </a:lnTo>
                    <a:lnTo>
                      <a:pt x="1090" y="570"/>
                    </a:lnTo>
                    <a:lnTo>
                      <a:pt x="1086" y="574"/>
                    </a:lnTo>
                    <a:lnTo>
                      <a:pt x="1086" y="578"/>
                    </a:lnTo>
                    <a:lnTo>
                      <a:pt x="1094" y="582"/>
                    </a:lnTo>
                    <a:lnTo>
                      <a:pt x="1099" y="592"/>
                    </a:lnTo>
                    <a:lnTo>
                      <a:pt x="1099" y="599"/>
                    </a:lnTo>
                    <a:lnTo>
                      <a:pt x="1092" y="610"/>
                    </a:lnTo>
                    <a:lnTo>
                      <a:pt x="1092" y="613"/>
                    </a:lnTo>
                    <a:lnTo>
                      <a:pt x="1080" y="611"/>
                    </a:lnTo>
                    <a:lnTo>
                      <a:pt x="1069" y="614"/>
                    </a:lnTo>
                    <a:lnTo>
                      <a:pt x="1054" y="613"/>
                    </a:lnTo>
                    <a:lnTo>
                      <a:pt x="1046" y="615"/>
                    </a:lnTo>
                    <a:lnTo>
                      <a:pt x="1036" y="610"/>
                    </a:lnTo>
                    <a:lnTo>
                      <a:pt x="1026" y="609"/>
                    </a:lnTo>
                    <a:lnTo>
                      <a:pt x="1020" y="609"/>
                    </a:lnTo>
                    <a:lnTo>
                      <a:pt x="973" y="601"/>
                    </a:lnTo>
                    <a:lnTo>
                      <a:pt x="967" y="595"/>
                    </a:lnTo>
                    <a:lnTo>
                      <a:pt x="959" y="592"/>
                    </a:lnTo>
                    <a:lnTo>
                      <a:pt x="945" y="593"/>
                    </a:lnTo>
                    <a:lnTo>
                      <a:pt x="925" y="589"/>
                    </a:lnTo>
                    <a:lnTo>
                      <a:pt x="913" y="581"/>
                    </a:lnTo>
                    <a:lnTo>
                      <a:pt x="907" y="576"/>
                    </a:lnTo>
                    <a:lnTo>
                      <a:pt x="897" y="562"/>
                    </a:lnTo>
                    <a:lnTo>
                      <a:pt x="891" y="558"/>
                    </a:lnTo>
                    <a:lnTo>
                      <a:pt x="873" y="555"/>
                    </a:lnTo>
                    <a:lnTo>
                      <a:pt x="869" y="555"/>
                    </a:lnTo>
                    <a:lnTo>
                      <a:pt x="866" y="558"/>
                    </a:lnTo>
                    <a:lnTo>
                      <a:pt x="860" y="557"/>
                    </a:lnTo>
                    <a:lnTo>
                      <a:pt x="852" y="554"/>
                    </a:lnTo>
                    <a:lnTo>
                      <a:pt x="841" y="554"/>
                    </a:lnTo>
                    <a:lnTo>
                      <a:pt x="832" y="558"/>
                    </a:lnTo>
                    <a:lnTo>
                      <a:pt x="827" y="558"/>
                    </a:lnTo>
                    <a:lnTo>
                      <a:pt x="806" y="554"/>
                    </a:lnTo>
                    <a:lnTo>
                      <a:pt x="796" y="541"/>
                    </a:lnTo>
                    <a:lnTo>
                      <a:pt x="794" y="539"/>
                    </a:lnTo>
                    <a:lnTo>
                      <a:pt x="785" y="538"/>
                    </a:lnTo>
                    <a:lnTo>
                      <a:pt x="782" y="538"/>
                    </a:lnTo>
                    <a:lnTo>
                      <a:pt x="772" y="530"/>
                    </a:lnTo>
                    <a:lnTo>
                      <a:pt x="761" y="525"/>
                    </a:lnTo>
                    <a:lnTo>
                      <a:pt x="751" y="524"/>
                    </a:lnTo>
                    <a:lnTo>
                      <a:pt x="741" y="519"/>
                    </a:lnTo>
                    <a:lnTo>
                      <a:pt x="736" y="515"/>
                    </a:lnTo>
                    <a:lnTo>
                      <a:pt x="724" y="501"/>
                    </a:lnTo>
                    <a:lnTo>
                      <a:pt x="715" y="495"/>
                    </a:lnTo>
                    <a:lnTo>
                      <a:pt x="707" y="491"/>
                    </a:lnTo>
                    <a:lnTo>
                      <a:pt x="703" y="487"/>
                    </a:lnTo>
                    <a:lnTo>
                      <a:pt x="690" y="480"/>
                    </a:lnTo>
                    <a:lnTo>
                      <a:pt x="687" y="480"/>
                    </a:lnTo>
                    <a:lnTo>
                      <a:pt x="686" y="484"/>
                    </a:lnTo>
                    <a:lnTo>
                      <a:pt x="681" y="484"/>
                    </a:lnTo>
                    <a:lnTo>
                      <a:pt x="676" y="480"/>
                    </a:lnTo>
                    <a:lnTo>
                      <a:pt x="675" y="474"/>
                    </a:lnTo>
                    <a:lnTo>
                      <a:pt x="670" y="469"/>
                    </a:lnTo>
                    <a:lnTo>
                      <a:pt x="659" y="468"/>
                    </a:lnTo>
                    <a:lnTo>
                      <a:pt x="658" y="465"/>
                    </a:lnTo>
                    <a:lnTo>
                      <a:pt x="659" y="458"/>
                    </a:lnTo>
                    <a:lnTo>
                      <a:pt x="664" y="450"/>
                    </a:lnTo>
                    <a:lnTo>
                      <a:pt x="667" y="449"/>
                    </a:lnTo>
                    <a:lnTo>
                      <a:pt x="669" y="442"/>
                    </a:lnTo>
                    <a:lnTo>
                      <a:pt x="672" y="438"/>
                    </a:lnTo>
                    <a:lnTo>
                      <a:pt x="669" y="429"/>
                    </a:lnTo>
                    <a:lnTo>
                      <a:pt x="672" y="422"/>
                    </a:lnTo>
                    <a:lnTo>
                      <a:pt x="677" y="416"/>
                    </a:lnTo>
                    <a:lnTo>
                      <a:pt x="675" y="409"/>
                    </a:lnTo>
                    <a:lnTo>
                      <a:pt x="675" y="405"/>
                    </a:lnTo>
                    <a:lnTo>
                      <a:pt x="679" y="400"/>
                    </a:lnTo>
                    <a:lnTo>
                      <a:pt x="685" y="400"/>
                    </a:lnTo>
                    <a:lnTo>
                      <a:pt x="688" y="393"/>
                    </a:lnTo>
                    <a:lnTo>
                      <a:pt x="696" y="388"/>
                    </a:lnTo>
                    <a:lnTo>
                      <a:pt x="699" y="382"/>
                    </a:lnTo>
                    <a:lnTo>
                      <a:pt x="701" y="377"/>
                    </a:lnTo>
                    <a:lnTo>
                      <a:pt x="703" y="375"/>
                    </a:lnTo>
                    <a:lnTo>
                      <a:pt x="706" y="377"/>
                    </a:lnTo>
                    <a:lnTo>
                      <a:pt x="712" y="375"/>
                    </a:lnTo>
                    <a:lnTo>
                      <a:pt x="709" y="374"/>
                    </a:lnTo>
                    <a:lnTo>
                      <a:pt x="692" y="369"/>
                    </a:lnTo>
                    <a:lnTo>
                      <a:pt x="690" y="367"/>
                    </a:lnTo>
                    <a:lnTo>
                      <a:pt x="686" y="361"/>
                    </a:lnTo>
                    <a:lnTo>
                      <a:pt x="681" y="359"/>
                    </a:lnTo>
                    <a:lnTo>
                      <a:pt x="669" y="350"/>
                    </a:lnTo>
                    <a:lnTo>
                      <a:pt x="663" y="350"/>
                    </a:lnTo>
                    <a:lnTo>
                      <a:pt x="656" y="346"/>
                    </a:lnTo>
                    <a:lnTo>
                      <a:pt x="654" y="342"/>
                    </a:lnTo>
                    <a:lnTo>
                      <a:pt x="654" y="339"/>
                    </a:lnTo>
                    <a:lnTo>
                      <a:pt x="651" y="335"/>
                    </a:lnTo>
                    <a:lnTo>
                      <a:pt x="647" y="335"/>
                    </a:lnTo>
                    <a:lnTo>
                      <a:pt x="645" y="332"/>
                    </a:lnTo>
                    <a:lnTo>
                      <a:pt x="640" y="330"/>
                    </a:lnTo>
                    <a:lnTo>
                      <a:pt x="632" y="334"/>
                    </a:lnTo>
                    <a:lnTo>
                      <a:pt x="631" y="332"/>
                    </a:lnTo>
                    <a:lnTo>
                      <a:pt x="629" y="326"/>
                    </a:lnTo>
                    <a:lnTo>
                      <a:pt x="628" y="325"/>
                    </a:lnTo>
                    <a:lnTo>
                      <a:pt x="624" y="324"/>
                    </a:lnTo>
                    <a:lnTo>
                      <a:pt x="621" y="325"/>
                    </a:lnTo>
                    <a:lnTo>
                      <a:pt x="612" y="324"/>
                    </a:lnTo>
                    <a:lnTo>
                      <a:pt x="608" y="325"/>
                    </a:lnTo>
                    <a:lnTo>
                      <a:pt x="602" y="329"/>
                    </a:lnTo>
                    <a:lnTo>
                      <a:pt x="599" y="329"/>
                    </a:lnTo>
                    <a:lnTo>
                      <a:pt x="596" y="326"/>
                    </a:lnTo>
                    <a:lnTo>
                      <a:pt x="597" y="316"/>
                    </a:lnTo>
                    <a:lnTo>
                      <a:pt x="593" y="313"/>
                    </a:lnTo>
                    <a:lnTo>
                      <a:pt x="589" y="307"/>
                    </a:lnTo>
                    <a:lnTo>
                      <a:pt x="589" y="304"/>
                    </a:lnTo>
                    <a:lnTo>
                      <a:pt x="584" y="299"/>
                    </a:lnTo>
                    <a:lnTo>
                      <a:pt x="584" y="294"/>
                    </a:lnTo>
                    <a:lnTo>
                      <a:pt x="586" y="287"/>
                    </a:lnTo>
                    <a:lnTo>
                      <a:pt x="583" y="281"/>
                    </a:lnTo>
                    <a:lnTo>
                      <a:pt x="583" y="277"/>
                    </a:lnTo>
                    <a:lnTo>
                      <a:pt x="584" y="270"/>
                    </a:lnTo>
                    <a:lnTo>
                      <a:pt x="586" y="264"/>
                    </a:lnTo>
                    <a:lnTo>
                      <a:pt x="579" y="254"/>
                    </a:lnTo>
                    <a:lnTo>
                      <a:pt x="572" y="246"/>
                    </a:lnTo>
                    <a:lnTo>
                      <a:pt x="572" y="237"/>
                    </a:lnTo>
                    <a:lnTo>
                      <a:pt x="569" y="229"/>
                    </a:lnTo>
                    <a:lnTo>
                      <a:pt x="570" y="226"/>
                    </a:lnTo>
                    <a:lnTo>
                      <a:pt x="581" y="224"/>
                    </a:lnTo>
                    <a:lnTo>
                      <a:pt x="584" y="221"/>
                    </a:lnTo>
                    <a:lnTo>
                      <a:pt x="585" y="222"/>
                    </a:lnTo>
                    <a:lnTo>
                      <a:pt x="586" y="229"/>
                    </a:lnTo>
                    <a:lnTo>
                      <a:pt x="589" y="234"/>
                    </a:lnTo>
                    <a:lnTo>
                      <a:pt x="591" y="237"/>
                    </a:lnTo>
                    <a:lnTo>
                      <a:pt x="599" y="239"/>
                    </a:lnTo>
                    <a:lnTo>
                      <a:pt x="601" y="238"/>
                    </a:lnTo>
                    <a:lnTo>
                      <a:pt x="604" y="237"/>
                    </a:lnTo>
                    <a:lnTo>
                      <a:pt x="607" y="238"/>
                    </a:lnTo>
                    <a:lnTo>
                      <a:pt x="608" y="232"/>
                    </a:lnTo>
                    <a:lnTo>
                      <a:pt x="612" y="229"/>
                    </a:lnTo>
                    <a:lnTo>
                      <a:pt x="616" y="223"/>
                    </a:lnTo>
                    <a:lnTo>
                      <a:pt x="617" y="223"/>
                    </a:lnTo>
                    <a:lnTo>
                      <a:pt x="621" y="228"/>
                    </a:lnTo>
                    <a:lnTo>
                      <a:pt x="623" y="228"/>
                    </a:lnTo>
                    <a:lnTo>
                      <a:pt x="632" y="217"/>
                    </a:lnTo>
                    <a:lnTo>
                      <a:pt x="632" y="215"/>
                    </a:lnTo>
                    <a:lnTo>
                      <a:pt x="628" y="208"/>
                    </a:lnTo>
                    <a:lnTo>
                      <a:pt x="622" y="200"/>
                    </a:lnTo>
                    <a:lnTo>
                      <a:pt x="621" y="195"/>
                    </a:lnTo>
                    <a:lnTo>
                      <a:pt x="622" y="192"/>
                    </a:lnTo>
                    <a:lnTo>
                      <a:pt x="622" y="189"/>
                    </a:lnTo>
                    <a:lnTo>
                      <a:pt x="612" y="184"/>
                    </a:lnTo>
                    <a:lnTo>
                      <a:pt x="607" y="185"/>
                    </a:lnTo>
                    <a:lnTo>
                      <a:pt x="606" y="181"/>
                    </a:lnTo>
                    <a:lnTo>
                      <a:pt x="597" y="174"/>
                    </a:lnTo>
                    <a:lnTo>
                      <a:pt x="597" y="159"/>
                    </a:lnTo>
                    <a:lnTo>
                      <a:pt x="602" y="158"/>
                    </a:lnTo>
                    <a:lnTo>
                      <a:pt x="600" y="152"/>
                    </a:lnTo>
                    <a:lnTo>
                      <a:pt x="601" y="149"/>
                    </a:lnTo>
                    <a:lnTo>
                      <a:pt x="602" y="148"/>
                    </a:lnTo>
                    <a:lnTo>
                      <a:pt x="595" y="141"/>
                    </a:lnTo>
                    <a:lnTo>
                      <a:pt x="596" y="135"/>
                    </a:lnTo>
                    <a:lnTo>
                      <a:pt x="596" y="133"/>
                    </a:lnTo>
                    <a:lnTo>
                      <a:pt x="606" y="133"/>
                    </a:lnTo>
                    <a:lnTo>
                      <a:pt x="610" y="130"/>
                    </a:lnTo>
                    <a:lnTo>
                      <a:pt x="621" y="133"/>
                    </a:lnTo>
                    <a:lnTo>
                      <a:pt x="623" y="131"/>
                    </a:lnTo>
                    <a:lnTo>
                      <a:pt x="628" y="126"/>
                    </a:lnTo>
                    <a:lnTo>
                      <a:pt x="633" y="116"/>
                    </a:lnTo>
                    <a:lnTo>
                      <a:pt x="633" y="105"/>
                    </a:lnTo>
                    <a:lnTo>
                      <a:pt x="643" y="104"/>
                    </a:lnTo>
                    <a:lnTo>
                      <a:pt x="644" y="103"/>
                    </a:lnTo>
                    <a:lnTo>
                      <a:pt x="642" y="100"/>
                    </a:lnTo>
                    <a:lnTo>
                      <a:pt x="643" y="97"/>
                    </a:lnTo>
                    <a:lnTo>
                      <a:pt x="647" y="94"/>
                    </a:lnTo>
                    <a:lnTo>
                      <a:pt x="648" y="92"/>
                    </a:lnTo>
                    <a:lnTo>
                      <a:pt x="651" y="88"/>
                    </a:lnTo>
                    <a:lnTo>
                      <a:pt x="658" y="83"/>
                    </a:lnTo>
                    <a:lnTo>
                      <a:pt x="658" y="77"/>
                    </a:lnTo>
                    <a:lnTo>
                      <a:pt x="664" y="71"/>
                    </a:lnTo>
                    <a:lnTo>
                      <a:pt x="666" y="52"/>
                    </a:lnTo>
                    <a:lnTo>
                      <a:pt x="669" y="50"/>
                    </a:lnTo>
                    <a:lnTo>
                      <a:pt x="669" y="43"/>
                    </a:lnTo>
                    <a:lnTo>
                      <a:pt x="675" y="35"/>
                    </a:lnTo>
                    <a:lnTo>
                      <a:pt x="675" y="32"/>
                    </a:lnTo>
                    <a:lnTo>
                      <a:pt x="671" y="29"/>
                    </a:lnTo>
                    <a:lnTo>
                      <a:pt x="667" y="29"/>
                    </a:lnTo>
                    <a:lnTo>
                      <a:pt x="660" y="38"/>
                    </a:lnTo>
                    <a:lnTo>
                      <a:pt x="658" y="38"/>
                    </a:lnTo>
                    <a:lnTo>
                      <a:pt x="655" y="34"/>
                    </a:lnTo>
                    <a:lnTo>
                      <a:pt x="653" y="23"/>
                    </a:lnTo>
                    <a:lnTo>
                      <a:pt x="648" y="27"/>
                    </a:lnTo>
                    <a:lnTo>
                      <a:pt x="644" y="27"/>
                    </a:lnTo>
                    <a:lnTo>
                      <a:pt x="642" y="22"/>
                    </a:lnTo>
                    <a:lnTo>
                      <a:pt x="639" y="22"/>
                    </a:lnTo>
                    <a:lnTo>
                      <a:pt x="637" y="20"/>
                    </a:lnTo>
                    <a:lnTo>
                      <a:pt x="636" y="11"/>
                    </a:lnTo>
                    <a:lnTo>
                      <a:pt x="632" y="9"/>
                    </a:lnTo>
                    <a:lnTo>
                      <a:pt x="631" y="7"/>
                    </a:lnTo>
                    <a:lnTo>
                      <a:pt x="628" y="6"/>
                    </a:lnTo>
                    <a:lnTo>
                      <a:pt x="624" y="6"/>
                    </a:lnTo>
                    <a:lnTo>
                      <a:pt x="621" y="1"/>
                    </a:lnTo>
                    <a:lnTo>
                      <a:pt x="618" y="0"/>
                    </a:lnTo>
                    <a:lnTo>
                      <a:pt x="615" y="0"/>
                    </a:lnTo>
                    <a:lnTo>
                      <a:pt x="610" y="2"/>
                    </a:lnTo>
                    <a:lnTo>
                      <a:pt x="604" y="2"/>
                    </a:lnTo>
                    <a:lnTo>
                      <a:pt x="599" y="6"/>
                    </a:lnTo>
                    <a:lnTo>
                      <a:pt x="585" y="6"/>
                    </a:lnTo>
                    <a:lnTo>
                      <a:pt x="575" y="13"/>
                    </a:lnTo>
                    <a:lnTo>
                      <a:pt x="564" y="19"/>
                    </a:lnTo>
                    <a:lnTo>
                      <a:pt x="557" y="24"/>
                    </a:lnTo>
                    <a:lnTo>
                      <a:pt x="552" y="29"/>
                    </a:lnTo>
                    <a:lnTo>
                      <a:pt x="547" y="30"/>
                    </a:lnTo>
                    <a:lnTo>
                      <a:pt x="543" y="35"/>
                    </a:lnTo>
                    <a:lnTo>
                      <a:pt x="536" y="32"/>
                    </a:lnTo>
                    <a:lnTo>
                      <a:pt x="531" y="35"/>
                    </a:lnTo>
                    <a:lnTo>
                      <a:pt x="526" y="35"/>
                    </a:lnTo>
                    <a:lnTo>
                      <a:pt x="492" y="60"/>
                    </a:lnTo>
                    <a:lnTo>
                      <a:pt x="488" y="66"/>
                    </a:lnTo>
                    <a:lnTo>
                      <a:pt x="489" y="68"/>
                    </a:lnTo>
                    <a:lnTo>
                      <a:pt x="489" y="71"/>
                    </a:lnTo>
                    <a:lnTo>
                      <a:pt x="486" y="79"/>
                    </a:lnTo>
                    <a:lnTo>
                      <a:pt x="482" y="83"/>
                    </a:lnTo>
                    <a:lnTo>
                      <a:pt x="478" y="82"/>
                    </a:lnTo>
                    <a:lnTo>
                      <a:pt x="475" y="78"/>
                    </a:lnTo>
                    <a:lnTo>
                      <a:pt x="456" y="79"/>
                    </a:lnTo>
                    <a:lnTo>
                      <a:pt x="454" y="81"/>
                    </a:lnTo>
                    <a:lnTo>
                      <a:pt x="449" y="87"/>
                    </a:lnTo>
                    <a:lnTo>
                      <a:pt x="446" y="88"/>
                    </a:lnTo>
                    <a:lnTo>
                      <a:pt x="440" y="88"/>
                    </a:lnTo>
                    <a:lnTo>
                      <a:pt x="433" y="86"/>
                    </a:lnTo>
                    <a:lnTo>
                      <a:pt x="429" y="88"/>
                    </a:lnTo>
                    <a:lnTo>
                      <a:pt x="427" y="92"/>
                    </a:lnTo>
                    <a:lnTo>
                      <a:pt x="423" y="94"/>
                    </a:lnTo>
                    <a:lnTo>
                      <a:pt x="421" y="95"/>
                    </a:lnTo>
                    <a:lnTo>
                      <a:pt x="414" y="94"/>
                    </a:lnTo>
                    <a:lnTo>
                      <a:pt x="411" y="95"/>
                    </a:lnTo>
                    <a:lnTo>
                      <a:pt x="407" y="93"/>
                    </a:lnTo>
                    <a:lnTo>
                      <a:pt x="395" y="93"/>
                    </a:lnTo>
                    <a:lnTo>
                      <a:pt x="390" y="92"/>
                    </a:lnTo>
                    <a:lnTo>
                      <a:pt x="385" y="92"/>
                    </a:lnTo>
                    <a:lnTo>
                      <a:pt x="370" y="83"/>
                    </a:lnTo>
                    <a:lnTo>
                      <a:pt x="360" y="81"/>
                    </a:lnTo>
                    <a:lnTo>
                      <a:pt x="342" y="73"/>
                    </a:lnTo>
                    <a:lnTo>
                      <a:pt x="337" y="76"/>
                    </a:lnTo>
                    <a:lnTo>
                      <a:pt x="333" y="79"/>
                    </a:lnTo>
                    <a:lnTo>
                      <a:pt x="326" y="78"/>
                    </a:lnTo>
                    <a:lnTo>
                      <a:pt x="322" y="79"/>
                    </a:lnTo>
                    <a:lnTo>
                      <a:pt x="321" y="82"/>
                    </a:lnTo>
                    <a:lnTo>
                      <a:pt x="320" y="90"/>
                    </a:lnTo>
                    <a:lnTo>
                      <a:pt x="312" y="104"/>
                    </a:lnTo>
                    <a:lnTo>
                      <a:pt x="312" y="106"/>
                    </a:lnTo>
                    <a:lnTo>
                      <a:pt x="321" y="106"/>
                    </a:lnTo>
                    <a:lnTo>
                      <a:pt x="323" y="111"/>
                    </a:lnTo>
                    <a:lnTo>
                      <a:pt x="323" y="115"/>
                    </a:lnTo>
                    <a:lnTo>
                      <a:pt x="319" y="117"/>
                    </a:lnTo>
                    <a:lnTo>
                      <a:pt x="317" y="119"/>
                    </a:lnTo>
                    <a:lnTo>
                      <a:pt x="317" y="122"/>
                    </a:lnTo>
                    <a:lnTo>
                      <a:pt x="320" y="126"/>
                    </a:lnTo>
                    <a:lnTo>
                      <a:pt x="322" y="127"/>
                    </a:lnTo>
                    <a:lnTo>
                      <a:pt x="333" y="126"/>
                    </a:lnTo>
                    <a:lnTo>
                      <a:pt x="336" y="129"/>
                    </a:lnTo>
                    <a:lnTo>
                      <a:pt x="337" y="132"/>
                    </a:lnTo>
                    <a:lnTo>
                      <a:pt x="337" y="133"/>
                    </a:lnTo>
                    <a:lnTo>
                      <a:pt x="332" y="138"/>
                    </a:lnTo>
                    <a:lnTo>
                      <a:pt x="326" y="141"/>
                    </a:lnTo>
                    <a:lnTo>
                      <a:pt x="325" y="147"/>
                    </a:lnTo>
                    <a:lnTo>
                      <a:pt x="337" y="158"/>
                    </a:lnTo>
                    <a:lnTo>
                      <a:pt x="337" y="164"/>
                    </a:lnTo>
                    <a:lnTo>
                      <a:pt x="336" y="169"/>
                    </a:lnTo>
                    <a:lnTo>
                      <a:pt x="322" y="178"/>
                    </a:lnTo>
                    <a:lnTo>
                      <a:pt x="321" y="181"/>
                    </a:lnTo>
                    <a:lnTo>
                      <a:pt x="330" y="185"/>
                    </a:lnTo>
                    <a:lnTo>
                      <a:pt x="333" y="194"/>
                    </a:lnTo>
                    <a:lnTo>
                      <a:pt x="343" y="200"/>
                    </a:lnTo>
                    <a:lnTo>
                      <a:pt x="342" y="207"/>
                    </a:lnTo>
                    <a:lnTo>
                      <a:pt x="349" y="208"/>
                    </a:lnTo>
                    <a:lnTo>
                      <a:pt x="352" y="212"/>
                    </a:lnTo>
                    <a:lnTo>
                      <a:pt x="358" y="210"/>
                    </a:lnTo>
                    <a:lnTo>
                      <a:pt x="363" y="211"/>
                    </a:lnTo>
                    <a:lnTo>
                      <a:pt x="363" y="216"/>
                    </a:lnTo>
                    <a:lnTo>
                      <a:pt x="362" y="222"/>
                    </a:lnTo>
                    <a:lnTo>
                      <a:pt x="365" y="229"/>
                    </a:lnTo>
                    <a:lnTo>
                      <a:pt x="366" y="230"/>
                    </a:lnTo>
                    <a:lnTo>
                      <a:pt x="384" y="232"/>
                    </a:lnTo>
                    <a:lnTo>
                      <a:pt x="389" y="235"/>
                    </a:lnTo>
                    <a:lnTo>
                      <a:pt x="394" y="234"/>
                    </a:lnTo>
                    <a:lnTo>
                      <a:pt x="400" y="242"/>
                    </a:lnTo>
                    <a:lnTo>
                      <a:pt x="398" y="246"/>
                    </a:lnTo>
                    <a:lnTo>
                      <a:pt x="401" y="250"/>
                    </a:lnTo>
                    <a:lnTo>
                      <a:pt x="396" y="255"/>
                    </a:lnTo>
                    <a:lnTo>
                      <a:pt x="394" y="259"/>
                    </a:lnTo>
                    <a:lnTo>
                      <a:pt x="386" y="260"/>
                    </a:lnTo>
                    <a:lnTo>
                      <a:pt x="382" y="260"/>
                    </a:lnTo>
                    <a:lnTo>
                      <a:pt x="380" y="259"/>
                    </a:lnTo>
                    <a:lnTo>
                      <a:pt x="375" y="260"/>
                    </a:lnTo>
                    <a:lnTo>
                      <a:pt x="373" y="262"/>
                    </a:lnTo>
                    <a:lnTo>
                      <a:pt x="362" y="267"/>
                    </a:lnTo>
                    <a:lnTo>
                      <a:pt x="358" y="275"/>
                    </a:lnTo>
                    <a:lnTo>
                      <a:pt x="357" y="286"/>
                    </a:lnTo>
                    <a:lnTo>
                      <a:pt x="362" y="292"/>
                    </a:lnTo>
                    <a:lnTo>
                      <a:pt x="360" y="297"/>
                    </a:lnTo>
                    <a:lnTo>
                      <a:pt x="363" y="298"/>
                    </a:lnTo>
                    <a:lnTo>
                      <a:pt x="364" y="301"/>
                    </a:lnTo>
                    <a:lnTo>
                      <a:pt x="363" y="304"/>
                    </a:lnTo>
                    <a:lnTo>
                      <a:pt x="358" y="308"/>
                    </a:lnTo>
                    <a:lnTo>
                      <a:pt x="357" y="314"/>
                    </a:lnTo>
                    <a:lnTo>
                      <a:pt x="357" y="316"/>
                    </a:lnTo>
                    <a:lnTo>
                      <a:pt x="359" y="318"/>
                    </a:lnTo>
                    <a:lnTo>
                      <a:pt x="369" y="318"/>
                    </a:lnTo>
                    <a:lnTo>
                      <a:pt x="371" y="324"/>
                    </a:lnTo>
                    <a:lnTo>
                      <a:pt x="369" y="326"/>
                    </a:lnTo>
                    <a:lnTo>
                      <a:pt x="365" y="328"/>
                    </a:lnTo>
                    <a:lnTo>
                      <a:pt x="362" y="326"/>
                    </a:lnTo>
                    <a:lnTo>
                      <a:pt x="359" y="324"/>
                    </a:lnTo>
                    <a:lnTo>
                      <a:pt x="357" y="331"/>
                    </a:lnTo>
                    <a:lnTo>
                      <a:pt x="343" y="336"/>
                    </a:lnTo>
                    <a:lnTo>
                      <a:pt x="331" y="352"/>
                    </a:lnTo>
                    <a:lnTo>
                      <a:pt x="326" y="355"/>
                    </a:lnTo>
                    <a:lnTo>
                      <a:pt x="321" y="361"/>
                    </a:lnTo>
                    <a:lnTo>
                      <a:pt x="317" y="366"/>
                    </a:lnTo>
                    <a:lnTo>
                      <a:pt x="316" y="372"/>
                    </a:lnTo>
                    <a:lnTo>
                      <a:pt x="317" y="380"/>
                    </a:lnTo>
                    <a:lnTo>
                      <a:pt x="314" y="388"/>
                    </a:lnTo>
                    <a:lnTo>
                      <a:pt x="305" y="393"/>
                    </a:lnTo>
                    <a:lnTo>
                      <a:pt x="298" y="393"/>
                    </a:lnTo>
                    <a:lnTo>
                      <a:pt x="292" y="398"/>
                    </a:lnTo>
                    <a:lnTo>
                      <a:pt x="287" y="406"/>
                    </a:lnTo>
                    <a:lnTo>
                      <a:pt x="283" y="417"/>
                    </a:lnTo>
                    <a:lnTo>
                      <a:pt x="277" y="428"/>
                    </a:lnTo>
                    <a:lnTo>
                      <a:pt x="262" y="450"/>
                    </a:lnTo>
                    <a:lnTo>
                      <a:pt x="256" y="457"/>
                    </a:lnTo>
                    <a:lnTo>
                      <a:pt x="244" y="464"/>
                    </a:lnTo>
                    <a:lnTo>
                      <a:pt x="233" y="474"/>
                    </a:lnTo>
                    <a:lnTo>
                      <a:pt x="229" y="479"/>
                    </a:lnTo>
                    <a:lnTo>
                      <a:pt x="219" y="495"/>
                    </a:lnTo>
                    <a:lnTo>
                      <a:pt x="212" y="504"/>
                    </a:lnTo>
                    <a:lnTo>
                      <a:pt x="204" y="519"/>
                    </a:lnTo>
                    <a:lnTo>
                      <a:pt x="199" y="522"/>
                    </a:lnTo>
                    <a:lnTo>
                      <a:pt x="195" y="523"/>
                    </a:lnTo>
                    <a:lnTo>
                      <a:pt x="172" y="523"/>
                    </a:lnTo>
                    <a:lnTo>
                      <a:pt x="169" y="524"/>
                    </a:lnTo>
                    <a:lnTo>
                      <a:pt x="161" y="527"/>
                    </a:lnTo>
                    <a:lnTo>
                      <a:pt x="156" y="533"/>
                    </a:lnTo>
                    <a:lnTo>
                      <a:pt x="152" y="534"/>
                    </a:lnTo>
                    <a:lnTo>
                      <a:pt x="149" y="533"/>
                    </a:lnTo>
                    <a:lnTo>
                      <a:pt x="147" y="528"/>
                    </a:lnTo>
                    <a:lnTo>
                      <a:pt x="139" y="514"/>
                    </a:lnTo>
                    <a:lnTo>
                      <a:pt x="136" y="512"/>
                    </a:lnTo>
                    <a:lnTo>
                      <a:pt x="132" y="513"/>
                    </a:lnTo>
                    <a:lnTo>
                      <a:pt x="122" y="522"/>
                    </a:lnTo>
                    <a:lnTo>
                      <a:pt x="118" y="528"/>
                    </a:lnTo>
                    <a:lnTo>
                      <a:pt x="107" y="538"/>
                    </a:lnTo>
                    <a:lnTo>
                      <a:pt x="93" y="556"/>
                    </a:lnTo>
                    <a:lnTo>
                      <a:pt x="85" y="563"/>
                    </a:lnTo>
                    <a:lnTo>
                      <a:pt x="83" y="570"/>
                    </a:lnTo>
                    <a:lnTo>
                      <a:pt x="79" y="588"/>
                    </a:lnTo>
                    <a:lnTo>
                      <a:pt x="79" y="593"/>
                    </a:lnTo>
                    <a:lnTo>
                      <a:pt x="81" y="598"/>
                    </a:lnTo>
                    <a:lnTo>
                      <a:pt x="88" y="601"/>
                    </a:lnTo>
                    <a:lnTo>
                      <a:pt x="94" y="600"/>
                    </a:lnTo>
                    <a:lnTo>
                      <a:pt x="101" y="603"/>
                    </a:lnTo>
                    <a:lnTo>
                      <a:pt x="111" y="603"/>
                    </a:lnTo>
                    <a:lnTo>
                      <a:pt x="113" y="604"/>
                    </a:lnTo>
                    <a:lnTo>
                      <a:pt x="117" y="608"/>
                    </a:lnTo>
                    <a:lnTo>
                      <a:pt x="118" y="611"/>
                    </a:lnTo>
                    <a:lnTo>
                      <a:pt x="118" y="616"/>
                    </a:lnTo>
                    <a:lnTo>
                      <a:pt x="112" y="636"/>
                    </a:lnTo>
                    <a:lnTo>
                      <a:pt x="112" y="641"/>
                    </a:lnTo>
                    <a:lnTo>
                      <a:pt x="113" y="646"/>
                    </a:lnTo>
                    <a:lnTo>
                      <a:pt x="123" y="657"/>
                    </a:lnTo>
                    <a:lnTo>
                      <a:pt x="127" y="658"/>
                    </a:lnTo>
                    <a:lnTo>
                      <a:pt x="137" y="654"/>
                    </a:lnTo>
                    <a:lnTo>
                      <a:pt x="139" y="655"/>
                    </a:lnTo>
                    <a:lnTo>
                      <a:pt x="142" y="658"/>
                    </a:lnTo>
                    <a:lnTo>
                      <a:pt x="142" y="669"/>
                    </a:lnTo>
                    <a:lnTo>
                      <a:pt x="143" y="678"/>
                    </a:lnTo>
                    <a:lnTo>
                      <a:pt x="148" y="685"/>
                    </a:lnTo>
                    <a:lnTo>
                      <a:pt x="150" y="692"/>
                    </a:lnTo>
                    <a:lnTo>
                      <a:pt x="155" y="698"/>
                    </a:lnTo>
                    <a:lnTo>
                      <a:pt x="160" y="703"/>
                    </a:lnTo>
                    <a:lnTo>
                      <a:pt x="160" y="706"/>
                    </a:lnTo>
                    <a:lnTo>
                      <a:pt x="164" y="711"/>
                    </a:lnTo>
                    <a:lnTo>
                      <a:pt x="165" y="714"/>
                    </a:lnTo>
                    <a:lnTo>
                      <a:pt x="160" y="716"/>
                    </a:lnTo>
                    <a:lnTo>
                      <a:pt x="160" y="718"/>
                    </a:lnTo>
                    <a:lnTo>
                      <a:pt x="160" y="728"/>
                    </a:lnTo>
                    <a:lnTo>
                      <a:pt x="159" y="732"/>
                    </a:lnTo>
                    <a:lnTo>
                      <a:pt x="166" y="733"/>
                    </a:lnTo>
                    <a:lnTo>
                      <a:pt x="166" y="735"/>
                    </a:lnTo>
                    <a:lnTo>
                      <a:pt x="159" y="735"/>
                    </a:lnTo>
                    <a:lnTo>
                      <a:pt x="154" y="739"/>
                    </a:lnTo>
                    <a:lnTo>
                      <a:pt x="154" y="741"/>
                    </a:lnTo>
                    <a:lnTo>
                      <a:pt x="150" y="743"/>
                    </a:lnTo>
                    <a:lnTo>
                      <a:pt x="147" y="743"/>
                    </a:lnTo>
                    <a:lnTo>
                      <a:pt x="140" y="743"/>
                    </a:lnTo>
                    <a:lnTo>
                      <a:pt x="139" y="740"/>
                    </a:lnTo>
                    <a:lnTo>
                      <a:pt x="138" y="739"/>
                    </a:lnTo>
                    <a:lnTo>
                      <a:pt x="139" y="733"/>
                    </a:lnTo>
                    <a:lnTo>
                      <a:pt x="139" y="732"/>
                    </a:lnTo>
                    <a:lnTo>
                      <a:pt x="132" y="730"/>
                    </a:lnTo>
                    <a:lnTo>
                      <a:pt x="127" y="734"/>
                    </a:lnTo>
                    <a:lnTo>
                      <a:pt x="115" y="738"/>
                    </a:lnTo>
                    <a:lnTo>
                      <a:pt x="111" y="745"/>
                    </a:lnTo>
                    <a:lnTo>
                      <a:pt x="110" y="746"/>
                    </a:lnTo>
                    <a:lnTo>
                      <a:pt x="107" y="746"/>
                    </a:lnTo>
                    <a:lnTo>
                      <a:pt x="93" y="746"/>
                    </a:lnTo>
                    <a:lnTo>
                      <a:pt x="84" y="739"/>
                    </a:lnTo>
                    <a:lnTo>
                      <a:pt x="78" y="741"/>
                    </a:lnTo>
                    <a:lnTo>
                      <a:pt x="74" y="739"/>
                    </a:lnTo>
                    <a:lnTo>
                      <a:pt x="62" y="740"/>
                    </a:lnTo>
                    <a:lnTo>
                      <a:pt x="58" y="739"/>
                    </a:lnTo>
                    <a:lnTo>
                      <a:pt x="52" y="740"/>
                    </a:lnTo>
                    <a:lnTo>
                      <a:pt x="48" y="739"/>
                    </a:lnTo>
                    <a:lnTo>
                      <a:pt x="47" y="740"/>
                    </a:lnTo>
                    <a:lnTo>
                      <a:pt x="46" y="740"/>
                    </a:lnTo>
                    <a:lnTo>
                      <a:pt x="43" y="735"/>
                    </a:lnTo>
                    <a:lnTo>
                      <a:pt x="41" y="735"/>
                    </a:lnTo>
                    <a:lnTo>
                      <a:pt x="40" y="740"/>
                    </a:lnTo>
                    <a:lnTo>
                      <a:pt x="40" y="757"/>
                    </a:lnTo>
                    <a:lnTo>
                      <a:pt x="20" y="757"/>
                    </a:lnTo>
                    <a:lnTo>
                      <a:pt x="16" y="759"/>
                    </a:lnTo>
                    <a:lnTo>
                      <a:pt x="11" y="757"/>
                    </a:lnTo>
                    <a:lnTo>
                      <a:pt x="9" y="762"/>
                    </a:lnTo>
                    <a:lnTo>
                      <a:pt x="7" y="764"/>
                    </a:lnTo>
                    <a:lnTo>
                      <a:pt x="5" y="767"/>
                    </a:lnTo>
                    <a:lnTo>
                      <a:pt x="0" y="771"/>
                    </a:lnTo>
                    <a:lnTo>
                      <a:pt x="0" y="773"/>
                    </a:lnTo>
                    <a:lnTo>
                      <a:pt x="2" y="782"/>
                    </a:lnTo>
                    <a:lnTo>
                      <a:pt x="9" y="782"/>
                    </a:lnTo>
                    <a:lnTo>
                      <a:pt x="13" y="791"/>
                    </a:lnTo>
                    <a:lnTo>
                      <a:pt x="27" y="809"/>
                    </a:lnTo>
                    <a:lnTo>
                      <a:pt x="37" y="820"/>
                    </a:lnTo>
                    <a:lnTo>
                      <a:pt x="47" y="825"/>
                    </a:lnTo>
                    <a:lnTo>
                      <a:pt x="67" y="827"/>
                    </a:lnTo>
                    <a:lnTo>
                      <a:pt x="89" y="825"/>
                    </a:lnTo>
                    <a:lnTo>
                      <a:pt x="105" y="821"/>
                    </a:lnTo>
                    <a:lnTo>
                      <a:pt x="113" y="818"/>
                    </a:lnTo>
                    <a:lnTo>
                      <a:pt x="117" y="810"/>
                    </a:lnTo>
                    <a:lnTo>
                      <a:pt x="122" y="808"/>
                    </a:lnTo>
                    <a:lnTo>
                      <a:pt x="124" y="814"/>
                    </a:lnTo>
                    <a:lnTo>
                      <a:pt x="117" y="834"/>
                    </a:lnTo>
                    <a:lnTo>
                      <a:pt x="106" y="843"/>
                    </a:lnTo>
                    <a:lnTo>
                      <a:pt x="96" y="850"/>
                    </a:lnTo>
                    <a:lnTo>
                      <a:pt x="84" y="852"/>
                    </a:lnTo>
                    <a:lnTo>
                      <a:pt x="70" y="854"/>
                    </a:lnTo>
                    <a:lnTo>
                      <a:pt x="59" y="857"/>
                    </a:lnTo>
                    <a:lnTo>
                      <a:pt x="51" y="850"/>
                    </a:lnTo>
                    <a:lnTo>
                      <a:pt x="47" y="854"/>
                    </a:lnTo>
                    <a:lnTo>
                      <a:pt x="50" y="870"/>
                    </a:lnTo>
                    <a:lnTo>
                      <a:pt x="90" y="911"/>
                    </a:lnTo>
                    <a:lnTo>
                      <a:pt x="104" y="926"/>
                    </a:lnTo>
                    <a:lnTo>
                      <a:pt x="124" y="944"/>
                    </a:lnTo>
                    <a:lnTo>
                      <a:pt x="131" y="945"/>
                    </a:lnTo>
                    <a:lnTo>
                      <a:pt x="156" y="947"/>
                    </a:lnTo>
                    <a:lnTo>
                      <a:pt x="167" y="944"/>
                    </a:lnTo>
                    <a:lnTo>
                      <a:pt x="174" y="943"/>
                    </a:lnTo>
                    <a:lnTo>
                      <a:pt x="183" y="936"/>
                    </a:lnTo>
                    <a:lnTo>
                      <a:pt x="190" y="936"/>
                    </a:lnTo>
                    <a:lnTo>
                      <a:pt x="207" y="924"/>
                    </a:lnTo>
                    <a:lnTo>
                      <a:pt x="213" y="916"/>
                    </a:lnTo>
                    <a:lnTo>
                      <a:pt x="218" y="906"/>
                    </a:lnTo>
                    <a:lnTo>
                      <a:pt x="219" y="879"/>
                    </a:lnTo>
                    <a:lnTo>
                      <a:pt x="222" y="867"/>
                    </a:lnTo>
                    <a:lnTo>
                      <a:pt x="224" y="852"/>
                    </a:lnTo>
                    <a:lnTo>
                      <a:pt x="226" y="856"/>
                    </a:lnTo>
                    <a:lnTo>
                      <a:pt x="229" y="857"/>
                    </a:lnTo>
                    <a:lnTo>
                      <a:pt x="258" y="858"/>
                    </a:lnTo>
                    <a:lnTo>
                      <a:pt x="260" y="859"/>
                    </a:lnTo>
                    <a:lnTo>
                      <a:pt x="253" y="866"/>
                    </a:lnTo>
                    <a:lnTo>
                      <a:pt x="242" y="866"/>
                    </a:lnTo>
                    <a:lnTo>
                      <a:pt x="239" y="879"/>
                    </a:lnTo>
                    <a:lnTo>
                      <a:pt x="241" y="880"/>
                    </a:lnTo>
                    <a:lnTo>
                      <a:pt x="240" y="891"/>
                    </a:lnTo>
                    <a:lnTo>
                      <a:pt x="242" y="894"/>
                    </a:lnTo>
                    <a:lnTo>
                      <a:pt x="249" y="897"/>
                    </a:lnTo>
                    <a:lnTo>
                      <a:pt x="242" y="911"/>
                    </a:lnTo>
                    <a:lnTo>
                      <a:pt x="242" y="922"/>
                    </a:lnTo>
                    <a:lnTo>
                      <a:pt x="242" y="924"/>
                    </a:lnTo>
                    <a:lnTo>
                      <a:pt x="246" y="924"/>
                    </a:lnTo>
                    <a:lnTo>
                      <a:pt x="249" y="928"/>
                    </a:lnTo>
                    <a:lnTo>
                      <a:pt x="249" y="934"/>
                    </a:lnTo>
                    <a:lnTo>
                      <a:pt x="255" y="952"/>
                    </a:lnTo>
                    <a:lnTo>
                      <a:pt x="256" y="963"/>
                    </a:lnTo>
                    <a:lnTo>
                      <a:pt x="256" y="971"/>
                    </a:lnTo>
                    <a:lnTo>
                      <a:pt x="250" y="987"/>
                    </a:lnTo>
                    <a:lnTo>
                      <a:pt x="247" y="998"/>
                    </a:lnTo>
                    <a:lnTo>
                      <a:pt x="247" y="1009"/>
                    </a:lnTo>
                    <a:lnTo>
                      <a:pt x="251" y="1028"/>
                    </a:lnTo>
                    <a:lnTo>
                      <a:pt x="253" y="1031"/>
                    </a:lnTo>
                    <a:lnTo>
                      <a:pt x="253" y="1047"/>
                    </a:lnTo>
                    <a:lnTo>
                      <a:pt x="257" y="1044"/>
                    </a:lnTo>
                    <a:lnTo>
                      <a:pt x="261" y="1041"/>
                    </a:lnTo>
                    <a:lnTo>
                      <a:pt x="262" y="1045"/>
                    </a:lnTo>
                    <a:lnTo>
                      <a:pt x="263" y="1052"/>
                    </a:lnTo>
                    <a:lnTo>
                      <a:pt x="261" y="1056"/>
                    </a:lnTo>
                    <a:lnTo>
                      <a:pt x="261" y="1060"/>
                    </a:lnTo>
                    <a:lnTo>
                      <a:pt x="260" y="1065"/>
                    </a:lnTo>
                    <a:lnTo>
                      <a:pt x="257" y="1084"/>
                    </a:lnTo>
                    <a:lnTo>
                      <a:pt x="263" y="1093"/>
                    </a:lnTo>
                    <a:lnTo>
                      <a:pt x="262" y="1096"/>
                    </a:lnTo>
                    <a:lnTo>
                      <a:pt x="265" y="1114"/>
                    </a:lnTo>
                    <a:lnTo>
                      <a:pt x="266" y="1114"/>
                    </a:lnTo>
                    <a:lnTo>
                      <a:pt x="273" y="1139"/>
                    </a:lnTo>
                    <a:lnTo>
                      <a:pt x="276" y="1147"/>
                    </a:lnTo>
                    <a:lnTo>
                      <a:pt x="276" y="1157"/>
                    </a:lnTo>
                    <a:lnTo>
                      <a:pt x="278" y="1163"/>
                    </a:lnTo>
                    <a:lnTo>
                      <a:pt x="282" y="1192"/>
                    </a:lnTo>
                    <a:lnTo>
                      <a:pt x="284" y="1201"/>
                    </a:lnTo>
                    <a:lnTo>
                      <a:pt x="289" y="1212"/>
                    </a:lnTo>
                    <a:lnTo>
                      <a:pt x="293" y="1214"/>
                    </a:lnTo>
                    <a:lnTo>
                      <a:pt x="295" y="1225"/>
                    </a:lnTo>
                    <a:lnTo>
                      <a:pt x="304" y="123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48" name="Freeform 100"/>
              <p:cNvSpPr>
                <a:spLocks noChangeAspect="1"/>
              </p:cNvSpPr>
              <p:nvPr/>
            </p:nvSpPr>
            <p:spPr bwMode="gray">
              <a:xfrm>
                <a:off x="3183" y="2052"/>
                <a:ext cx="184" cy="168"/>
              </a:xfrm>
              <a:custGeom>
                <a:avLst/>
                <a:gdLst/>
                <a:ahLst/>
                <a:cxnLst>
                  <a:cxn ang="0">
                    <a:pos x="106" y="668"/>
                  </a:cxn>
                  <a:cxn ang="0">
                    <a:pos x="108" y="599"/>
                  </a:cxn>
                  <a:cxn ang="0">
                    <a:pos x="0" y="475"/>
                  </a:cxn>
                  <a:cxn ang="0">
                    <a:pos x="109" y="492"/>
                  </a:cxn>
                  <a:cxn ang="0">
                    <a:pos x="187" y="487"/>
                  </a:cxn>
                  <a:cxn ang="0">
                    <a:pos x="302" y="458"/>
                  </a:cxn>
                  <a:cxn ang="0">
                    <a:pos x="325" y="378"/>
                  </a:cxn>
                  <a:cxn ang="0">
                    <a:pos x="379" y="373"/>
                  </a:cxn>
                  <a:cxn ang="0">
                    <a:pos x="405" y="346"/>
                  </a:cxn>
                  <a:cxn ang="0">
                    <a:pos x="435" y="356"/>
                  </a:cxn>
                  <a:cxn ang="0">
                    <a:pos x="464" y="297"/>
                  </a:cxn>
                  <a:cxn ang="0">
                    <a:pos x="490" y="258"/>
                  </a:cxn>
                  <a:cxn ang="0">
                    <a:pos x="506" y="218"/>
                  </a:cxn>
                  <a:cxn ang="0">
                    <a:pos x="549" y="202"/>
                  </a:cxn>
                  <a:cxn ang="0">
                    <a:pos x="561" y="163"/>
                  </a:cxn>
                  <a:cxn ang="0">
                    <a:pos x="588" y="114"/>
                  </a:cxn>
                  <a:cxn ang="0">
                    <a:pos x="570" y="60"/>
                  </a:cxn>
                  <a:cxn ang="0">
                    <a:pos x="604" y="34"/>
                  </a:cxn>
                  <a:cxn ang="0">
                    <a:pos x="645" y="12"/>
                  </a:cxn>
                  <a:cxn ang="0">
                    <a:pos x="731" y="11"/>
                  </a:cxn>
                  <a:cxn ang="0">
                    <a:pos x="780" y="2"/>
                  </a:cxn>
                  <a:cxn ang="0">
                    <a:pos x="811" y="16"/>
                  </a:cxn>
                  <a:cxn ang="0">
                    <a:pos x="830" y="59"/>
                  </a:cxn>
                  <a:cxn ang="0">
                    <a:pos x="852" y="78"/>
                  </a:cxn>
                  <a:cxn ang="0">
                    <a:pos x="903" y="99"/>
                  </a:cxn>
                  <a:cxn ang="0">
                    <a:pos x="877" y="153"/>
                  </a:cxn>
                  <a:cxn ang="0">
                    <a:pos x="828" y="156"/>
                  </a:cxn>
                  <a:cxn ang="0">
                    <a:pos x="790" y="163"/>
                  </a:cxn>
                  <a:cxn ang="0">
                    <a:pos x="721" y="148"/>
                  </a:cxn>
                  <a:cxn ang="0">
                    <a:pos x="718" y="185"/>
                  </a:cxn>
                  <a:cxn ang="0">
                    <a:pos x="732" y="202"/>
                  </a:cxn>
                  <a:cxn ang="0">
                    <a:pos x="717" y="248"/>
                  </a:cxn>
                  <a:cxn ang="0">
                    <a:pos x="753" y="280"/>
                  </a:cxn>
                  <a:cxn ang="0">
                    <a:pos x="789" y="304"/>
                  </a:cxn>
                  <a:cxn ang="0">
                    <a:pos x="775" y="329"/>
                  </a:cxn>
                  <a:cxn ang="0">
                    <a:pos x="758" y="368"/>
                  </a:cxn>
                  <a:cxn ang="0">
                    <a:pos x="766" y="394"/>
                  </a:cxn>
                  <a:cxn ang="0">
                    <a:pos x="721" y="425"/>
                  </a:cxn>
                  <a:cxn ang="0">
                    <a:pos x="687" y="468"/>
                  </a:cxn>
                  <a:cxn ang="0">
                    <a:pos x="624" y="549"/>
                  </a:cxn>
                  <a:cxn ang="0">
                    <a:pos x="556" y="597"/>
                  </a:cxn>
                  <a:cxn ang="0">
                    <a:pos x="517" y="592"/>
                  </a:cxn>
                  <a:cxn ang="0">
                    <a:pos x="476" y="668"/>
                  </a:cxn>
                  <a:cxn ang="0">
                    <a:pos x="513" y="686"/>
                  </a:cxn>
                  <a:cxn ang="0">
                    <a:pos x="537" y="728"/>
                  </a:cxn>
                  <a:cxn ang="0">
                    <a:pos x="559" y="781"/>
                  </a:cxn>
                  <a:cxn ang="0">
                    <a:pos x="554" y="805"/>
                  </a:cxn>
                  <a:cxn ang="0">
                    <a:pos x="534" y="803"/>
                  </a:cxn>
                  <a:cxn ang="0">
                    <a:pos x="488" y="816"/>
                  </a:cxn>
                  <a:cxn ang="0">
                    <a:pos x="442" y="810"/>
                  </a:cxn>
                  <a:cxn ang="0">
                    <a:pos x="406" y="827"/>
                  </a:cxn>
                  <a:cxn ang="0">
                    <a:pos x="363" y="834"/>
                  </a:cxn>
                  <a:cxn ang="0">
                    <a:pos x="329" y="781"/>
                  </a:cxn>
                  <a:cxn ang="0">
                    <a:pos x="250" y="744"/>
                  </a:cxn>
                  <a:cxn ang="0">
                    <a:pos x="164" y="746"/>
                  </a:cxn>
                  <a:cxn ang="0">
                    <a:pos x="61" y="761"/>
                  </a:cxn>
                </a:cxnLst>
                <a:rect l="0" t="0" r="r" b="b"/>
                <a:pathLst>
                  <a:path w="921" h="842">
                    <a:moveTo>
                      <a:pt x="42" y="757"/>
                    </a:moveTo>
                    <a:lnTo>
                      <a:pt x="42" y="743"/>
                    </a:lnTo>
                    <a:lnTo>
                      <a:pt x="44" y="730"/>
                    </a:lnTo>
                    <a:lnTo>
                      <a:pt x="55" y="701"/>
                    </a:lnTo>
                    <a:lnTo>
                      <a:pt x="64" y="689"/>
                    </a:lnTo>
                    <a:lnTo>
                      <a:pt x="77" y="679"/>
                    </a:lnTo>
                    <a:lnTo>
                      <a:pt x="91" y="674"/>
                    </a:lnTo>
                    <a:lnTo>
                      <a:pt x="106" y="668"/>
                    </a:lnTo>
                    <a:lnTo>
                      <a:pt x="118" y="665"/>
                    </a:lnTo>
                    <a:lnTo>
                      <a:pt x="131" y="653"/>
                    </a:lnTo>
                    <a:lnTo>
                      <a:pt x="134" y="647"/>
                    </a:lnTo>
                    <a:lnTo>
                      <a:pt x="133" y="637"/>
                    </a:lnTo>
                    <a:lnTo>
                      <a:pt x="128" y="632"/>
                    </a:lnTo>
                    <a:lnTo>
                      <a:pt x="108" y="628"/>
                    </a:lnTo>
                    <a:lnTo>
                      <a:pt x="109" y="614"/>
                    </a:lnTo>
                    <a:lnTo>
                      <a:pt x="108" y="599"/>
                    </a:lnTo>
                    <a:lnTo>
                      <a:pt x="103" y="573"/>
                    </a:lnTo>
                    <a:lnTo>
                      <a:pt x="98" y="567"/>
                    </a:lnTo>
                    <a:lnTo>
                      <a:pt x="71" y="558"/>
                    </a:lnTo>
                    <a:lnTo>
                      <a:pt x="55" y="550"/>
                    </a:lnTo>
                    <a:lnTo>
                      <a:pt x="43" y="540"/>
                    </a:lnTo>
                    <a:lnTo>
                      <a:pt x="22" y="497"/>
                    </a:lnTo>
                    <a:lnTo>
                      <a:pt x="8" y="485"/>
                    </a:lnTo>
                    <a:lnTo>
                      <a:pt x="0" y="475"/>
                    </a:lnTo>
                    <a:lnTo>
                      <a:pt x="4" y="470"/>
                    </a:lnTo>
                    <a:lnTo>
                      <a:pt x="63" y="486"/>
                    </a:lnTo>
                    <a:lnTo>
                      <a:pt x="81" y="496"/>
                    </a:lnTo>
                    <a:lnTo>
                      <a:pt x="88" y="497"/>
                    </a:lnTo>
                    <a:lnTo>
                      <a:pt x="92" y="496"/>
                    </a:lnTo>
                    <a:lnTo>
                      <a:pt x="96" y="493"/>
                    </a:lnTo>
                    <a:lnTo>
                      <a:pt x="99" y="492"/>
                    </a:lnTo>
                    <a:lnTo>
                      <a:pt x="109" y="492"/>
                    </a:lnTo>
                    <a:lnTo>
                      <a:pt x="118" y="491"/>
                    </a:lnTo>
                    <a:lnTo>
                      <a:pt x="130" y="491"/>
                    </a:lnTo>
                    <a:lnTo>
                      <a:pt x="144" y="490"/>
                    </a:lnTo>
                    <a:lnTo>
                      <a:pt x="161" y="490"/>
                    </a:lnTo>
                    <a:lnTo>
                      <a:pt x="177" y="497"/>
                    </a:lnTo>
                    <a:lnTo>
                      <a:pt x="180" y="495"/>
                    </a:lnTo>
                    <a:lnTo>
                      <a:pt x="184" y="490"/>
                    </a:lnTo>
                    <a:lnTo>
                      <a:pt x="187" y="487"/>
                    </a:lnTo>
                    <a:lnTo>
                      <a:pt x="194" y="485"/>
                    </a:lnTo>
                    <a:lnTo>
                      <a:pt x="206" y="485"/>
                    </a:lnTo>
                    <a:lnTo>
                      <a:pt x="232" y="486"/>
                    </a:lnTo>
                    <a:lnTo>
                      <a:pt x="248" y="482"/>
                    </a:lnTo>
                    <a:lnTo>
                      <a:pt x="268" y="475"/>
                    </a:lnTo>
                    <a:lnTo>
                      <a:pt x="293" y="470"/>
                    </a:lnTo>
                    <a:lnTo>
                      <a:pt x="302" y="464"/>
                    </a:lnTo>
                    <a:lnTo>
                      <a:pt x="302" y="458"/>
                    </a:lnTo>
                    <a:lnTo>
                      <a:pt x="298" y="454"/>
                    </a:lnTo>
                    <a:lnTo>
                      <a:pt x="298" y="450"/>
                    </a:lnTo>
                    <a:lnTo>
                      <a:pt x="302" y="431"/>
                    </a:lnTo>
                    <a:lnTo>
                      <a:pt x="301" y="418"/>
                    </a:lnTo>
                    <a:lnTo>
                      <a:pt x="305" y="404"/>
                    </a:lnTo>
                    <a:lnTo>
                      <a:pt x="308" y="398"/>
                    </a:lnTo>
                    <a:lnTo>
                      <a:pt x="319" y="389"/>
                    </a:lnTo>
                    <a:lnTo>
                      <a:pt x="325" y="378"/>
                    </a:lnTo>
                    <a:lnTo>
                      <a:pt x="333" y="374"/>
                    </a:lnTo>
                    <a:lnTo>
                      <a:pt x="336" y="377"/>
                    </a:lnTo>
                    <a:lnTo>
                      <a:pt x="336" y="380"/>
                    </a:lnTo>
                    <a:lnTo>
                      <a:pt x="348" y="382"/>
                    </a:lnTo>
                    <a:lnTo>
                      <a:pt x="359" y="379"/>
                    </a:lnTo>
                    <a:lnTo>
                      <a:pt x="370" y="377"/>
                    </a:lnTo>
                    <a:lnTo>
                      <a:pt x="377" y="375"/>
                    </a:lnTo>
                    <a:lnTo>
                      <a:pt x="379" y="373"/>
                    </a:lnTo>
                    <a:lnTo>
                      <a:pt x="379" y="371"/>
                    </a:lnTo>
                    <a:lnTo>
                      <a:pt x="372" y="368"/>
                    </a:lnTo>
                    <a:lnTo>
                      <a:pt x="371" y="366"/>
                    </a:lnTo>
                    <a:lnTo>
                      <a:pt x="375" y="362"/>
                    </a:lnTo>
                    <a:lnTo>
                      <a:pt x="392" y="353"/>
                    </a:lnTo>
                    <a:lnTo>
                      <a:pt x="394" y="348"/>
                    </a:lnTo>
                    <a:lnTo>
                      <a:pt x="399" y="346"/>
                    </a:lnTo>
                    <a:lnTo>
                      <a:pt x="405" y="346"/>
                    </a:lnTo>
                    <a:lnTo>
                      <a:pt x="421" y="351"/>
                    </a:lnTo>
                    <a:lnTo>
                      <a:pt x="421" y="348"/>
                    </a:lnTo>
                    <a:lnTo>
                      <a:pt x="418" y="347"/>
                    </a:lnTo>
                    <a:lnTo>
                      <a:pt x="420" y="343"/>
                    </a:lnTo>
                    <a:lnTo>
                      <a:pt x="424" y="343"/>
                    </a:lnTo>
                    <a:lnTo>
                      <a:pt x="431" y="348"/>
                    </a:lnTo>
                    <a:lnTo>
                      <a:pt x="432" y="352"/>
                    </a:lnTo>
                    <a:lnTo>
                      <a:pt x="435" y="356"/>
                    </a:lnTo>
                    <a:lnTo>
                      <a:pt x="441" y="358"/>
                    </a:lnTo>
                    <a:lnTo>
                      <a:pt x="443" y="358"/>
                    </a:lnTo>
                    <a:lnTo>
                      <a:pt x="463" y="337"/>
                    </a:lnTo>
                    <a:lnTo>
                      <a:pt x="463" y="334"/>
                    </a:lnTo>
                    <a:lnTo>
                      <a:pt x="461" y="323"/>
                    </a:lnTo>
                    <a:lnTo>
                      <a:pt x="459" y="305"/>
                    </a:lnTo>
                    <a:lnTo>
                      <a:pt x="461" y="302"/>
                    </a:lnTo>
                    <a:lnTo>
                      <a:pt x="464" y="297"/>
                    </a:lnTo>
                    <a:lnTo>
                      <a:pt x="467" y="292"/>
                    </a:lnTo>
                    <a:lnTo>
                      <a:pt x="469" y="292"/>
                    </a:lnTo>
                    <a:lnTo>
                      <a:pt x="470" y="288"/>
                    </a:lnTo>
                    <a:lnTo>
                      <a:pt x="469" y="282"/>
                    </a:lnTo>
                    <a:lnTo>
                      <a:pt x="470" y="277"/>
                    </a:lnTo>
                    <a:lnTo>
                      <a:pt x="476" y="275"/>
                    </a:lnTo>
                    <a:lnTo>
                      <a:pt x="478" y="261"/>
                    </a:lnTo>
                    <a:lnTo>
                      <a:pt x="490" y="258"/>
                    </a:lnTo>
                    <a:lnTo>
                      <a:pt x="497" y="259"/>
                    </a:lnTo>
                    <a:lnTo>
                      <a:pt x="507" y="251"/>
                    </a:lnTo>
                    <a:lnTo>
                      <a:pt x="515" y="249"/>
                    </a:lnTo>
                    <a:lnTo>
                      <a:pt x="519" y="243"/>
                    </a:lnTo>
                    <a:lnTo>
                      <a:pt x="519" y="239"/>
                    </a:lnTo>
                    <a:lnTo>
                      <a:pt x="515" y="234"/>
                    </a:lnTo>
                    <a:lnTo>
                      <a:pt x="510" y="218"/>
                    </a:lnTo>
                    <a:lnTo>
                      <a:pt x="506" y="218"/>
                    </a:lnTo>
                    <a:lnTo>
                      <a:pt x="500" y="208"/>
                    </a:lnTo>
                    <a:lnTo>
                      <a:pt x="499" y="205"/>
                    </a:lnTo>
                    <a:lnTo>
                      <a:pt x="500" y="200"/>
                    </a:lnTo>
                    <a:lnTo>
                      <a:pt x="504" y="197"/>
                    </a:lnTo>
                    <a:lnTo>
                      <a:pt x="508" y="199"/>
                    </a:lnTo>
                    <a:lnTo>
                      <a:pt x="527" y="203"/>
                    </a:lnTo>
                    <a:lnTo>
                      <a:pt x="538" y="205"/>
                    </a:lnTo>
                    <a:lnTo>
                      <a:pt x="549" y="202"/>
                    </a:lnTo>
                    <a:lnTo>
                      <a:pt x="555" y="199"/>
                    </a:lnTo>
                    <a:lnTo>
                      <a:pt x="562" y="189"/>
                    </a:lnTo>
                    <a:lnTo>
                      <a:pt x="562" y="181"/>
                    </a:lnTo>
                    <a:lnTo>
                      <a:pt x="566" y="178"/>
                    </a:lnTo>
                    <a:lnTo>
                      <a:pt x="562" y="175"/>
                    </a:lnTo>
                    <a:lnTo>
                      <a:pt x="558" y="173"/>
                    </a:lnTo>
                    <a:lnTo>
                      <a:pt x="558" y="167"/>
                    </a:lnTo>
                    <a:lnTo>
                      <a:pt x="561" y="163"/>
                    </a:lnTo>
                    <a:lnTo>
                      <a:pt x="565" y="156"/>
                    </a:lnTo>
                    <a:lnTo>
                      <a:pt x="572" y="147"/>
                    </a:lnTo>
                    <a:lnTo>
                      <a:pt x="581" y="141"/>
                    </a:lnTo>
                    <a:lnTo>
                      <a:pt x="587" y="133"/>
                    </a:lnTo>
                    <a:lnTo>
                      <a:pt x="591" y="126"/>
                    </a:lnTo>
                    <a:lnTo>
                      <a:pt x="591" y="120"/>
                    </a:lnTo>
                    <a:lnTo>
                      <a:pt x="588" y="116"/>
                    </a:lnTo>
                    <a:lnTo>
                      <a:pt x="588" y="114"/>
                    </a:lnTo>
                    <a:lnTo>
                      <a:pt x="593" y="105"/>
                    </a:lnTo>
                    <a:lnTo>
                      <a:pt x="593" y="104"/>
                    </a:lnTo>
                    <a:lnTo>
                      <a:pt x="588" y="94"/>
                    </a:lnTo>
                    <a:lnTo>
                      <a:pt x="585" y="81"/>
                    </a:lnTo>
                    <a:lnTo>
                      <a:pt x="578" y="73"/>
                    </a:lnTo>
                    <a:lnTo>
                      <a:pt x="570" y="67"/>
                    </a:lnTo>
                    <a:lnTo>
                      <a:pt x="569" y="66"/>
                    </a:lnTo>
                    <a:lnTo>
                      <a:pt x="570" y="60"/>
                    </a:lnTo>
                    <a:lnTo>
                      <a:pt x="574" y="56"/>
                    </a:lnTo>
                    <a:lnTo>
                      <a:pt x="591" y="43"/>
                    </a:lnTo>
                    <a:lnTo>
                      <a:pt x="591" y="38"/>
                    </a:lnTo>
                    <a:lnTo>
                      <a:pt x="592" y="36"/>
                    </a:lnTo>
                    <a:lnTo>
                      <a:pt x="597" y="36"/>
                    </a:lnTo>
                    <a:lnTo>
                      <a:pt x="602" y="39"/>
                    </a:lnTo>
                    <a:lnTo>
                      <a:pt x="605" y="38"/>
                    </a:lnTo>
                    <a:lnTo>
                      <a:pt x="604" y="34"/>
                    </a:lnTo>
                    <a:lnTo>
                      <a:pt x="605" y="32"/>
                    </a:lnTo>
                    <a:lnTo>
                      <a:pt x="615" y="29"/>
                    </a:lnTo>
                    <a:lnTo>
                      <a:pt x="619" y="25"/>
                    </a:lnTo>
                    <a:lnTo>
                      <a:pt x="619" y="23"/>
                    </a:lnTo>
                    <a:lnTo>
                      <a:pt x="624" y="22"/>
                    </a:lnTo>
                    <a:lnTo>
                      <a:pt x="628" y="19"/>
                    </a:lnTo>
                    <a:lnTo>
                      <a:pt x="636" y="18"/>
                    </a:lnTo>
                    <a:lnTo>
                      <a:pt x="645" y="12"/>
                    </a:lnTo>
                    <a:lnTo>
                      <a:pt x="652" y="12"/>
                    </a:lnTo>
                    <a:lnTo>
                      <a:pt x="662" y="7"/>
                    </a:lnTo>
                    <a:lnTo>
                      <a:pt x="666" y="8"/>
                    </a:lnTo>
                    <a:lnTo>
                      <a:pt x="701" y="6"/>
                    </a:lnTo>
                    <a:lnTo>
                      <a:pt x="705" y="7"/>
                    </a:lnTo>
                    <a:lnTo>
                      <a:pt x="712" y="6"/>
                    </a:lnTo>
                    <a:lnTo>
                      <a:pt x="726" y="11"/>
                    </a:lnTo>
                    <a:lnTo>
                      <a:pt x="731" y="11"/>
                    </a:lnTo>
                    <a:lnTo>
                      <a:pt x="737" y="6"/>
                    </a:lnTo>
                    <a:lnTo>
                      <a:pt x="741" y="6"/>
                    </a:lnTo>
                    <a:lnTo>
                      <a:pt x="746" y="2"/>
                    </a:lnTo>
                    <a:lnTo>
                      <a:pt x="755" y="4"/>
                    </a:lnTo>
                    <a:lnTo>
                      <a:pt x="757" y="0"/>
                    </a:lnTo>
                    <a:lnTo>
                      <a:pt x="755" y="1"/>
                    </a:lnTo>
                    <a:lnTo>
                      <a:pt x="766" y="4"/>
                    </a:lnTo>
                    <a:lnTo>
                      <a:pt x="780" y="2"/>
                    </a:lnTo>
                    <a:lnTo>
                      <a:pt x="784" y="3"/>
                    </a:lnTo>
                    <a:lnTo>
                      <a:pt x="789" y="6"/>
                    </a:lnTo>
                    <a:lnTo>
                      <a:pt x="796" y="4"/>
                    </a:lnTo>
                    <a:lnTo>
                      <a:pt x="798" y="7"/>
                    </a:lnTo>
                    <a:lnTo>
                      <a:pt x="798" y="19"/>
                    </a:lnTo>
                    <a:lnTo>
                      <a:pt x="800" y="20"/>
                    </a:lnTo>
                    <a:lnTo>
                      <a:pt x="806" y="16"/>
                    </a:lnTo>
                    <a:lnTo>
                      <a:pt x="811" y="16"/>
                    </a:lnTo>
                    <a:lnTo>
                      <a:pt x="822" y="23"/>
                    </a:lnTo>
                    <a:lnTo>
                      <a:pt x="828" y="29"/>
                    </a:lnTo>
                    <a:lnTo>
                      <a:pt x="830" y="35"/>
                    </a:lnTo>
                    <a:lnTo>
                      <a:pt x="830" y="41"/>
                    </a:lnTo>
                    <a:lnTo>
                      <a:pt x="828" y="47"/>
                    </a:lnTo>
                    <a:lnTo>
                      <a:pt x="830" y="50"/>
                    </a:lnTo>
                    <a:lnTo>
                      <a:pt x="832" y="55"/>
                    </a:lnTo>
                    <a:lnTo>
                      <a:pt x="830" y="59"/>
                    </a:lnTo>
                    <a:lnTo>
                      <a:pt x="825" y="60"/>
                    </a:lnTo>
                    <a:lnTo>
                      <a:pt x="825" y="62"/>
                    </a:lnTo>
                    <a:lnTo>
                      <a:pt x="827" y="66"/>
                    </a:lnTo>
                    <a:lnTo>
                      <a:pt x="834" y="67"/>
                    </a:lnTo>
                    <a:lnTo>
                      <a:pt x="840" y="78"/>
                    </a:lnTo>
                    <a:lnTo>
                      <a:pt x="844" y="79"/>
                    </a:lnTo>
                    <a:lnTo>
                      <a:pt x="849" y="78"/>
                    </a:lnTo>
                    <a:lnTo>
                      <a:pt x="852" y="78"/>
                    </a:lnTo>
                    <a:lnTo>
                      <a:pt x="857" y="74"/>
                    </a:lnTo>
                    <a:lnTo>
                      <a:pt x="861" y="73"/>
                    </a:lnTo>
                    <a:lnTo>
                      <a:pt x="862" y="77"/>
                    </a:lnTo>
                    <a:lnTo>
                      <a:pt x="862" y="83"/>
                    </a:lnTo>
                    <a:lnTo>
                      <a:pt x="872" y="89"/>
                    </a:lnTo>
                    <a:lnTo>
                      <a:pt x="889" y="95"/>
                    </a:lnTo>
                    <a:lnTo>
                      <a:pt x="897" y="100"/>
                    </a:lnTo>
                    <a:lnTo>
                      <a:pt x="903" y="99"/>
                    </a:lnTo>
                    <a:lnTo>
                      <a:pt x="910" y="104"/>
                    </a:lnTo>
                    <a:lnTo>
                      <a:pt x="921" y="105"/>
                    </a:lnTo>
                    <a:lnTo>
                      <a:pt x="887" y="130"/>
                    </a:lnTo>
                    <a:lnTo>
                      <a:pt x="883" y="136"/>
                    </a:lnTo>
                    <a:lnTo>
                      <a:pt x="884" y="138"/>
                    </a:lnTo>
                    <a:lnTo>
                      <a:pt x="884" y="141"/>
                    </a:lnTo>
                    <a:lnTo>
                      <a:pt x="881" y="149"/>
                    </a:lnTo>
                    <a:lnTo>
                      <a:pt x="877" y="153"/>
                    </a:lnTo>
                    <a:lnTo>
                      <a:pt x="873" y="152"/>
                    </a:lnTo>
                    <a:lnTo>
                      <a:pt x="870" y="148"/>
                    </a:lnTo>
                    <a:lnTo>
                      <a:pt x="851" y="149"/>
                    </a:lnTo>
                    <a:lnTo>
                      <a:pt x="849" y="151"/>
                    </a:lnTo>
                    <a:lnTo>
                      <a:pt x="844" y="157"/>
                    </a:lnTo>
                    <a:lnTo>
                      <a:pt x="841" y="158"/>
                    </a:lnTo>
                    <a:lnTo>
                      <a:pt x="835" y="158"/>
                    </a:lnTo>
                    <a:lnTo>
                      <a:pt x="828" y="156"/>
                    </a:lnTo>
                    <a:lnTo>
                      <a:pt x="824" y="158"/>
                    </a:lnTo>
                    <a:lnTo>
                      <a:pt x="822" y="162"/>
                    </a:lnTo>
                    <a:lnTo>
                      <a:pt x="818" y="164"/>
                    </a:lnTo>
                    <a:lnTo>
                      <a:pt x="816" y="165"/>
                    </a:lnTo>
                    <a:lnTo>
                      <a:pt x="809" y="164"/>
                    </a:lnTo>
                    <a:lnTo>
                      <a:pt x="806" y="165"/>
                    </a:lnTo>
                    <a:lnTo>
                      <a:pt x="802" y="163"/>
                    </a:lnTo>
                    <a:lnTo>
                      <a:pt x="790" y="163"/>
                    </a:lnTo>
                    <a:lnTo>
                      <a:pt x="785" y="162"/>
                    </a:lnTo>
                    <a:lnTo>
                      <a:pt x="780" y="162"/>
                    </a:lnTo>
                    <a:lnTo>
                      <a:pt x="765" y="153"/>
                    </a:lnTo>
                    <a:lnTo>
                      <a:pt x="755" y="151"/>
                    </a:lnTo>
                    <a:lnTo>
                      <a:pt x="737" y="143"/>
                    </a:lnTo>
                    <a:lnTo>
                      <a:pt x="732" y="146"/>
                    </a:lnTo>
                    <a:lnTo>
                      <a:pt x="728" y="149"/>
                    </a:lnTo>
                    <a:lnTo>
                      <a:pt x="721" y="148"/>
                    </a:lnTo>
                    <a:lnTo>
                      <a:pt x="717" y="149"/>
                    </a:lnTo>
                    <a:lnTo>
                      <a:pt x="716" y="152"/>
                    </a:lnTo>
                    <a:lnTo>
                      <a:pt x="715" y="160"/>
                    </a:lnTo>
                    <a:lnTo>
                      <a:pt x="707" y="174"/>
                    </a:lnTo>
                    <a:lnTo>
                      <a:pt x="707" y="176"/>
                    </a:lnTo>
                    <a:lnTo>
                      <a:pt x="716" y="176"/>
                    </a:lnTo>
                    <a:lnTo>
                      <a:pt x="718" y="181"/>
                    </a:lnTo>
                    <a:lnTo>
                      <a:pt x="718" y="185"/>
                    </a:lnTo>
                    <a:lnTo>
                      <a:pt x="714" y="187"/>
                    </a:lnTo>
                    <a:lnTo>
                      <a:pt x="712" y="189"/>
                    </a:lnTo>
                    <a:lnTo>
                      <a:pt x="712" y="192"/>
                    </a:lnTo>
                    <a:lnTo>
                      <a:pt x="715" y="196"/>
                    </a:lnTo>
                    <a:lnTo>
                      <a:pt x="717" y="197"/>
                    </a:lnTo>
                    <a:lnTo>
                      <a:pt x="728" y="196"/>
                    </a:lnTo>
                    <a:lnTo>
                      <a:pt x="731" y="199"/>
                    </a:lnTo>
                    <a:lnTo>
                      <a:pt x="732" y="202"/>
                    </a:lnTo>
                    <a:lnTo>
                      <a:pt x="732" y="203"/>
                    </a:lnTo>
                    <a:lnTo>
                      <a:pt x="727" y="208"/>
                    </a:lnTo>
                    <a:lnTo>
                      <a:pt x="721" y="211"/>
                    </a:lnTo>
                    <a:lnTo>
                      <a:pt x="720" y="217"/>
                    </a:lnTo>
                    <a:lnTo>
                      <a:pt x="732" y="228"/>
                    </a:lnTo>
                    <a:lnTo>
                      <a:pt x="732" y="234"/>
                    </a:lnTo>
                    <a:lnTo>
                      <a:pt x="731" y="239"/>
                    </a:lnTo>
                    <a:lnTo>
                      <a:pt x="717" y="248"/>
                    </a:lnTo>
                    <a:lnTo>
                      <a:pt x="716" y="251"/>
                    </a:lnTo>
                    <a:lnTo>
                      <a:pt x="725" y="255"/>
                    </a:lnTo>
                    <a:lnTo>
                      <a:pt x="728" y="264"/>
                    </a:lnTo>
                    <a:lnTo>
                      <a:pt x="738" y="270"/>
                    </a:lnTo>
                    <a:lnTo>
                      <a:pt x="737" y="277"/>
                    </a:lnTo>
                    <a:lnTo>
                      <a:pt x="744" y="278"/>
                    </a:lnTo>
                    <a:lnTo>
                      <a:pt x="747" y="282"/>
                    </a:lnTo>
                    <a:lnTo>
                      <a:pt x="753" y="280"/>
                    </a:lnTo>
                    <a:lnTo>
                      <a:pt x="758" y="281"/>
                    </a:lnTo>
                    <a:lnTo>
                      <a:pt x="758" y="286"/>
                    </a:lnTo>
                    <a:lnTo>
                      <a:pt x="757" y="292"/>
                    </a:lnTo>
                    <a:lnTo>
                      <a:pt x="760" y="299"/>
                    </a:lnTo>
                    <a:lnTo>
                      <a:pt x="761" y="300"/>
                    </a:lnTo>
                    <a:lnTo>
                      <a:pt x="779" y="302"/>
                    </a:lnTo>
                    <a:lnTo>
                      <a:pt x="784" y="305"/>
                    </a:lnTo>
                    <a:lnTo>
                      <a:pt x="789" y="304"/>
                    </a:lnTo>
                    <a:lnTo>
                      <a:pt x="795" y="312"/>
                    </a:lnTo>
                    <a:lnTo>
                      <a:pt x="793" y="316"/>
                    </a:lnTo>
                    <a:lnTo>
                      <a:pt x="796" y="320"/>
                    </a:lnTo>
                    <a:lnTo>
                      <a:pt x="791" y="325"/>
                    </a:lnTo>
                    <a:lnTo>
                      <a:pt x="789" y="329"/>
                    </a:lnTo>
                    <a:lnTo>
                      <a:pt x="781" y="330"/>
                    </a:lnTo>
                    <a:lnTo>
                      <a:pt x="777" y="330"/>
                    </a:lnTo>
                    <a:lnTo>
                      <a:pt x="775" y="329"/>
                    </a:lnTo>
                    <a:lnTo>
                      <a:pt x="770" y="330"/>
                    </a:lnTo>
                    <a:lnTo>
                      <a:pt x="768" y="332"/>
                    </a:lnTo>
                    <a:lnTo>
                      <a:pt x="757" y="337"/>
                    </a:lnTo>
                    <a:lnTo>
                      <a:pt x="753" y="345"/>
                    </a:lnTo>
                    <a:lnTo>
                      <a:pt x="752" y="356"/>
                    </a:lnTo>
                    <a:lnTo>
                      <a:pt x="757" y="362"/>
                    </a:lnTo>
                    <a:lnTo>
                      <a:pt x="755" y="367"/>
                    </a:lnTo>
                    <a:lnTo>
                      <a:pt x="758" y="368"/>
                    </a:lnTo>
                    <a:lnTo>
                      <a:pt x="759" y="371"/>
                    </a:lnTo>
                    <a:lnTo>
                      <a:pt x="758" y="374"/>
                    </a:lnTo>
                    <a:lnTo>
                      <a:pt x="753" y="378"/>
                    </a:lnTo>
                    <a:lnTo>
                      <a:pt x="752" y="384"/>
                    </a:lnTo>
                    <a:lnTo>
                      <a:pt x="752" y="386"/>
                    </a:lnTo>
                    <a:lnTo>
                      <a:pt x="754" y="388"/>
                    </a:lnTo>
                    <a:lnTo>
                      <a:pt x="764" y="388"/>
                    </a:lnTo>
                    <a:lnTo>
                      <a:pt x="766" y="394"/>
                    </a:lnTo>
                    <a:lnTo>
                      <a:pt x="764" y="396"/>
                    </a:lnTo>
                    <a:lnTo>
                      <a:pt x="760" y="398"/>
                    </a:lnTo>
                    <a:lnTo>
                      <a:pt x="757" y="396"/>
                    </a:lnTo>
                    <a:lnTo>
                      <a:pt x="754" y="394"/>
                    </a:lnTo>
                    <a:lnTo>
                      <a:pt x="752" y="401"/>
                    </a:lnTo>
                    <a:lnTo>
                      <a:pt x="738" y="406"/>
                    </a:lnTo>
                    <a:lnTo>
                      <a:pt x="726" y="422"/>
                    </a:lnTo>
                    <a:lnTo>
                      <a:pt x="721" y="425"/>
                    </a:lnTo>
                    <a:lnTo>
                      <a:pt x="716" y="431"/>
                    </a:lnTo>
                    <a:lnTo>
                      <a:pt x="712" y="436"/>
                    </a:lnTo>
                    <a:lnTo>
                      <a:pt x="711" y="442"/>
                    </a:lnTo>
                    <a:lnTo>
                      <a:pt x="712" y="450"/>
                    </a:lnTo>
                    <a:lnTo>
                      <a:pt x="709" y="458"/>
                    </a:lnTo>
                    <a:lnTo>
                      <a:pt x="700" y="463"/>
                    </a:lnTo>
                    <a:lnTo>
                      <a:pt x="693" y="463"/>
                    </a:lnTo>
                    <a:lnTo>
                      <a:pt x="687" y="468"/>
                    </a:lnTo>
                    <a:lnTo>
                      <a:pt x="682" y="476"/>
                    </a:lnTo>
                    <a:lnTo>
                      <a:pt x="678" y="487"/>
                    </a:lnTo>
                    <a:lnTo>
                      <a:pt x="672" y="498"/>
                    </a:lnTo>
                    <a:lnTo>
                      <a:pt x="657" y="520"/>
                    </a:lnTo>
                    <a:lnTo>
                      <a:pt x="651" y="527"/>
                    </a:lnTo>
                    <a:lnTo>
                      <a:pt x="639" y="534"/>
                    </a:lnTo>
                    <a:lnTo>
                      <a:pt x="628" y="544"/>
                    </a:lnTo>
                    <a:lnTo>
                      <a:pt x="624" y="549"/>
                    </a:lnTo>
                    <a:lnTo>
                      <a:pt x="614" y="565"/>
                    </a:lnTo>
                    <a:lnTo>
                      <a:pt x="607" y="574"/>
                    </a:lnTo>
                    <a:lnTo>
                      <a:pt x="599" y="589"/>
                    </a:lnTo>
                    <a:lnTo>
                      <a:pt x="594" y="592"/>
                    </a:lnTo>
                    <a:lnTo>
                      <a:pt x="590" y="593"/>
                    </a:lnTo>
                    <a:lnTo>
                      <a:pt x="567" y="593"/>
                    </a:lnTo>
                    <a:lnTo>
                      <a:pt x="564" y="594"/>
                    </a:lnTo>
                    <a:lnTo>
                      <a:pt x="556" y="597"/>
                    </a:lnTo>
                    <a:lnTo>
                      <a:pt x="551" y="603"/>
                    </a:lnTo>
                    <a:lnTo>
                      <a:pt x="547" y="604"/>
                    </a:lnTo>
                    <a:lnTo>
                      <a:pt x="544" y="603"/>
                    </a:lnTo>
                    <a:lnTo>
                      <a:pt x="542" y="598"/>
                    </a:lnTo>
                    <a:lnTo>
                      <a:pt x="534" y="584"/>
                    </a:lnTo>
                    <a:lnTo>
                      <a:pt x="531" y="582"/>
                    </a:lnTo>
                    <a:lnTo>
                      <a:pt x="527" y="583"/>
                    </a:lnTo>
                    <a:lnTo>
                      <a:pt x="517" y="592"/>
                    </a:lnTo>
                    <a:lnTo>
                      <a:pt x="513" y="598"/>
                    </a:lnTo>
                    <a:lnTo>
                      <a:pt x="502" y="608"/>
                    </a:lnTo>
                    <a:lnTo>
                      <a:pt x="488" y="626"/>
                    </a:lnTo>
                    <a:lnTo>
                      <a:pt x="480" y="633"/>
                    </a:lnTo>
                    <a:lnTo>
                      <a:pt x="478" y="640"/>
                    </a:lnTo>
                    <a:lnTo>
                      <a:pt x="474" y="658"/>
                    </a:lnTo>
                    <a:lnTo>
                      <a:pt x="474" y="663"/>
                    </a:lnTo>
                    <a:lnTo>
                      <a:pt x="476" y="668"/>
                    </a:lnTo>
                    <a:lnTo>
                      <a:pt x="483" y="671"/>
                    </a:lnTo>
                    <a:lnTo>
                      <a:pt x="489" y="670"/>
                    </a:lnTo>
                    <a:lnTo>
                      <a:pt x="496" y="673"/>
                    </a:lnTo>
                    <a:lnTo>
                      <a:pt x="506" y="673"/>
                    </a:lnTo>
                    <a:lnTo>
                      <a:pt x="508" y="674"/>
                    </a:lnTo>
                    <a:lnTo>
                      <a:pt x="512" y="678"/>
                    </a:lnTo>
                    <a:lnTo>
                      <a:pt x="513" y="681"/>
                    </a:lnTo>
                    <a:lnTo>
                      <a:pt x="513" y="686"/>
                    </a:lnTo>
                    <a:lnTo>
                      <a:pt x="507" y="706"/>
                    </a:lnTo>
                    <a:lnTo>
                      <a:pt x="507" y="711"/>
                    </a:lnTo>
                    <a:lnTo>
                      <a:pt x="508" y="716"/>
                    </a:lnTo>
                    <a:lnTo>
                      <a:pt x="518" y="727"/>
                    </a:lnTo>
                    <a:lnTo>
                      <a:pt x="522" y="728"/>
                    </a:lnTo>
                    <a:lnTo>
                      <a:pt x="532" y="724"/>
                    </a:lnTo>
                    <a:lnTo>
                      <a:pt x="534" y="725"/>
                    </a:lnTo>
                    <a:lnTo>
                      <a:pt x="537" y="728"/>
                    </a:lnTo>
                    <a:lnTo>
                      <a:pt x="537" y="739"/>
                    </a:lnTo>
                    <a:lnTo>
                      <a:pt x="538" y="748"/>
                    </a:lnTo>
                    <a:lnTo>
                      <a:pt x="543" y="755"/>
                    </a:lnTo>
                    <a:lnTo>
                      <a:pt x="545" y="762"/>
                    </a:lnTo>
                    <a:lnTo>
                      <a:pt x="550" y="768"/>
                    </a:lnTo>
                    <a:lnTo>
                      <a:pt x="555" y="773"/>
                    </a:lnTo>
                    <a:lnTo>
                      <a:pt x="555" y="776"/>
                    </a:lnTo>
                    <a:lnTo>
                      <a:pt x="559" y="781"/>
                    </a:lnTo>
                    <a:lnTo>
                      <a:pt x="560" y="784"/>
                    </a:lnTo>
                    <a:lnTo>
                      <a:pt x="555" y="786"/>
                    </a:lnTo>
                    <a:lnTo>
                      <a:pt x="555" y="788"/>
                    </a:lnTo>
                    <a:lnTo>
                      <a:pt x="555" y="798"/>
                    </a:lnTo>
                    <a:lnTo>
                      <a:pt x="554" y="802"/>
                    </a:lnTo>
                    <a:lnTo>
                      <a:pt x="561" y="803"/>
                    </a:lnTo>
                    <a:lnTo>
                      <a:pt x="561" y="805"/>
                    </a:lnTo>
                    <a:lnTo>
                      <a:pt x="554" y="805"/>
                    </a:lnTo>
                    <a:lnTo>
                      <a:pt x="549" y="809"/>
                    </a:lnTo>
                    <a:lnTo>
                      <a:pt x="549" y="811"/>
                    </a:lnTo>
                    <a:lnTo>
                      <a:pt x="545" y="813"/>
                    </a:lnTo>
                    <a:lnTo>
                      <a:pt x="542" y="813"/>
                    </a:lnTo>
                    <a:lnTo>
                      <a:pt x="535" y="813"/>
                    </a:lnTo>
                    <a:lnTo>
                      <a:pt x="534" y="810"/>
                    </a:lnTo>
                    <a:lnTo>
                      <a:pt x="533" y="809"/>
                    </a:lnTo>
                    <a:lnTo>
                      <a:pt x="534" y="803"/>
                    </a:lnTo>
                    <a:lnTo>
                      <a:pt x="534" y="802"/>
                    </a:lnTo>
                    <a:lnTo>
                      <a:pt x="527" y="800"/>
                    </a:lnTo>
                    <a:lnTo>
                      <a:pt x="522" y="804"/>
                    </a:lnTo>
                    <a:lnTo>
                      <a:pt x="510" y="808"/>
                    </a:lnTo>
                    <a:lnTo>
                      <a:pt x="506" y="815"/>
                    </a:lnTo>
                    <a:lnTo>
                      <a:pt x="505" y="816"/>
                    </a:lnTo>
                    <a:lnTo>
                      <a:pt x="502" y="816"/>
                    </a:lnTo>
                    <a:lnTo>
                      <a:pt x="488" y="816"/>
                    </a:lnTo>
                    <a:lnTo>
                      <a:pt x="479" y="809"/>
                    </a:lnTo>
                    <a:lnTo>
                      <a:pt x="473" y="811"/>
                    </a:lnTo>
                    <a:lnTo>
                      <a:pt x="469" y="809"/>
                    </a:lnTo>
                    <a:lnTo>
                      <a:pt x="457" y="810"/>
                    </a:lnTo>
                    <a:lnTo>
                      <a:pt x="453" y="809"/>
                    </a:lnTo>
                    <a:lnTo>
                      <a:pt x="447" y="810"/>
                    </a:lnTo>
                    <a:lnTo>
                      <a:pt x="443" y="809"/>
                    </a:lnTo>
                    <a:lnTo>
                      <a:pt x="442" y="810"/>
                    </a:lnTo>
                    <a:lnTo>
                      <a:pt x="441" y="810"/>
                    </a:lnTo>
                    <a:lnTo>
                      <a:pt x="438" y="805"/>
                    </a:lnTo>
                    <a:lnTo>
                      <a:pt x="436" y="805"/>
                    </a:lnTo>
                    <a:lnTo>
                      <a:pt x="435" y="810"/>
                    </a:lnTo>
                    <a:lnTo>
                      <a:pt x="435" y="827"/>
                    </a:lnTo>
                    <a:lnTo>
                      <a:pt x="415" y="827"/>
                    </a:lnTo>
                    <a:lnTo>
                      <a:pt x="411" y="829"/>
                    </a:lnTo>
                    <a:lnTo>
                      <a:pt x="406" y="827"/>
                    </a:lnTo>
                    <a:lnTo>
                      <a:pt x="404" y="832"/>
                    </a:lnTo>
                    <a:lnTo>
                      <a:pt x="402" y="834"/>
                    </a:lnTo>
                    <a:lnTo>
                      <a:pt x="400" y="837"/>
                    </a:lnTo>
                    <a:lnTo>
                      <a:pt x="395" y="841"/>
                    </a:lnTo>
                    <a:lnTo>
                      <a:pt x="391" y="842"/>
                    </a:lnTo>
                    <a:lnTo>
                      <a:pt x="378" y="837"/>
                    </a:lnTo>
                    <a:lnTo>
                      <a:pt x="367" y="836"/>
                    </a:lnTo>
                    <a:lnTo>
                      <a:pt x="363" y="834"/>
                    </a:lnTo>
                    <a:lnTo>
                      <a:pt x="362" y="827"/>
                    </a:lnTo>
                    <a:lnTo>
                      <a:pt x="360" y="824"/>
                    </a:lnTo>
                    <a:lnTo>
                      <a:pt x="355" y="820"/>
                    </a:lnTo>
                    <a:lnTo>
                      <a:pt x="350" y="808"/>
                    </a:lnTo>
                    <a:lnTo>
                      <a:pt x="344" y="791"/>
                    </a:lnTo>
                    <a:lnTo>
                      <a:pt x="344" y="784"/>
                    </a:lnTo>
                    <a:lnTo>
                      <a:pt x="340" y="784"/>
                    </a:lnTo>
                    <a:lnTo>
                      <a:pt x="329" y="781"/>
                    </a:lnTo>
                    <a:lnTo>
                      <a:pt x="322" y="776"/>
                    </a:lnTo>
                    <a:lnTo>
                      <a:pt x="318" y="756"/>
                    </a:lnTo>
                    <a:lnTo>
                      <a:pt x="316" y="751"/>
                    </a:lnTo>
                    <a:lnTo>
                      <a:pt x="308" y="745"/>
                    </a:lnTo>
                    <a:lnTo>
                      <a:pt x="302" y="741"/>
                    </a:lnTo>
                    <a:lnTo>
                      <a:pt x="292" y="740"/>
                    </a:lnTo>
                    <a:lnTo>
                      <a:pt x="271" y="744"/>
                    </a:lnTo>
                    <a:lnTo>
                      <a:pt x="250" y="744"/>
                    </a:lnTo>
                    <a:lnTo>
                      <a:pt x="236" y="750"/>
                    </a:lnTo>
                    <a:lnTo>
                      <a:pt x="227" y="748"/>
                    </a:lnTo>
                    <a:lnTo>
                      <a:pt x="212" y="746"/>
                    </a:lnTo>
                    <a:lnTo>
                      <a:pt x="205" y="759"/>
                    </a:lnTo>
                    <a:lnTo>
                      <a:pt x="200" y="753"/>
                    </a:lnTo>
                    <a:lnTo>
                      <a:pt x="188" y="753"/>
                    </a:lnTo>
                    <a:lnTo>
                      <a:pt x="178" y="745"/>
                    </a:lnTo>
                    <a:lnTo>
                      <a:pt x="164" y="746"/>
                    </a:lnTo>
                    <a:lnTo>
                      <a:pt x="151" y="745"/>
                    </a:lnTo>
                    <a:lnTo>
                      <a:pt x="144" y="753"/>
                    </a:lnTo>
                    <a:lnTo>
                      <a:pt x="130" y="755"/>
                    </a:lnTo>
                    <a:lnTo>
                      <a:pt x="102" y="751"/>
                    </a:lnTo>
                    <a:lnTo>
                      <a:pt x="91" y="751"/>
                    </a:lnTo>
                    <a:lnTo>
                      <a:pt x="76" y="759"/>
                    </a:lnTo>
                    <a:lnTo>
                      <a:pt x="69" y="755"/>
                    </a:lnTo>
                    <a:lnTo>
                      <a:pt x="61" y="761"/>
                    </a:lnTo>
                    <a:lnTo>
                      <a:pt x="53" y="761"/>
                    </a:lnTo>
                    <a:lnTo>
                      <a:pt x="48" y="765"/>
                    </a:lnTo>
                    <a:lnTo>
                      <a:pt x="45" y="759"/>
                    </a:lnTo>
                    <a:lnTo>
                      <a:pt x="42" y="75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49" name="Freeform 101"/>
              <p:cNvSpPr>
                <a:spLocks noChangeAspect="1"/>
              </p:cNvSpPr>
              <p:nvPr/>
            </p:nvSpPr>
            <p:spPr bwMode="gray">
              <a:xfrm>
                <a:off x="3489" y="2165"/>
                <a:ext cx="37" cy="20"/>
              </a:xfrm>
              <a:custGeom>
                <a:avLst/>
                <a:gdLst/>
                <a:ahLst/>
                <a:cxnLst>
                  <a:cxn ang="0">
                    <a:pos x="164" y="32"/>
                  </a:cxn>
                  <a:cxn ang="0">
                    <a:pos x="164" y="30"/>
                  </a:cxn>
                  <a:cxn ang="0">
                    <a:pos x="150" y="22"/>
                  </a:cxn>
                  <a:cxn ang="0">
                    <a:pos x="148" y="18"/>
                  </a:cxn>
                  <a:cxn ang="0">
                    <a:pos x="145" y="17"/>
                  </a:cxn>
                  <a:cxn ang="0">
                    <a:pos x="130" y="21"/>
                  </a:cxn>
                  <a:cxn ang="0">
                    <a:pos x="126" y="21"/>
                  </a:cxn>
                  <a:cxn ang="0">
                    <a:pos x="112" y="16"/>
                  </a:cxn>
                  <a:cxn ang="0">
                    <a:pos x="96" y="15"/>
                  </a:cxn>
                  <a:cxn ang="0">
                    <a:pos x="89" y="10"/>
                  </a:cxn>
                  <a:cxn ang="0">
                    <a:pos x="89" y="7"/>
                  </a:cxn>
                  <a:cxn ang="0">
                    <a:pos x="85" y="1"/>
                  </a:cxn>
                  <a:cxn ang="0">
                    <a:pos x="79" y="0"/>
                  </a:cxn>
                  <a:cxn ang="0">
                    <a:pos x="65" y="1"/>
                  </a:cxn>
                  <a:cxn ang="0">
                    <a:pos x="53" y="6"/>
                  </a:cxn>
                  <a:cxn ang="0">
                    <a:pos x="42" y="17"/>
                  </a:cxn>
                  <a:cxn ang="0">
                    <a:pos x="32" y="33"/>
                  </a:cxn>
                  <a:cxn ang="0">
                    <a:pos x="11" y="53"/>
                  </a:cxn>
                  <a:cxn ang="0">
                    <a:pos x="10" y="59"/>
                  </a:cxn>
                  <a:cxn ang="0">
                    <a:pos x="9" y="63"/>
                  </a:cxn>
                  <a:cxn ang="0">
                    <a:pos x="0" y="71"/>
                  </a:cxn>
                  <a:cxn ang="0">
                    <a:pos x="0" y="76"/>
                  </a:cxn>
                  <a:cxn ang="0">
                    <a:pos x="5" y="77"/>
                  </a:cxn>
                  <a:cxn ang="0">
                    <a:pos x="6" y="80"/>
                  </a:cxn>
                  <a:cxn ang="0">
                    <a:pos x="6" y="87"/>
                  </a:cxn>
                  <a:cxn ang="0">
                    <a:pos x="8" y="88"/>
                  </a:cxn>
                  <a:cxn ang="0">
                    <a:pos x="11" y="88"/>
                  </a:cxn>
                  <a:cxn ang="0">
                    <a:pos x="15" y="91"/>
                  </a:cxn>
                  <a:cxn ang="0">
                    <a:pos x="26" y="95"/>
                  </a:cxn>
                  <a:cxn ang="0">
                    <a:pos x="49" y="98"/>
                  </a:cxn>
                  <a:cxn ang="0">
                    <a:pos x="68" y="98"/>
                  </a:cxn>
                  <a:cxn ang="0">
                    <a:pos x="91" y="90"/>
                  </a:cxn>
                  <a:cxn ang="0">
                    <a:pos x="96" y="90"/>
                  </a:cxn>
                  <a:cxn ang="0">
                    <a:pos x="106" y="93"/>
                  </a:cxn>
                  <a:cxn ang="0">
                    <a:pos x="115" y="93"/>
                  </a:cxn>
                  <a:cxn ang="0">
                    <a:pos x="123" y="92"/>
                  </a:cxn>
                  <a:cxn ang="0">
                    <a:pos x="144" y="88"/>
                  </a:cxn>
                  <a:cxn ang="0">
                    <a:pos x="158" y="87"/>
                  </a:cxn>
                  <a:cxn ang="0">
                    <a:pos x="178" y="84"/>
                  </a:cxn>
                  <a:cxn ang="0">
                    <a:pos x="186" y="80"/>
                  </a:cxn>
                  <a:cxn ang="0">
                    <a:pos x="186" y="77"/>
                  </a:cxn>
                  <a:cxn ang="0">
                    <a:pos x="185" y="73"/>
                  </a:cxn>
                  <a:cxn ang="0">
                    <a:pos x="187" y="59"/>
                  </a:cxn>
                  <a:cxn ang="0">
                    <a:pos x="181" y="53"/>
                  </a:cxn>
                  <a:cxn ang="0">
                    <a:pos x="162" y="45"/>
                  </a:cxn>
                  <a:cxn ang="0">
                    <a:pos x="161" y="43"/>
                  </a:cxn>
                  <a:cxn ang="0">
                    <a:pos x="161" y="41"/>
                  </a:cxn>
                  <a:cxn ang="0">
                    <a:pos x="164" y="34"/>
                  </a:cxn>
                  <a:cxn ang="0">
                    <a:pos x="164" y="32"/>
                  </a:cxn>
                </a:cxnLst>
                <a:rect l="0" t="0" r="r" b="b"/>
                <a:pathLst>
                  <a:path w="187" h="98">
                    <a:moveTo>
                      <a:pt x="164" y="32"/>
                    </a:moveTo>
                    <a:lnTo>
                      <a:pt x="164" y="30"/>
                    </a:lnTo>
                    <a:lnTo>
                      <a:pt x="150" y="22"/>
                    </a:lnTo>
                    <a:lnTo>
                      <a:pt x="148" y="18"/>
                    </a:lnTo>
                    <a:lnTo>
                      <a:pt x="145" y="17"/>
                    </a:lnTo>
                    <a:lnTo>
                      <a:pt x="130" y="21"/>
                    </a:lnTo>
                    <a:lnTo>
                      <a:pt x="126" y="21"/>
                    </a:lnTo>
                    <a:lnTo>
                      <a:pt x="112" y="16"/>
                    </a:lnTo>
                    <a:lnTo>
                      <a:pt x="96" y="15"/>
                    </a:lnTo>
                    <a:lnTo>
                      <a:pt x="89" y="10"/>
                    </a:lnTo>
                    <a:lnTo>
                      <a:pt x="89" y="7"/>
                    </a:lnTo>
                    <a:lnTo>
                      <a:pt x="85" y="1"/>
                    </a:lnTo>
                    <a:lnTo>
                      <a:pt x="79" y="0"/>
                    </a:lnTo>
                    <a:lnTo>
                      <a:pt x="65" y="1"/>
                    </a:lnTo>
                    <a:lnTo>
                      <a:pt x="53" y="6"/>
                    </a:lnTo>
                    <a:lnTo>
                      <a:pt x="42" y="17"/>
                    </a:lnTo>
                    <a:lnTo>
                      <a:pt x="32" y="33"/>
                    </a:lnTo>
                    <a:lnTo>
                      <a:pt x="11" y="53"/>
                    </a:lnTo>
                    <a:lnTo>
                      <a:pt x="10" y="59"/>
                    </a:lnTo>
                    <a:lnTo>
                      <a:pt x="9" y="63"/>
                    </a:lnTo>
                    <a:lnTo>
                      <a:pt x="0" y="71"/>
                    </a:lnTo>
                    <a:lnTo>
                      <a:pt x="0" y="76"/>
                    </a:lnTo>
                    <a:lnTo>
                      <a:pt x="5" y="77"/>
                    </a:lnTo>
                    <a:lnTo>
                      <a:pt x="6" y="80"/>
                    </a:lnTo>
                    <a:lnTo>
                      <a:pt x="6" y="87"/>
                    </a:lnTo>
                    <a:lnTo>
                      <a:pt x="8" y="88"/>
                    </a:lnTo>
                    <a:lnTo>
                      <a:pt x="11" y="88"/>
                    </a:lnTo>
                    <a:lnTo>
                      <a:pt x="15" y="91"/>
                    </a:lnTo>
                    <a:lnTo>
                      <a:pt x="26" y="95"/>
                    </a:lnTo>
                    <a:lnTo>
                      <a:pt x="49" y="98"/>
                    </a:lnTo>
                    <a:lnTo>
                      <a:pt x="68" y="98"/>
                    </a:lnTo>
                    <a:lnTo>
                      <a:pt x="91" y="90"/>
                    </a:lnTo>
                    <a:lnTo>
                      <a:pt x="96" y="90"/>
                    </a:lnTo>
                    <a:lnTo>
                      <a:pt x="106" y="93"/>
                    </a:lnTo>
                    <a:lnTo>
                      <a:pt x="115" y="93"/>
                    </a:lnTo>
                    <a:lnTo>
                      <a:pt x="123" y="92"/>
                    </a:lnTo>
                    <a:lnTo>
                      <a:pt x="144" y="88"/>
                    </a:lnTo>
                    <a:lnTo>
                      <a:pt x="158" y="87"/>
                    </a:lnTo>
                    <a:lnTo>
                      <a:pt x="178" y="84"/>
                    </a:lnTo>
                    <a:lnTo>
                      <a:pt x="186" y="80"/>
                    </a:lnTo>
                    <a:lnTo>
                      <a:pt x="186" y="77"/>
                    </a:lnTo>
                    <a:lnTo>
                      <a:pt x="185" y="73"/>
                    </a:lnTo>
                    <a:lnTo>
                      <a:pt x="187" y="59"/>
                    </a:lnTo>
                    <a:lnTo>
                      <a:pt x="181" y="53"/>
                    </a:lnTo>
                    <a:lnTo>
                      <a:pt x="162" y="45"/>
                    </a:lnTo>
                    <a:lnTo>
                      <a:pt x="161" y="43"/>
                    </a:lnTo>
                    <a:lnTo>
                      <a:pt x="161" y="41"/>
                    </a:lnTo>
                    <a:lnTo>
                      <a:pt x="164" y="34"/>
                    </a:lnTo>
                    <a:lnTo>
                      <a:pt x="164" y="3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50" name="Freeform 102"/>
              <p:cNvSpPr>
                <a:spLocks noChangeAspect="1"/>
              </p:cNvSpPr>
              <p:nvPr/>
            </p:nvSpPr>
            <p:spPr bwMode="gray">
              <a:xfrm>
                <a:off x="3394" y="2140"/>
                <a:ext cx="88" cy="49"/>
              </a:xfrm>
              <a:custGeom>
                <a:avLst/>
                <a:gdLst/>
                <a:ahLst/>
                <a:cxnLst>
                  <a:cxn ang="0">
                    <a:pos x="432" y="170"/>
                  </a:cxn>
                  <a:cxn ang="0">
                    <a:pos x="428" y="203"/>
                  </a:cxn>
                  <a:cxn ang="0">
                    <a:pos x="441" y="221"/>
                  </a:cxn>
                  <a:cxn ang="0">
                    <a:pos x="434" y="242"/>
                  </a:cxn>
                  <a:cxn ang="0">
                    <a:pos x="396" y="242"/>
                  </a:cxn>
                  <a:cxn ang="0">
                    <a:pos x="368" y="238"/>
                  </a:cxn>
                  <a:cxn ang="0">
                    <a:pos x="308" y="224"/>
                  </a:cxn>
                  <a:cxn ang="0">
                    <a:pos x="267" y="218"/>
                  </a:cxn>
                  <a:cxn ang="0">
                    <a:pos x="239" y="191"/>
                  </a:cxn>
                  <a:cxn ang="0">
                    <a:pos x="211" y="184"/>
                  </a:cxn>
                  <a:cxn ang="0">
                    <a:pos x="192" y="184"/>
                  </a:cxn>
                  <a:cxn ang="0">
                    <a:pos x="168" y="187"/>
                  </a:cxn>
                  <a:cxn ang="0">
                    <a:pos x="136" y="168"/>
                  </a:cxn>
                  <a:cxn ang="0">
                    <a:pos x="114" y="159"/>
                  </a:cxn>
                  <a:cxn ang="0">
                    <a:pos x="83" y="148"/>
                  </a:cxn>
                  <a:cxn ang="0">
                    <a:pos x="57" y="124"/>
                  </a:cxn>
                  <a:cxn ang="0">
                    <a:pos x="32" y="109"/>
                  </a:cxn>
                  <a:cxn ang="0">
                    <a:pos x="23" y="113"/>
                  </a:cxn>
                  <a:cxn ang="0">
                    <a:pos x="12" y="98"/>
                  </a:cxn>
                  <a:cxn ang="0">
                    <a:pos x="1" y="87"/>
                  </a:cxn>
                  <a:cxn ang="0">
                    <a:pos x="11" y="71"/>
                  </a:cxn>
                  <a:cxn ang="0">
                    <a:pos x="14" y="51"/>
                  </a:cxn>
                  <a:cxn ang="0">
                    <a:pos x="17" y="34"/>
                  </a:cxn>
                  <a:cxn ang="0">
                    <a:pos x="30" y="22"/>
                  </a:cxn>
                  <a:cxn ang="0">
                    <a:pos x="43" y="6"/>
                  </a:cxn>
                  <a:cxn ang="0">
                    <a:pos x="54" y="4"/>
                  </a:cxn>
                  <a:cxn ang="0">
                    <a:pos x="67" y="18"/>
                  </a:cxn>
                  <a:cxn ang="0">
                    <a:pos x="71" y="8"/>
                  </a:cxn>
                  <a:cxn ang="0">
                    <a:pos x="73" y="0"/>
                  </a:cxn>
                  <a:cxn ang="0">
                    <a:pos x="110" y="7"/>
                  </a:cxn>
                  <a:cxn ang="0">
                    <a:pos x="141" y="24"/>
                  </a:cxn>
                  <a:cxn ang="0">
                    <a:pos x="174" y="46"/>
                  </a:cxn>
                  <a:cxn ang="0">
                    <a:pos x="186" y="77"/>
                  </a:cxn>
                  <a:cxn ang="0">
                    <a:pos x="200" y="74"/>
                  </a:cxn>
                  <a:cxn ang="0">
                    <a:pos x="207" y="67"/>
                  </a:cxn>
                  <a:cxn ang="0">
                    <a:pos x="221" y="63"/>
                  </a:cxn>
                  <a:cxn ang="0">
                    <a:pos x="226" y="73"/>
                  </a:cxn>
                  <a:cxn ang="0">
                    <a:pos x="226" y="95"/>
                  </a:cxn>
                  <a:cxn ang="0">
                    <a:pos x="235" y="101"/>
                  </a:cxn>
                  <a:cxn ang="0">
                    <a:pos x="251" y="104"/>
                  </a:cxn>
                  <a:cxn ang="0">
                    <a:pos x="272" y="106"/>
                  </a:cxn>
                  <a:cxn ang="0">
                    <a:pos x="277" y="117"/>
                  </a:cxn>
                  <a:cxn ang="0">
                    <a:pos x="301" y="131"/>
                  </a:cxn>
                  <a:cxn ang="0">
                    <a:pos x="315" y="142"/>
                  </a:cxn>
                  <a:cxn ang="0">
                    <a:pos x="329" y="149"/>
                  </a:cxn>
                  <a:cxn ang="0">
                    <a:pos x="344" y="149"/>
                  </a:cxn>
                  <a:cxn ang="0">
                    <a:pos x="356" y="144"/>
                  </a:cxn>
                  <a:cxn ang="0">
                    <a:pos x="377" y="151"/>
                  </a:cxn>
                  <a:cxn ang="0">
                    <a:pos x="398" y="158"/>
                  </a:cxn>
                  <a:cxn ang="0">
                    <a:pos x="422" y="159"/>
                  </a:cxn>
                  <a:cxn ang="0">
                    <a:pos x="439" y="151"/>
                  </a:cxn>
                </a:cxnLst>
                <a:rect l="0" t="0" r="r" b="b"/>
                <a:pathLst>
                  <a:path w="441" h="244">
                    <a:moveTo>
                      <a:pt x="439" y="151"/>
                    </a:moveTo>
                    <a:lnTo>
                      <a:pt x="436" y="158"/>
                    </a:lnTo>
                    <a:lnTo>
                      <a:pt x="432" y="170"/>
                    </a:lnTo>
                    <a:lnTo>
                      <a:pt x="433" y="185"/>
                    </a:lnTo>
                    <a:lnTo>
                      <a:pt x="432" y="199"/>
                    </a:lnTo>
                    <a:lnTo>
                      <a:pt x="428" y="203"/>
                    </a:lnTo>
                    <a:lnTo>
                      <a:pt x="428" y="207"/>
                    </a:lnTo>
                    <a:lnTo>
                      <a:pt x="436" y="211"/>
                    </a:lnTo>
                    <a:lnTo>
                      <a:pt x="441" y="221"/>
                    </a:lnTo>
                    <a:lnTo>
                      <a:pt x="441" y="228"/>
                    </a:lnTo>
                    <a:lnTo>
                      <a:pt x="434" y="239"/>
                    </a:lnTo>
                    <a:lnTo>
                      <a:pt x="434" y="242"/>
                    </a:lnTo>
                    <a:lnTo>
                      <a:pt x="422" y="240"/>
                    </a:lnTo>
                    <a:lnTo>
                      <a:pt x="411" y="243"/>
                    </a:lnTo>
                    <a:lnTo>
                      <a:pt x="396" y="242"/>
                    </a:lnTo>
                    <a:lnTo>
                      <a:pt x="388" y="244"/>
                    </a:lnTo>
                    <a:lnTo>
                      <a:pt x="378" y="239"/>
                    </a:lnTo>
                    <a:lnTo>
                      <a:pt x="368" y="238"/>
                    </a:lnTo>
                    <a:lnTo>
                      <a:pt x="362" y="238"/>
                    </a:lnTo>
                    <a:lnTo>
                      <a:pt x="315" y="230"/>
                    </a:lnTo>
                    <a:lnTo>
                      <a:pt x="308" y="224"/>
                    </a:lnTo>
                    <a:lnTo>
                      <a:pt x="299" y="221"/>
                    </a:lnTo>
                    <a:lnTo>
                      <a:pt x="287" y="222"/>
                    </a:lnTo>
                    <a:lnTo>
                      <a:pt x="267" y="218"/>
                    </a:lnTo>
                    <a:lnTo>
                      <a:pt x="255" y="210"/>
                    </a:lnTo>
                    <a:lnTo>
                      <a:pt x="249" y="205"/>
                    </a:lnTo>
                    <a:lnTo>
                      <a:pt x="239" y="191"/>
                    </a:lnTo>
                    <a:lnTo>
                      <a:pt x="232" y="187"/>
                    </a:lnTo>
                    <a:lnTo>
                      <a:pt x="213" y="184"/>
                    </a:lnTo>
                    <a:lnTo>
                      <a:pt x="211" y="184"/>
                    </a:lnTo>
                    <a:lnTo>
                      <a:pt x="208" y="187"/>
                    </a:lnTo>
                    <a:lnTo>
                      <a:pt x="202" y="186"/>
                    </a:lnTo>
                    <a:lnTo>
                      <a:pt x="192" y="184"/>
                    </a:lnTo>
                    <a:lnTo>
                      <a:pt x="183" y="183"/>
                    </a:lnTo>
                    <a:lnTo>
                      <a:pt x="173" y="187"/>
                    </a:lnTo>
                    <a:lnTo>
                      <a:pt x="168" y="187"/>
                    </a:lnTo>
                    <a:lnTo>
                      <a:pt x="148" y="183"/>
                    </a:lnTo>
                    <a:lnTo>
                      <a:pt x="138" y="170"/>
                    </a:lnTo>
                    <a:lnTo>
                      <a:pt x="136" y="168"/>
                    </a:lnTo>
                    <a:lnTo>
                      <a:pt x="127" y="167"/>
                    </a:lnTo>
                    <a:lnTo>
                      <a:pt x="124" y="167"/>
                    </a:lnTo>
                    <a:lnTo>
                      <a:pt x="114" y="159"/>
                    </a:lnTo>
                    <a:lnTo>
                      <a:pt x="103" y="154"/>
                    </a:lnTo>
                    <a:lnTo>
                      <a:pt x="93" y="153"/>
                    </a:lnTo>
                    <a:lnTo>
                      <a:pt x="83" y="148"/>
                    </a:lnTo>
                    <a:lnTo>
                      <a:pt x="78" y="144"/>
                    </a:lnTo>
                    <a:lnTo>
                      <a:pt x="66" y="130"/>
                    </a:lnTo>
                    <a:lnTo>
                      <a:pt x="57" y="124"/>
                    </a:lnTo>
                    <a:lnTo>
                      <a:pt x="49" y="120"/>
                    </a:lnTo>
                    <a:lnTo>
                      <a:pt x="45" y="116"/>
                    </a:lnTo>
                    <a:lnTo>
                      <a:pt x="32" y="109"/>
                    </a:lnTo>
                    <a:lnTo>
                      <a:pt x="28" y="109"/>
                    </a:lnTo>
                    <a:lnTo>
                      <a:pt x="28" y="113"/>
                    </a:lnTo>
                    <a:lnTo>
                      <a:pt x="23" y="113"/>
                    </a:lnTo>
                    <a:lnTo>
                      <a:pt x="18" y="109"/>
                    </a:lnTo>
                    <a:lnTo>
                      <a:pt x="17" y="103"/>
                    </a:lnTo>
                    <a:lnTo>
                      <a:pt x="12" y="98"/>
                    </a:lnTo>
                    <a:lnTo>
                      <a:pt x="1" y="97"/>
                    </a:lnTo>
                    <a:lnTo>
                      <a:pt x="0" y="94"/>
                    </a:lnTo>
                    <a:lnTo>
                      <a:pt x="1" y="87"/>
                    </a:lnTo>
                    <a:lnTo>
                      <a:pt x="6" y="79"/>
                    </a:lnTo>
                    <a:lnTo>
                      <a:pt x="9" y="78"/>
                    </a:lnTo>
                    <a:lnTo>
                      <a:pt x="11" y="71"/>
                    </a:lnTo>
                    <a:lnTo>
                      <a:pt x="14" y="67"/>
                    </a:lnTo>
                    <a:lnTo>
                      <a:pt x="11" y="58"/>
                    </a:lnTo>
                    <a:lnTo>
                      <a:pt x="14" y="51"/>
                    </a:lnTo>
                    <a:lnTo>
                      <a:pt x="19" y="45"/>
                    </a:lnTo>
                    <a:lnTo>
                      <a:pt x="17" y="38"/>
                    </a:lnTo>
                    <a:lnTo>
                      <a:pt x="17" y="34"/>
                    </a:lnTo>
                    <a:lnTo>
                      <a:pt x="21" y="29"/>
                    </a:lnTo>
                    <a:lnTo>
                      <a:pt x="27" y="29"/>
                    </a:lnTo>
                    <a:lnTo>
                      <a:pt x="30" y="22"/>
                    </a:lnTo>
                    <a:lnTo>
                      <a:pt x="38" y="17"/>
                    </a:lnTo>
                    <a:lnTo>
                      <a:pt x="41" y="11"/>
                    </a:lnTo>
                    <a:lnTo>
                      <a:pt x="43" y="6"/>
                    </a:lnTo>
                    <a:lnTo>
                      <a:pt x="45" y="4"/>
                    </a:lnTo>
                    <a:lnTo>
                      <a:pt x="48" y="7"/>
                    </a:lnTo>
                    <a:lnTo>
                      <a:pt x="54" y="4"/>
                    </a:lnTo>
                    <a:lnTo>
                      <a:pt x="56" y="6"/>
                    </a:lnTo>
                    <a:lnTo>
                      <a:pt x="59" y="11"/>
                    </a:lnTo>
                    <a:lnTo>
                      <a:pt x="67" y="18"/>
                    </a:lnTo>
                    <a:lnTo>
                      <a:pt x="68" y="14"/>
                    </a:lnTo>
                    <a:lnTo>
                      <a:pt x="67" y="12"/>
                    </a:lnTo>
                    <a:lnTo>
                      <a:pt x="71" y="8"/>
                    </a:lnTo>
                    <a:lnTo>
                      <a:pt x="71" y="2"/>
                    </a:lnTo>
                    <a:lnTo>
                      <a:pt x="71" y="1"/>
                    </a:lnTo>
                    <a:lnTo>
                      <a:pt x="73" y="0"/>
                    </a:lnTo>
                    <a:lnTo>
                      <a:pt x="89" y="2"/>
                    </a:lnTo>
                    <a:lnTo>
                      <a:pt x="92" y="3"/>
                    </a:lnTo>
                    <a:lnTo>
                      <a:pt x="110" y="7"/>
                    </a:lnTo>
                    <a:lnTo>
                      <a:pt x="130" y="13"/>
                    </a:lnTo>
                    <a:lnTo>
                      <a:pt x="135" y="15"/>
                    </a:lnTo>
                    <a:lnTo>
                      <a:pt x="141" y="24"/>
                    </a:lnTo>
                    <a:lnTo>
                      <a:pt x="151" y="33"/>
                    </a:lnTo>
                    <a:lnTo>
                      <a:pt x="163" y="36"/>
                    </a:lnTo>
                    <a:lnTo>
                      <a:pt x="174" y="46"/>
                    </a:lnTo>
                    <a:lnTo>
                      <a:pt x="181" y="55"/>
                    </a:lnTo>
                    <a:lnTo>
                      <a:pt x="184" y="72"/>
                    </a:lnTo>
                    <a:lnTo>
                      <a:pt x="186" y="77"/>
                    </a:lnTo>
                    <a:lnTo>
                      <a:pt x="192" y="79"/>
                    </a:lnTo>
                    <a:lnTo>
                      <a:pt x="196" y="79"/>
                    </a:lnTo>
                    <a:lnTo>
                      <a:pt x="200" y="74"/>
                    </a:lnTo>
                    <a:lnTo>
                      <a:pt x="204" y="73"/>
                    </a:lnTo>
                    <a:lnTo>
                      <a:pt x="207" y="70"/>
                    </a:lnTo>
                    <a:lnTo>
                      <a:pt x="207" y="67"/>
                    </a:lnTo>
                    <a:lnTo>
                      <a:pt x="211" y="63"/>
                    </a:lnTo>
                    <a:lnTo>
                      <a:pt x="215" y="65"/>
                    </a:lnTo>
                    <a:lnTo>
                      <a:pt x="221" y="63"/>
                    </a:lnTo>
                    <a:lnTo>
                      <a:pt x="227" y="65"/>
                    </a:lnTo>
                    <a:lnTo>
                      <a:pt x="229" y="67"/>
                    </a:lnTo>
                    <a:lnTo>
                      <a:pt x="226" y="73"/>
                    </a:lnTo>
                    <a:lnTo>
                      <a:pt x="227" y="79"/>
                    </a:lnTo>
                    <a:lnTo>
                      <a:pt x="224" y="92"/>
                    </a:lnTo>
                    <a:lnTo>
                      <a:pt x="226" y="95"/>
                    </a:lnTo>
                    <a:lnTo>
                      <a:pt x="231" y="93"/>
                    </a:lnTo>
                    <a:lnTo>
                      <a:pt x="233" y="98"/>
                    </a:lnTo>
                    <a:lnTo>
                      <a:pt x="235" y="101"/>
                    </a:lnTo>
                    <a:lnTo>
                      <a:pt x="240" y="101"/>
                    </a:lnTo>
                    <a:lnTo>
                      <a:pt x="245" y="105"/>
                    </a:lnTo>
                    <a:lnTo>
                      <a:pt x="251" y="104"/>
                    </a:lnTo>
                    <a:lnTo>
                      <a:pt x="259" y="106"/>
                    </a:lnTo>
                    <a:lnTo>
                      <a:pt x="267" y="108"/>
                    </a:lnTo>
                    <a:lnTo>
                      <a:pt x="272" y="106"/>
                    </a:lnTo>
                    <a:lnTo>
                      <a:pt x="277" y="103"/>
                    </a:lnTo>
                    <a:lnTo>
                      <a:pt x="280" y="104"/>
                    </a:lnTo>
                    <a:lnTo>
                      <a:pt x="277" y="117"/>
                    </a:lnTo>
                    <a:lnTo>
                      <a:pt x="278" y="124"/>
                    </a:lnTo>
                    <a:lnTo>
                      <a:pt x="293" y="133"/>
                    </a:lnTo>
                    <a:lnTo>
                      <a:pt x="301" y="131"/>
                    </a:lnTo>
                    <a:lnTo>
                      <a:pt x="308" y="132"/>
                    </a:lnTo>
                    <a:lnTo>
                      <a:pt x="314" y="138"/>
                    </a:lnTo>
                    <a:lnTo>
                      <a:pt x="315" y="142"/>
                    </a:lnTo>
                    <a:lnTo>
                      <a:pt x="319" y="148"/>
                    </a:lnTo>
                    <a:lnTo>
                      <a:pt x="323" y="151"/>
                    </a:lnTo>
                    <a:lnTo>
                      <a:pt x="329" y="149"/>
                    </a:lnTo>
                    <a:lnTo>
                      <a:pt x="333" y="147"/>
                    </a:lnTo>
                    <a:lnTo>
                      <a:pt x="339" y="151"/>
                    </a:lnTo>
                    <a:lnTo>
                      <a:pt x="344" y="149"/>
                    </a:lnTo>
                    <a:lnTo>
                      <a:pt x="350" y="152"/>
                    </a:lnTo>
                    <a:lnTo>
                      <a:pt x="352" y="151"/>
                    </a:lnTo>
                    <a:lnTo>
                      <a:pt x="356" y="144"/>
                    </a:lnTo>
                    <a:lnTo>
                      <a:pt x="361" y="143"/>
                    </a:lnTo>
                    <a:lnTo>
                      <a:pt x="369" y="144"/>
                    </a:lnTo>
                    <a:lnTo>
                      <a:pt x="377" y="151"/>
                    </a:lnTo>
                    <a:lnTo>
                      <a:pt x="387" y="153"/>
                    </a:lnTo>
                    <a:lnTo>
                      <a:pt x="394" y="157"/>
                    </a:lnTo>
                    <a:lnTo>
                      <a:pt x="398" y="158"/>
                    </a:lnTo>
                    <a:lnTo>
                      <a:pt x="405" y="156"/>
                    </a:lnTo>
                    <a:lnTo>
                      <a:pt x="419" y="159"/>
                    </a:lnTo>
                    <a:lnTo>
                      <a:pt x="422" y="159"/>
                    </a:lnTo>
                    <a:lnTo>
                      <a:pt x="428" y="151"/>
                    </a:lnTo>
                    <a:lnTo>
                      <a:pt x="436" y="149"/>
                    </a:lnTo>
                    <a:lnTo>
                      <a:pt x="439" y="15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51" name="Freeform 103"/>
              <p:cNvSpPr>
                <a:spLocks noChangeAspect="1"/>
              </p:cNvSpPr>
              <p:nvPr/>
            </p:nvSpPr>
            <p:spPr bwMode="gray">
              <a:xfrm>
                <a:off x="3479" y="2187"/>
                <a:ext cx="52" cy="67"/>
              </a:xfrm>
              <a:custGeom>
                <a:avLst/>
                <a:gdLst/>
                <a:ahLst/>
                <a:cxnLst>
                  <a:cxn ang="0">
                    <a:pos x="241" y="337"/>
                  </a:cxn>
                  <a:cxn ang="0">
                    <a:pos x="226" y="291"/>
                  </a:cxn>
                  <a:cxn ang="0">
                    <a:pos x="221" y="257"/>
                  </a:cxn>
                  <a:cxn ang="0">
                    <a:pos x="198" y="225"/>
                  </a:cxn>
                  <a:cxn ang="0">
                    <a:pos x="174" y="230"/>
                  </a:cxn>
                  <a:cxn ang="0">
                    <a:pos x="161" y="215"/>
                  </a:cxn>
                  <a:cxn ang="0">
                    <a:pos x="153" y="227"/>
                  </a:cxn>
                  <a:cxn ang="0">
                    <a:pos x="149" y="246"/>
                  </a:cxn>
                  <a:cxn ang="0">
                    <a:pos x="129" y="283"/>
                  </a:cxn>
                  <a:cxn ang="0">
                    <a:pos x="115" y="267"/>
                  </a:cxn>
                  <a:cxn ang="0">
                    <a:pos x="108" y="279"/>
                  </a:cxn>
                  <a:cxn ang="0">
                    <a:pos x="96" y="280"/>
                  </a:cxn>
                  <a:cxn ang="0">
                    <a:pos x="80" y="284"/>
                  </a:cxn>
                  <a:cxn ang="0">
                    <a:pos x="75" y="286"/>
                  </a:cxn>
                  <a:cxn ang="0">
                    <a:pos x="69" y="291"/>
                  </a:cxn>
                  <a:cxn ang="0">
                    <a:pos x="58" y="292"/>
                  </a:cxn>
                  <a:cxn ang="0">
                    <a:pos x="53" y="273"/>
                  </a:cxn>
                  <a:cxn ang="0">
                    <a:pos x="49" y="258"/>
                  </a:cxn>
                  <a:cxn ang="0">
                    <a:pos x="48" y="241"/>
                  </a:cxn>
                  <a:cxn ang="0">
                    <a:pos x="40" y="227"/>
                  </a:cxn>
                  <a:cxn ang="0">
                    <a:pos x="42" y="215"/>
                  </a:cxn>
                  <a:cxn ang="0">
                    <a:pos x="42" y="195"/>
                  </a:cxn>
                  <a:cxn ang="0">
                    <a:pos x="38" y="179"/>
                  </a:cxn>
                  <a:cxn ang="0">
                    <a:pos x="32" y="165"/>
                  </a:cxn>
                  <a:cxn ang="0">
                    <a:pos x="36" y="133"/>
                  </a:cxn>
                  <a:cxn ang="0">
                    <a:pos x="21" y="118"/>
                  </a:cxn>
                  <a:cxn ang="0">
                    <a:pos x="1" y="109"/>
                  </a:cxn>
                  <a:cxn ang="0">
                    <a:pos x="1" y="98"/>
                  </a:cxn>
                  <a:cxn ang="0">
                    <a:pos x="13" y="89"/>
                  </a:cxn>
                  <a:cxn ang="0">
                    <a:pos x="22" y="78"/>
                  </a:cxn>
                  <a:cxn ang="0">
                    <a:pos x="42" y="68"/>
                  </a:cxn>
                  <a:cxn ang="0">
                    <a:pos x="39" y="60"/>
                  </a:cxn>
                  <a:cxn ang="0">
                    <a:pos x="17" y="57"/>
                  </a:cxn>
                  <a:cxn ang="0">
                    <a:pos x="11" y="39"/>
                  </a:cxn>
                  <a:cxn ang="0">
                    <a:pos x="28" y="3"/>
                  </a:cxn>
                  <a:cxn ang="0">
                    <a:pos x="42" y="17"/>
                  </a:cxn>
                  <a:cxn ang="0">
                    <a:pos x="49" y="17"/>
                  </a:cxn>
                  <a:cxn ang="0">
                    <a:pos x="59" y="8"/>
                  </a:cxn>
                  <a:cxn ang="0">
                    <a:pos x="69" y="31"/>
                  </a:cxn>
                  <a:cxn ang="0">
                    <a:pos x="82" y="33"/>
                  </a:cxn>
                  <a:cxn ang="0">
                    <a:pos x="93" y="23"/>
                  </a:cxn>
                  <a:cxn ang="0">
                    <a:pos x="101" y="62"/>
                  </a:cxn>
                  <a:cxn ang="0">
                    <a:pos x="118" y="75"/>
                  </a:cxn>
                  <a:cxn ang="0">
                    <a:pos x="166" y="76"/>
                  </a:cxn>
                  <a:cxn ang="0">
                    <a:pos x="203" y="76"/>
                  </a:cxn>
                  <a:cxn ang="0">
                    <a:pos x="242" y="86"/>
                  </a:cxn>
                  <a:cxn ang="0">
                    <a:pos x="231" y="96"/>
                  </a:cxn>
                  <a:cxn ang="0">
                    <a:pos x="214" y="124"/>
                  </a:cxn>
                  <a:cxn ang="0">
                    <a:pos x="192" y="140"/>
                  </a:cxn>
                  <a:cxn ang="0">
                    <a:pos x="176" y="157"/>
                  </a:cxn>
                  <a:cxn ang="0">
                    <a:pos x="184" y="193"/>
                  </a:cxn>
                  <a:cxn ang="0">
                    <a:pos x="199" y="204"/>
                  </a:cxn>
                  <a:cxn ang="0">
                    <a:pos x="211" y="202"/>
                  </a:cxn>
                  <a:cxn ang="0">
                    <a:pos x="228" y="166"/>
                  </a:cxn>
                  <a:cxn ang="0">
                    <a:pos x="241" y="181"/>
                  </a:cxn>
                  <a:cxn ang="0">
                    <a:pos x="249" y="206"/>
                  </a:cxn>
                  <a:cxn ang="0">
                    <a:pos x="258" y="243"/>
                  </a:cxn>
                  <a:cxn ang="0">
                    <a:pos x="260" y="279"/>
                  </a:cxn>
                  <a:cxn ang="0">
                    <a:pos x="250" y="305"/>
                  </a:cxn>
                  <a:cxn ang="0">
                    <a:pos x="243" y="318"/>
                  </a:cxn>
                </a:cxnLst>
                <a:rect l="0" t="0" r="r" b="b"/>
                <a:pathLst>
                  <a:path w="262" h="337">
                    <a:moveTo>
                      <a:pt x="243" y="335"/>
                    </a:moveTo>
                    <a:lnTo>
                      <a:pt x="241" y="337"/>
                    </a:lnTo>
                    <a:lnTo>
                      <a:pt x="233" y="319"/>
                    </a:lnTo>
                    <a:lnTo>
                      <a:pt x="226" y="291"/>
                    </a:lnTo>
                    <a:lnTo>
                      <a:pt x="225" y="276"/>
                    </a:lnTo>
                    <a:lnTo>
                      <a:pt x="221" y="257"/>
                    </a:lnTo>
                    <a:lnTo>
                      <a:pt x="204" y="230"/>
                    </a:lnTo>
                    <a:lnTo>
                      <a:pt x="198" y="225"/>
                    </a:lnTo>
                    <a:lnTo>
                      <a:pt x="187" y="229"/>
                    </a:lnTo>
                    <a:lnTo>
                      <a:pt x="174" y="230"/>
                    </a:lnTo>
                    <a:lnTo>
                      <a:pt x="166" y="225"/>
                    </a:lnTo>
                    <a:lnTo>
                      <a:pt x="161" y="215"/>
                    </a:lnTo>
                    <a:lnTo>
                      <a:pt x="157" y="218"/>
                    </a:lnTo>
                    <a:lnTo>
                      <a:pt x="153" y="227"/>
                    </a:lnTo>
                    <a:lnTo>
                      <a:pt x="146" y="234"/>
                    </a:lnTo>
                    <a:lnTo>
                      <a:pt x="149" y="246"/>
                    </a:lnTo>
                    <a:lnTo>
                      <a:pt x="149" y="257"/>
                    </a:lnTo>
                    <a:lnTo>
                      <a:pt x="129" y="283"/>
                    </a:lnTo>
                    <a:lnTo>
                      <a:pt x="125" y="280"/>
                    </a:lnTo>
                    <a:lnTo>
                      <a:pt x="115" y="267"/>
                    </a:lnTo>
                    <a:lnTo>
                      <a:pt x="110" y="274"/>
                    </a:lnTo>
                    <a:lnTo>
                      <a:pt x="108" y="279"/>
                    </a:lnTo>
                    <a:lnTo>
                      <a:pt x="99" y="288"/>
                    </a:lnTo>
                    <a:lnTo>
                      <a:pt x="96" y="280"/>
                    </a:lnTo>
                    <a:lnTo>
                      <a:pt x="91" y="285"/>
                    </a:lnTo>
                    <a:lnTo>
                      <a:pt x="80" y="284"/>
                    </a:lnTo>
                    <a:lnTo>
                      <a:pt x="79" y="289"/>
                    </a:lnTo>
                    <a:lnTo>
                      <a:pt x="75" y="286"/>
                    </a:lnTo>
                    <a:lnTo>
                      <a:pt x="71" y="288"/>
                    </a:lnTo>
                    <a:lnTo>
                      <a:pt x="69" y="291"/>
                    </a:lnTo>
                    <a:lnTo>
                      <a:pt x="65" y="294"/>
                    </a:lnTo>
                    <a:lnTo>
                      <a:pt x="58" y="292"/>
                    </a:lnTo>
                    <a:lnTo>
                      <a:pt x="51" y="279"/>
                    </a:lnTo>
                    <a:lnTo>
                      <a:pt x="53" y="273"/>
                    </a:lnTo>
                    <a:lnTo>
                      <a:pt x="51" y="269"/>
                    </a:lnTo>
                    <a:lnTo>
                      <a:pt x="49" y="258"/>
                    </a:lnTo>
                    <a:lnTo>
                      <a:pt x="50" y="251"/>
                    </a:lnTo>
                    <a:lnTo>
                      <a:pt x="48" y="241"/>
                    </a:lnTo>
                    <a:lnTo>
                      <a:pt x="43" y="236"/>
                    </a:lnTo>
                    <a:lnTo>
                      <a:pt x="40" y="227"/>
                    </a:lnTo>
                    <a:lnTo>
                      <a:pt x="40" y="218"/>
                    </a:lnTo>
                    <a:lnTo>
                      <a:pt x="42" y="215"/>
                    </a:lnTo>
                    <a:lnTo>
                      <a:pt x="43" y="199"/>
                    </a:lnTo>
                    <a:lnTo>
                      <a:pt x="42" y="195"/>
                    </a:lnTo>
                    <a:lnTo>
                      <a:pt x="38" y="194"/>
                    </a:lnTo>
                    <a:lnTo>
                      <a:pt x="38" y="179"/>
                    </a:lnTo>
                    <a:lnTo>
                      <a:pt x="32" y="173"/>
                    </a:lnTo>
                    <a:lnTo>
                      <a:pt x="32" y="165"/>
                    </a:lnTo>
                    <a:lnTo>
                      <a:pt x="34" y="154"/>
                    </a:lnTo>
                    <a:lnTo>
                      <a:pt x="36" y="133"/>
                    </a:lnTo>
                    <a:lnTo>
                      <a:pt x="27" y="123"/>
                    </a:lnTo>
                    <a:lnTo>
                      <a:pt x="21" y="118"/>
                    </a:lnTo>
                    <a:lnTo>
                      <a:pt x="10" y="113"/>
                    </a:lnTo>
                    <a:lnTo>
                      <a:pt x="1" y="109"/>
                    </a:lnTo>
                    <a:lnTo>
                      <a:pt x="0" y="103"/>
                    </a:lnTo>
                    <a:lnTo>
                      <a:pt x="1" y="98"/>
                    </a:lnTo>
                    <a:lnTo>
                      <a:pt x="6" y="90"/>
                    </a:lnTo>
                    <a:lnTo>
                      <a:pt x="13" y="89"/>
                    </a:lnTo>
                    <a:lnTo>
                      <a:pt x="20" y="85"/>
                    </a:lnTo>
                    <a:lnTo>
                      <a:pt x="22" y="78"/>
                    </a:lnTo>
                    <a:lnTo>
                      <a:pt x="42" y="76"/>
                    </a:lnTo>
                    <a:lnTo>
                      <a:pt x="42" y="68"/>
                    </a:lnTo>
                    <a:lnTo>
                      <a:pt x="38" y="64"/>
                    </a:lnTo>
                    <a:lnTo>
                      <a:pt x="39" y="60"/>
                    </a:lnTo>
                    <a:lnTo>
                      <a:pt x="24" y="62"/>
                    </a:lnTo>
                    <a:lnTo>
                      <a:pt x="17" y="57"/>
                    </a:lnTo>
                    <a:lnTo>
                      <a:pt x="15" y="43"/>
                    </a:lnTo>
                    <a:lnTo>
                      <a:pt x="11" y="39"/>
                    </a:lnTo>
                    <a:lnTo>
                      <a:pt x="26" y="15"/>
                    </a:lnTo>
                    <a:lnTo>
                      <a:pt x="28" y="3"/>
                    </a:lnTo>
                    <a:lnTo>
                      <a:pt x="32" y="0"/>
                    </a:lnTo>
                    <a:lnTo>
                      <a:pt x="42" y="17"/>
                    </a:lnTo>
                    <a:lnTo>
                      <a:pt x="48" y="25"/>
                    </a:lnTo>
                    <a:lnTo>
                      <a:pt x="49" y="17"/>
                    </a:lnTo>
                    <a:lnTo>
                      <a:pt x="53" y="5"/>
                    </a:lnTo>
                    <a:lnTo>
                      <a:pt x="59" y="8"/>
                    </a:lnTo>
                    <a:lnTo>
                      <a:pt x="61" y="22"/>
                    </a:lnTo>
                    <a:lnTo>
                      <a:pt x="69" y="31"/>
                    </a:lnTo>
                    <a:lnTo>
                      <a:pt x="74" y="27"/>
                    </a:lnTo>
                    <a:lnTo>
                      <a:pt x="82" y="33"/>
                    </a:lnTo>
                    <a:lnTo>
                      <a:pt x="91" y="19"/>
                    </a:lnTo>
                    <a:lnTo>
                      <a:pt x="93" y="23"/>
                    </a:lnTo>
                    <a:lnTo>
                      <a:pt x="96" y="43"/>
                    </a:lnTo>
                    <a:lnTo>
                      <a:pt x="101" y="62"/>
                    </a:lnTo>
                    <a:lnTo>
                      <a:pt x="107" y="70"/>
                    </a:lnTo>
                    <a:lnTo>
                      <a:pt x="118" y="75"/>
                    </a:lnTo>
                    <a:lnTo>
                      <a:pt x="162" y="79"/>
                    </a:lnTo>
                    <a:lnTo>
                      <a:pt x="166" y="76"/>
                    </a:lnTo>
                    <a:lnTo>
                      <a:pt x="180" y="74"/>
                    </a:lnTo>
                    <a:lnTo>
                      <a:pt x="203" y="76"/>
                    </a:lnTo>
                    <a:lnTo>
                      <a:pt x="227" y="80"/>
                    </a:lnTo>
                    <a:lnTo>
                      <a:pt x="242" y="86"/>
                    </a:lnTo>
                    <a:lnTo>
                      <a:pt x="239" y="91"/>
                    </a:lnTo>
                    <a:lnTo>
                      <a:pt x="231" y="96"/>
                    </a:lnTo>
                    <a:lnTo>
                      <a:pt x="226" y="109"/>
                    </a:lnTo>
                    <a:lnTo>
                      <a:pt x="214" y="124"/>
                    </a:lnTo>
                    <a:lnTo>
                      <a:pt x="203" y="134"/>
                    </a:lnTo>
                    <a:lnTo>
                      <a:pt x="192" y="140"/>
                    </a:lnTo>
                    <a:lnTo>
                      <a:pt x="178" y="149"/>
                    </a:lnTo>
                    <a:lnTo>
                      <a:pt x="176" y="157"/>
                    </a:lnTo>
                    <a:lnTo>
                      <a:pt x="177" y="173"/>
                    </a:lnTo>
                    <a:lnTo>
                      <a:pt x="184" y="193"/>
                    </a:lnTo>
                    <a:lnTo>
                      <a:pt x="194" y="194"/>
                    </a:lnTo>
                    <a:lnTo>
                      <a:pt x="199" y="204"/>
                    </a:lnTo>
                    <a:lnTo>
                      <a:pt x="206" y="210"/>
                    </a:lnTo>
                    <a:lnTo>
                      <a:pt x="211" y="202"/>
                    </a:lnTo>
                    <a:lnTo>
                      <a:pt x="217" y="181"/>
                    </a:lnTo>
                    <a:lnTo>
                      <a:pt x="228" y="166"/>
                    </a:lnTo>
                    <a:lnTo>
                      <a:pt x="233" y="167"/>
                    </a:lnTo>
                    <a:lnTo>
                      <a:pt x="241" y="181"/>
                    </a:lnTo>
                    <a:lnTo>
                      <a:pt x="246" y="198"/>
                    </a:lnTo>
                    <a:lnTo>
                      <a:pt x="249" y="206"/>
                    </a:lnTo>
                    <a:lnTo>
                      <a:pt x="252" y="215"/>
                    </a:lnTo>
                    <a:lnTo>
                      <a:pt x="258" y="243"/>
                    </a:lnTo>
                    <a:lnTo>
                      <a:pt x="262" y="276"/>
                    </a:lnTo>
                    <a:lnTo>
                      <a:pt x="260" y="279"/>
                    </a:lnTo>
                    <a:lnTo>
                      <a:pt x="262" y="308"/>
                    </a:lnTo>
                    <a:lnTo>
                      <a:pt x="250" y="305"/>
                    </a:lnTo>
                    <a:lnTo>
                      <a:pt x="244" y="310"/>
                    </a:lnTo>
                    <a:lnTo>
                      <a:pt x="243" y="318"/>
                    </a:lnTo>
                    <a:lnTo>
                      <a:pt x="243" y="33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52" name="Freeform 104"/>
              <p:cNvSpPr>
                <a:spLocks noChangeAspect="1"/>
              </p:cNvSpPr>
              <p:nvPr/>
            </p:nvSpPr>
            <p:spPr bwMode="gray">
              <a:xfrm>
                <a:off x="3390" y="2379"/>
                <a:ext cx="23" cy="43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3" y="4"/>
                  </a:cxn>
                  <a:cxn ang="0">
                    <a:pos x="19" y="9"/>
                  </a:cxn>
                  <a:cxn ang="0">
                    <a:pos x="28" y="12"/>
                  </a:cxn>
                  <a:cxn ang="0">
                    <a:pos x="33" y="19"/>
                  </a:cxn>
                  <a:cxn ang="0">
                    <a:pos x="28" y="19"/>
                  </a:cxn>
                  <a:cxn ang="0">
                    <a:pos x="22" y="25"/>
                  </a:cxn>
                  <a:cxn ang="0">
                    <a:pos x="19" y="38"/>
                  </a:cxn>
                  <a:cxn ang="0">
                    <a:pos x="13" y="47"/>
                  </a:cxn>
                  <a:cxn ang="0">
                    <a:pos x="7" y="95"/>
                  </a:cxn>
                  <a:cxn ang="0">
                    <a:pos x="2" y="91"/>
                  </a:cxn>
                  <a:cxn ang="0">
                    <a:pos x="0" y="95"/>
                  </a:cxn>
                  <a:cxn ang="0">
                    <a:pos x="0" y="111"/>
                  </a:cxn>
                  <a:cxn ang="0">
                    <a:pos x="7" y="166"/>
                  </a:cxn>
                  <a:cxn ang="0">
                    <a:pos x="11" y="182"/>
                  </a:cxn>
                  <a:cxn ang="0">
                    <a:pos x="19" y="198"/>
                  </a:cxn>
                  <a:cxn ang="0">
                    <a:pos x="29" y="209"/>
                  </a:cxn>
                  <a:cxn ang="0">
                    <a:pos x="45" y="211"/>
                  </a:cxn>
                  <a:cxn ang="0">
                    <a:pos x="59" y="211"/>
                  </a:cxn>
                  <a:cxn ang="0">
                    <a:pos x="86" y="197"/>
                  </a:cxn>
                  <a:cxn ang="0">
                    <a:pos x="100" y="187"/>
                  </a:cxn>
                  <a:cxn ang="0">
                    <a:pos x="113" y="170"/>
                  </a:cxn>
                  <a:cxn ang="0">
                    <a:pos x="115" y="145"/>
                  </a:cxn>
                  <a:cxn ang="0">
                    <a:pos x="116" y="125"/>
                  </a:cxn>
                  <a:cxn ang="0">
                    <a:pos x="115" y="117"/>
                  </a:cxn>
                  <a:cxn ang="0">
                    <a:pos x="108" y="114"/>
                  </a:cxn>
                  <a:cxn ang="0">
                    <a:pos x="98" y="87"/>
                  </a:cxn>
                  <a:cxn ang="0">
                    <a:pos x="92" y="75"/>
                  </a:cxn>
                  <a:cxn ang="0">
                    <a:pos x="86" y="69"/>
                  </a:cxn>
                  <a:cxn ang="0">
                    <a:pos x="83" y="62"/>
                  </a:cxn>
                  <a:cxn ang="0">
                    <a:pos x="80" y="55"/>
                  </a:cxn>
                  <a:cxn ang="0">
                    <a:pos x="67" y="44"/>
                  </a:cxn>
                  <a:cxn ang="0">
                    <a:pos x="64" y="33"/>
                  </a:cxn>
                  <a:cxn ang="0">
                    <a:pos x="45" y="12"/>
                  </a:cxn>
                  <a:cxn ang="0">
                    <a:pos x="35" y="4"/>
                  </a:cxn>
                  <a:cxn ang="0">
                    <a:pos x="27" y="0"/>
                  </a:cxn>
                  <a:cxn ang="0">
                    <a:pos x="18" y="0"/>
                  </a:cxn>
                </a:cxnLst>
                <a:rect l="0" t="0" r="r" b="b"/>
                <a:pathLst>
                  <a:path w="115" h="211">
                    <a:moveTo>
                      <a:pt x="18" y="0"/>
                    </a:moveTo>
                    <a:lnTo>
                      <a:pt x="13" y="4"/>
                    </a:lnTo>
                    <a:lnTo>
                      <a:pt x="19" y="9"/>
                    </a:lnTo>
                    <a:lnTo>
                      <a:pt x="28" y="12"/>
                    </a:lnTo>
                    <a:lnTo>
                      <a:pt x="33" y="19"/>
                    </a:lnTo>
                    <a:lnTo>
                      <a:pt x="28" y="19"/>
                    </a:lnTo>
                    <a:lnTo>
                      <a:pt x="22" y="25"/>
                    </a:lnTo>
                    <a:lnTo>
                      <a:pt x="19" y="38"/>
                    </a:lnTo>
                    <a:lnTo>
                      <a:pt x="13" y="47"/>
                    </a:lnTo>
                    <a:lnTo>
                      <a:pt x="7" y="95"/>
                    </a:lnTo>
                    <a:lnTo>
                      <a:pt x="2" y="91"/>
                    </a:lnTo>
                    <a:lnTo>
                      <a:pt x="0" y="95"/>
                    </a:lnTo>
                    <a:lnTo>
                      <a:pt x="0" y="111"/>
                    </a:lnTo>
                    <a:lnTo>
                      <a:pt x="7" y="166"/>
                    </a:lnTo>
                    <a:lnTo>
                      <a:pt x="11" y="182"/>
                    </a:lnTo>
                    <a:lnTo>
                      <a:pt x="19" y="198"/>
                    </a:lnTo>
                    <a:lnTo>
                      <a:pt x="29" y="209"/>
                    </a:lnTo>
                    <a:lnTo>
                      <a:pt x="45" y="211"/>
                    </a:lnTo>
                    <a:lnTo>
                      <a:pt x="59" y="211"/>
                    </a:lnTo>
                    <a:lnTo>
                      <a:pt x="86" y="197"/>
                    </a:lnTo>
                    <a:lnTo>
                      <a:pt x="100" y="187"/>
                    </a:lnTo>
                    <a:lnTo>
                      <a:pt x="113" y="170"/>
                    </a:lnTo>
                    <a:lnTo>
                      <a:pt x="115" y="145"/>
                    </a:lnTo>
                    <a:lnTo>
                      <a:pt x="116" y="125"/>
                    </a:lnTo>
                    <a:lnTo>
                      <a:pt x="115" y="117"/>
                    </a:lnTo>
                    <a:lnTo>
                      <a:pt x="108" y="114"/>
                    </a:lnTo>
                    <a:lnTo>
                      <a:pt x="98" y="87"/>
                    </a:lnTo>
                    <a:lnTo>
                      <a:pt x="92" y="75"/>
                    </a:lnTo>
                    <a:lnTo>
                      <a:pt x="86" y="69"/>
                    </a:lnTo>
                    <a:lnTo>
                      <a:pt x="83" y="62"/>
                    </a:lnTo>
                    <a:lnTo>
                      <a:pt x="80" y="55"/>
                    </a:lnTo>
                    <a:lnTo>
                      <a:pt x="67" y="44"/>
                    </a:lnTo>
                    <a:lnTo>
                      <a:pt x="64" y="33"/>
                    </a:lnTo>
                    <a:lnTo>
                      <a:pt x="45" y="12"/>
                    </a:lnTo>
                    <a:lnTo>
                      <a:pt x="35" y="4"/>
                    </a:lnTo>
                    <a:lnTo>
                      <a:pt x="27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</p:grpSp>
        <p:sp>
          <p:nvSpPr>
            <p:cNvPr id="43" name="Freeform 105"/>
            <p:cNvSpPr>
              <a:spLocks noChangeAspect="1"/>
            </p:cNvSpPr>
            <p:nvPr/>
          </p:nvSpPr>
          <p:spPr bwMode="gray">
            <a:xfrm>
              <a:off x="7991447" y="3762706"/>
              <a:ext cx="30213" cy="69845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82" y="4"/>
                </a:cxn>
                <a:cxn ang="0">
                  <a:pos x="87" y="9"/>
                </a:cxn>
                <a:cxn ang="0">
                  <a:pos x="92" y="9"/>
                </a:cxn>
                <a:cxn ang="0">
                  <a:pos x="94" y="10"/>
                </a:cxn>
                <a:cxn ang="0">
                  <a:pos x="97" y="15"/>
                </a:cxn>
                <a:cxn ang="0">
                  <a:pos x="97" y="18"/>
                </a:cxn>
                <a:cxn ang="0">
                  <a:pos x="93" y="26"/>
                </a:cxn>
                <a:cxn ang="0">
                  <a:pos x="93" y="32"/>
                </a:cxn>
                <a:cxn ang="0">
                  <a:pos x="94" y="41"/>
                </a:cxn>
                <a:cxn ang="0">
                  <a:pos x="92" y="50"/>
                </a:cxn>
                <a:cxn ang="0">
                  <a:pos x="83" y="69"/>
                </a:cxn>
                <a:cxn ang="0">
                  <a:pos x="79" y="95"/>
                </a:cxn>
                <a:cxn ang="0">
                  <a:pos x="76" y="114"/>
                </a:cxn>
                <a:cxn ang="0">
                  <a:pos x="68" y="131"/>
                </a:cxn>
                <a:cxn ang="0">
                  <a:pos x="57" y="150"/>
                </a:cxn>
                <a:cxn ang="0">
                  <a:pos x="51" y="159"/>
                </a:cxn>
                <a:cxn ang="0">
                  <a:pos x="48" y="168"/>
                </a:cxn>
                <a:cxn ang="0">
                  <a:pos x="40" y="199"/>
                </a:cxn>
                <a:cxn ang="0">
                  <a:pos x="36" y="195"/>
                </a:cxn>
                <a:cxn ang="0">
                  <a:pos x="33" y="182"/>
                </a:cxn>
                <a:cxn ang="0">
                  <a:pos x="25" y="170"/>
                </a:cxn>
                <a:cxn ang="0">
                  <a:pos x="16" y="163"/>
                </a:cxn>
                <a:cxn ang="0">
                  <a:pos x="6" y="147"/>
                </a:cxn>
                <a:cxn ang="0">
                  <a:pos x="1" y="122"/>
                </a:cxn>
                <a:cxn ang="0">
                  <a:pos x="0" y="102"/>
                </a:cxn>
                <a:cxn ang="0">
                  <a:pos x="2" y="92"/>
                </a:cxn>
                <a:cxn ang="0">
                  <a:pos x="9" y="76"/>
                </a:cxn>
                <a:cxn ang="0">
                  <a:pos x="48" y="17"/>
                </a:cxn>
                <a:cxn ang="0">
                  <a:pos x="65" y="7"/>
                </a:cxn>
                <a:cxn ang="0">
                  <a:pos x="68" y="3"/>
                </a:cxn>
                <a:cxn ang="0">
                  <a:pos x="75" y="0"/>
                </a:cxn>
              </a:cxnLst>
              <a:rect l="0" t="0" r="r" b="b"/>
              <a:pathLst>
                <a:path w="97" h="199">
                  <a:moveTo>
                    <a:pt x="75" y="0"/>
                  </a:moveTo>
                  <a:lnTo>
                    <a:pt x="82" y="4"/>
                  </a:lnTo>
                  <a:lnTo>
                    <a:pt x="87" y="9"/>
                  </a:lnTo>
                  <a:lnTo>
                    <a:pt x="92" y="9"/>
                  </a:lnTo>
                  <a:lnTo>
                    <a:pt x="94" y="10"/>
                  </a:lnTo>
                  <a:lnTo>
                    <a:pt x="97" y="15"/>
                  </a:lnTo>
                  <a:lnTo>
                    <a:pt x="97" y="18"/>
                  </a:lnTo>
                  <a:lnTo>
                    <a:pt x="93" y="26"/>
                  </a:lnTo>
                  <a:lnTo>
                    <a:pt x="93" y="32"/>
                  </a:lnTo>
                  <a:lnTo>
                    <a:pt x="94" y="41"/>
                  </a:lnTo>
                  <a:lnTo>
                    <a:pt x="92" y="50"/>
                  </a:lnTo>
                  <a:lnTo>
                    <a:pt x="83" y="69"/>
                  </a:lnTo>
                  <a:lnTo>
                    <a:pt x="79" y="95"/>
                  </a:lnTo>
                  <a:lnTo>
                    <a:pt x="76" y="114"/>
                  </a:lnTo>
                  <a:lnTo>
                    <a:pt x="68" y="131"/>
                  </a:lnTo>
                  <a:lnTo>
                    <a:pt x="57" y="150"/>
                  </a:lnTo>
                  <a:lnTo>
                    <a:pt x="51" y="159"/>
                  </a:lnTo>
                  <a:lnTo>
                    <a:pt x="48" y="168"/>
                  </a:lnTo>
                  <a:lnTo>
                    <a:pt x="40" y="199"/>
                  </a:lnTo>
                  <a:lnTo>
                    <a:pt x="36" y="195"/>
                  </a:lnTo>
                  <a:lnTo>
                    <a:pt x="33" y="182"/>
                  </a:lnTo>
                  <a:lnTo>
                    <a:pt x="25" y="170"/>
                  </a:lnTo>
                  <a:lnTo>
                    <a:pt x="16" y="163"/>
                  </a:lnTo>
                  <a:lnTo>
                    <a:pt x="6" y="147"/>
                  </a:lnTo>
                  <a:lnTo>
                    <a:pt x="1" y="122"/>
                  </a:lnTo>
                  <a:lnTo>
                    <a:pt x="0" y="102"/>
                  </a:lnTo>
                  <a:lnTo>
                    <a:pt x="2" y="92"/>
                  </a:lnTo>
                  <a:lnTo>
                    <a:pt x="9" y="76"/>
                  </a:lnTo>
                  <a:lnTo>
                    <a:pt x="48" y="17"/>
                  </a:lnTo>
                  <a:lnTo>
                    <a:pt x="65" y="7"/>
                  </a:lnTo>
                  <a:lnTo>
                    <a:pt x="68" y="3"/>
                  </a:lnTo>
                  <a:lnTo>
                    <a:pt x="75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grpSp>
          <p:nvGrpSpPr>
            <p:cNvPr id="44" name="Group 106"/>
            <p:cNvGrpSpPr>
              <a:grpSpLocks noChangeAspect="1"/>
            </p:cNvGrpSpPr>
            <p:nvPr/>
          </p:nvGrpSpPr>
          <p:grpSpPr>
            <a:xfrm>
              <a:off x="8158411" y="3286012"/>
              <a:ext cx="283045" cy="352719"/>
              <a:chOff x="3938" y="1929"/>
              <a:chExt cx="178" cy="202"/>
            </a:xfrm>
            <a:grpFill/>
          </p:grpSpPr>
          <p:sp>
            <p:nvSpPr>
              <p:cNvPr id="342" name="Freeform 107"/>
              <p:cNvSpPr>
                <a:spLocks noChangeAspect="1"/>
              </p:cNvSpPr>
              <p:nvPr/>
            </p:nvSpPr>
            <p:spPr bwMode="gray">
              <a:xfrm>
                <a:off x="4050" y="1929"/>
                <a:ext cx="66" cy="61"/>
              </a:xfrm>
              <a:custGeom>
                <a:avLst/>
                <a:gdLst/>
                <a:ahLst/>
                <a:cxnLst>
                  <a:cxn ang="0">
                    <a:pos x="301" y="94"/>
                  </a:cxn>
                  <a:cxn ang="0">
                    <a:pos x="299" y="113"/>
                  </a:cxn>
                  <a:cxn ang="0">
                    <a:pos x="294" y="141"/>
                  </a:cxn>
                  <a:cxn ang="0">
                    <a:pos x="304" y="164"/>
                  </a:cxn>
                  <a:cxn ang="0">
                    <a:pos x="330" y="159"/>
                  </a:cxn>
                  <a:cxn ang="0">
                    <a:pos x="308" y="177"/>
                  </a:cxn>
                  <a:cxn ang="0">
                    <a:pos x="283" y="191"/>
                  </a:cxn>
                  <a:cxn ang="0">
                    <a:pos x="271" y="195"/>
                  </a:cxn>
                  <a:cxn ang="0">
                    <a:pos x="238" y="195"/>
                  </a:cxn>
                  <a:cxn ang="0">
                    <a:pos x="208" y="223"/>
                  </a:cxn>
                  <a:cxn ang="0">
                    <a:pos x="195" y="259"/>
                  </a:cxn>
                  <a:cxn ang="0">
                    <a:pos x="162" y="248"/>
                  </a:cxn>
                  <a:cxn ang="0">
                    <a:pos x="114" y="224"/>
                  </a:cxn>
                  <a:cxn ang="0">
                    <a:pos x="84" y="227"/>
                  </a:cxn>
                  <a:cxn ang="0">
                    <a:pos x="63" y="235"/>
                  </a:cxn>
                  <a:cxn ang="0">
                    <a:pos x="36" y="226"/>
                  </a:cxn>
                  <a:cxn ang="0">
                    <a:pos x="34" y="251"/>
                  </a:cxn>
                  <a:cxn ang="0">
                    <a:pos x="74" y="277"/>
                  </a:cxn>
                  <a:cxn ang="0">
                    <a:pos x="59" y="283"/>
                  </a:cxn>
                  <a:cxn ang="0">
                    <a:pos x="40" y="289"/>
                  </a:cxn>
                  <a:cxn ang="0">
                    <a:pos x="22" y="307"/>
                  </a:cxn>
                  <a:cxn ang="0">
                    <a:pos x="11" y="295"/>
                  </a:cxn>
                  <a:cxn ang="0">
                    <a:pos x="0" y="247"/>
                  </a:cxn>
                  <a:cxn ang="0">
                    <a:pos x="11" y="214"/>
                  </a:cxn>
                  <a:cxn ang="0">
                    <a:pos x="34" y="195"/>
                  </a:cxn>
                  <a:cxn ang="0">
                    <a:pos x="31" y="176"/>
                  </a:cxn>
                  <a:cxn ang="0">
                    <a:pos x="47" y="171"/>
                  </a:cxn>
                  <a:cxn ang="0">
                    <a:pos x="81" y="175"/>
                  </a:cxn>
                  <a:cxn ang="0">
                    <a:pos x="87" y="146"/>
                  </a:cxn>
                  <a:cxn ang="0">
                    <a:pos x="94" y="127"/>
                  </a:cxn>
                  <a:cxn ang="0">
                    <a:pos x="102" y="90"/>
                  </a:cxn>
                  <a:cxn ang="0">
                    <a:pos x="99" y="25"/>
                  </a:cxn>
                  <a:cxn ang="0">
                    <a:pos x="110" y="3"/>
                  </a:cxn>
                  <a:cxn ang="0">
                    <a:pos x="122" y="8"/>
                  </a:cxn>
                  <a:cxn ang="0">
                    <a:pos x="135" y="22"/>
                  </a:cxn>
                  <a:cxn ang="0">
                    <a:pos x="179" y="75"/>
                  </a:cxn>
                  <a:cxn ang="0">
                    <a:pos x="222" y="103"/>
                  </a:cxn>
                  <a:cxn ang="0">
                    <a:pos x="250" y="116"/>
                  </a:cxn>
                  <a:cxn ang="0">
                    <a:pos x="272" y="118"/>
                  </a:cxn>
                </a:cxnLst>
                <a:rect l="0" t="0" r="r" b="b"/>
                <a:pathLst>
                  <a:path w="330" h="307">
                    <a:moveTo>
                      <a:pt x="285" y="108"/>
                    </a:moveTo>
                    <a:lnTo>
                      <a:pt x="301" y="94"/>
                    </a:lnTo>
                    <a:lnTo>
                      <a:pt x="305" y="97"/>
                    </a:lnTo>
                    <a:lnTo>
                      <a:pt x="299" y="113"/>
                    </a:lnTo>
                    <a:lnTo>
                      <a:pt x="291" y="129"/>
                    </a:lnTo>
                    <a:lnTo>
                      <a:pt x="294" y="141"/>
                    </a:lnTo>
                    <a:lnTo>
                      <a:pt x="304" y="148"/>
                    </a:lnTo>
                    <a:lnTo>
                      <a:pt x="304" y="164"/>
                    </a:lnTo>
                    <a:lnTo>
                      <a:pt x="315" y="164"/>
                    </a:lnTo>
                    <a:lnTo>
                      <a:pt x="330" y="159"/>
                    </a:lnTo>
                    <a:lnTo>
                      <a:pt x="325" y="170"/>
                    </a:lnTo>
                    <a:lnTo>
                      <a:pt x="308" y="177"/>
                    </a:lnTo>
                    <a:lnTo>
                      <a:pt x="293" y="188"/>
                    </a:lnTo>
                    <a:lnTo>
                      <a:pt x="283" y="191"/>
                    </a:lnTo>
                    <a:lnTo>
                      <a:pt x="277" y="187"/>
                    </a:lnTo>
                    <a:lnTo>
                      <a:pt x="271" y="195"/>
                    </a:lnTo>
                    <a:lnTo>
                      <a:pt x="254" y="193"/>
                    </a:lnTo>
                    <a:lnTo>
                      <a:pt x="238" y="195"/>
                    </a:lnTo>
                    <a:lnTo>
                      <a:pt x="223" y="204"/>
                    </a:lnTo>
                    <a:lnTo>
                      <a:pt x="208" y="223"/>
                    </a:lnTo>
                    <a:lnTo>
                      <a:pt x="199" y="241"/>
                    </a:lnTo>
                    <a:lnTo>
                      <a:pt x="195" y="259"/>
                    </a:lnTo>
                    <a:lnTo>
                      <a:pt x="189" y="268"/>
                    </a:lnTo>
                    <a:lnTo>
                      <a:pt x="162" y="248"/>
                    </a:lnTo>
                    <a:lnTo>
                      <a:pt x="142" y="241"/>
                    </a:lnTo>
                    <a:lnTo>
                      <a:pt x="114" y="224"/>
                    </a:lnTo>
                    <a:lnTo>
                      <a:pt x="97" y="221"/>
                    </a:lnTo>
                    <a:lnTo>
                      <a:pt x="84" y="227"/>
                    </a:lnTo>
                    <a:lnTo>
                      <a:pt x="74" y="236"/>
                    </a:lnTo>
                    <a:lnTo>
                      <a:pt x="63" y="235"/>
                    </a:lnTo>
                    <a:lnTo>
                      <a:pt x="52" y="225"/>
                    </a:lnTo>
                    <a:lnTo>
                      <a:pt x="36" y="226"/>
                    </a:lnTo>
                    <a:lnTo>
                      <a:pt x="28" y="240"/>
                    </a:lnTo>
                    <a:lnTo>
                      <a:pt x="34" y="251"/>
                    </a:lnTo>
                    <a:lnTo>
                      <a:pt x="57" y="262"/>
                    </a:lnTo>
                    <a:lnTo>
                      <a:pt x="74" y="277"/>
                    </a:lnTo>
                    <a:lnTo>
                      <a:pt x="71" y="284"/>
                    </a:lnTo>
                    <a:lnTo>
                      <a:pt x="59" y="283"/>
                    </a:lnTo>
                    <a:lnTo>
                      <a:pt x="50" y="283"/>
                    </a:lnTo>
                    <a:lnTo>
                      <a:pt x="40" y="289"/>
                    </a:lnTo>
                    <a:lnTo>
                      <a:pt x="35" y="297"/>
                    </a:lnTo>
                    <a:lnTo>
                      <a:pt x="22" y="307"/>
                    </a:lnTo>
                    <a:lnTo>
                      <a:pt x="14" y="305"/>
                    </a:lnTo>
                    <a:lnTo>
                      <a:pt x="11" y="295"/>
                    </a:lnTo>
                    <a:lnTo>
                      <a:pt x="18" y="264"/>
                    </a:lnTo>
                    <a:lnTo>
                      <a:pt x="0" y="247"/>
                    </a:lnTo>
                    <a:lnTo>
                      <a:pt x="2" y="224"/>
                    </a:lnTo>
                    <a:lnTo>
                      <a:pt x="11" y="214"/>
                    </a:lnTo>
                    <a:lnTo>
                      <a:pt x="24" y="207"/>
                    </a:lnTo>
                    <a:lnTo>
                      <a:pt x="34" y="195"/>
                    </a:lnTo>
                    <a:lnTo>
                      <a:pt x="38" y="184"/>
                    </a:lnTo>
                    <a:lnTo>
                      <a:pt x="31" y="176"/>
                    </a:lnTo>
                    <a:lnTo>
                      <a:pt x="34" y="167"/>
                    </a:lnTo>
                    <a:lnTo>
                      <a:pt x="47" y="171"/>
                    </a:lnTo>
                    <a:lnTo>
                      <a:pt x="60" y="175"/>
                    </a:lnTo>
                    <a:lnTo>
                      <a:pt x="81" y="175"/>
                    </a:lnTo>
                    <a:lnTo>
                      <a:pt x="88" y="160"/>
                    </a:lnTo>
                    <a:lnTo>
                      <a:pt x="87" y="146"/>
                    </a:lnTo>
                    <a:lnTo>
                      <a:pt x="87" y="135"/>
                    </a:lnTo>
                    <a:lnTo>
                      <a:pt x="94" y="127"/>
                    </a:lnTo>
                    <a:lnTo>
                      <a:pt x="100" y="110"/>
                    </a:lnTo>
                    <a:lnTo>
                      <a:pt x="102" y="90"/>
                    </a:lnTo>
                    <a:lnTo>
                      <a:pt x="109" y="58"/>
                    </a:lnTo>
                    <a:lnTo>
                      <a:pt x="99" y="25"/>
                    </a:lnTo>
                    <a:lnTo>
                      <a:pt x="99" y="15"/>
                    </a:lnTo>
                    <a:lnTo>
                      <a:pt x="110" y="3"/>
                    </a:lnTo>
                    <a:lnTo>
                      <a:pt x="115" y="0"/>
                    </a:lnTo>
                    <a:lnTo>
                      <a:pt x="122" y="8"/>
                    </a:lnTo>
                    <a:lnTo>
                      <a:pt x="126" y="15"/>
                    </a:lnTo>
                    <a:lnTo>
                      <a:pt x="135" y="22"/>
                    </a:lnTo>
                    <a:lnTo>
                      <a:pt x="158" y="54"/>
                    </a:lnTo>
                    <a:lnTo>
                      <a:pt x="179" y="75"/>
                    </a:lnTo>
                    <a:lnTo>
                      <a:pt x="199" y="92"/>
                    </a:lnTo>
                    <a:lnTo>
                      <a:pt x="222" y="103"/>
                    </a:lnTo>
                    <a:lnTo>
                      <a:pt x="244" y="108"/>
                    </a:lnTo>
                    <a:lnTo>
                      <a:pt x="250" y="116"/>
                    </a:lnTo>
                    <a:lnTo>
                      <a:pt x="261" y="121"/>
                    </a:lnTo>
                    <a:lnTo>
                      <a:pt x="272" y="118"/>
                    </a:lnTo>
                    <a:lnTo>
                      <a:pt x="285" y="10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43" name="Freeform 108"/>
              <p:cNvSpPr>
                <a:spLocks noChangeAspect="1"/>
              </p:cNvSpPr>
              <p:nvPr/>
            </p:nvSpPr>
            <p:spPr bwMode="gray">
              <a:xfrm>
                <a:off x="3952" y="1989"/>
                <a:ext cx="123" cy="110"/>
              </a:xfrm>
              <a:custGeom>
                <a:avLst/>
                <a:gdLst/>
                <a:ahLst/>
                <a:cxnLst>
                  <a:cxn ang="0">
                    <a:pos x="578" y="13"/>
                  </a:cxn>
                  <a:cxn ang="0">
                    <a:pos x="582" y="69"/>
                  </a:cxn>
                  <a:cxn ang="0">
                    <a:pos x="607" y="118"/>
                  </a:cxn>
                  <a:cxn ang="0">
                    <a:pos x="608" y="160"/>
                  </a:cxn>
                  <a:cxn ang="0">
                    <a:pos x="593" y="180"/>
                  </a:cxn>
                  <a:cxn ang="0">
                    <a:pos x="571" y="223"/>
                  </a:cxn>
                  <a:cxn ang="0">
                    <a:pos x="554" y="268"/>
                  </a:cxn>
                  <a:cxn ang="0">
                    <a:pos x="558" y="317"/>
                  </a:cxn>
                  <a:cxn ang="0">
                    <a:pos x="535" y="365"/>
                  </a:cxn>
                  <a:cxn ang="0">
                    <a:pos x="545" y="404"/>
                  </a:cxn>
                  <a:cxn ang="0">
                    <a:pos x="521" y="439"/>
                  </a:cxn>
                  <a:cxn ang="0">
                    <a:pos x="495" y="425"/>
                  </a:cxn>
                  <a:cxn ang="0">
                    <a:pos x="491" y="408"/>
                  </a:cxn>
                  <a:cxn ang="0">
                    <a:pos x="483" y="440"/>
                  </a:cxn>
                  <a:cxn ang="0">
                    <a:pos x="456" y="443"/>
                  </a:cxn>
                  <a:cxn ang="0">
                    <a:pos x="437" y="474"/>
                  </a:cxn>
                  <a:cxn ang="0">
                    <a:pos x="427" y="446"/>
                  </a:cxn>
                  <a:cxn ang="0">
                    <a:pos x="404" y="478"/>
                  </a:cxn>
                  <a:cxn ang="0">
                    <a:pos x="356" y="476"/>
                  </a:cxn>
                  <a:cxn ang="0">
                    <a:pos x="351" y="470"/>
                  </a:cxn>
                  <a:cxn ang="0">
                    <a:pos x="333" y="470"/>
                  </a:cxn>
                  <a:cxn ang="0">
                    <a:pos x="320" y="451"/>
                  </a:cxn>
                  <a:cxn ang="0">
                    <a:pos x="328" y="504"/>
                  </a:cxn>
                  <a:cxn ang="0">
                    <a:pos x="307" y="503"/>
                  </a:cxn>
                  <a:cxn ang="0">
                    <a:pos x="295" y="517"/>
                  </a:cxn>
                  <a:cxn ang="0">
                    <a:pos x="252" y="546"/>
                  </a:cxn>
                  <a:cxn ang="0">
                    <a:pos x="233" y="517"/>
                  </a:cxn>
                  <a:cxn ang="0">
                    <a:pos x="248" y="479"/>
                  </a:cxn>
                  <a:cxn ang="0">
                    <a:pos x="228" y="476"/>
                  </a:cxn>
                  <a:cxn ang="0">
                    <a:pos x="190" y="468"/>
                  </a:cxn>
                  <a:cxn ang="0">
                    <a:pos x="156" y="483"/>
                  </a:cxn>
                  <a:cxn ang="0">
                    <a:pos x="133" y="492"/>
                  </a:cxn>
                  <a:cxn ang="0">
                    <a:pos x="92" y="503"/>
                  </a:cxn>
                  <a:cxn ang="0">
                    <a:pos x="69" y="524"/>
                  </a:cxn>
                  <a:cxn ang="0">
                    <a:pos x="43" y="515"/>
                  </a:cxn>
                  <a:cxn ang="0">
                    <a:pos x="20" y="521"/>
                  </a:cxn>
                  <a:cxn ang="0">
                    <a:pos x="0" y="503"/>
                  </a:cxn>
                  <a:cxn ang="0">
                    <a:pos x="35" y="478"/>
                  </a:cxn>
                  <a:cxn ang="0">
                    <a:pos x="74" y="446"/>
                  </a:cxn>
                  <a:cxn ang="0">
                    <a:pos x="106" y="417"/>
                  </a:cxn>
                  <a:cxn ang="0">
                    <a:pos x="155" y="416"/>
                  </a:cxn>
                  <a:cxn ang="0">
                    <a:pos x="219" y="407"/>
                  </a:cxn>
                  <a:cxn ang="0">
                    <a:pos x="237" y="412"/>
                  </a:cxn>
                  <a:cxn ang="0">
                    <a:pos x="270" y="412"/>
                  </a:cxn>
                  <a:cxn ang="0">
                    <a:pos x="300" y="357"/>
                  </a:cxn>
                  <a:cxn ang="0">
                    <a:pos x="322" y="305"/>
                  </a:cxn>
                  <a:cxn ang="0">
                    <a:pos x="351" y="284"/>
                  </a:cxn>
                  <a:cxn ang="0">
                    <a:pos x="333" y="306"/>
                  </a:cxn>
                  <a:cxn ang="0">
                    <a:pos x="336" y="333"/>
                  </a:cxn>
                  <a:cxn ang="0">
                    <a:pos x="363" y="321"/>
                  </a:cxn>
                  <a:cxn ang="0">
                    <a:pos x="410" y="295"/>
                  </a:cxn>
                  <a:cxn ang="0">
                    <a:pos x="440" y="257"/>
                  </a:cxn>
                  <a:cxn ang="0">
                    <a:pos x="467" y="235"/>
                  </a:cxn>
                  <a:cxn ang="0">
                    <a:pos x="486" y="188"/>
                  </a:cxn>
                  <a:cxn ang="0">
                    <a:pos x="499" y="154"/>
                  </a:cxn>
                  <a:cxn ang="0">
                    <a:pos x="495" y="117"/>
                  </a:cxn>
                  <a:cxn ang="0">
                    <a:pos x="499" y="92"/>
                  </a:cxn>
                  <a:cxn ang="0">
                    <a:pos x="512" y="49"/>
                  </a:cxn>
                  <a:cxn ang="0">
                    <a:pos x="524" y="20"/>
                  </a:cxn>
                  <a:cxn ang="0">
                    <a:pos x="539" y="48"/>
                  </a:cxn>
                  <a:cxn ang="0">
                    <a:pos x="560" y="41"/>
                  </a:cxn>
                  <a:cxn ang="0">
                    <a:pos x="559" y="22"/>
                  </a:cxn>
                  <a:cxn ang="0">
                    <a:pos x="547" y="3"/>
                  </a:cxn>
                </a:cxnLst>
                <a:rect l="0" t="0" r="r" b="b"/>
                <a:pathLst>
                  <a:path w="613" h="552">
                    <a:moveTo>
                      <a:pt x="560" y="6"/>
                    </a:moveTo>
                    <a:lnTo>
                      <a:pt x="576" y="6"/>
                    </a:lnTo>
                    <a:lnTo>
                      <a:pt x="578" y="13"/>
                    </a:lnTo>
                    <a:lnTo>
                      <a:pt x="576" y="37"/>
                    </a:lnTo>
                    <a:lnTo>
                      <a:pt x="577" y="53"/>
                    </a:lnTo>
                    <a:lnTo>
                      <a:pt x="582" y="69"/>
                    </a:lnTo>
                    <a:lnTo>
                      <a:pt x="592" y="83"/>
                    </a:lnTo>
                    <a:lnTo>
                      <a:pt x="598" y="96"/>
                    </a:lnTo>
                    <a:lnTo>
                      <a:pt x="607" y="118"/>
                    </a:lnTo>
                    <a:lnTo>
                      <a:pt x="613" y="143"/>
                    </a:lnTo>
                    <a:lnTo>
                      <a:pt x="612" y="153"/>
                    </a:lnTo>
                    <a:lnTo>
                      <a:pt x="608" y="160"/>
                    </a:lnTo>
                    <a:lnTo>
                      <a:pt x="607" y="171"/>
                    </a:lnTo>
                    <a:lnTo>
                      <a:pt x="599" y="180"/>
                    </a:lnTo>
                    <a:lnTo>
                      <a:pt x="593" y="180"/>
                    </a:lnTo>
                    <a:lnTo>
                      <a:pt x="585" y="208"/>
                    </a:lnTo>
                    <a:lnTo>
                      <a:pt x="583" y="224"/>
                    </a:lnTo>
                    <a:lnTo>
                      <a:pt x="571" y="223"/>
                    </a:lnTo>
                    <a:lnTo>
                      <a:pt x="556" y="232"/>
                    </a:lnTo>
                    <a:lnTo>
                      <a:pt x="551" y="251"/>
                    </a:lnTo>
                    <a:lnTo>
                      <a:pt x="554" y="268"/>
                    </a:lnTo>
                    <a:lnTo>
                      <a:pt x="556" y="284"/>
                    </a:lnTo>
                    <a:lnTo>
                      <a:pt x="556" y="305"/>
                    </a:lnTo>
                    <a:lnTo>
                      <a:pt x="558" y="317"/>
                    </a:lnTo>
                    <a:lnTo>
                      <a:pt x="548" y="327"/>
                    </a:lnTo>
                    <a:lnTo>
                      <a:pt x="539" y="347"/>
                    </a:lnTo>
                    <a:lnTo>
                      <a:pt x="535" y="365"/>
                    </a:lnTo>
                    <a:lnTo>
                      <a:pt x="535" y="386"/>
                    </a:lnTo>
                    <a:lnTo>
                      <a:pt x="543" y="397"/>
                    </a:lnTo>
                    <a:lnTo>
                      <a:pt x="545" y="404"/>
                    </a:lnTo>
                    <a:lnTo>
                      <a:pt x="537" y="409"/>
                    </a:lnTo>
                    <a:lnTo>
                      <a:pt x="527" y="425"/>
                    </a:lnTo>
                    <a:lnTo>
                      <a:pt x="521" y="439"/>
                    </a:lnTo>
                    <a:lnTo>
                      <a:pt x="494" y="459"/>
                    </a:lnTo>
                    <a:lnTo>
                      <a:pt x="491" y="449"/>
                    </a:lnTo>
                    <a:lnTo>
                      <a:pt x="495" y="425"/>
                    </a:lnTo>
                    <a:lnTo>
                      <a:pt x="502" y="417"/>
                    </a:lnTo>
                    <a:lnTo>
                      <a:pt x="505" y="408"/>
                    </a:lnTo>
                    <a:lnTo>
                      <a:pt x="491" y="408"/>
                    </a:lnTo>
                    <a:lnTo>
                      <a:pt x="489" y="419"/>
                    </a:lnTo>
                    <a:lnTo>
                      <a:pt x="484" y="429"/>
                    </a:lnTo>
                    <a:lnTo>
                      <a:pt x="483" y="440"/>
                    </a:lnTo>
                    <a:lnTo>
                      <a:pt x="475" y="434"/>
                    </a:lnTo>
                    <a:lnTo>
                      <a:pt x="462" y="433"/>
                    </a:lnTo>
                    <a:lnTo>
                      <a:pt x="456" y="443"/>
                    </a:lnTo>
                    <a:lnTo>
                      <a:pt x="451" y="468"/>
                    </a:lnTo>
                    <a:lnTo>
                      <a:pt x="445" y="476"/>
                    </a:lnTo>
                    <a:lnTo>
                      <a:pt x="437" y="474"/>
                    </a:lnTo>
                    <a:lnTo>
                      <a:pt x="435" y="459"/>
                    </a:lnTo>
                    <a:lnTo>
                      <a:pt x="436" y="447"/>
                    </a:lnTo>
                    <a:lnTo>
                      <a:pt x="427" y="446"/>
                    </a:lnTo>
                    <a:lnTo>
                      <a:pt x="419" y="455"/>
                    </a:lnTo>
                    <a:lnTo>
                      <a:pt x="410" y="466"/>
                    </a:lnTo>
                    <a:lnTo>
                      <a:pt x="404" y="478"/>
                    </a:lnTo>
                    <a:lnTo>
                      <a:pt x="402" y="479"/>
                    </a:lnTo>
                    <a:lnTo>
                      <a:pt x="384" y="476"/>
                    </a:lnTo>
                    <a:lnTo>
                      <a:pt x="356" y="476"/>
                    </a:lnTo>
                    <a:lnTo>
                      <a:pt x="341" y="479"/>
                    </a:lnTo>
                    <a:lnTo>
                      <a:pt x="345" y="474"/>
                    </a:lnTo>
                    <a:lnTo>
                      <a:pt x="351" y="470"/>
                    </a:lnTo>
                    <a:lnTo>
                      <a:pt x="339" y="467"/>
                    </a:lnTo>
                    <a:lnTo>
                      <a:pt x="336" y="463"/>
                    </a:lnTo>
                    <a:lnTo>
                      <a:pt x="333" y="470"/>
                    </a:lnTo>
                    <a:lnTo>
                      <a:pt x="327" y="462"/>
                    </a:lnTo>
                    <a:lnTo>
                      <a:pt x="325" y="449"/>
                    </a:lnTo>
                    <a:lnTo>
                      <a:pt x="320" y="451"/>
                    </a:lnTo>
                    <a:lnTo>
                      <a:pt x="309" y="476"/>
                    </a:lnTo>
                    <a:lnTo>
                      <a:pt x="328" y="488"/>
                    </a:lnTo>
                    <a:lnTo>
                      <a:pt x="328" y="504"/>
                    </a:lnTo>
                    <a:lnTo>
                      <a:pt x="320" y="498"/>
                    </a:lnTo>
                    <a:lnTo>
                      <a:pt x="314" y="501"/>
                    </a:lnTo>
                    <a:lnTo>
                      <a:pt x="307" y="503"/>
                    </a:lnTo>
                    <a:lnTo>
                      <a:pt x="300" y="508"/>
                    </a:lnTo>
                    <a:lnTo>
                      <a:pt x="296" y="514"/>
                    </a:lnTo>
                    <a:lnTo>
                      <a:pt x="295" y="517"/>
                    </a:lnTo>
                    <a:lnTo>
                      <a:pt x="279" y="546"/>
                    </a:lnTo>
                    <a:lnTo>
                      <a:pt x="268" y="552"/>
                    </a:lnTo>
                    <a:lnTo>
                      <a:pt x="252" y="546"/>
                    </a:lnTo>
                    <a:lnTo>
                      <a:pt x="247" y="536"/>
                    </a:lnTo>
                    <a:lnTo>
                      <a:pt x="236" y="529"/>
                    </a:lnTo>
                    <a:lnTo>
                      <a:pt x="233" y="517"/>
                    </a:lnTo>
                    <a:lnTo>
                      <a:pt x="233" y="499"/>
                    </a:lnTo>
                    <a:lnTo>
                      <a:pt x="238" y="494"/>
                    </a:lnTo>
                    <a:lnTo>
                      <a:pt x="248" y="479"/>
                    </a:lnTo>
                    <a:lnTo>
                      <a:pt x="249" y="474"/>
                    </a:lnTo>
                    <a:lnTo>
                      <a:pt x="247" y="472"/>
                    </a:lnTo>
                    <a:lnTo>
                      <a:pt x="228" y="476"/>
                    </a:lnTo>
                    <a:lnTo>
                      <a:pt x="216" y="471"/>
                    </a:lnTo>
                    <a:lnTo>
                      <a:pt x="203" y="468"/>
                    </a:lnTo>
                    <a:lnTo>
                      <a:pt x="190" y="468"/>
                    </a:lnTo>
                    <a:lnTo>
                      <a:pt x="179" y="478"/>
                    </a:lnTo>
                    <a:lnTo>
                      <a:pt x="163" y="488"/>
                    </a:lnTo>
                    <a:lnTo>
                      <a:pt x="156" y="483"/>
                    </a:lnTo>
                    <a:lnTo>
                      <a:pt x="147" y="487"/>
                    </a:lnTo>
                    <a:lnTo>
                      <a:pt x="142" y="487"/>
                    </a:lnTo>
                    <a:lnTo>
                      <a:pt x="133" y="492"/>
                    </a:lnTo>
                    <a:lnTo>
                      <a:pt x="126" y="492"/>
                    </a:lnTo>
                    <a:lnTo>
                      <a:pt x="119" y="495"/>
                    </a:lnTo>
                    <a:lnTo>
                      <a:pt x="92" y="503"/>
                    </a:lnTo>
                    <a:lnTo>
                      <a:pt x="85" y="497"/>
                    </a:lnTo>
                    <a:lnTo>
                      <a:pt x="78" y="498"/>
                    </a:lnTo>
                    <a:lnTo>
                      <a:pt x="69" y="524"/>
                    </a:lnTo>
                    <a:lnTo>
                      <a:pt x="64" y="525"/>
                    </a:lnTo>
                    <a:lnTo>
                      <a:pt x="51" y="520"/>
                    </a:lnTo>
                    <a:lnTo>
                      <a:pt x="43" y="515"/>
                    </a:lnTo>
                    <a:lnTo>
                      <a:pt x="32" y="519"/>
                    </a:lnTo>
                    <a:lnTo>
                      <a:pt x="24" y="519"/>
                    </a:lnTo>
                    <a:lnTo>
                      <a:pt x="20" y="521"/>
                    </a:lnTo>
                    <a:lnTo>
                      <a:pt x="10" y="517"/>
                    </a:lnTo>
                    <a:lnTo>
                      <a:pt x="0" y="516"/>
                    </a:lnTo>
                    <a:lnTo>
                      <a:pt x="0" y="503"/>
                    </a:lnTo>
                    <a:lnTo>
                      <a:pt x="1" y="495"/>
                    </a:lnTo>
                    <a:lnTo>
                      <a:pt x="26" y="488"/>
                    </a:lnTo>
                    <a:lnTo>
                      <a:pt x="35" y="478"/>
                    </a:lnTo>
                    <a:lnTo>
                      <a:pt x="45" y="471"/>
                    </a:lnTo>
                    <a:lnTo>
                      <a:pt x="63" y="461"/>
                    </a:lnTo>
                    <a:lnTo>
                      <a:pt x="74" y="446"/>
                    </a:lnTo>
                    <a:lnTo>
                      <a:pt x="87" y="438"/>
                    </a:lnTo>
                    <a:lnTo>
                      <a:pt x="94" y="424"/>
                    </a:lnTo>
                    <a:lnTo>
                      <a:pt x="106" y="417"/>
                    </a:lnTo>
                    <a:lnTo>
                      <a:pt x="118" y="413"/>
                    </a:lnTo>
                    <a:lnTo>
                      <a:pt x="136" y="418"/>
                    </a:lnTo>
                    <a:lnTo>
                      <a:pt x="155" y="416"/>
                    </a:lnTo>
                    <a:lnTo>
                      <a:pt x="169" y="417"/>
                    </a:lnTo>
                    <a:lnTo>
                      <a:pt x="209" y="408"/>
                    </a:lnTo>
                    <a:lnTo>
                      <a:pt x="219" y="407"/>
                    </a:lnTo>
                    <a:lnTo>
                      <a:pt x="228" y="403"/>
                    </a:lnTo>
                    <a:lnTo>
                      <a:pt x="238" y="403"/>
                    </a:lnTo>
                    <a:lnTo>
                      <a:pt x="237" y="412"/>
                    </a:lnTo>
                    <a:lnTo>
                      <a:pt x="260" y="418"/>
                    </a:lnTo>
                    <a:lnTo>
                      <a:pt x="265" y="417"/>
                    </a:lnTo>
                    <a:lnTo>
                      <a:pt x="270" y="412"/>
                    </a:lnTo>
                    <a:lnTo>
                      <a:pt x="282" y="403"/>
                    </a:lnTo>
                    <a:lnTo>
                      <a:pt x="284" y="371"/>
                    </a:lnTo>
                    <a:lnTo>
                      <a:pt x="300" y="357"/>
                    </a:lnTo>
                    <a:lnTo>
                      <a:pt x="312" y="339"/>
                    </a:lnTo>
                    <a:lnTo>
                      <a:pt x="320" y="320"/>
                    </a:lnTo>
                    <a:lnTo>
                      <a:pt x="322" y="305"/>
                    </a:lnTo>
                    <a:lnTo>
                      <a:pt x="324" y="294"/>
                    </a:lnTo>
                    <a:lnTo>
                      <a:pt x="343" y="283"/>
                    </a:lnTo>
                    <a:lnTo>
                      <a:pt x="351" y="284"/>
                    </a:lnTo>
                    <a:lnTo>
                      <a:pt x="350" y="294"/>
                    </a:lnTo>
                    <a:lnTo>
                      <a:pt x="341" y="298"/>
                    </a:lnTo>
                    <a:lnTo>
                      <a:pt x="333" y="306"/>
                    </a:lnTo>
                    <a:lnTo>
                      <a:pt x="332" y="309"/>
                    </a:lnTo>
                    <a:lnTo>
                      <a:pt x="336" y="321"/>
                    </a:lnTo>
                    <a:lnTo>
                      <a:pt x="336" y="333"/>
                    </a:lnTo>
                    <a:lnTo>
                      <a:pt x="341" y="333"/>
                    </a:lnTo>
                    <a:lnTo>
                      <a:pt x="354" y="332"/>
                    </a:lnTo>
                    <a:lnTo>
                      <a:pt x="363" y="321"/>
                    </a:lnTo>
                    <a:lnTo>
                      <a:pt x="377" y="314"/>
                    </a:lnTo>
                    <a:lnTo>
                      <a:pt x="393" y="309"/>
                    </a:lnTo>
                    <a:lnTo>
                      <a:pt x="410" y="295"/>
                    </a:lnTo>
                    <a:lnTo>
                      <a:pt x="422" y="284"/>
                    </a:lnTo>
                    <a:lnTo>
                      <a:pt x="430" y="269"/>
                    </a:lnTo>
                    <a:lnTo>
                      <a:pt x="440" y="257"/>
                    </a:lnTo>
                    <a:lnTo>
                      <a:pt x="453" y="247"/>
                    </a:lnTo>
                    <a:lnTo>
                      <a:pt x="459" y="247"/>
                    </a:lnTo>
                    <a:lnTo>
                      <a:pt x="467" y="235"/>
                    </a:lnTo>
                    <a:lnTo>
                      <a:pt x="468" y="225"/>
                    </a:lnTo>
                    <a:lnTo>
                      <a:pt x="470" y="215"/>
                    </a:lnTo>
                    <a:lnTo>
                      <a:pt x="486" y="188"/>
                    </a:lnTo>
                    <a:lnTo>
                      <a:pt x="490" y="176"/>
                    </a:lnTo>
                    <a:lnTo>
                      <a:pt x="492" y="165"/>
                    </a:lnTo>
                    <a:lnTo>
                      <a:pt x="499" y="154"/>
                    </a:lnTo>
                    <a:lnTo>
                      <a:pt x="502" y="139"/>
                    </a:lnTo>
                    <a:lnTo>
                      <a:pt x="502" y="123"/>
                    </a:lnTo>
                    <a:lnTo>
                      <a:pt x="495" y="117"/>
                    </a:lnTo>
                    <a:lnTo>
                      <a:pt x="484" y="112"/>
                    </a:lnTo>
                    <a:lnTo>
                      <a:pt x="489" y="107"/>
                    </a:lnTo>
                    <a:lnTo>
                      <a:pt x="499" y="92"/>
                    </a:lnTo>
                    <a:lnTo>
                      <a:pt x="497" y="62"/>
                    </a:lnTo>
                    <a:lnTo>
                      <a:pt x="502" y="53"/>
                    </a:lnTo>
                    <a:lnTo>
                      <a:pt x="512" y="49"/>
                    </a:lnTo>
                    <a:lnTo>
                      <a:pt x="513" y="32"/>
                    </a:lnTo>
                    <a:lnTo>
                      <a:pt x="517" y="24"/>
                    </a:lnTo>
                    <a:lnTo>
                      <a:pt x="524" y="20"/>
                    </a:lnTo>
                    <a:lnTo>
                      <a:pt x="531" y="29"/>
                    </a:lnTo>
                    <a:lnTo>
                      <a:pt x="535" y="42"/>
                    </a:lnTo>
                    <a:lnTo>
                      <a:pt x="539" y="48"/>
                    </a:lnTo>
                    <a:lnTo>
                      <a:pt x="547" y="38"/>
                    </a:lnTo>
                    <a:lnTo>
                      <a:pt x="553" y="42"/>
                    </a:lnTo>
                    <a:lnTo>
                      <a:pt x="560" y="41"/>
                    </a:lnTo>
                    <a:lnTo>
                      <a:pt x="566" y="27"/>
                    </a:lnTo>
                    <a:lnTo>
                      <a:pt x="567" y="15"/>
                    </a:lnTo>
                    <a:lnTo>
                      <a:pt x="559" y="22"/>
                    </a:lnTo>
                    <a:lnTo>
                      <a:pt x="547" y="26"/>
                    </a:lnTo>
                    <a:lnTo>
                      <a:pt x="543" y="14"/>
                    </a:lnTo>
                    <a:lnTo>
                      <a:pt x="547" y="3"/>
                    </a:lnTo>
                    <a:lnTo>
                      <a:pt x="551" y="0"/>
                    </a:lnTo>
                    <a:lnTo>
                      <a:pt x="560" y="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44" name="Freeform 109"/>
              <p:cNvSpPr>
                <a:spLocks noChangeAspect="1"/>
              </p:cNvSpPr>
              <p:nvPr/>
            </p:nvSpPr>
            <p:spPr bwMode="gray">
              <a:xfrm>
                <a:off x="3966" y="2088"/>
                <a:ext cx="28" cy="21"/>
              </a:xfrm>
              <a:custGeom>
                <a:avLst/>
                <a:gdLst/>
                <a:ahLst/>
                <a:cxnLst>
                  <a:cxn ang="0">
                    <a:pos x="113" y="70"/>
                  </a:cxn>
                  <a:cxn ang="0">
                    <a:pos x="102" y="63"/>
                  </a:cxn>
                  <a:cxn ang="0">
                    <a:pos x="88" y="58"/>
                  </a:cxn>
                  <a:cxn ang="0">
                    <a:pos x="74" y="62"/>
                  </a:cxn>
                  <a:cxn ang="0">
                    <a:pos x="66" y="68"/>
                  </a:cxn>
                  <a:cxn ang="0">
                    <a:pos x="59" y="80"/>
                  </a:cxn>
                  <a:cxn ang="0">
                    <a:pos x="50" y="95"/>
                  </a:cxn>
                  <a:cxn ang="0">
                    <a:pos x="48" y="106"/>
                  </a:cxn>
                  <a:cxn ang="0">
                    <a:pos x="39" y="107"/>
                  </a:cxn>
                  <a:cxn ang="0">
                    <a:pos x="30" y="100"/>
                  </a:cxn>
                  <a:cxn ang="0">
                    <a:pos x="26" y="95"/>
                  </a:cxn>
                  <a:cxn ang="0">
                    <a:pos x="19" y="82"/>
                  </a:cxn>
                  <a:cxn ang="0">
                    <a:pos x="20" y="76"/>
                  </a:cxn>
                  <a:cxn ang="0">
                    <a:pos x="16" y="69"/>
                  </a:cxn>
                  <a:cxn ang="0">
                    <a:pos x="10" y="64"/>
                  </a:cxn>
                  <a:cxn ang="0">
                    <a:pos x="0" y="64"/>
                  </a:cxn>
                  <a:cxn ang="0">
                    <a:pos x="15" y="53"/>
                  </a:cxn>
                  <a:cxn ang="0">
                    <a:pos x="37" y="23"/>
                  </a:cxn>
                  <a:cxn ang="0">
                    <a:pos x="50" y="25"/>
                  </a:cxn>
                  <a:cxn ang="0">
                    <a:pos x="57" y="28"/>
                  </a:cxn>
                  <a:cxn ang="0">
                    <a:pos x="68" y="26"/>
                  </a:cxn>
                  <a:cxn ang="0">
                    <a:pos x="78" y="21"/>
                  </a:cxn>
                  <a:cxn ang="0">
                    <a:pos x="82" y="14"/>
                  </a:cxn>
                  <a:cxn ang="0">
                    <a:pos x="95" y="1"/>
                  </a:cxn>
                  <a:cxn ang="0">
                    <a:pos x="102" y="0"/>
                  </a:cxn>
                  <a:cxn ang="0">
                    <a:pos x="112" y="3"/>
                  </a:cxn>
                  <a:cxn ang="0">
                    <a:pos x="123" y="9"/>
                  </a:cxn>
                  <a:cxn ang="0">
                    <a:pos x="132" y="10"/>
                  </a:cxn>
                  <a:cxn ang="0">
                    <a:pos x="138" y="33"/>
                  </a:cxn>
                  <a:cxn ang="0">
                    <a:pos x="140" y="36"/>
                  </a:cxn>
                  <a:cxn ang="0">
                    <a:pos x="134" y="44"/>
                  </a:cxn>
                  <a:cxn ang="0">
                    <a:pos x="128" y="47"/>
                  </a:cxn>
                  <a:cxn ang="0">
                    <a:pos x="123" y="54"/>
                  </a:cxn>
                  <a:cxn ang="0">
                    <a:pos x="118" y="63"/>
                  </a:cxn>
                  <a:cxn ang="0">
                    <a:pos x="113" y="70"/>
                  </a:cxn>
                </a:cxnLst>
                <a:rect l="0" t="0" r="r" b="b"/>
                <a:pathLst>
                  <a:path w="140" h="107">
                    <a:moveTo>
                      <a:pt x="113" y="70"/>
                    </a:moveTo>
                    <a:lnTo>
                      <a:pt x="102" y="63"/>
                    </a:lnTo>
                    <a:lnTo>
                      <a:pt x="88" y="58"/>
                    </a:lnTo>
                    <a:lnTo>
                      <a:pt x="74" y="62"/>
                    </a:lnTo>
                    <a:lnTo>
                      <a:pt x="66" y="68"/>
                    </a:lnTo>
                    <a:lnTo>
                      <a:pt x="59" y="80"/>
                    </a:lnTo>
                    <a:lnTo>
                      <a:pt x="50" y="95"/>
                    </a:lnTo>
                    <a:lnTo>
                      <a:pt x="48" y="106"/>
                    </a:lnTo>
                    <a:lnTo>
                      <a:pt x="39" y="107"/>
                    </a:lnTo>
                    <a:lnTo>
                      <a:pt x="30" y="100"/>
                    </a:lnTo>
                    <a:lnTo>
                      <a:pt x="26" y="95"/>
                    </a:lnTo>
                    <a:lnTo>
                      <a:pt x="19" y="82"/>
                    </a:lnTo>
                    <a:lnTo>
                      <a:pt x="20" y="76"/>
                    </a:lnTo>
                    <a:lnTo>
                      <a:pt x="16" y="69"/>
                    </a:lnTo>
                    <a:lnTo>
                      <a:pt x="10" y="64"/>
                    </a:lnTo>
                    <a:lnTo>
                      <a:pt x="0" y="64"/>
                    </a:lnTo>
                    <a:lnTo>
                      <a:pt x="15" y="53"/>
                    </a:lnTo>
                    <a:lnTo>
                      <a:pt x="37" y="23"/>
                    </a:lnTo>
                    <a:lnTo>
                      <a:pt x="50" y="25"/>
                    </a:lnTo>
                    <a:lnTo>
                      <a:pt x="57" y="28"/>
                    </a:lnTo>
                    <a:lnTo>
                      <a:pt x="68" y="26"/>
                    </a:lnTo>
                    <a:lnTo>
                      <a:pt x="78" y="21"/>
                    </a:lnTo>
                    <a:lnTo>
                      <a:pt x="82" y="14"/>
                    </a:lnTo>
                    <a:lnTo>
                      <a:pt x="95" y="1"/>
                    </a:lnTo>
                    <a:lnTo>
                      <a:pt x="102" y="0"/>
                    </a:lnTo>
                    <a:lnTo>
                      <a:pt x="112" y="3"/>
                    </a:lnTo>
                    <a:lnTo>
                      <a:pt x="123" y="9"/>
                    </a:lnTo>
                    <a:lnTo>
                      <a:pt x="132" y="10"/>
                    </a:lnTo>
                    <a:lnTo>
                      <a:pt x="138" y="33"/>
                    </a:lnTo>
                    <a:lnTo>
                      <a:pt x="140" y="36"/>
                    </a:lnTo>
                    <a:lnTo>
                      <a:pt x="134" y="44"/>
                    </a:lnTo>
                    <a:lnTo>
                      <a:pt x="128" y="47"/>
                    </a:lnTo>
                    <a:lnTo>
                      <a:pt x="123" y="54"/>
                    </a:lnTo>
                    <a:lnTo>
                      <a:pt x="118" y="63"/>
                    </a:lnTo>
                    <a:lnTo>
                      <a:pt x="113" y="7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45" name="Freeform 110"/>
              <p:cNvSpPr>
                <a:spLocks noChangeAspect="1"/>
              </p:cNvSpPr>
              <p:nvPr/>
            </p:nvSpPr>
            <p:spPr bwMode="gray">
              <a:xfrm>
                <a:off x="3938" y="2093"/>
                <a:ext cx="26" cy="38"/>
              </a:xfrm>
              <a:custGeom>
                <a:avLst/>
                <a:gdLst/>
                <a:ahLst/>
                <a:cxnLst>
                  <a:cxn ang="0">
                    <a:pos x="69" y="2"/>
                  </a:cxn>
                  <a:cxn ang="0">
                    <a:pos x="56" y="4"/>
                  </a:cxn>
                  <a:cxn ang="0">
                    <a:pos x="42" y="22"/>
                  </a:cxn>
                  <a:cxn ang="0">
                    <a:pos x="29" y="29"/>
                  </a:cxn>
                  <a:cxn ang="0">
                    <a:pos x="18" y="29"/>
                  </a:cxn>
                  <a:cxn ang="0">
                    <a:pos x="0" y="48"/>
                  </a:cxn>
                  <a:cxn ang="0">
                    <a:pos x="16" y="64"/>
                  </a:cxn>
                  <a:cxn ang="0">
                    <a:pos x="11" y="62"/>
                  </a:cxn>
                  <a:cxn ang="0">
                    <a:pos x="9" y="88"/>
                  </a:cxn>
                  <a:cxn ang="0">
                    <a:pos x="27" y="78"/>
                  </a:cxn>
                  <a:cxn ang="0">
                    <a:pos x="41" y="75"/>
                  </a:cxn>
                  <a:cxn ang="0">
                    <a:pos x="32" y="65"/>
                  </a:cxn>
                  <a:cxn ang="0">
                    <a:pos x="37" y="50"/>
                  </a:cxn>
                  <a:cxn ang="0">
                    <a:pos x="51" y="74"/>
                  </a:cxn>
                  <a:cxn ang="0">
                    <a:pos x="53" y="86"/>
                  </a:cxn>
                  <a:cxn ang="0">
                    <a:pos x="47" y="112"/>
                  </a:cxn>
                  <a:cxn ang="0">
                    <a:pos x="36" y="128"/>
                  </a:cxn>
                  <a:cxn ang="0">
                    <a:pos x="38" y="159"/>
                  </a:cxn>
                  <a:cxn ang="0">
                    <a:pos x="41" y="174"/>
                  </a:cxn>
                  <a:cxn ang="0">
                    <a:pos x="58" y="166"/>
                  </a:cxn>
                  <a:cxn ang="0">
                    <a:pos x="57" y="145"/>
                  </a:cxn>
                  <a:cxn ang="0">
                    <a:pos x="62" y="151"/>
                  </a:cxn>
                  <a:cxn ang="0">
                    <a:pos x="63" y="172"/>
                  </a:cxn>
                  <a:cxn ang="0">
                    <a:pos x="70" y="185"/>
                  </a:cxn>
                  <a:cxn ang="0">
                    <a:pos x="79" y="169"/>
                  </a:cxn>
                  <a:cxn ang="0">
                    <a:pos x="94" y="164"/>
                  </a:cxn>
                  <a:cxn ang="0">
                    <a:pos x="107" y="117"/>
                  </a:cxn>
                  <a:cxn ang="0">
                    <a:pos x="120" y="89"/>
                  </a:cxn>
                  <a:cxn ang="0">
                    <a:pos x="131" y="69"/>
                  </a:cxn>
                  <a:cxn ang="0">
                    <a:pos x="124" y="48"/>
                  </a:cxn>
                  <a:cxn ang="0">
                    <a:pos x="110" y="40"/>
                  </a:cxn>
                  <a:cxn ang="0">
                    <a:pos x="112" y="19"/>
                  </a:cxn>
                  <a:cxn ang="0">
                    <a:pos x="86" y="22"/>
                  </a:cxn>
                  <a:cxn ang="0">
                    <a:pos x="77" y="3"/>
                  </a:cxn>
                </a:cxnLst>
                <a:rect l="0" t="0" r="r" b="b"/>
                <a:pathLst>
                  <a:path w="131" h="187">
                    <a:moveTo>
                      <a:pt x="67" y="2"/>
                    </a:moveTo>
                    <a:lnTo>
                      <a:pt x="69" y="2"/>
                    </a:lnTo>
                    <a:lnTo>
                      <a:pt x="64" y="0"/>
                    </a:lnTo>
                    <a:lnTo>
                      <a:pt x="56" y="4"/>
                    </a:lnTo>
                    <a:lnTo>
                      <a:pt x="47" y="13"/>
                    </a:lnTo>
                    <a:lnTo>
                      <a:pt x="42" y="22"/>
                    </a:lnTo>
                    <a:lnTo>
                      <a:pt x="35" y="22"/>
                    </a:lnTo>
                    <a:lnTo>
                      <a:pt x="29" y="29"/>
                    </a:lnTo>
                    <a:lnTo>
                      <a:pt x="21" y="32"/>
                    </a:lnTo>
                    <a:lnTo>
                      <a:pt x="18" y="29"/>
                    </a:lnTo>
                    <a:lnTo>
                      <a:pt x="11" y="34"/>
                    </a:lnTo>
                    <a:lnTo>
                      <a:pt x="0" y="48"/>
                    </a:lnTo>
                    <a:lnTo>
                      <a:pt x="10" y="56"/>
                    </a:lnTo>
                    <a:lnTo>
                      <a:pt x="16" y="64"/>
                    </a:lnTo>
                    <a:lnTo>
                      <a:pt x="16" y="72"/>
                    </a:lnTo>
                    <a:lnTo>
                      <a:pt x="11" y="62"/>
                    </a:lnTo>
                    <a:lnTo>
                      <a:pt x="5" y="62"/>
                    </a:lnTo>
                    <a:lnTo>
                      <a:pt x="9" y="88"/>
                    </a:lnTo>
                    <a:lnTo>
                      <a:pt x="14" y="81"/>
                    </a:lnTo>
                    <a:lnTo>
                      <a:pt x="27" y="78"/>
                    </a:lnTo>
                    <a:lnTo>
                      <a:pt x="37" y="84"/>
                    </a:lnTo>
                    <a:lnTo>
                      <a:pt x="41" y="75"/>
                    </a:lnTo>
                    <a:lnTo>
                      <a:pt x="35" y="72"/>
                    </a:lnTo>
                    <a:lnTo>
                      <a:pt x="32" y="65"/>
                    </a:lnTo>
                    <a:lnTo>
                      <a:pt x="32" y="54"/>
                    </a:lnTo>
                    <a:lnTo>
                      <a:pt x="37" y="50"/>
                    </a:lnTo>
                    <a:lnTo>
                      <a:pt x="43" y="63"/>
                    </a:lnTo>
                    <a:lnTo>
                      <a:pt x="51" y="74"/>
                    </a:lnTo>
                    <a:lnTo>
                      <a:pt x="51" y="85"/>
                    </a:lnTo>
                    <a:lnTo>
                      <a:pt x="53" y="86"/>
                    </a:lnTo>
                    <a:lnTo>
                      <a:pt x="53" y="100"/>
                    </a:lnTo>
                    <a:lnTo>
                      <a:pt x="47" y="112"/>
                    </a:lnTo>
                    <a:lnTo>
                      <a:pt x="41" y="118"/>
                    </a:lnTo>
                    <a:lnTo>
                      <a:pt x="36" y="128"/>
                    </a:lnTo>
                    <a:lnTo>
                      <a:pt x="35" y="143"/>
                    </a:lnTo>
                    <a:lnTo>
                      <a:pt x="38" y="159"/>
                    </a:lnTo>
                    <a:lnTo>
                      <a:pt x="35" y="167"/>
                    </a:lnTo>
                    <a:lnTo>
                      <a:pt x="41" y="174"/>
                    </a:lnTo>
                    <a:lnTo>
                      <a:pt x="54" y="180"/>
                    </a:lnTo>
                    <a:lnTo>
                      <a:pt x="58" y="166"/>
                    </a:lnTo>
                    <a:lnTo>
                      <a:pt x="53" y="155"/>
                    </a:lnTo>
                    <a:lnTo>
                      <a:pt x="57" y="145"/>
                    </a:lnTo>
                    <a:lnTo>
                      <a:pt x="65" y="148"/>
                    </a:lnTo>
                    <a:lnTo>
                      <a:pt x="62" y="151"/>
                    </a:lnTo>
                    <a:lnTo>
                      <a:pt x="61" y="160"/>
                    </a:lnTo>
                    <a:lnTo>
                      <a:pt x="63" y="172"/>
                    </a:lnTo>
                    <a:lnTo>
                      <a:pt x="63" y="187"/>
                    </a:lnTo>
                    <a:lnTo>
                      <a:pt x="70" y="185"/>
                    </a:lnTo>
                    <a:lnTo>
                      <a:pt x="79" y="177"/>
                    </a:lnTo>
                    <a:lnTo>
                      <a:pt x="79" y="169"/>
                    </a:lnTo>
                    <a:lnTo>
                      <a:pt x="88" y="160"/>
                    </a:lnTo>
                    <a:lnTo>
                      <a:pt x="94" y="164"/>
                    </a:lnTo>
                    <a:lnTo>
                      <a:pt x="100" y="148"/>
                    </a:lnTo>
                    <a:lnTo>
                      <a:pt x="107" y="117"/>
                    </a:lnTo>
                    <a:lnTo>
                      <a:pt x="113" y="100"/>
                    </a:lnTo>
                    <a:lnTo>
                      <a:pt x="120" y="89"/>
                    </a:lnTo>
                    <a:lnTo>
                      <a:pt x="127" y="78"/>
                    </a:lnTo>
                    <a:lnTo>
                      <a:pt x="131" y="69"/>
                    </a:lnTo>
                    <a:lnTo>
                      <a:pt x="129" y="59"/>
                    </a:lnTo>
                    <a:lnTo>
                      <a:pt x="124" y="48"/>
                    </a:lnTo>
                    <a:lnTo>
                      <a:pt x="111" y="45"/>
                    </a:lnTo>
                    <a:lnTo>
                      <a:pt x="110" y="40"/>
                    </a:lnTo>
                    <a:lnTo>
                      <a:pt x="115" y="26"/>
                    </a:lnTo>
                    <a:lnTo>
                      <a:pt x="112" y="19"/>
                    </a:lnTo>
                    <a:lnTo>
                      <a:pt x="104" y="21"/>
                    </a:lnTo>
                    <a:lnTo>
                      <a:pt x="86" y="22"/>
                    </a:lnTo>
                    <a:lnTo>
                      <a:pt x="77" y="9"/>
                    </a:lnTo>
                    <a:lnTo>
                      <a:pt x="77" y="3"/>
                    </a:lnTo>
                    <a:lnTo>
                      <a:pt x="67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</p:grpSp>
        <p:sp>
          <p:nvSpPr>
            <p:cNvPr id="45" name="Freeform 111"/>
            <p:cNvSpPr>
              <a:spLocks noChangeAspect="1"/>
            </p:cNvSpPr>
            <p:nvPr/>
          </p:nvSpPr>
          <p:spPr bwMode="gray">
            <a:xfrm>
              <a:off x="8096396" y="3464118"/>
              <a:ext cx="60425" cy="99530"/>
            </a:xfrm>
            <a:custGeom>
              <a:avLst/>
              <a:gdLst/>
              <a:ahLst/>
              <a:cxnLst>
                <a:cxn ang="0">
                  <a:pos x="130" y="5"/>
                </a:cxn>
                <a:cxn ang="0">
                  <a:pos x="156" y="46"/>
                </a:cxn>
                <a:cxn ang="0">
                  <a:pos x="173" y="73"/>
                </a:cxn>
                <a:cxn ang="0">
                  <a:pos x="184" y="113"/>
                </a:cxn>
                <a:cxn ang="0">
                  <a:pos x="184" y="170"/>
                </a:cxn>
                <a:cxn ang="0">
                  <a:pos x="181" y="201"/>
                </a:cxn>
                <a:cxn ang="0">
                  <a:pos x="163" y="228"/>
                </a:cxn>
                <a:cxn ang="0">
                  <a:pos x="142" y="233"/>
                </a:cxn>
                <a:cxn ang="0">
                  <a:pos x="131" y="235"/>
                </a:cxn>
                <a:cxn ang="0">
                  <a:pos x="120" y="252"/>
                </a:cxn>
                <a:cxn ang="0">
                  <a:pos x="111" y="245"/>
                </a:cxn>
                <a:cxn ang="0">
                  <a:pos x="95" y="241"/>
                </a:cxn>
                <a:cxn ang="0">
                  <a:pos x="88" y="252"/>
                </a:cxn>
                <a:cxn ang="0">
                  <a:pos x="79" y="263"/>
                </a:cxn>
                <a:cxn ang="0">
                  <a:pos x="72" y="252"/>
                </a:cxn>
                <a:cxn ang="0">
                  <a:pos x="66" y="272"/>
                </a:cxn>
                <a:cxn ang="0">
                  <a:pos x="57" y="269"/>
                </a:cxn>
                <a:cxn ang="0">
                  <a:pos x="66" y="257"/>
                </a:cxn>
                <a:cxn ang="0">
                  <a:pos x="51" y="264"/>
                </a:cxn>
                <a:cxn ang="0">
                  <a:pos x="38" y="276"/>
                </a:cxn>
                <a:cxn ang="0">
                  <a:pos x="31" y="274"/>
                </a:cxn>
                <a:cxn ang="0">
                  <a:pos x="20" y="274"/>
                </a:cxn>
                <a:cxn ang="0">
                  <a:pos x="8" y="285"/>
                </a:cxn>
                <a:cxn ang="0">
                  <a:pos x="9" y="273"/>
                </a:cxn>
                <a:cxn ang="0">
                  <a:pos x="22" y="267"/>
                </a:cxn>
                <a:cxn ang="0">
                  <a:pos x="24" y="253"/>
                </a:cxn>
                <a:cxn ang="0">
                  <a:pos x="13" y="256"/>
                </a:cxn>
                <a:cxn ang="0">
                  <a:pos x="15" y="235"/>
                </a:cxn>
                <a:cxn ang="0">
                  <a:pos x="20" y="212"/>
                </a:cxn>
                <a:cxn ang="0">
                  <a:pos x="23" y="199"/>
                </a:cxn>
                <a:cxn ang="0">
                  <a:pos x="34" y="186"/>
                </a:cxn>
                <a:cxn ang="0">
                  <a:pos x="30" y="174"/>
                </a:cxn>
                <a:cxn ang="0">
                  <a:pos x="23" y="155"/>
                </a:cxn>
                <a:cxn ang="0">
                  <a:pos x="19" y="129"/>
                </a:cxn>
                <a:cxn ang="0">
                  <a:pos x="15" y="139"/>
                </a:cxn>
                <a:cxn ang="0">
                  <a:pos x="4" y="132"/>
                </a:cxn>
                <a:cxn ang="0">
                  <a:pos x="1" y="123"/>
                </a:cxn>
                <a:cxn ang="0">
                  <a:pos x="17" y="115"/>
                </a:cxn>
                <a:cxn ang="0">
                  <a:pos x="39" y="117"/>
                </a:cxn>
                <a:cxn ang="0">
                  <a:pos x="38" y="108"/>
                </a:cxn>
                <a:cxn ang="0">
                  <a:pos x="34" y="95"/>
                </a:cxn>
                <a:cxn ang="0">
                  <a:pos x="38" y="86"/>
                </a:cxn>
                <a:cxn ang="0">
                  <a:pos x="29" y="83"/>
                </a:cxn>
                <a:cxn ang="0">
                  <a:pos x="24" y="72"/>
                </a:cxn>
                <a:cxn ang="0">
                  <a:pos x="22" y="64"/>
                </a:cxn>
                <a:cxn ang="0">
                  <a:pos x="19" y="53"/>
                </a:cxn>
                <a:cxn ang="0">
                  <a:pos x="36" y="45"/>
                </a:cxn>
                <a:cxn ang="0">
                  <a:pos x="76" y="21"/>
                </a:cxn>
                <a:cxn ang="0">
                  <a:pos x="108" y="16"/>
                </a:cxn>
              </a:cxnLst>
              <a:rect l="0" t="0" r="r" b="b"/>
              <a:pathLst>
                <a:path w="190" h="285">
                  <a:moveTo>
                    <a:pt x="125" y="0"/>
                  </a:moveTo>
                  <a:lnTo>
                    <a:pt x="130" y="5"/>
                  </a:lnTo>
                  <a:lnTo>
                    <a:pt x="146" y="36"/>
                  </a:lnTo>
                  <a:lnTo>
                    <a:pt x="156" y="46"/>
                  </a:lnTo>
                  <a:lnTo>
                    <a:pt x="165" y="58"/>
                  </a:lnTo>
                  <a:lnTo>
                    <a:pt x="173" y="73"/>
                  </a:lnTo>
                  <a:lnTo>
                    <a:pt x="180" y="91"/>
                  </a:lnTo>
                  <a:lnTo>
                    <a:pt x="184" y="113"/>
                  </a:lnTo>
                  <a:lnTo>
                    <a:pt x="183" y="150"/>
                  </a:lnTo>
                  <a:lnTo>
                    <a:pt x="184" y="170"/>
                  </a:lnTo>
                  <a:lnTo>
                    <a:pt x="190" y="171"/>
                  </a:lnTo>
                  <a:lnTo>
                    <a:pt x="181" y="201"/>
                  </a:lnTo>
                  <a:lnTo>
                    <a:pt x="174" y="217"/>
                  </a:lnTo>
                  <a:lnTo>
                    <a:pt x="163" y="228"/>
                  </a:lnTo>
                  <a:lnTo>
                    <a:pt x="154" y="230"/>
                  </a:lnTo>
                  <a:lnTo>
                    <a:pt x="142" y="233"/>
                  </a:lnTo>
                  <a:lnTo>
                    <a:pt x="135" y="230"/>
                  </a:lnTo>
                  <a:lnTo>
                    <a:pt x="131" y="235"/>
                  </a:lnTo>
                  <a:lnTo>
                    <a:pt x="127" y="242"/>
                  </a:lnTo>
                  <a:lnTo>
                    <a:pt x="120" y="252"/>
                  </a:lnTo>
                  <a:lnTo>
                    <a:pt x="116" y="245"/>
                  </a:lnTo>
                  <a:lnTo>
                    <a:pt x="111" y="245"/>
                  </a:lnTo>
                  <a:lnTo>
                    <a:pt x="101" y="240"/>
                  </a:lnTo>
                  <a:lnTo>
                    <a:pt x="95" y="241"/>
                  </a:lnTo>
                  <a:lnTo>
                    <a:pt x="83" y="246"/>
                  </a:lnTo>
                  <a:lnTo>
                    <a:pt x="88" y="252"/>
                  </a:lnTo>
                  <a:lnTo>
                    <a:pt x="86" y="260"/>
                  </a:lnTo>
                  <a:lnTo>
                    <a:pt x="79" y="263"/>
                  </a:lnTo>
                  <a:lnTo>
                    <a:pt x="76" y="256"/>
                  </a:lnTo>
                  <a:lnTo>
                    <a:pt x="72" y="252"/>
                  </a:lnTo>
                  <a:lnTo>
                    <a:pt x="71" y="268"/>
                  </a:lnTo>
                  <a:lnTo>
                    <a:pt x="66" y="272"/>
                  </a:lnTo>
                  <a:lnTo>
                    <a:pt x="61" y="273"/>
                  </a:lnTo>
                  <a:lnTo>
                    <a:pt x="57" y="269"/>
                  </a:lnTo>
                  <a:lnTo>
                    <a:pt x="65" y="263"/>
                  </a:lnTo>
                  <a:lnTo>
                    <a:pt x="66" y="257"/>
                  </a:lnTo>
                  <a:lnTo>
                    <a:pt x="60" y="260"/>
                  </a:lnTo>
                  <a:lnTo>
                    <a:pt x="51" y="264"/>
                  </a:lnTo>
                  <a:lnTo>
                    <a:pt x="41" y="276"/>
                  </a:lnTo>
                  <a:lnTo>
                    <a:pt x="38" y="276"/>
                  </a:lnTo>
                  <a:lnTo>
                    <a:pt x="35" y="269"/>
                  </a:lnTo>
                  <a:lnTo>
                    <a:pt x="31" y="274"/>
                  </a:lnTo>
                  <a:lnTo>
                    <a:pt x="22" y="283"/>
                  </a:lnTo>
                  <a:lnTo>
                    <a:pt x="20" y="274"/>
                  </a:lnTo>
                  <a:lnTo>
                    <a:pt x="12" y="277"/>
                  </a:lnTo>
                  <a:lnTo>
                    <a:pt x="8" y="285"/>
                  </a:lnTo>
                  <a:lnTo>
                    <a:pt x="4" y="282"/>
                  </a:lnTo>
                  <a:lnTo>
                    <a:pt x="9" y="273"/>
                  </a:lnTo>
                  <a:lnTo>
                    <a:pt x="11" y="263"/>
                  </a:lnTo>
                  <a:lnTo>
                    <a:pt x="22" y="267"/>
                  </a:lnTo>
                  <a:lnTo>
                    <a:pt x="20" y="261"/>
                  </a:lnTo>
                  <a:lnTo>
                    <a:pt x="24" y="253"/>
                  </a:lnTo>
                  <a:lnTo>
                    <a:pt x="19" y="250"/>
                  </a:lnTo>
                  <a:lnTo>
                    <a:pt x="13" y="256"/>
                  </a:lnTo>
                  <a:lnTo>
                    <a:pt x="11" y="247"/>
                  </a:lnTo>
                  <a:lnTo>
                    <a:pt x="15" y="235"/>
                  </a:lnTo>
                  <a:lnTo>
                    <a:pt x="15" y="225"/>
                  </a:lnTo>
                  <a:lnTo>
                    <a:pt x="20" y="212"/>
                  </a:lnTo>
                  <a:lnTo>
                    <a:pt x="27" y="203"/>
                  </a:lnTo>
                  <a:lnTo>
                    <a:pt x="23" y="199"/>
                  </a:lnTo>
                  <a:lnTo>
                    <a:pt x="31" y="193"/>
                  </a:lnTo>
                  <a:lnTo>
                    <a:pt x="34" y="186"/>
                  </a:lnTo>
                  <a:lnTo>
                    <a:pt x="30" y="180"/>
                  </a:lnTo>
                  <a:lnTo>
                    <a:pt x="30" y="174"/>
                  </a:lnTo>
                  <a:lnTo>
                    <a:pt x="24" y="167"/>
                  </a:lnTo>
                  <a:lnTo>
                    <a:pt x="23" y="155"/>
                  </a:lnTo>
                  <a:lnTo>
                    <a:pt x="20" y="143"/>
                  </a:lnTo>
                  <a:lnTo>
                    <a:pt x="19" y="129"/>
                  </a:lnTo>
                  <a:lnTo>
                    <a:pt x="13" y="127"/>
                  </a:lnTo>
                  <a:lnTo>
                    <a:pt x="15" y="139"/>
                  </a:lnTo>
                  <a:lnTo>
                    <a:pt x="11" y="14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1" y="123"/>
                  </a:lnTo>
                  <a:lnTo>
                    <a:pt x="8" y="115"/>
                  </a:lnTo>
                  <a:lnTo>
                    <a:pt x="17" y="115"/>
                  </a:lnTo>
                  <a:lnTo>
                    <a:pt x="29" y="110"/>
                  </a:lnTo>
                  <a:lnTo>
                    <a:pt x="39" y="117"/>
                  </a:lnTo>
                  <a:lnTo>
                    <a:pt x="43" y="118"/>
                  </a:lnTo>
                  <a:lnTo>
                    <a:pt x="38" y="108"/>
                  </a:lnTo>
                  <a:lnTo>
                    <a:pt x="38" y="100"/>
                  </a:lnTo>
                  <a:lnTo>
                    <a:pt x="34" y="95"/>
                  </a:lnTo>
                  <a:lnTo>
                    <a:pt x="35" y="89"/>
                  </a:lnTo>
                  <a:lnTo>
                    <a:pt x="38" y="86"/>
                  </a:lnTo>
                  <a:lnTo>
                    <a:pt x="31" y="81"/>
                  </a:lnTo>
                  <a:lnTo>
                    <a:pt x="29" y="83"/>
                  </a:lnTo>
                  <a:lnTo>
                    <a:pt x="25" y="77"/>
                  </a:lnTo>
                  <a:lnTo>
                    <a:pt x="24" y="72"/>
                  </a:lnTo>
                  <a:lnTo>
                    <a:pt x="28" y="72"/>
                  </a:lnTo>
                  <a:lnTo>
                    <a:pt x="22" y="64"/>
                  </a:lnTo>
                  <a:lnTo>
                    <a:pt x="19" y="58"/>
                  </a:lnTo>
                  <a:lnTo>
                    <a:pt x="19" y="53"/>
                  </a:lnTo>
                  <a:lnTo>
                    <a:pt x="23" y="56"/>
                  </a:lnTo>
                  <a:lnTo>
                    <a:pt x="36" y="45"/>
                  </a:lnTo>
                  <a:lnTo>
                    <a:pt x="58" y="22"/>
                  </a:lnTo>
                  <a:lnTo>
                    <a:pt x="76" y="21"/>
                  </a:lnTo>
                  <a:lnTo>
                    <a:pt x="93" y="22"/>
                  </a:lnTo>
                  <a:lnTo>
                    <a:pt x="108" y="16"/>
                  </a:lnTo>
                  <a:lnTo>
                    <a:pt x="125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46" name="Freeform 112"/>
            <p:cNvSpPr>
              <a:spLocks noChangeAspect="1"/>
            </p:cNvSpPr>
            <p:nvPr/>
          </p:nvSpPr>
          <p:spPr bwMode="gray">
            <a:xfrm>
              <a:off x="7428538" y="3090445"/>
              <a:ext cx="551779" cy="296843"/>
            </a:xfrm>
            <a:custGeom>
              <a:avLst/>
              <a:gdLst/>
              <a:ahLst/>
              <a:cxnLst>
                <a:cxn ang="0">
                  <a:pos x="46" y="227"/>
                </a:cxn>
                <a:cxn ang="0">
                  <a:pos x="129" y="180"/>
                </a:cxn>
                <a:cxn ang="0">
                  <a:pos x="243" y="132"/>
                </a:cxn>
                <a:cxn ang="0">
                  <a:pos x="313" y="149"/>
                </a:cxn>
                <a:cxn ang="0">
                  <a:pos x="387" y="187"/>
                </a:cxn>
                <a:cxn ang="0">
                  <a:pos x="508" y="190"/>
                </a:cxn>
                <a:cxn ang="0">
                  <a:pos x="552" y="160"/>
                </a:cxn>
                <a:cxn ang="0">
                  <a:pos x="554" y="99"/>
                </a:cxn>
                <a:cxn ang="0">
                  <a:pos x="582" y="33"/>
                </a:cxn>
                <a:cxn ang="0">
                  <a:pos x="645" y="6"/>
                </a:cxn>
                <a:cxn ang="0">
                  <a:pos x="731" y="47"/>
                </a:cxn>
                <a:cxn ang="0">
                  <a:pos x="787" y="103"/>
                </a:cxn>
                <a:cxn ang="0">
                  <a:pos x="830" y="154"/>
                </a:cxn>
                <a:cxn ang="0">
                  <a:pos x="944" y="132"/>
                </a:cxn>
                <a:cxn ang="0">
                  <a:pos x="1034" y="169"/>
                </a:cxn>
                <a:cxn ang="0">
                  <a:pos x="1104" y="201"/>
                </a:cxn>
                <a:cxn ang="0">
                  <a:pos x="1200" y="249"/>
                </a:cxn>
                <a:cxn ang="0">
                  <a:pos x="1317" y="237"/>
                </a:cxn>
                <a:cxn ang="0">
                  <a:pos x="1439" y="179"/>
                </a:cxn>
                <a:cxn ang="0">
                  <a:pos x="1528" y="199"/>
                </a:cxn>
                <a:cxn ang="0">
                  <a:pos x="1565" y="195"/>
                </a:cxn>
                <a:cxn ang="0">
                  <a:pos x="1525" y="255"/>
                </a:cxn>
                <a:cxn ang="0">
                  <a:pos x="1517" y="325"/>
                </a:cxn>
                <a:cxn ang="0">
                  <a:pos x="1570" y="391"/>
                </a:cxn>
                <a:cxn ang="0">
                  <a:pos x="1667" y="348"/>
                </a:cxn>
                <a:cxn ang="0">
                  <a:pos x="1721" y="415"/>
                </a:cxn>
                <a:cxn ang="0">
                  <a:pos x="1734" y="458"/>
                </a:cxn>
                <a:cxn ang="0">
                  <a:pos x="1663" y="461"/>
                </a:cxn>
                <a:cxn ang="0">
                  <a:pos x="1576" y="482"/>
                </a:cxn>
                <a:cxn ang="0">
                  <a:pos x="1489" y="551"/>
                </a:cxn>
                <a:cxn ang="0">
                  <a:pos x="1411" y="611"/>
                </a:cxn>
                <a:cxn ang="0">
                  <a:pos x="1344" y="588"/>
                </a:cxn>
                <a:cxn ang="0">
                  <a:pos x="1298" y="646"/>
                </a:cxn>
                <a:cxn ang="0">
                  <a:pos x="1255" y="752"/>
                </a:cxn>
                <a:cxn ang="0">
                  <a:pos x="1163" y="789"/>
                </a:cxn>
                <a:cxn ang="0">
                  <a:pos x="1088" y="788"/>
                </a:cxn>
                <a:cxn ang="0">
                  <a:pos x="1014" y="815"/>
                </a:cxn>
                <a:cxn ang="0">
                  <a:pos x="942" y="847"/>
                </a:cxn>
                <a:cxn ang="0">
                  <a:pos x="903" y="834"/>
                </a:cxn>
                <a:cxn ang="0">
                  <a:pos x="801" y="805"/>
                </a:cxn>
                <a:cxn ang="0">
                  <a:pos x="744" y="767"/>
                </a:cxn>
                <a:cxn ang="0">
                  <a:pos x="527" y="766"/>
                </a:cxn>
                <a:cxn ang="0">
                  <a:pos x="463" y="730"/>
                </a:cxn>
                <a:cxn ang="0">
                  <a:pos x="421" y="659"/>
                </a:cxn>
                <a:cxn ang="0">
                  <a:pos x="353" y="625"/>
                </a:cxn>
                <a:cxn ang="0">
                  <a:pos x="280" y="590"/>
                </a:cxn>
                <a:cxn ang="0">
                  <a:pos x="211" y="584"/>
                </a:cxn>
                <a:cxn ang="0">
                  <a:pos x="158" y="552"/>
                </a:cxn>
                <a:cxn ang="0">
                  <a:pos x="163" y="470"/>
                </a:cxn>
                <a:cxn ang="0">
                  <a:pos x="124" y="372"/>
                </a:cxn>
                <a:cxn ang="0">
                  <a:pos x="70" y="369"/>
                </a:cxn>
                <a:cxn ang="0">
                  <a:pos x="3" y="288"/>
                </a:cxn>
              </a:cxnLst>
              <a:rect l="0" t="0" r="r" b="b"/>
              <a:pathLst>
                <a:path w="1733" h="845">
                  <a:moveTo>
                    <a:pt x="0" y="273"/>
                  </a:moveTo>
                  <a:lnTo>
                    <a:pt x="12" y="251"/>
                  </a:lnTo>
                  <a:lnTo>
                    <a:pt x="28" y="234"/>
                  </a:lnTo>
                  <a:lnTo>
                    <a:pt x="46" y="227"/>
                  </a:lnTo>
                  <a:lnTo>
                    <a:pt x="65" y="221"/>
                  </a:lnTo>
                  <a:lnTo>
                    <a:pt x="84" y="208"/>
                  </a:lnTo>
                  <a:lnTo>
                    <a:pt x="104" y="192"/>
                  </a:lnTo>
                  <a:lnTo>
                    <a:pt x="129" y="180"/>
                  </a:lnTo>
                  <a:lnTo>
                    <a:pt x="154" y="158"/>
                  </a:lnTo>
                  <a:lnTo>
                    <a:pt x="195" y="146"/>
                  </a:lnTo>
                  <a:lnTo>
                    <a:pt x="220" y="135"/>
                  </a:lnTo>
                  <a:lnTo>
                    <a:pt x="243" y="132"/>
                  </a:lnTo>
                  <a:lnTo>
                    <a:pt x="265" y="136"/>
                  </a:lnTo>
                  <a:lnTo>
                    <a:pt x="281" y="142"/>
                  </a:lnTo>
                  <a:lnTo>
                    <a:pt x="294" y="153"/>
                  </a:lnTo>
                  <a:lnTo>
                    <a:pt x="313" y="149"/>
                  </a:lnTo>
                  <a:lnTo>
                    <a:pt x="334" y="148"/>
                  </a:lnTo>
                  <a:lnTo>
                    <a:pt x="351" y="151"/>
                  </a:lnTo>
                  <a:lnTo>
                    <a:pt x="382" y="180"/>
                  </a:lnTo>
                  <a:lnTo>
                    <a:pt x="387" y="187"/>
                  </a:lnTo>
                  <a:lnTo>
                    <a:pt x="404" y="190"/>
                  </a:lnTo>
                  <a:lnTo>
                    <a:pt x="451" y="183"/>
                  </a:lnTo>
                  <a:lnTo>
                    <a:pt x="464" y="189"/>
                  </a:lnTo>
                  <a:lnTo>
                    <a:pt x="508" y="190"/>
                  </a:lnTo>
                  <a:lnTo>
                    <a:pt x="546" y="185"/>
                  </a:lnTo>
                  <a:lnTo>
                    <a:pt x="556" y="180"/>
                  </a:lnTo>
                  <a:lnTo>
                    <a:pt x="556" y="172"/>
                  </a:lnTo>
                  <a:lnTo>
                    <a:pt x="552" y="160"/>
                  </a:lnTo>
                  <a:lnTo>
                    <a:pt x="555" y="146"/>
                  </a:lnTo>
                  <a:lnTo>
                    <a:pt x="565" y="130"/>
                  </a:lnTo>
                  <a:lnTo>
                    <a:pt x="565" y="114"/>
                  </a:lnTo>
                  <a:lnTo>
                    <a:pt x="554" y="99"/>
                  </a:lnTo>
                  <a:lnTo>
                    <a:pt x="550" y="81"/>
                  </a:lnTo>
                  <a:lnTo>
                    <a:pt x="552" y="63"/>
                  </a:lnTo>
                  <a:lnTo>
                    <a:pt x="568" y="49"/>
                  </a:lnTo>
                  <a:lnTo>
                    <a:pt x="582" y="33"/>
                  </a:lnTo>
                  <a:lnTo>
                    <a:pt x="600" y="18"/>
                  </a:lnTo>
                  <a:lnTo>
                    <a:pt x="611" y="1"/>
                  </a:lnTo>
                  <a:lnTo>
                    <a:pt x="625" y="0"/>
                  </a:lnTo>
                  <a:lnTo>
                    <a:pt x="645" y="6"/>
                  </a:lnTo>
                  <a:lnTo>
                    <a:pt x="659" y="17"/>
                  </a:lnTo>
                  <a:lnTo>
                    <a:pt x="696" y="27"/>
                  </a:lnTo>
                  <a:lnTo>
                    <a:pt x="707" y="41"/>
                  </a:lnTo>
                  <a:lnTo>
                    <a:pt x="731" y="47"/>
                  </a:lnTo>
                  <a:lnTo>
                    <a:pt x="755" y="50"/>
                  </a:lnTo>
                  <a:lnTo>
                    <a:pt x="772" y="57"/>
                  </a:lnTo>
                  <a:lnTo>
                    <a:pt x="782" y="73"/>
                  </a:lnTo>
                  <a:lnTo>
                    <a:pt x="787" y="103"/>
                  </a:lnTo>
                  <a:lnTo>
                    <a:pt x="787" y="124"/>
                  </a:lnTo>
                  <a:lnTo>
                    <a:pt x="792" y="124"/>
                  </a:lnTo>
                  <a:lnTo>
                    <a:pt x="807" y="138"/>
                  </a:lnTo>
                  <a:lnTo>
                    <a:pt x="830" y="154"/>
                  </a:lnTo>
                  <a:lnTo>
                    <a:pt x="864" y="165"/>
                  </a:lnTo>
                  <a:lnTo>
                    <a:pt x="892" y="159"/>
                  </a:lnTo>
                  <a:lnTo>
                    <a:pt x="919" y="144"/>
                  </a:lnTo>
                  <a:lnTo>
                    <a:pt x="944" y="132"/>
                  </a:lnTo>
                  <a:lnTo>
                    <a:pt x="975" y="140"/>
                  </a:lnTo>
                  <a:lnTo>
                    <a:pt x="1023" y="157"/>
                  </a:lnTo>
                  <a:lnTo>
                    <a:pt x="1033" y="169"/>
                  </a:lnTo>
                  <a:lnTo>
                    <a:pt x="1034" y="169"/>
                  </a:lnTo>
                  <a:lnTo>
                    <a:pt x="1040" y="174"/>
                  </a:lnTo>
                  <a:lnTo>
                    <a:pt x="1062" y="186"/>
                  </a:lnTo>
                  <a:lnTo>
                    <a:pt x="1083" y="192"/>
                  </a:lnTo>
                  <a:lnTo>
                    <a:pt x="1104" y="201"/>
                  </a:lnTo>
                  <a:lnTo>
                    <a:pt x="1118" y="221"/>
                  </a:lnTo>
                  <a:lnTo>
                    <a:pt x="1145" y="237"/>
                  </a:lnTo>
                  <a:lnTo>
                    <a:pt x="1177" y="242"/>
                  </a:lnTo>
                  <a:lnTo>
                    <a:pt x="1200" y="249"/>
                  </a:lnTo>
                  <a:lnTo>
                    <a:pt x="1218" y="250"/>
                  </a:lnTo>
                  <a:lnTo>
                    <a:pt x="1243" y="248"/>
                  </a:lnTo>
                  <a:lnTo>
                    <a:pt x="1261" y="256"/>
                  </a:lnTo>
                  <a:lnTo>
                    <a:pt x="1317" y="237"/>
                  </a:lnTo>
                  <a:lnTo>
                    <a:pt x="1351" y="229"/>
                  </a:lnTo>
                  <a:lnTo>
                    <a:pt x="1378" y="224"/>
                  </a:lnTo>
                  <a:lnTo>
                    <a:pt x="1415" y="195"/>
                  </a:lnTo>
                  <a:lnTo>
                    <a:pt x="1439" y="179"/>
                  </a:lnTo>
                  <a:lnTo>
                    <a:pt x="1464" y="170"/>
                  </a:lnTo>
                  <a:lnTo>
                    <a:pt x="1489" y="180"/>
                  </a:lnTo>
                  <a:lnTo>
                    <a:pt x="1507" y="195"/>
                  </a:lnTo>
                  <a:lnTo>
                    <a:pt x="1528" y="199"/>
                  </a:lnTo>
                  <a:lnTo>
                    <a:pt x="1545" y="195"/>
                  </a:lnTo>
                  <a:lnTo>
                    <a:pt x="1559" y="187"/>
                  </a:lnTo>
                  <a:lnTo>
                    <a:pt x="1565" y="190"/>
                  </a:lnTo>
                  <a:lnTo>
                    <a:pt x="1565" y="195"/>
                  </a:lnTo>
                  <a:lnTo>
                    <a:pt x="1556" y="203"/>
                  </a:lnTo>
                  <a:lnTo>
                    <a:pt x="1540" y="232"/>
                  </a:lnTo>
                  <a:lnTo>
                    <a:pt x="1529" y="246"/>
                  </a:lnTo>
                  <a:lnTo>
                    <a:pt x="1525" y="255"/>
                  </a:lnTo>
                  <a:lnTo>
                    <a:pt x="1525" y="271"/>
                  </a:lnTo>
                  <a:lnTo>
                    <a:pt x="1528" y="288"/>
                  </a:lnTo>
                  <a:lnTo>
                    <a:pt x="1525" y="308"/>
                  </a:lnTo>
                  <a:lnTo>
                    <a:pt x="1517" y="325"/>
                  </a:lnTo>
                  <a:lnTo>
                    <a:pt x="1517" y="347"/>
                  </a:lnTo>
                  <a:lnTo>
                    <a:pt x="1520" y="367"/>
                  </a:lnTo>
                  <a:lnTo>
                    <a:pt x="1529" y="382"/>
                  </a:lnTo>
                  <a:lnTo>
                    <a:pt x="1570" y="391"/>
                  </a:lnTo>
                  <a:lnTo>
                    <a:pt x="1595" y="389"/>
                  </a:lnTo>
                  <a:lnTo>
                    <a:pt x="1620" y="382"/>
                  </a:lnTo>
                  <a:lnTo>
                    <a:pt x="1638" y="369"/>
                  </a:lnTo>
                  <a:lnTo>
                    <a:pt x="1667" y="348"/>
                  </a:lnTo>
                  <a:lnTo>
                    <a:pt x="1673" y="362"/>
                  </a:lnTo>
                  <a:lnTo>
                    <a:pt x="1686" y="377"/>
                  </a:lnTo>
                  <a:lnTo>
                    <a:pt x="1715" y="401"/>
                  </a:lnTo>
                  <a:lnTo>
                    <a:pt x="1721" y="415"/>
                  </a:lnTo>
                  <a:lnTo>
                    <a:pt x="1719" y="428"/>
                  </a:lnTo>
                  <a:lnTo>
                    <a:pt x="1719" y="437"/>
                  </a:lnTo>
                  <a:lnTo>
                    <a:pt x="1733" y="445"/>
                  </a:lnTo>
                  <a:lnTo>
                    <a:pt x="1734" y="458"/>
                  </a:lnTo>
                  <a:lnTo>
                    <a:pt x="1724" y="464"/>
                  </a:lnTo>
                  <a:lnTo>
                    <a:pt x="1707" y="461"/>
                  </a:lnTo>
                  <a:lnTo>
                    <a:pt x="1688" y="456"/>
                  </a:lnTo>
                  <a:lnTo>
                    <a:pt x="1663" y="461"/>
                  </a:lnTo>
                  <a:lnTo>
                    <a:pt x="1638" y="465"/>
                  </a:lnTo>
                  <a:lnTo>
                    <a:pt x="1613" y="464"/>
                  </a:lnTo>
                  <a:lnTo>
                    <a:pt x="1592" y="468"/>
                  </a:lnTo>
                  <a:lnTo>
                    <a:pt x="1576" y="482"/>
                  </a:lnTo>
                  <a:lnTo>
                    <a:pt x="1525" y="538"/>
                  </a:lnTo>
                  <a:lnTo>
                    <a:pt x="1507" y="550"/>
                  </a:lnTo>
                  <a:lnTo>
                    <a:pt x="1500" y="552"/>
                  </a:lnTo>
                  <a:lnTo>
                    <a:pt x="1489" y="551"/>
                  </a:lnTo>
                  <a:lnTo>
                    <a:pt x="1477" y="551"/>
                  </a:lnTo>
                  <a:lnTo>
                    <a:pt x="1457" y="573"/>
                  </a:lnTo>
                  <a:lnTo>
                    <a:pt x="1438" y="594"/>
                  </a:lnTo>
                  <a:lnTo>
                    <a:pt x="1411" y="611"/>
                  </a:lnTo>
                  <a:lnTo>
                    <a:pt x="1393" y="611"/>
                  </a:lnTo>
                  <a:lnTo>
                    <a:pt x="1372" y="606"/>
                  </a:lnTo>
                  <a:lnTo>
                    <a:pt x="1360" y="593"/>
                  </a:lnTo>
                  <a:lnTo>
                    <a:pt x="1344" y="588"/>
                  </a:lnTo>
                  <a:lnTo>
                    <a:pt x="1323" y="594"/>
                  </a:lnTo>
                  <a:lnTo>
                    <a:pt x="1314" y="611"/>
                  </a:lnTo>
                  <a:lnTo>
                    <a:pt x="1301" y="631"/>
                  </a:lnTo>
                  <a:lnTo>
                    <a:pt x="1298" y="646"/>
                  </a:lnTo>
                  <a:lnTo>
                    <a:pt x="1320" y="675"/>
                  </a:lnTo>
                  <a:lnTo>
                    <a:pt x="1323" y="689"/>
                  </a:lnTo>
                  <a:lnTo>
                    <a:pt x="1265" y="738"/>
                  </a:lnTo>
                  <a:lnTo>
                    <a:pt x="1255" y="752"/>
                  </a:lnTo>
                  <a:lnTo>
                    <a:pt x="1235" y="767"/>
                  </a:lnTo>
                  <a:lnTo>
                    <a:pt x="1221" y="776"/>
                  </a:lnTo>
                  <a:lnTo>
                    <a:pt x="1191" y="787"/>
                  </a:lnTo>
                  <a:lnTo>
                    <a:pt x="1163" y="789"/>
                  </a:lnTo>
                  <a:lnTo>
                    <a:pt x="1158" y="792"/>
                  </a:lnTo>
                  <a:lnTo>
                    <a:pt x="1130" y="783"/>
                  </a:lnTo>
                  <a:lnTo>
                    <a:pt x="1114" y="789"/>
                  </a:lnTo>
                  <a:lnTo>
                    <a:pt x="1088" y="788"/>
                  </a:lnTo>
                  <a:lnTo>
                    <a:pt x="1070" y="795"/>
                  </a:lnTo>
                  <a:lnTo>
                    <a:pt x="1033" y="802"/>
                  </a:lnTo>
                  <a:lnTo>
                    <a:pt x="1022" y="805"/>
                  </a:lnTo>
                  <a:lnTo>
                    <a:pt x="1014" y="815"/>
                  </a:lnTo>
                  <a:lnTo>
                    <a:pt x="1003" y="819"/>
                  </a:lnTo>
                  <a:lnTo>
                    <a:pt x="990" y="821"/>
                  </a:lnTo>
                  <a:lnTo>
                    <a:pt x="960" y="832"/>
                  </a:lnTo>
                  <a:lnTo>
                    <a:pt x="942" y="847"/>
                  </a:lnTo>
                  <a:lnTo>
                    <a:pt x="932" y="848"/>
                  </a:lnTo>
                  <a:lnTo>
                    <a:pt x="920" y="845"/>
                  </a:lnTo>
                  <a:lnTo>
                    <a:pt x="909" y="836"/>
                  </a:lnTo>
                  <a:lnTo>
                    <a:pt x="903" y="834"/>
                  </a:lnTo>
                  <a:lnTo>
                    <a:pt x="874" y="832"/>
                  </a:lnTo>
                  <a:lnTo>
                    <a:pt x="852" y="825"/>
                  </a:lnTo>
                  <a:lnTo>
                    <a:pt x="834" y="815"/>
                  </a:lnTo>
                  <a:lnTo>
                    <a:pt x="801" y="805"/>
                  </a:lnTo>
                  <a:lnTo>
                    <a:pt x="778" y="795"/>
                  </a:lnTo>
                  <a:lnTo>
                    <a:pt x="763" y="782"/>
                  </a:lnTo>
                  <a:lnTo>
                    <a:pt x="754" y="771"/>
                  </a:lnTo>
                  <a:lnTo>
                    <a:pt x="744" y="767"/>
                  </a:lnTo>
                  <a:lnTo>
                    <a:pt x="710" y="756"/>
                  </a:lnTo>
                  <a:lnTo>
                    <a:pt x="693" y="754"/>
                  </a:lnTo>
                  <a:lnTo>
                    <a:pt x="675" y="756"/>
                  </a:lnTo>
                  <a:lnTo>
                    <a:pt x="527" y="766"/>
                  </a:lnTo>
                  <a:lnTo>
                    <a:pt x="506" y="766"/>
                  </a:lnTo>
                  <a:lnTo>
                    <a:pt x="492" y="760"/>
                  </a:lnTo>
                  <a:lnTo>
                    <a:pt x="476" y="746"/>
                  </a:lnTo>
                  <a:lnTo>
                    <a:pt x="463" y="730"/>
                  </a:lnTo>
                  <a:lnTo>
                    <a:pt x="451" y="716"/>
                  </a:lnTo>
                  <a:lnTo>
                    <a:pt x="439" y="696"/>
                  </a:lnTo>
                  <a:lnTo>
                    <a:pt x="432" y="676"/>
                  </a:lnTo>
                  <a:lnTo>
                    <a:pt x="421" y="659"/>
                  </a:lnTo>
                  <a:lnTo>
                    <a:pt x="410" y="644"/>
                  </a:lnTo>
                  <a:lnTo>
                    <a:pt x="398" y="643"/>
                  </a:lnTo>
                  <a:lnTo>
                    <a:pt x="385" y="633"/>
                  </a:lnTo>
                  <a:lnTo>
                    <a:pt x="353" y="625"/>
                  </a:lnTo>
                  <a:lnTo>
                    <a:pt x="337" y="616"/>
                  </a:lnTo>
                  <a:lnTo>
                    <a:pt x="322" y="606"/>
                  </a:lnTo>
                  <a:lnTo>
                    <a:pt x="292" y="596"/>
                  </a:lnTo>
                  <a:lnTo>
                    <a:pt x="280" y="590"/>
                  </a:lnTo>
                  <a:lnTo>
                    <a:pt x="267" y="590"/>
                  </a:lnTo>
                  <a:lnTo>
                    <a:pt x="254" y="595"/>
                  </a:lnTo>
                  <a:lnTo>
                    <a:pt x="245" y="595"/>
                  </a:lnTo>
                  <a:lnTo>
                    <a:pt x="211" y="584"/>
                  </a:lnTo>
                  <a:lnTo>
                    <a:pt x="180" y="581"/>
                  </a:lnTo>
                  <a:lnTo>
                    <a:pt x="164" y="574"/>
                  </a:lnTo>
                  <a:lnTo>
                    <a:pt x="157" y="567"/>
                  </a:lnTo>
                  <a:lnTo>
                    <a:pt x="158" y="552"/>
                  </a:lnTo>
                  <a:lnTo>
                    <a:pt x="166" y="536"/>
                  </a:lnTo>
                  <a:lnTo>
                    <a:pt x="167" y="517"/>
                  </a:lnTo>
                  <a:lnTo>
                    <a:pt x="163" y="498"/>
                  </a:lnTo>
                  <a:lnTo>
                    <a:pt x="163" y="470"/>
                  </a:lnTo>
                  <a:lnTo>
                    <a:pt x="151" y="427"/>
                  </a:lnTo>
                  <a:lnTo>
                    <a:pt x="141" y="410"/>
                  </a:lnTo>
                  <a:lnTo>
                    <a:pt x="134" y="388"/>
                  </a:lnTo>
                  <a:lnTo>
                    <a:pt x="124" y="372"/>
                  </a:lnTo>
                  <a:lnTo>
                    <a:pt x="108" y="369"/>
                  </a:lnTo>
                  <a:lnTo>
                    <a:pt x="93" y="361"/>
                  </a:lnTo>
                  <a:lnTo>
                    <a:pt x="77" y="358"/>
                  </a:lnTo>
                  <a:lnTo>
                    <a:pt x="70" y="369"/>
                  </a:lnTo>
                  <a:lnTo>
                    <a:pt x="55" y="358"/>
                  </a:lnTo>
                  <a:lnTo>
                    <a:pt x="44" y="337"/>
                  </a:lnTo>
                  <a:lnTo>
                    <a:pt x="14" y="314"/>
                  </a:lnTo>
                  <a:lnTo>
                    <a:pt x="3" y="288"/>
                  </a:lnTo>
                  <a:lnTo>
                    <a:pt x="0" y="277"/>
                  </a:lnTo>
                  <a:lnTo>
                    <a:pt x="0" y="2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47" name="Freeform 113"/>
            <p:cNvSpPr>
              <a:spLocks noChangeAspect="1"/>
            </p:cNvSpPr>
            <p:nvPr/>
          </p:nvSpPr>
          <p:spPr bwMode="gray">
            <a:xfrm>
              <a:off x="7791090" y="3867474"/>
              <a:ext cx="41344" cy="40162"/>
            </a:xfrm>
            <a:custGeom>
              <a:avLst/>
              <a:gdLst/>
              <a:ahLst/>
              <a:cxnLst>
                <a:cxn ang="0">
                  <a:pos x="102" y="5"/>
                </a:cxn>
                <a:cxn ang="0">
                  <a:pos x="100" y="5"/>
                </a:cxn>
                <a:cxn ang="0">
                  <a:pos x="105" y="0"/>
                </a:cxn>
                <a:cxn ang="0">
                  <a:pos x="112" y="5"/>
                </a:cxn>
                <a:cxn ang="0">
                  <a:pos x="123" y="8"/>
                </a:cxn>
                <a:cxn ang="0">
                  <a:pos x="127" y="20"/>
                </a:cxn>
                <a:cxn ang="0">
                  <a:pos x="127" y="27"/>
                </a:cxn>
                <a:cxn ang="0">
                  <a:pos x="117" y="37"/>
                </a:cxn>
                <a:cxn ang="0">
                  <a:pos x="105" y="61"/>
                </a:cxn>
                <a:cxn ang="0">
                  <a:pos x="100" y="79"/>
                </a:cxn>
                <a:cxn ang="0">
                  <a:pos x="91" y="85"/>
                </a:cxn>
                <a:cxn ang="0">
                  <a:pos x="78" y="99"/>
                </a:cxn>
                <a:cxn ang="0">
                  <a:pos x="66" y="101"/>
                </a:cxn>
                <a:cxn ang="0">
                  <a:pos x="59" y="113"/>
                </a:cxn>
                <a:cxn ang="0">
                  <a:pos x="53" y="112"/>
                </a:cxn>
                <a:cxn ang="0">
                  <a:pos x="48" y="109"/>
                </a:cxn>
                <a:cxn ang="0">
                  <a:pos x="11" y="97"/>
                </a:cxn>
                <a:cxn ang="0">
                  <a:pos x="3" y="86"/>
                </a:cxn>
                <a:cxn ang="0">
                  <a:pos x="0" y="50"/>
                </a:cxn>
                <a:cxn ang="0">
                  <a:pos x="6" y="45"/>
                </a:cxn>
                <a:cxn ang="0">
                  <a:pos x="19" y="31"/>
                </a:cxn>
                <a:cxn ang="0">
                  <a:pos x="28" y="24"/>
                </a:cxn>
                <a:cxn ang="0">
                  <a:pos x="30" y="20"/>
                </a:cxn>
                <a:cxn ang="0">
                  <a:pos x="37" y="15"/>
                </a:cxn>
                <a:cxn ang="0">
                  <a:pos x="49" y="10"/>
                </a:cxn>
                <a:cxn ang="0">
                  <a:pos x="78" y="9"/>
                </a:cxn>
                <a:cxn ang="0">
                  <a:pos x="85" y="4"/>
                </a:cxn>
                <a:cxn ang="0">
                  <a:pos x="92" y="5"/>
                </a:cxn>
                <a:cxn ang="0">
                  <a:pos x="97" y="4"/>
                </a:cxn>
                <a:cxn ang="0">
                  <a:pos x="102" y="5"/>
                </a:cxn>
              </a:cxnLst>
              <a:rect l="0" t="0" r="r" b="b"/>
              <a:pathLst>
                <a:path w="127" h="113">
                  <a:moveTo>
                    <a:pt x="102" y="5"/>
                  </a:moveTo>
                  <a:lnTo>
                    <a:pt x="100" y="5"/>
                  </a:lnTo>
                  <a:lnTo>
                    <a:pt x="105" y="0"/>
                  </a:lnTo>
                  <a:lnTo>
                    <a:pt x="112" y="5"/>
                  </a:lnTo>
                  <a:lnTo>
                    <a:pt x="123" y="8"/>
                  </a:lnTo>
                  <a:lnTo>
                    <a:pt x="127" y="20"/>
                  </a:lnTo>
                  <a:lnTo>
                    <a:pt x="127" y="27"/>
                  </a:lnTo>
                  <a:lnTo>
                    <a:pt x="117" y="37"/>
                  </a:lnTo>
                  <a:lnTo>
                    <a:pt x="105" y="61"/>
                  </a:lnTo>
                  <a:lnTo>
                    <a:pt x="100" y="79"/>
                  </a:lnTo>
                  <a:lnTo>
                    <a:pt x="91" y="85"/>
                  </a:lnTo>
                  <a:lnTo>
                    <a:pt x="78" y="99"/>
                  </a:lnTo>
                  <a:lnTo>
                    <a:pt x="66" y="101"/>
                  </a:lnTo>
                  <a:lnTo>
                    <a:pt x="59" y="113"/>
                  </a:lnTo>
                  <a:lnTo>
                    <a:pt x="53" y="112"/>
                  </a:lnTo>
                  <a:lnTo>
                    <a:pt x="48" y="109"/>
                  </a:lnTo>
                  <a:lnTo>
                    <a:pt x="11" y="97"/>
                  </a:lnTo>
                  <a:lnTo>
                    <a:pt x="3" y="86"/>
                  </a:lnTo>
                  <a:lnTo>
                    <a:pt x="0" y="50"/>
                  </a:lnTo>
                  <a:lnTo>
                    <a:pt x="6" y="45"/>
                  </a:lnTo>
                  <a:lnTo>
                    <a:pt x="19" y="31"/>
                  </a:lnTo>
                  <a:lnTo>
                    <a:pt x="28" y="24"/>
                  </a:lnTo>
                  <a:lnTo>
                    <a:pt x="30" y="20"/>
                  </a:lnTo>
                  <a:lnTo>
                    <a:pt x="37" y="15"/>
                  </a:lnTo>
                  <a:lnTo>
                    <a:pt x="49" y="10"/>
                  </a:lnTo>
                  <a:lnTo>
                    <a:pt x="78" y="9"/>
                  </a:lnTo>
                  <a:lnTo>
                    <a:pt x="85" y="4"/>
                  </a:lnTo>
                  <a:lnTo>
                    <a:pt x="92" y="5"/>
                  </a:lnTo>
                  <a:lnTo>
                    <a:pt x="97" y="4"/>
                  </a:lnTo>
                  <a:lnTo>
                    <a:pt x="102" y="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48" name="Freeform 114"/>
            <p:cNvSpPr>
              <a:spLocks noChangeAspect="1"/>
            </p:cNvSpPr>
            <p:nvPr/>
          </p:nvSpPr>
          <p:spPr bwMode="gray">
            <a:xfrm>
              <a:off x="7180476" y="3050284"/>
              <a:ext cx="1068574" cy="815445"/>
            </a:xfrm>
            <a:custGeom>
              <a:avLst/>
              <a:gdLst/>
              <a:ahLst/>
              <a:cxnLst>
                <a:cxn ang="0">
                  <a:pos x="2191" y="2191"/>
                </a:cxn>
                <a:cxn ang="0">
                  <a:pos x="2134" y="2244"/>
                </a:cxn>
                <a:cxn ang="0">
                  <a:pos x="2015" y="2329"/>
                </a:cxn>
                <a:cxn ang="0">
                  <a:pos x="1898" y="2261"/>
                </a:cxn>
                <a:cxn ang="0">
                  <a:pos x="1746" y="2168"/>
                </a:cxn>
                <a:cxn ang="0">
                  <a:pos x="1585" y="2194"/>
                </a:cxn>
                <a:cxn ang="0">
                  <a:pos x="1509" y="2247"/>
                </a:cxn>
                <a:cxn ang="0">
                  <a:pos x="1333" y="2120"/>
                </a:cxn>
                <a:cxn ang="0">
                  <a:pos x="1352" y="1901"/>
                </a:cxn>
                <a:cxn ang="0">
                  <a:pos x="1237" y="1793"/>
                </a:cxn>
                <a:cxn ang="0">
                  <a:pos x="1036" y="1874"/>
                </a:cxn>
                <a:cxn ang="0">
                  <a:pos x="881" y="1862"/>
                </a:cxn>
                <a:cxn ang="0">
                  <a:pos x="793" y="1879"/>
                </a:cxn>
                <a:cxn ang="0">
                  <a:pos x="691" y="1881"/>
                </a:cxn>
                <a:cxn ang="0">
                  <a:pos x="603" y="1834"/>
                </a:cxn>
                <a:cxn ang="0">
                  <a:pos x="556" y="1803"/>
                </a:cxn>
                <a:cxn ang="0">
                  <a:pos x="423" y="1731"/>
                </a:cxn>
                <a:cxn ang="0">
                  <a:pos x="348" y="1701"/>
                </a:cxn>
                <a:cxn ang="0">
                  <a:pos x="291" y="1675"/>
                </a:cxn>
                <a:cxn ang="0">
                  <a:pos x="278" y="1580"/>
                </a:cxn>
                <a:cxn ang="0">
                  <a:pos x="322" y="1567"/>
                </a:cxn>
                <a:cxn ang="0">
                  <a:pos x="300" y="1492"/>
                </a:cxn>
                <a:cxn ang="0">
                  <a:pos x="360" y="1411"/>
                </a:cxn>
                <a:cxn ang="0">
                  <a:pos x="326" y="1368"/>
                </a:cxn>
                <a:cxn ang="0">
                  <a:pos x="230" y="1391"/>
                </a:cxn>
                <a:cxn ang="0">
                  <a:pos x="126" y="1355"/>
                </a:cxn>
                <a:cxn ang="0">
                  <a:pos x="88" y="1295"/>
                </a:cxn>
                <a:cxn ang="0">
                  <a:pos x="63" y="1212"/>
                </a:cxn>
                <a:cxn ang="0">
                  <a:pos x="105" y="1043"/>
                </a:cxn>
                <a:cxn ang="0">
                  <a:pos x="364" y="920"/>
                </a:cxn>
                <a:cxn ang="0">
                  <a:pos x="471" y="693"/>
                </a:cxn>
                <a:cxn ang="0">
                  <a:pos x="656" y="507"/>
                </a:cxn>
                <a:cxn ang="0">
                  <a:pos x="854" y="474"/>
                </a:cxn>
                <a:cxn ang="0">
                  <a:pos x="1031" y="711"/>
                </a:cxn>
                <a:cxn ang="0">
                  <a:pos x="1283" y="882"/>
                </a:cxn>
                <a:cxn ang="0">
                  <a:pos x="1719" y="963"/>
                </a:cxn>
                <a:cxn ang="0">
                  <a:pos x="2042" y="854"/>
                </a:cxn>
                <a:cxn ang="0">
                  <a:pos x="2284" y="666"/>
                </a:cxn>
                <a:cxn ang="0">
                  <a:pos x="2450" y="478"/>
                </a:cxn>
                <a:cxn ang="0">
                  <a:pos x="2342" y="311"/>
                </a:cxn>
                <a:cxn ang="0">
                  <a:pos x="2557" y="161"/>
                </a:cxn>
                <a:cxn ang="0">
                  <a:pos x="2738" y="0"/>
                </a:cxn>
                <a:cxn ang="0">
                  <a:pos x="2901" y="155"/>
                </a:cxn>
                <a:cxn ang="0">
                  <a:pos x="3109" y="394"/>
                </a:cxn>
                <a:cxn ang="0">
                  <a:pos x="3323" y="441"/>
                </a:cxn>
                <a:cxn ang="0">
                  <a:pos x="3195" y="693"/>
                </a:cxn>
                <a:cxn ang="0">
                  <a:pos x="2994" y="941"/>
                </a:cxn>
                <a:cxn ang="0">
                  <a:pos x="2729" y="1097"/>
                </a:cxn>
                <a:cxn ang="0">
                  <a:pos x="2616" y="1118"/>
                </a:cxn>
                <a:cxn ang="0">
                  <a:pos x="2542" y="1082"/>
                </a:cxn>
                <a:cxn ang="0">
                  <a:pos x="2444" y="1221"/>
                </a:cxn>
                <a:cxn ang="0">
                  <a:pos x="2611" y="1254"/>
                </a:cxn>
                <a:cxn ang="0">
                  <a:pos x="2643" y="1301"/>
                </a:cxn>
                <a:cxn ang="0">
                  <a:pos x="2521" y="1404"/>
                </a:cxn>
                <a:cxn ang="0">
                  <a:pos x="2646" y="1642"/>
                </a:cxn>
                <a:cxn ang="0">
                  <a:pos x="2640" y="1677"/>
                </a:cxn>
                <a:cxn ang="0">
                  <a:pos x="2624" y="1743"/>
                </a:cxn>
                <a:cxn ang="0">
                  <a:pos x="2628" y="1814"/>
                </a:cxn>
                <a:cxn ang="0">
                  <a:pos x="2555" y="1933"/>
                </a:cxn>
                <a:cxn ang="0">
                  <a:pos x="2512" y="2028"/>
                </a:cxn>
                <a:cxn ang="0">
                  <a:pos x="2435" y="2097"/>
                </a:cxn>
                <a:cxn ang="0">
                  <a:pos x="2344" y="2177"/>
                </a:cxn>
                <a:cxn ang="0">
                  <a:pos x="2245" y="2202"/>
                </a:cxn>
              </a:cxnLst>
              <a:rect l="0" t="0" r="r" b="b"/>
              <a:pathLst>
                <a:path w="3356" h="2335">
                  <a:moveTo>
                    <a:pt x="2243" y="2202"/>
                  </a:moveTo>
                  <a:lnTo>
                    <a:pt x="2240" y="2209"/>
                  </a:lnTo>
                  <a:lnTo>
                    <a:pt x="2239" y="2206"/>
                  </a:lnTo>
                  <a:lnTo>
                    <a:pt x="2239" y="2202"/>
                  </a:lnTo>
                  <a:lnTo>
                    <a:pt x="2235" y="2199"/>
                  </a:lnTo>
                  <a:lnTo>
                    <a:pt x="2226" y="2201"/>
                  </a:lnTo>
                  <a:lnTo>
                    <a:pt x="2225" y="2202"/>
                  </a:lnTo>
                  <a:lnTo>
                    <a:pt x="2224" y="2202"/>
                  </a:lnTo>
                  <a:lnTo>
                    <a:pt x="2224" y="2205"/>
                  </a:lnTo>
                  <a:lnTo>
                    <a:pt x="2229" y="2211"/>
                  </a:lnTo>
                  <a:lnTo>
                    <a:pt x="2224" y="2212"/>
                  </a:lnTo>
                  <a:lnTo>
                    <a:pt x="2211" y="2213"/>
                  </a:lnTo>
                  <a:lnTo>
                    <a:pt x="2210" y="2209"/>
                  </a:lnTo>
                  <a:lnTo>
                    <a:pt x="2211" y="2206"/>
                  </a:lnTo>
                  <a:lnTo>
                    <a:pt x="2209" y="2202"/>
                  </a:lnTo>
                  <a:lnTo>
                    <a:pt x="2199" y="2194"/>
                  </a:lnTo>
                  <a:lnTo>
                    <a:pt x="2191" y="2191"/>
                  </a:lnTo>
                  <a:lnTo>
                    <a:pt x="2188" y="2185"/>
                  </a:lnTo>
                  <a:lnTo>
                    <a:pt x="2186" y="2198"/>
                  </a:lnTo>
                  <a:lnTo>
                    <a:pt x="2186" y="2209"/>
                  </a:lnTo>
                  <a:lnTo>
                    <a:pt x="2187" y="2216"/>
                  </a:lnTo>
                  <a:lnTo>
                    <a:pt x="2187" y="2218"/>
                  </a:lnTo>
                  <a:lnTo>
                    <a:pt x="2183" y="2220"/>
                  </a:lnTo>
                  <a:lnTo>
                    <a:pt x="2180" y="2220"/>
                  </a:lnTo>
                  <a:lnTo>
                    <a:pt x="2171" y="2209"/>
                  </a:lnTo>
                  <a:lnTo>
                    <a:pt x="2164" y="2204"/>
                  </a:lnTo>
                  <a:lnTo>
                    <a:pt x="2161" y="2198"/>
                  </a:lnTo>
                  <a:lnTo>
                    <a:pt x="2155" y="2215"/>
                  </a:lnTo>
                  <a:lnTo>
                    <a:pt x="2155" y="2222"/>
                  </a:lnTo>
                  <a:lnTo>
                    <a:pt x="2156" y="2227"/>
                  </a:lnTo>
                  <a:lnTo>
                    <a:pt x="2156" y="2236"/>
                  </a:lnTo>
                  <a:lnTo>
                    <a:pt x="2153" y="2239"/>
                  </a:lnTo>
                  <a:lnTo>
                    <a:pt x="2149" y="2237"/>
                  </a:lnTo>
                  <a:lnTo>
                    <a:pt x="2134" y="2244"/>
                  </a:lnTo>
                  <a:lnTo>
                    <a:pt x="2123" y="2245"/>
                  </a:lnTo>
                  <a:lnTo>
                    <a:pt x="2116" y="2249"/>
                  </a:lnTo>
                  <a:lnTo>
                    <a:pt x="2107" y="2249"/>
                  </a:lnTo>
                  <a:lnTo>
                    <a:pt x="2105" y="2247"/>
                  </a:lnTo>
                  <a:lnTo>
                    <a:pt x="2094" y="2249"/>
                  </a:lnTo>
                  <a:lnTo>
                    <a:pt x="2084" y="2258"/>
                  </a:lnTo>
                  <a:lnTo>
                    <a:pt x="2073" y="2261"/>
                  </a:lnTo>
                  <a:lnTo>
                    <a:pt x="2059" y="2263"/>
                  </a:lnTo>
                  <a:lnTo>
                    <a:pt x="2051" y="2261"/>
                  </a:lnTo>
                  <a:lnTo>
                    <a:pt x="2048" y="2265"/>
                  </a:lnTo>
                  <a:lnTo>
                    <a:pt x="2038" y="2270"/>
                  </a:lnTo>
                  <a:lnTo>
                    <a:pt x="2024" y="2274"/>
                  </a:lnTo>
                  <a:lnTo>
                    <a:pt x="2015" y="2271"/>
                  </a:lnTo>
                  <a:lnTo>
                    <a:pt x="2004" y="2297"/>
                  </a:lnTo>
                  <a:lnTo>
                    <a:pt x="2011" y="2309"/>
                  </a:lnTo>
                  <a:lnTo>
                    <a:pt x="2015" y="2317"/>
                  </a:lnTo>
                  <a:lnTo>
                    <a:pt x="2015" y="2329"/>
                  </a:lnTo>
                  <a:lnTo>
                    <a:pt x="1999" y="2335"/>
                  </a:lnTo>
                  <a:lnTo>
                    <a:pt x="1988" y="2329"/>
                  </a:lnTo>
                  <a:lnTo>
                    <a:pt x="1973" y="2298"/>
                  </a:lnTo>
                  <a:lnTo>
                    <a:pt x="1971" y="2291"/>
                  </a:lnTo>
                  <a:lnTo>
                    <a:pt x="1972" y="2288"/>
                  </a:lnTo>
                  <a:lnTo>
                    <a:pt x="1978" y="2266"/>
                  </a:lnTo>
                  <a:lnTo>
                    <a:pt x="1974" y="2259"/>
                  </a:lnTo>
                  <a:lnTo>
                    <a:pt x="1968" y="2261"/>
                  </a:lnTo>
                  <a:lnTo>
                    <a:pt x="1958" y="2269"/>
                  </a:lnTo>
                  <a:lnTo>
                    <a:pt x="1947" y="2269"/>
                  </a:lnTo>
                  <a:lnTo>
                    <a:pt x="1942" y="2264"/>
                  </a:lnTo>
                  <a:lnTo>
                    <a:pt x="1941" y="2259"/>
                  </a:lnTo>
                  <a:lnTo>
                    <a:pt x="1923" y="2254"/>
                  </a:lnTo>
                  <a:lnTo>
                    <a:pt x="1915" y="2252"/>
                  </a:lnTo>
                  <a:lnTo>
                    <a:pt x="1911" y="2252"/>
                  </a:lnTo>
                  <a:lnTo>
                    <a:pt x="1907" y="2260"/>
                  </a:lnTo>
                  <a:lnTo>
                    <a:pt x="1898" y="2261"/>
                  </a:lnTo>
                  <a:lnTo>
                    <a:pt x="1898" y="2269"/>
                  </a:lnTo>
                  <a:lnTo>
                    <a:pt x="1895" y="2258"/>
                  </a:lnTo>
                  <a:lnTo>
                    <a:pt x="1890" y="2261"/>
                  </a:lnTo>
                  <a:lnTo>
                    <a:pt x="1881" y="2265"/>
                  </a:lnTo>
                  <a:lnTo>
                    <a:pt x="1874" y="2260"/>
                  </a:lnTo>
                  <a:lnTo>
                    <a:pt x="1855" y="2261"/>
                  </a:lnTo>
                  <a:lnTo>
                    <a:pt x="1845" y="2259"/>
                  </a:lnTo>
                  <a:lnTo>
                    <a:pt x="1840" y="2254"/>
                  </a:lnTo>
                  <a:lnTo>
                    <a:pt x="1817" y="2240"/>
                  </a:lnTo>
                  <a:lnTo>
                    <a:pt x="1810" y="2228"/>
                  </a:lnTo>
                  <a:lnTo>
                    <a:pt x="1805" y="2213"/>
                  </a:lnTo>
                  <a:lnTo>
                    <a:pt x="1810" y="2198"/>
                  </a:lnTo>
                  <a:lnTo>
                    <a:pt x="1806" y="2189"/>
                  </a:lnTo>
                  <a:lnTo>
                    <a:pt x="1786" y="2188"/>
                  </a:lnTo>
                  <a:lnTo>
                    <a:pt x="1773" y="2184"/>
                  </a:lnTo>
                  <a:lnTo>
                    <a:pt x="1758" y="2178"/>
                  </a:lnTo>
                  <a:lnTo>
                    <a:pt x="1746" y="2168"/>
                  </a:lnTo>
                  <a:lnTo>
                    <a:pt x="1731" y="2163"/>
                  </a:lnTo>
                  <a:lnTo>
                    <a:pt x="1724" y="2164"/>
                  </a:lnTo>
                  <a:lnTo>
                    <a:pt x="1714" y="2175"/>
                  </a:lnTo>
                  <a:lnTo>
                    <a:pt x="1704" y="2182"/>
                  </a:lnTo>
                  <a:lnTo>
                    <a:pt x="1689" y="2190"/>
                  </a:lnTo>
                  <a:lnTo>
                    <a:pt x="1683" y="2191"/>
                  </a:lnTo>
                  <a:lnTo>
                    <a:pt x="1675" y="2189"/>
                  </a:lnTo>
                  <a:lnTo>
                    <a:pt x="1666" y="2196"/>
                  </a:lnTo>
                  <a:lnTo>
                    <a:pt x="1656" y="2201"/>
                  </a:lnTo>
                  <a:lnTo>
                    <a:pt x="1653" y="2195"/>
                  </a:lnTo>
                  <a:lnTo>
                    <a:pt x="1639" y="2199"/>
                  </a:lnTo>
                  <a:lnTo>
                    <a:pt x="1633" y="2194"/>
                  </a:lnTo>
                  <a:lnTo>
                    <a:pt x="1627" y="2195"/>
                  </a:lnTo>
                  <a:lnTo>
                    <a:pt x="1612" y="2205"/>
                  </a:lnTo>
                  <a:lnTo>
                    <a:pt x="1606" y="2204"/>
                  </a:lnTo>
                  <a:lnTo>
                    <a:pt x="1598" y="2196"/>
                  </a:lnTo>
                  <a:lnTo>
                    <a:pt x="1585" y="2194"/>
                  </a:lnTo>
                  <a:lnTo>
                    <a:pt x="1583" y="2191"/>
                  </a:lnTo>
                  <a:lnTo>
                    <a:pt x="1579" y="2194"/>
                  </a:lnTo>
                  <a:lnTo>
                    <a:pt x="1575" y="2200"/>
                  </a:lnTo>
                  <a:lnTo>
                    <a:pt x="1569" y="2207"/>
                  </a:lnTo>
                  <a:lnTo>
                    <a:pt x="1569" y="2211"/>
                  </a:lnTo>
                  <a:lnTo>
                    <a:pt x="1562" y="2207"/>
                  </a:lnTo>
                  <a:lnTo>
                    <a:pt x="1562" y="2205"/>
                  </a:lnTo>
                  <a:lnTo>
                    <a:pt x="1542" y="2204"/>
                  </a:lnTo>
                  <a:lnTo>
                    <a:pt x="1533" y="2211"/>
                  </a:lnTo>
                  <a:lnTo>
                    <a:pt x="1532" y="2223"/>
                  </a:lnTo>
                  <a:lnTo>
                    <a:pt x="1535" y="2240"/>
                  </a:lnTo>
                  <a:lnTo>
                    <a:pt x="1541" y="2256"/>
                  </a:lnTo>
                  <a:lnTo>
                    <a:pt x="1540" y="2271"/>
                  </a:lnTo>
                  <a:lnTo>
                    <a:pt x="1536" y="2275"/>
                  </a:lnTo>
                  <a:lnTo>
                    <a:pt x="1515" y="2280"/>
                  </a:lnTo>
                  <a:lnTo>
                    <a:pt x="1510" y="2253"/>
                  </a:lnTo>
                  <a:lnTo>
                    <a:pt x="1509" y="2247"/>
                  </a:lnTo>
                  <a:lnTo>
                    <a:pt x="1497" y="2245"/>
                  </a:lnTo>
                  <a:lnTo>
                    <a:pt x="1482" y="2258"/>
                  </a:lnTo>
                  <a:lnTo>
                    <a:pt x="1462" y="2260"/>
                  </a:lnTo>
                  <a:lnTo>
                    <a:pt x="1444" y="2243"/>
                  </a:lnTo>
                  <a:lnTo>
                    <a:pt x="1441" y="2231"/>
                  </a:lnTo>
                  <a:lnTo>
                    <a:pt x="1423" y="2225"/>
                  </a:lnTo>
                  <a:lnTo>
                    <a:pt x="1408" y="2222"/>
                  </a:lnTo>
                  <a:lnTo>
                    <a:pt x="1412" y="2202"/>
                  </a:lnTo>
                  <a:lnTo>
                    <a:pt x="1418" y="2175"/>
                  </a:lnTo>
                  <a:lnTo>
                    <a:pt x="1402" y="2167"/>
                  </a:lnTo>
                  <a:lnTo>
                    <a:pt x="1388" y="2157"/>
                  </a:lnTo>
                  <a:lnTo>
                    <a:pt x="1387" y="2137"/>
                  </a:lnTo>
                  <a:lnTo>
                    <a:pt x="1382" y="2123"/>
                  </a:lnTo>
                  <a:lnTo>
                    <a:pt x="1382" y="2112"/>
                  </a:lnTo>
                  <a:lnTo>
                    <a:pt x="1363" y="2113"/>
                  </a:lnTo>
                  <a:lnTo>
                    <a:pt x="1344" y="2114"/>
                  </a:lnTo>
                  <a:lnTo>
                    <a:pt x="1333" y="2120"/>
                  </a:lnTo>
                  <a:lnTo>
                    <a:pt x="1320" y="2134"/>
                  </a:lnTo>
                  <a:lnTo>
                    <a:pt x="1315" y="2129"/>
                  </a:lnTo>
                  <a:lnTo>
                    <a:pt x="1325" y="2112"/>
                  </a:lnTo>
                  <a:lnTo>
                    <a:pt x="1326" y="2103"/>
                  </a:lnTo>
                  <a:lnTo>
                    <a:pt x="1322" y="2087"/>
                  </a:lnTo>
                  <a:lnTo>
                    <a:pt x="1328" y="2073"/>
                  </a:lnTo>
                  <a:lnTo>
                    <a:pt x="1332" y="2054"/>
                  </a:lnTo>
                  <a:lnTo>
                    <a:pt x="1343" y="2043"/>
                  </a:lnTo>
                  <a:lnTo>
                    <a:pt x="1347" y="2033"/>
                  </a:lnTo>
                  <a:lnTo>
                    <a:pt x="1354" y="2030"/>
                  </a:lnTo>
                  <a:lnTo>
                    <a:pt x="1363" y="2019"/>
                  </a:lnTo>
                  <a:lnTo>
                    <a:pt x="1372" y="1992"/>
                  </a:lnTo>
                  <a:lnTo>
                    <a:pt x="1372" y="1984"/>
                  </a:lnTo>
                  <a:lnTo>
                    <a:pt x="1376" y="1956"/>
                  </a:lnTo>
                  <a:lnTo>
                    <a:pt x="1375" y="1935"/>
                  </a:lnTo>
                  <a:lnTo>
                    <a:pt x="1368" y="1903"/>
                  </a:lnTo>
                  <a:lnTo>
                    <a:pt x="1352" y="1901"/>
                  </a:lnTo>
                  <a:lnTo>
                    <a:pt x="1347" y="1893"/>
                  </a:lnTo>
                  <a:lnTo>
                    <a:pt x="1343" y="1876"/>
                  </a:lnTo>
                  <a:lnTo>
                    <a:pt x="1331" y="1862"/>
                  </a:lnTo>
                  <a:lnTo>
                    <a:pt x="1318" y="1856"/>
                  </a:lnTo>
                  <a:lnTo>
                    <a:pt x="1315" y="1856"/>
                  </a:lnTo>
                  <a:lnTo>
                    <a:pt x="1311" y="1861"/>
                  </a:lnTo>
                  <a:lnTo>
                    <a:pt x="1302" y="1865"/>
                  </a:lnTo>
                  <a:lnTo>
                    <a:pt x="1298" y="1852"/>
                  </a:lnTo>
                  <a:lnTo>
                    <a:pt x="1288" y="1849"/>
                  </a:lnTo>
                  <a:lnTo>
                    <a:pt x="1274" y="1849"/>
                  </a:lnTo>
                  <a:lnTo>
                    <a:pt x="1264" y="1845"/>
                  </a:lnTo>
                  <a:lnTo>
                    <a:pt x="1246" y="1845"/>
                  </a:lnTo>
                  <a:lnTo>
                    <a:pt x="1248" y="1829"/>
                  </a:lnTo>
                  <a:lnTo>
                    <a:pt x="1250" y="1814"/>
                  </a:lnTo>
                  <a:lnTo>
                    <a:pt x="1237" y="1812"/>
                  </a:lnTo>
                  <a:lnTo>
                    <a:pt x="1235" y="1801"/>
                  </a:lnTo>
                  <a:lnTo>
                    <a:pt x="1237" y="1793"/>
                  </a:lnTo>
                  <a:lnTo>
                    <a:pt x="1226" y="1781"/>
                  </a:lnTo>
                  <a:lnTo>
                    <a:pt x="1214" y="1785"/>
                  </a:lnTo>
                  <a:lnTo>
                    <a:pt x="1199" y="1795"/>
                  </a:lnTo>
                  <a:lnTo>
                    <a:pt x="1186" y="1798"/>
                  </a:lnTo>
                  <a:lnTo>
                    <a:pt x="1166" y="1800"/>
                  </a:lnTo>
                  <a:lnTo>
                    <a:pt x="1157" y="1798"/>
                  </a:lnTo>
                  <a:lnTo>
                    <a:pt x="1151" y="1793"/>
                  </a:lnTo>
                  <a:lnTo>
                    <a:pt x="1146" y="1792"/>
                  </a:lnTo>
                  <a:lnTo>
                    <a:pt x="1137" y="1797"/>
                  </a:lnTo>
                  <a:lnTo>
                    <a:pt x="1128" y="1803"/>
                  </a:lnTo>
                  <a:lnTo>
                    <a:pt x="1122" y="1814"/>
                  </a:lnTo>
                  <a:lnTo>
                    <a:pt x="1102" y="1831"/>
                  </a:lnTo>
                  <a:lnTo>
                    <a:pt x="1087" y="1835"/>
                  </a:lnTo>
                  <a:lnTo>
                    <a:pt x="1073" y="1851"/>
                  </a:lnTo>
                  <a:lnTo>
                    <a:pt x="1063" y="1858"/>
                  </a:lnTo>
                  <a:lnTo>
                    <a:pt x="1048" y="1866"/>
                  </a:lnTo>
                  <a:lnTo>
                    <a:pt x="1036" y="1874"/>
                  </a:lnTo>
                  <a:lnTo>
                    <a:pt x="1008" y="1881"/>
                  </a:lnTo>
                  <a:lnTo>
                    <a:pt x="990" y="1886"/>
                  </a:lnTo>
                  <a:lnTo>
                    <a:pt x="992" y="1888"/>
                  </a:lnTo>
                  <a:lnTo>
                    <a:pt x="992" y="1886"/>
                  </a:lnTo>
                  <a:lnTo>
                    <a:pt x="978" y="1878"/>
                  </a:lnTo>
                  <a:lnTo>
                    <a:pt x="976" y="1874"/>
                  </a:lnTo>
                  <a:lnTo>
                    <a:pt x="973" y="1873"/>
                  </a:lnTo>
                  <a:lnTo>
                    <a:pt x="958" y="1877"/>
                  </a:lnTo>
                  <a:lnTo>
                    <a:pt x="954" y="1877"/>
                  </a:lnTo>
                  <a:lnTo>
                    <a:pt x="940" y="1872"/>
                  </a:lnTo>
                  <a:lnTo>
                    <a:pt x="924" y="1871"/>
                  </a:lnTo>
                  <a:lnTo>
                    <a:pt x="917" y="1866"/>
                  </a:lnTo>
                  <a:lnTo>
                    <a:pt x="917" y="1863"/>
                  </a:lnTo>
                  <a:lnTo>
                    <a:pt x="913" y="1857"/>
                  </a:lnTo>
                  <a:lnTo>
                    <a:pt x="907" y="1856"/>
                  </a:lnTo>
                  <a:lnTo>
                    <a:pt x="893" y="1857"/>
                  </a:lnTo>
                  <a:lnTo>
                    <a:pt x="881" y="1862"/>
                  </a:lnTo>
                  <a:lnTo>
                    <a:pt x="870" y="1873"/>
                  </a:lnTo>
                  <a:lnTo>
                    <a:pt x="860" y="1889"/>
                  </a:lnTo>
                  <a:lnTo>
                    <a:pt x="839" y="1909"/>
                  </a:lnTo>
                  <a:lnTo>
                    <a:pt x="838" y="1915"/>
                  </a:lnTo>
                  <a:lnTo>
                    <a:pt x="833" y="1915"/>
                  </a:lnTo>
                  <a:lnTo>
                    <a:pt x="829" y="1913"/>
                  </a:lnTo>
                  <a:lnTo>
                    <a:pt x="827" y="1910"/>
                  </a:lnTo>
                  <a:lnTo>
                    <a:pt x="827" y="1903"/>
                  </a:lnTo>
                  <a:lnTo>
                    <a:pt x="831" y="1890"/>
                  </a:lnTo>
                  <a:lnTo>
                    <a:pt x="831" y="1884"/>
                  </a:lnTo>
                  <a:lnTo>
                    <a:pt x="828" y="1874"/>
                  </a:lnTo>
                  <a:lnTo>
                    <a:pt x="827" y="1871"/>
                  </a:lnTo>
                  <a:lnTo>
                    <a:pt x="822" y="1868"/>
                  </a:lnTo>
                  <a:lnTo>
                    <a:pt x="817" y="1870"/>
                  </a:lnTo>
                  <a:lnTo>
                    <a:pt x="809" y="1876"/>
                  </a:lnTo>
                  <a:lnTo>
                    <a:pt x="801" y="1876"/>
                  </a:lnTo>
                  <a:lnTo>
                    <a:pt x="793" y="1879"/>
                  </a:lnTo>
                  <a:lnTo>
                    <a:pt x="791" y="1881"/>
                  </a:lnTo>
                  <a:lnTo>
                    <a:pt x="788" y="1879"/>
                  </a:lnTo>
                  <a:lnTo>
                    <a:pt x="780" y="1881"/>
                  </a:lnTo>
                  <a:lnTo>
                    <a:pt x="774" y="1889"/>
                  </a:lnTo>
                  <a:lnTo>
                    <a:pt x="771" y="1889"/>
                  </a:lnTo>
                  <a:lnTo>
                    <a:pt x="757" y="1886"/>
                  </a:lnTo>
                  <a:lnTo>
                    <a:pt x="750" y="1888"/>
                  </a:lnTo>
                  <a:lnTo>
                    <a:pt x="746" y="1887"/>
                  </a:lnTo>
                  <a:lnTo>
                    <a:pt x="739" y="1883"/>
                  </a:lnTo>
                  <a:lnTo>
                    <a:pt x="729" y="1881"/>
                  </a:lnTo>
                  <a:lnTo>
                    <a:pt x="723" y="1873"/>
                  </a:lnTo>
                  <a:lnTo>
                    <a:pt x="713" y="1873"/>
                  </a:lnTo>
                  <a:lnTo>
                    <a:pt x="708" y="1874"/>
                  </a:lnTo>
                  <a:lnTo>
                    <a:pt x="704" y="1881"/>
                  </a:lnTo>
                  <a:lnTo>
                    <a:pt x="702" y="1882"/>
                  </a:lnTo>
                  <a:lnTo>
                    <a:pt x="696" y="1879"/>
                  </a:lnTo>
                  <a:lnTo>
                    <a:pt x="691" y="1881"/>
                  </a:lnTo>
                  <a:lnTo>
                    <a:pt x="685" y="1877"/>
                  </a:lnTo>
                  <a:lnTo>
                    <a:pt x="681" y="1879"/>
                  </a:lnTo>
                  <a:lnTo>
                    <a:pt x="675" y="1881"/>
                  </a:lnTo>
                  <a:lnTo>
                    <a:pt x="671" y="1878"/>
                  </a:lnTo>
                  <a:lnTo>
                    <a:pt x="667" y="1872"/>
                  </a:lnTo>
                  <a:lnTo>
                    <a:pt x="666" y="1868"/>
                  </a:lnTo>
                  <a:lnTo>
                    <a:pt x="661" y="1862"/>
                  </a:lnTo>
                  <a:lnTo>
                    <a:pt x="653" y="1861"/>
                  </a:lnTo>
                  <a:lnTo>
                    <a:pt x="645" y="1863"/>
                  </a:lnTo>
                  <a:lnTo>
                    <a:pt x="630" y="1854"/>
                  </a:lnTo>
                  <a:lnTo>
                    <a:pt x="629" y="1847"/>
                  </a:lnTo>
                  <a:lnTo>
                    <a:pt x="632" y="1834"/>
                  </a:lnTo>
                  <a:lnTo>
                    <a:pt x="629" y="1833"/>
                  </a:lnTo>
                  <a:lnTo>
                    <a:pt x="624" y="1836"/>
                  </a:lnTo>
                  <a:lnTo>
                    <a:pt x="619" y="1838"/>
                  </a:lnTo>
                  <a:lnTo>
                    <a:pt x="611" y="1836"/>
                  </a:lnTo>
                  <a:lnTo>
                    <a:pt x="603" y="1834"/>
                  </a:lnTo>
                  <a:lnTo>
                    <a:pt x="599" y="1835"/>
                  </a:lnTo>
                  <a:lnTo>
                    <a:pt x="592" y="1831"/>
                  </a:lnTo>
                  <a:lnTo>
                    <a:pt x="589" y="1831"/>
                  </a:lnTo>
                  <a:lnTo>
                    <a:pt x="585" y="1828"/>
                  </a:lnTo>
                  <a:lnTo>
                    <a:pt x="583" y="1823"/>
                  </a:lnTo>
                  <a:lnTo>
                    <a:pt x="578" y="1825"/>
                  </a:lnTo>
                  <a:lnTo>
                    <a:pt x="576" y="1822"/>
                  </a:lnTo>
                  <a:lnTo>
                    <a:pt x="579" y="1809"/>
                  </a:lnTo>
                  <a:lnTo>
                    <a:pt x="578" y="1803"/>
                  </a:lnTo>
                  <a:lnTo>
                    <a:pt x="581" y="1797"/>
                  </a:lnTo>
                  <a:lnTo>
                    <a:pt x="579" y="1795"/>
                  </a:lnTo>
                  <a:lnTo>
                    <a:pt x="573" y="1793"/>
                  </a:lnTo>
                  <a:lnTo>
                    <a:pt x="567" y="1795"/>
                  </a:lnTo>
                  <a:lnTo>
                    <a:pt x="563" y="1793"/>
                  </a:lnTo>
                  <a:lnTo>
                    <a:pt x="560" y="1797"/>
                  </a:lnTo>
                  <a:lnTo>
                    <a:pt x="559" y="1800"/>
                  </a:lnTo>
                  <a:lnTo>
                    <a:pt x="556" y="1803"/>
                  </a:lnTo>
                  <a:lnTo>
                    <a:pt x="553" y="1804"/>
                  </a:lnTo>
                  <a:lnTo>
                    <a:pt x="548" y="1809"/>
                  </a:lnTo>
                  <a:lnTo>
                    <a:pt x="544" y="1808"/>
                  </a:lnTo>
                  <a:lnTo>
                    <a:pt x="538" y="1807"/>
                  </a:lnTo>
                  <a:lnTo>
                    <a:pt x="536" y="1802"/>
                  </a:lnTo>
                  <a:lnTo>
                    <a:pt x="533" y="1785"/>
                  </a:lnTo>
                  <a:lnTo>
                    <a:pt x="527" y="1776"/>
                  </a:lnTo>
                  <a:lnTo>
                    <a:pt x="515" y="1766"/>
                  </a:lnTo>
                  <a:lnTo>
                    <a:pt x="503" y="1763"/>
                  </a:lnTo>
                  <a:lnTo>
                    <a:pt x="493" y="1754"/>
                  </a:lnTo>
                  <a:lnTo>
                    <a:pt x="487" y="1745"/>
                  </a:lnTo>
                  <a:lnTo>
                    <a:pt x="482" y="1743"/>
                  </a:lnTo>
                  <a:lnTo>
                    <a:pt x="462" y="1737"/>
                  </a:lnTo>
                  <a:lnTo>
                    <a:pt x="444" y="1733"/>
                  </a:lnTo>
                  <a:lnTo>
                    <a:pt x="441" y="1732"/>
                  </a:lnTo>
                  <a:lnTo>
                    <a:pt x="425" y="1730"/>
                  </a:lnTo>
                  <a:lnTo>
                    <a:pt x="423" y="1731"/>
                  </a:lnTo>
                  <a:lnTo>
                    <a:pt x="423" y="1732"/>
                  </a:lnTo>
                  <a:lnTo>
                    <a:pt x="423" y="1737"/>
                  </a:lnTo>
                  <a:lnTo>
                    <a:pt x="419" y="1742"/>
                  </a:lnTo>
                  <a:lnTo>
                    <a:pt x="420" y="1744"/>
                  </a:lnTo>
                  <a:lnTo>
                    <a:pt x="419" y="1748"/>
                  </a:lnTo>
                  <a:lnTo>
                    <a:pt x="411" y="1741"/>
                  </a:lnTo>
                  <a:lnTo>
                    <a:pt x="408" y="1736"/>
                  </a:lnTo>
                  <a:lnTo>
                    <a:pt x="406" y="1734"/>
                  </a:lnTo>
                  <a:lnTo>
                    <a:pt x="403" y="1733"/>
                  </a:lnTo>
                  <a:lnTo>
                    <a:pt x="386" y="1728"/>
                  </a:lnTo>
                  <a:lnTo>
                    <a:pt x="384" y="1726"/>
                  </a:lnTo>
                  <a:lnTo>
                    <a:pt x="380" y="1720"/>
                  </a:lnTo>
                  <a:lnTo>
                    <a:pt x="375" y="1718"/>
                  </a:lnTo>
                  <a:lnTo>
                    <a:pt x="363" y="1709"/>
                  </a:lnTo>
                  <a:lnTo>
                    <a:pt x="357" y="1709"/>
                  </a:lnTo>
                  <a:lnTo>
                    <a:pt x="350" y="1705"/>
                  </a:lnTo>
                  <a:lnTo>
                    <a:pt x="348" y="1701"/>
                  </a:lnTo>
                  <a:lnTo>
                    <a:pt x="348" y="1698"/>
                  </a:lnTo>
                  <a:lnTo>
                    <a:pt x="345" y="1694"/>
                  </a:lnTo>
                  <a:lnTo>
                    <a:pt x="341" y="1694"/>
                  </a:lnTo>
                  <a:lnTo>
                    <a:pt x="339" y="1691"/>
                  </a:lnTo>
                  <a:lnTo>
                    <a:pt x="334" y="1689"/>
                  </a:lnTo>
                  <a:lnTo>
                    <a:pt x="326" y="1693"/>
                  </a:lnTo>
                  <a:lnTo>
                    <a:pt x="325" y="1691"/>
                  </a:lnTo>
                  <a:lnTo>
                    <a:pt x="323" y="1685"/>
                  </a:lnTo>
                  <a:lnTo>
                    <a:pt x="322" y="1684"/>
                  </a:lnTo>
                  <a:lnTo>
                    <a:pt x="318" y="1683"/>
                  </a:lnTo>
                  <a:lnTo>
                    <a:pt x="315" y="1684"/>
                  </a:lnTo>
                  <a:lnTo>
                    <a:pt x="306" y="1683"/>
                  </a:lnTo>
                  <a:lnTo>
                    <a:pt x="302" y="1684"/>
                  </a:lnTo>
                  <a:lnTo>
                    <a:pt x="296" y="1688"/>
                  </a:lnTo>
                  <a:lnTo>
                    <a:pt x="293" y="1688"/>
                  </a:lnTo>
                  <a:lnTo>
                    <a:pt x="290" y="1685"/>
                  </a:lnTo>
                  <a:lnTo>
                    <a:pt x="291" y="1675"/>
                  </a:lnTo>
                  <a:lnTo>
                    <a:pt x="287" y="1672"/>
                  </a:lnTo>
                  <a:lnTo>
                    <a:pt x="283" y="1666"/>
                  </a:lnTo>
                  <a:lnTo>
                    <a:pt x="283" y="1663"/>
                  </a:lnTo>
                  <a:lnTo>
                    <a:pt x="278" y="1658"/>
                  </a:lnTo>
                  <a:lnTo>
                    <a:pt x="278" y="1653"/>
                  </a:lnTo>
                  <a:lnTo>
                    <a:pt x="280" y="1646"/>
                  </a:lnTo>
                  <a:lnTo>
                    <a:pt x="277" y="1640"/>
                  </a:lnTo>
                  <a:lnTo>
                    <a:pt x="277" y="1636"/>
                  </a:lnTo>
                  <a:lnTo>
                    <a:pt x="278" y="1629"/>
                  </a:lnTo>
                  <a:lnTo>
                    <a:pt x="280" y="1623"/>
                  </a:lnTo>
                  <a:lnTo>
                    <a:pt x="273" y="1613"/>
                  </a:lnTo>
                  <a:lnTo>
                    <a:pt x="266" y="1605"/>
                  </a:lnTo>
                  <a:lnTo>
                    <a:pt x="266" y="1596"/>
                  </a:lnTo>
                  <a:lnTo>
                    <a:pt x="263" y="1588"/>
                  </a:lnTo>
                  <a:lnTo>
                    <a:pt x="264" y="1585"/>
                  </a:lnTo>
                  <a:lnTo>
                    <a:pt x="275" y="1583"/>
                  </a:lnTo>
                  <a:lnTo>
                    <a:pt x="278" y="1580"/>
                  </a:lnTo>
                  <a:lnTo>
                    <a:pt x="279" y="1581"/>
                  </a:lnTo>
                  <a:lnTo>
                    <a:pt x="280" y="1588"/>
                  </a:lnTo>
                  <a:lnTo>
                    <a:pt x="283" y="1593"/>
                  </a:lnTo>
                  <a:lnTo>
                    <a:pt x="285" y="1596"/>
                  </a:lnTo>
                  <a:lnTo>
                    <a:pt x="293" y="1598"/>
                  </a:lnTo>
                  <a:lnTo>
                    <a:pt x="295" y="1597"/>
                  </a:lnTo>
                  <a:lnTo>
                    <a:pt x="298" y="1596"/>
                  </a:lnTo>
                  <a:lnTo>
                    <a:pt x="301" y="1597"/>
                  </a:lnTo>
                  <a:lnTo>
                    <a:pt x="302" y="1591"/>
                  </a:lnTo>
                  <a:lnTo>
                    <a:pt x="306" y="1588"/>
                  </a:lnTo>
                  <a:lnTo>
                    <a:pt x="310" y="1582"/>
                  </a:lnTo>
                  <a:lnTo>
                    <a:pt x="311" y="1582"/>
                  </a:lnTo>
                  <a:lnTo>
                    <a:pt x="315" y="1587"/>
                  </a:lnTo>
                  <a:lnTo>
                    <a:pt x="317" y="1587"/>
                  </a:lnTo>
                  <a:lnTo>
                    <a:pt x="326" y="1576"/>
                  </a:lnTo>
                  <a:lnTo>
                    <a:pt x="326" y="1574"/>
                  </a:lnTo>
                  <a:lnTo>
                    <a:pt x="322" y="1567"/>
                  </a:lnTo>
                  <a:lnTo>
                    <a:pt x="316" y="1559"/>
                  </a:lnTo>
                  <a:lnTo>
                    <a:pt x="315" y="1554"/>
                  </a:lnTo>
                  <a:lnTo>
                    <a:pt x="316" y="1551"/>
                  </a:lnTo>
                  <a:lnTo>
                    <a:pt x="316" y="1548"/>
                  </a:lnTo>
                  <a:lnTo>
                    <a:pt x="306" y="1543"/>
                  </a:lnTo>
                  <a:lnTo>
                    <a:pt x="301" y="1544"/>
                  </a:lnTo>
                  <a:lnTo>
                    <a:pt x="300" y="1540"/>
                  </a:lnTo>
                  <a:lnTo>
                    <a:pt x="291" y="1533"/>
                  </a:lnTo>
                  <a:lnTo>
                    <a:pt x="291" y="1518"/>
                  </a:lnTo>
                  <a:lnTo>
                    <a:pt x="296" y="1517"/>
                  </a:lnTo>
                  <a:lnTo>
                    <a:pt x="294" y="1511"/>
                  </a:lnTo>
                  <a:lnTo>
                    <a:pt x="295" y="1508"/>
                  </a:lnTo>
                  <a:lnTo>
                    <a:pt x="296" y="1507"/>
                  </a:lnTo>
                  <a:lnTo>
                    <a:pt x="289" y="1500"/>
                  </a:lnTo>
                  <a:lnTo>
                    <a:pt x="290" y="1494"/>
                  </a:lnTo>
                  <a:lnTo>
                    <a:pt x="290" y="1492"/>
                  </a:lnTo>
                  <a:lnTo>
                    <a:pt x="300" y="1492"/>
                  </a:lnTo>
                  <a:lnTo>
                    <a:pt x="304" y="1489"/>
                  </a:lnTo>
                  <a:lnTo>
                    <a:pt x="315" y="1492"/>
                  </a:lnTo>
                  <a:lnTo>
                    <a:pt x="317" y="1490"/>
                  </a:lnTo>
                  <a:lnTo>
                    <a:pt x="322" y="1485"/>
                  </a:lnTo>
                  <a:lnTo>
                    <a:pt x="327" y="1475"/>
                  </a:lnTo>
                  <a:lnTo>
                    <a:pt x="327" y="1464"/>
                  </a:lnTo>
                  <a:lnTo>
                    <a:pt x="337" y="1463"/>
                  </a:lnTo>
                  <a:lnTo>
                    <a:pt x="338" y="1462"/>
                  </a:lnTo>
                  <a:lnTo>
                    <a:pt x="336" y="1459"/>
                  </a:lnTo>
                  <a:lnTo>
                    <a:pt x="337" y="1456"/>
                  </a:lnTo>
                  <a:lnTo>
                    <a:pt x="341" y="1453"/>
                  </a:lnTo>
                  <a:lnTo>
                    <a:pt x="342" y="1451"/>
                  </a:lnTo>
                  <a:lnTo>
                    <a:pt x="345" y="1447"/>
                  </a:lnTo>
                  <a:lnTo>
                    <a:pt x="352" y="1442"/>
                  </a:lnTo>
                  <a:lnTo>
                    <a:pt x="352" y="1436"/>
                  </a:lnTo>
                  <a:lnTo>
                    <a:pt x="358" y="1430"/>
                  </a:lnTo>
                  <a:lnTo>
                    <a:pt x="360" y="1411"/>
                  </a:lnTo>
                  <a:lnTo>
                    <a:pt x="363" y="1409"/>
                  </a:lnTo>
                  <a:lnTo>
                    <a:pt x="363" y="1402"/>
                  </a:lnTo>
                  <a:lnTo>
                    <a:pt x="369" y="1394"/>
                  </a:lnTo>
                  <a:lnTo>
                    <a:pt x="369" y="1391"/>
                  </a:lnTo>
                  <a:lnTo>
                    <a:pt x="365" y="1388"/>
                  </a:lnTo>
                  <a:lnTo>
                    <a:pt x="361" y="1388"/>
                  </a:lnTo>
                  <a:lnTo>
                    <a:pt x="354" y="1397"/>
                  </a:lnTo>
                  <a:lnTo>
                    <a:pt x="352" y="1397"/>
                  </a:lnTo>
                  <a:lnTo>
                    <a:pt x="349" y="1393"/>
                  </a:lnTo>
                  <a:lnTo>
                    <a:pt x="347" y="1382"/>
                  </a:lnTo>
                  <a:lnTo>
                    <a:pt x="342" y="1386"/>
                  </a:lnTo>
                  <a:lnTo>
                    <a:pt x="338" y="1386"/>
                  </a:lnTo>
                  <a:lnTo>
                    <a:pt x="336" y="1381"/>
                  </a:lnTo>
                  <a:lnTo>
                    <a:pt x="333" y="1381"/>
                  </a:lnTo>
                  <a:lnTo>
                    <a:pt x="331" y="1379"/>
                  </a:lnTo>
                  <a:lnTo>
                    <a:pt x="330" y="1370"/>
                  </a:lnTo>
                  <a:lnTo>
                    <a:pt x="326" y="1368"/>
                  </a:lnTo>
                  <a:lnTo>
                    <a:pt x="325" y="1366"/>
                  </a:lnTo>
                  <a:lnTo>
                    <a:pt x="322" y="1365"/>
                  </a:lnTo>
                  <a:lnTo>
                    <a:pt x="318" y="1365"/>
                  </a:lnTo>
                  <a:lnTo>
                    <a:pt x="315" y="1360"/>
                  </a:lnTo>
                  <a:lnTo>
                    <a:pt x="312" y="1359"/>
                  </a:lnTo>
                  <a:lnTo>
                    <a:pt x="309" y="1359"/>
                  </a:lnTo>
                  <a:lnTo>
                    <a:pt x="304" y="1361"/>
                  </a:lnTo>
                  <a:lnTo>
                    <a:pt x="298" y="1361"/>
                  </a:lnTo>
                  <a:lnTo>
                    <a:pt x="293" y="1365"/>
                  </a:lnTo>
                  <a:lnTo>
                    <a:pt x="279" y="1365"/>
                  </a:lnTo>
                  <a:lnTo>
                    <a:pt x="269" y="1372"/>
                  </a:lnTo>
                  <a:lnTo>
                    <a:pt x="258" y="1378"/>
                  </a:lnTo>
                  <a:lnTo>
                    <a:pt x="251" y="1383"/>
                  </a:lnTo>
                  <a:lnTo>
                    <a:pt x="246" y="1388"/>
                  </a:lnTo>
                  <a:lnTo>
                    <a:pt x="241" y="1389"/>
                  </a:lnTo>
                  <a:lnTo>
                    <a:pt x="237" y="1394"/>
                  </a:lnTo>
                  <a:lnTo>
                    <a:pt x="230" y="1391"/>
                  </a:lnTo>
                  <a:lnTo>
                    <a:pt x="225" y="1394"/>
                  </a:lnTo>
                  <a:lnTo>
                    <a:pt x="220" y="1394"/>
                  </a:lnTo>
                  <a:lnTo>
                    <a:pt x="209" y="1393"/>
                  </a:lnTo>
                  <a:lnTo>
                    <a:pt x="202" y="1388"/>
                  </a:lnTo>
                  <a:lnTo>
                    <a:pt x="196" y="1389"/>
                  </a:lnTo>
                  <a:lnTo>
                    <a:pt x="188" y="1384"/>
                  </a:lnTo>
                  <a:lnTo>
                    <a:pt x="171" y="1378"/>
                  </a:lnTo>
                  <a:lnTo>
                    <a:pt x="161" y="1372"/>
                  </a:lnTo>
                  <a:lnTo>
                    <a:pt x="161" y="1366"/>
                  </a:lnTo>
                  <a:lnTo>
                    <a:pt x="160" y="1362"/>
                  </a:lnTo>
                  <a:lnTo>
                    <a:pt x="156" y="1363"/>
                  </a:lnTo>
                  <a:lnTo>
                    <a:pt x="151" y="1367"/>
                  </a:lnTo>
                  <a:lnTo>
                    <a:pt x="148" y="1367"/>
                  </a:lnTo>
                  <a:lnTo>
                    <a:pt x="143" y="1368"/>
                  </a:lnTo>
                  <a:lnTo>
                    <a:pt x="139" y="1367"/>
                  </a:lnTo>
                  <a:lnTo>
                    <a:pt x="133" y="1356"/>
                  </a:lnTo>
                  <a:lnTo>
                    <a:pt x="126" y="1355"/>
                  </a:lnTo>
                  <a:lnTo>
                    <a:pt x="124" y="1351"/>
                  </a:lnTo>
                  <a:lnTo>
                    <a:pt x="124" y="1349"/>
                  </a:lnTo>
                  <a:lnTo>
                    <a:pt x="129" y="1348"/>
                  </a:lnTo>
                  <a:lnTo>
                    <a:pt x="131" y="1344"/>
                  </a:lnTo>
                  <a:lnTo>
                    <a:pt x="129" y="1339"/>
                  </a:lnTo>
                  <a:lnTo>
                    <a:pt x="127" y="1336"/>
                  </a:lnTo>
                  <a:lnTo>
                    <a:pt x="129" y="1330"/>
                  </a:lnTo>
                  <a:lnTo>
                    <a:pt x="129" y="1324"/>
                  </a:lnTo>
                  <a:lnTo>
                    <a:pt x="127" y="1318"/>
                  </a:lnTo>
                  <a:lnTo>
                    <a:pt x="121" y="1312"/>
                  </a:lnTo>
                  <a:lnTo>
                    <a:pt x="110" y="1305"/>
                  </a:lnTo>
                  <a:lnTo>
                    <a:pt x="105" y="1305"/>
                  </a:lnTo>
                  <a:lnTo>
                    <a:pt x="99" y="1309"/>
                  </a:lnTo>
                  <a:lnTo>
                    <a:pt x="97" y="1308"/>
                  </a:lnTo>
                  <a:lnTo>
                    <a:pt x="97" y="1296"/>
                  </a:lnTo>
                  <a:lnTo>
                    <a:pt x="95" y="1293"/>
                  </a:lnTo>
                  <a:lnTo>
                    <a:pt x="88" y="1295"/>
                  </a:lnTo>
                  <a:lnTo>
                    <a:pt x="83" y="1292"/>
                  </a:lnTo>
                  <a:lnTo>
                    <a:pt x="79" y="1291"/>
                  </a:lnTo>
                  <a:lnTo>
                    <a:pt x="65" y="1293"/>
                  </a:lnTo>
                  <a:lnTo>
                    <a:pt x="54" y="1290"/>
                  </a:lnTo>
                  <a:lnTo>
                    <a:pt x="56" y="1289"/>
                  </a:lnTo>
                  <a:lnTo>
                    <a:pt x="53" y="1284"/>
                  </a:lnTo>
                  <a:lnTo>
                    <a:pt x="47" y="1281"/>
                  </a:lnTo>
                  <a:lnTo>
                    <a:pt x="46" y="1278"/>
                  </a:lnTo>
                  <a:lnTo>
                    <a:pt x="53" y="1270"/>
                  </a:lnTo>
                  <a:lnTo>
                    <a:pt x="57" y="1269"/>
                  </a:lnTo>
                  <a:lnTo>
                    <a:pt x="62" y="1271"/>
                  </a:lnTo>
                  <a:lnTo>
                    <a:pt x="65" y="1271"/>
                  </a:lnTo>
                  <a:lnTo>
                    <a:pt x="62" y="1271"/>
                  </a:lnTo>
                  <a:lnTo>
                    <a:pt x="70" y="1274"/>
                  </a:lnTo>
                  <a:lnTo>
                    <a:pt x="73" y="1273"/>
                  </a:lnTo>
                  <a:lnTo>
                    <a:pt x="73" y="1237"/>
                  </a:lnTo>
                  <a:lnTo>
                    <a:pt x="63" y="1212"/>
                  </a:lnTo>
                  <a:lnTo>
                    <a:pt x="63" y="1193"/>
                  </a:lnTo>
                  <a:lnTo>
                    <a:pt x="56" y="1182"/>
                  </a:lnTo>
                  <a:lnTo>
                    <a:pt x="37" y="1180"/>
                  </a:lnTo>
                  <a:lnTo>
                    <a:pt x="17" y="1187"/>
                  </a:lnTo>
                  <a:lnTo>
                    <a:pt x="6" y="1179"/>
                  </a:lnTo>
                  <a:lnTo>
                    <a:pt x="2" y="1162"/>
                  </a:lnTo>
                  <a:lnTo>
                    <a:pt x="0" y="1142"/>
                  </a:lnTo>
                  <a:lnTo>
                    <a:pt x="11" y="1108"/>
                  </a:lnTo>
                  <a:lnTo>
                    <a:pt x="10" y="1097"/>
                  </a:lnTo>
                  <a:lnTo>
                    <a:pt x="19" y="1079"/>
                  </a:lnTo>
                  <a:lnTo>
                    <a:pt x="51" y="1064"/>
                  </a:lnTo>
                  <a:lnTo>
                    <a:pt x="56" y="1059"/>
                  </a:lnTo>
                  <a:lnTo>
                    <a:pt x="63" y="1059"/>
                  </a:lnTo>
                  <a:lnTo>
                    <a:pt x="69" y="1044"/>
                  </a:lnTo>
                  <a:lnTo>
                    <a:pt x="79" y="1048"/>
                  </a:lnTo>
                  <a:lnTo>
                    <a:pt x="94" y="1042"/>
                  </a:lnTo>
                  <a:lnTo>
                    <a:pt x="105" y="1043"/>
                  </a:lnTo>
                  <a:lnTo>
                    <a:pt x="111" y="1056"/>
                  </a:lnTo>
                  <a:lnTo>
                    <a:pt x="122" y="1058"/>
                  </a:lnTo>
                  <a:lnTo>
                    <a:pt x="138" y="1054"/>
                  </a:lnTo>
                  <a:lnTo>
                    <a:pt x="148" y="1055"/>
                  </a:lnTo>
                  <a:lnTo>
                    <a:pt x="161" y="1045"/>
                  </a:lnTo>
                  <a:lnTo>
                    <a:pt x="167" y="1027"/>
                  </a:lnTo>
                  <a:lnTo>
                    <a:pt x="176" y="1016"/>
                  </a:lnTo>
                  <a:lnTo>
                    <a:pt x="193" y="1011"/>
                  </a:lnTo>
                  <a:lnTo>
                    <a:pt x="212" y="1010"/>
                  </a:lnTo>
                  <a:lnTo>
                    <a:pt x="239" y="1005"/>
                  </a:lnTo>
                  <a:lnTo>
                    <a:pt x="251" y="1000"/>
                  </a:lnTo>
                  <a:lnTo>
                    <a:pt x="259" y="986"/>
                  </a:lnTo>
                  <a:lnTo>
                    <a:pt x="274" y="973"/>
                  </a:lnTo>
                  <a:lnTo>
                    <a:pt x="310" y="953"/>
                  </a:lnTo>
                  <a:lnTo>
                    <a:pt x="348" y="941"/>
                  </a:lnTo>
                  <a:lnTo>
                    <a:pt x="358" y="934"/>
                  </a:lnTo>
                  <a:lnTo>
                    <a:pt x="364" y="920"/>
                  </a:lnTo>
                  <a:lnTo>
                    <a:pt x="364" y="892"/>
                  </a:lnTo>
                  <a:lnTo>
                    <a:pt x="366" y="881"/>
                  </a:lnTo>
                  <a:lnTo>
                    <a:pt x="374" y="871"/>
                  </a:lnTo>
                  <a:lnTo>
                    <a:pt x="373" y="859"/>
                  </a:lnTo>
                  <a:lnTo>
                    <a:pt x="386" y="849"/>
                  </a:lnTo>
                  <a:lnTo>
                    <a:pt x="386" y="834"/>
                  </a:lnTo>
                  <a:lnTo>
                    <a:pt x="377" y="807"/>
                  </a:lnTo>
                  <a:lnTo>
                    <a:pt x="370" y="795"/>
                  </a:lnTo>
                  <a:lnTo>
                    <a:pt x="366" y="780"/>
                  </a:lnTo>
                  <a:lnTo>
                    <a:pt x="361" y="742"/>
                  </a:lnTo>
                  <a:lnTo>
                    <a:pt x="354" y="727"/>
                  </a:lnTo>
                  <a:lnTo>
                    <a:pt x="347" y="720"/>
                  </a:lnTo>
                  <a:lnTo>
                    <a:pt x="355" y="712"/>
                  </a:lnTo>
                  <a:lnTo>
                    <a:pt x="375" y="705"/>
                  </a:lnTo>
                  <a:lnTo>
                    <a:pt x="393" y="703"/>
                  </a:lnTo>
                  <a:lnTo>
                    <a:pt x="416" y="695"/>
                  </a:lnTo>
                  <a:lnTo>
                    <a:pt x="471" y="693"/>
                  </a:lnTo>
                  <a:lnTo>
                    <a:pt x="478" y="688"/>
                  </a:lnTo>
                  <a:lnTo>
                    <a:pt x="472" y="670"/>
                  </a:lnTo>
                  <a:lnTo>
                    <a:pt x="470" y="655"/>
                  </a:lnTo>
                  <a:lnTo>
                    <a:pt x="473" y="635"/>
                  </a:lnTo>
                  <a:lnTo>
                    <a:pt x="479" y="611"/>
                  </a:lnTo>
                  <a:lnTo>
                    <a:pt x="492" y="584"/>
                  </a:lnTo>
                  <a:lnTo>
                    <a:pt x="500" y="558"/>
                  </a:lnTo>
                  <a:lnTo>
                    <a:pt x="511" y="537"/>
                  </a:lnTo>
                  <a:lnTo>
                    <a:pt x="535" y="537"/>
                  </a:lnTo>
                  <a:lnTo>
                    <a:pt x="544" y="544"/>
                  </a:lnTo>
                  <a:lnTo>
                    <a:pt x="563" y="550"/>
                  </a:lnTo>
                  <a:lnTo>
                    <a:pt x="597" y="547"/>
                  </a:lnTo>
                  <a:lnTo>
                    <a:pt x="606" y="556"/>
                  </a:lnTo>
                  <a:lnTo>
                    <a:pt x="616" y="563"/>
                  </a:lnTo>
                  <a:lnTo>
                    <a:pt x="630" y="552"/>
                  </a:lnTo>
                  <a:lnTo>
                    <a:pt x="653" y="544"/>
                  </a:lnTo>
                  <a:lnTo>
                    <a:pt x="656" y="507"/>
                  </a:lnTo>
                  <a:lnTo>
                    <a:pt x="654" y="484"/>
                  </a:lnTo>
                  <a:lnTo>
                    <a:pt x="659" y="459"/>
                  </a:lnTo>
                  <a:lnTo>
                    <a:pt x="670" y="439"/>
                  </a:lnTo>
                  <a:lnTo>
                    <a:pt x="686" y="440"/>
                  </a:lnTo>
                  <a:lnTo>
                    <a:pt x="705" y="434"/>
                  </a:lnTo>
                  <a:lnTo>
                    <a:pt x="721" y="418"/>
                  </a:lnTo>
                  <a:lnTo>
                    <a:pt x="731" y="398"/>
                  </a:lnTo>
                  <a:lnTo>
                    <a:pt x="756" y="405"/>
                  </a:lnTo>
                  <a:lnTo>
                    <a:pt x="772" y="389"/>
                  </a:lnTo>
                  <a:lnTo>
                    <a:pt x="777" y="389"/>
                  </a:lnTo>
                  <a:lnTo>
                    <a:pt x="777" y="393"/>
                  </a:lnTo>
                  <a:lnTo>
                    <a:pt x="780" y="404"/>
                  </a:lnTo>
                  <a:lnTo>
                    <a:pt x="791" y="430"/>
                  </a:lnTo>
                  <a:lnTo>
                    <a:pt x="821" y="453"/>
                  </a:lnTo>
                  <a:lnTo>
                    <a:pt x="832" y="474"/>
                  </a:lnTo>
                  <a:lnTo>
                    <a:pt x="847" y="485"/>
                  </a:lnTo>
                  <a:lnTo>
                    <a:pt x="854" y="474"/>
                  </a:lnTo>
                  <a:lnTo>
                    <a:pt x="870" y="477"/>
                  </a:lnTo>
                  <a:lnTo>
                    <a:pt x="885" y="485"/>
                  </a:lnTo>
                  <a:lnTo>
                    <a:pt x="901" y="488"/>
                  </a:lnTo>
                  <a:lnTo>
                    <a:pt x="911" y="504"/>
                  </a:lnTo>
                  <a:lnTo>
                    <a:pt x="918" y="526"/>
                  </a:lnTo>
                  <a:lnTo>
                    <a:pt x="928" y="543"/>
                  </a:lnTo>
                  <a:lnTo>
                    <a:pt x="940" y="586"/>
                  </a:lnTo>
                  <a:lnTo>
                    <a:pt x="940" y="614"/>
                  </a:lnTo>
                  <a:lnTo>
                    <a:pt x="944" y="633"/>
                  </a:lnTo>
                  <a:lnTo>
                    <a:pt x="943" y="652"/>
                  </a:lnTo>
                  <a:lnTo>
                    <a:pt x="935" y="668"/>
                  </a:lnTo>
                  <a:lnTo>
                    <a:pt x="934" y="683"/>
                  </a:lnTo>
                  <a:lnTo>
                    <a:pt x="941" y="690"/>
                  </a:lnTo>
                  <a:lnTo>
                    <a:pt x="957" y="697"/>
                  </a:lnTo>
                  <a:lnTo>
                    <a:pt x="988" y="700"/>
                  </a:lnTo>
                  <a:lnTo>
                    <a:pt x="1022" y="711"/>
                  </a:lnTo>
                  <a:lnTo>
                    <a:pt x="1031" y="711"/>
                  </a:lnTo>
                  <a:lnTo>
                    <a:pt x="1044" y="706"/>
                  </a:lnTo>
                  <a:lnTo>
                    <a:pt x="1057" y="706"/>
                  </a:lnTo>
                  <a:lnTo>
                    <a:pt x="1069" y="712"/>
                  </a:lnTo>
                  <a:lnTo>
                    <a:pt x="1099" y="722"/>
                  </a:lnTo>
                  <a:lnTo>
                    <a:pt x="1114" y="732"/>
                  </a:lnTo>
                  <a:lnTo>
                    <a:pt x="1130" y="741"/>
                  </a:lnTo>
                  <a:lnTo>
                    <a:pt x="1162" y="749"/>
                  </a:lnTo>
                  <a:lnTo>
                    <a:pt x="1175" y="759"/>
                  </a:lnTo>
                  <a:lnTo>
                    <a:pt x="1187" y="760"/>
                  </a:lnTo>
                  <a:lnTo>
                    <a:pt x="1198" y="775"/>
                  </a:lnTo>
                  <a:lnTo>
                    <a:pt x="1209" y="792"/>
                  </a:lnTo>
                  <a:lnTo>
                    <a:pt x="1216" y="812"/>
                  </a:lnTo>
                  <a:lnTo>
                    <a:pt x="1228" y="832"/>
                  </a:lnTo>
                  <a:lnTo>
                    <a:pt x="1240" y="846"/>
                  </a:lnTo>
                  <a:lnTo>
                    <a:pt x="1253" y="862"/>
                  </a:lnTo>
                  <a:lnTo>
                    <a:pt x="1269" y="876"/>
                  </a:lnTo>
                  <a:lnTo>
                    <a:pt x="1283" y="882"/>
                  </a:lnTo>
                  <a:lnTo>
                    <a:pt x="1304" y="882"/>
                  </a:lnTo>
                  <a:lnTo>
                    <a:pt x="1452" y="872"/>
                  </a:lnTo>
                  <a:lnTo>
                    <a:pt x="1470" y="870"/>
                  </a:lnTo>
                  <a:lnTo>
                    <a:pt x="1487" y="872"/>
                  </a:lnTo>
                  <a:lnTo>
                    <a:pt x="1521" y="883"/>
                  </a:lnTo>
                  <a:lnTo>
                    <a:pt x="1531" y="887"/>
                  </a:lnTo>
                  <a:lnTo>
                    <a:pt x="1540" y="898"/>
                  </a:lnTo>
                  <a:lnTo>
                    <a:pt x="1555" y="911"/>
                  </a:lnTo>
                  <a:lnTo>
                    <a:pt x="1578" y="921"/>
                  </a:lnTo>
                  <a:lnTo>
                    <a:pt x="1611" y="931"/>
                  </a:lnTo>
                  <a:lnTo>
                    <a:pt x="1629" y="941"/>
                  </a:lnTo>
                  <a:lnTo>
                    <a:pt x="1651" y="948"/>
                  </a:lnTo>
                  <a:lnTo>
                    <a:pt x="1680" y="950"/>
                  </a:lnTo>
                  <a:lnTo>
                    <a:pt x="1686" y="952"/>
                  </a:lnTo>
                  <a:lnTo>
                    <a:pt x="1697" y="961"/>
                  </a:lnTo>
                  <a:lnTo>
                    <a:pt x="1709" y="964"/>
                  </a:lnTo>
                  <a:lnTo>
                    <a:pt x="1719" y="963"/>
                  </a:lnTo>
                  <a:lnTo>
                    <a:pt x="1737" y="948"/>
                  </a:lnTo>
                  <a:lnTo>
                    <a:pt x="1767" y="937"/>
                  </a:lnTo>
                  <a:lnTo>
                    <a:pt x="1780" y="935"/>
                  </a:lnTo>
                  <a:lnTo>
                    <a:pt x="1791" y="931"/>
                  </a:lnTo>
                  <a:lnTo>
                    <a:pt x="1799" y="921"/>
                  </a:lnTo>
                  <a:lnTo>
                    <a:pt x="1810" y="918"/>
                  </a:lnTo>
                  <a:lnTo>
                    <a:pt x="1847" y="911"/>
                  </a:lnTo>
                  <a:lnTo>
                    <a:pt x="1865" y="904"/>
                  </a:lnTo>
                  <a:lnTo>
                    <a:pt x="1891" y="905"/>
                  </a:lnTo>
                  <a:lnTo>
                    <a:pt x="1907" y="899"/>
                  </a:lnTo>
                  <a:lnTo>
                    <a:pt x="1935" y="908"/>
                  </a:lnTo>
                  <a:lnTo>
                    <a:pt x="1940" y="905"/>
                  </a:lnTo>
                  <a:lnTo>
                    <a:pt x="1968" y="903"/>
                  </a:lnTo>
                  <a:lnTo>
                    <a:pt x="1998" y="892"/>
                  </a:lnTo>
                  <a:lnTo>
                    <a:pt x="2012" y="883"/>
                  </a:lnTo>
                  <a:lnTo>
                    <a:pt x="2032" y="868"/>
                  </a:lnTo>
                  <a:lnTo>
                    <a:pt x="2042" y="854"/>
                  </a:lnTo>
                  <a:lnTo>
                    <a:pt x="2100" y="805"/>
                  </a:lnTo>
                  <a:lnTo>
                    <a:pt x="2097" y="791"/>
                  </a:lnTo>
                  <a:lnTo>
                    <a:pt x="2075" y="762"/>
                  </a:lnTo>
                  <a:lnTo>
                    <a:pt x="2078" y="747"/>
                  </a:lnTo>
                  <a:lnTo>
                    <a:pt x="2091" y="727"/>
                  </a:lnTo>
                  <a:lnTo>
                    <a:pt x="2100" y="710"/>
                  </a:lnTo>
                  <a:lnTo>
                    <a:pt x="2121" y="704"/>
                  </a:lnTo>
                  <a:lnTo>
                    <a:pt x="2137" y="709"/>
                  </a:lnTo>
                  <a:lnTo>
                    <a:pt x="2149" y="722"/>
                  </a:lnTo>
                  <a:lnTo>
                    <a:pt x="2170" y="727"/>
                  </a:lnTo>
                  <a:lnTo>
                    <a:pt x="2188" y="727"/>
                  </a:lnTo>
                  <a:lnTo>
                    <a:pt x="2215" y="710"/>
                  </a:lnTo>
                  <a:lnTo>
                    <a:pt x="2234" y="689"/>
                  </a:lnTo>
                  <a:lnTo>
                    <a:pt x="2254" y="667"/>
                  </a:lnTo>
                  <a:lnTo>
                    <a:pt x="2266" y="667"/>
                  </a:lnTo>
                  <a:lnTo>
                    <a:pt x="2277" y="668"/>
                  </a:lnTo>
                  <a:lnTo>
                    <a:pt x="2284" y="666"/>
                  </a:lnTo>
                  <a:lnTo>
                    <a:pt x="2302" y="654"/>
                  </a:lnTo>
                  <a:lnTo>
                    <a:pt x="2353" y="598"/>
                  </a:lnTo>
                  <a:lnTo>
                    <a:pt x="2369" y="584"/>
                  </a:lnTo>
                  <a:lnTo>
                    <a:pt x="2390" y="580"/>
                  </a:lnTo>
                  <a:lnTo>
                    <a:pt x="2415" y="581"/>
                  </a:lnTo>
                  <a:lnTo>
                    <a:pt x="2440" y="577"/>
                  </a:lnTo>
                  <a:lnTo>
                    <a:pt x="2465" y="572"/>
                  </a:lnTo>
                  <a:lnTo>
                    <a:pt x="2484" y="577"/>
                  </a:lnTo>
                  <a:lnTo>
                    <a:pt x="2501" y="580"/>
                  </a:lnTo>
                  <a:lnTo>
                    <a:pt x="2511" y="574"/>
                  </a:lnTo>
                  <a:lnTo>
                    <a:pt x="2510" y="561"/>
                  </a:lnTo>
                  <a:lnTo>
                    <a:pt x="2496" y="553"/>
                  </a:lnTo>
                  <a:lnTo>
                    <a:pt x="2496" y="544"/>
                  </a:lnTo>
                  <a:lnTo>
                    <a:pt x="2498" y="531"/>
                  </a:lnTo>
                  <a:lnTo>
                    <a:pt x="2492" y="517"/>
                  </a:lnTo>
                  <a:lnTo>
                    <a:pt x="2463" y="493"/>
                  </a:lnTo>
                  <a:lnTo>
                    <a:pt x="2450" y="478"/>
                  </a:lnTo>
                  <a:lnTo>
                    <a:pt x="2444" y="464"/>
                  </a:lnTo>
                  <a:lnTo>
                    <a:pt x="2415" y="485"/>
                  </a:lnTo>
                  <a:lnTo>
                    <a:pt x="2397" y="498"/>
                  </a:lnTo>
                  <a:lnTo>
                    <a:pt x="2372" y="505"/>
                  </a:lnTo>
                  <a:lnTo>
                    <a:pt x="2347" y="507"/>
                  </a:lnTo>
                  <a:lnTo>
                    <a:pt x="2306" y="498"/>
                  </a:lnTo>
                  <a:lnTo>
                    <a:pt x="2297" y="483"/>
                  </a:lnTo>
                  <a:lnTo>
                    <a:pt x="2294" y="463"/>
                  </a:lnTo>
                  <a:lnTo>
                    <a:pt x="2294" y="441"/>
                  </a:lnTo>
                  <a:lnTo>
                    <a:pt x="2302" y="424"/>
                  </a:lnTo>
                  <a:lnTo>
                    <a:pt x="2305" y="404"/>
                  </a:lnTo>
                  <a:lnTo>
                    <a:pt x="2302" y="387"/>
                  </a:lnTo>
                  <a:lnTo>
                    <a:pt x="2302" y="371"/>
                  </a:lnTo>
                  <a:lnTo>
                    <a:pt x="2306" y="362"/>
                  </a:lnTo>
                  <a:lnTo>
                    <a:pt x="2317" y="348"/>
                  </a:lnTo>
                  <a:lnTo>
                    <a:pt x="2333" y="319"/>
                  </a:lnTo>
                  <a:lnTo>
                    <a:pt x="2342" y="311"/>
                  </a:lnTo>
                  <a:lnTo>
                    <a:pt x="2342" y="306"/>
                  </a:lnTo>
                  <a:lnTo>
                    <a:pt x="2353" y="308"/>
                  </a:lnTo>
                  <a:lnTo>
                    <a:pt x="2366" y="318"/>
                  </a:lnTo>
                  <a:lnTo>
                    <a:pt x="2398" y="328"/>
                  </a:lnTo>
                  <a:lnTo>
                    <a:pt x="2423" y="340"/>
                  </a:lnTo>
                  <a:lnTo>
                    <a:pt x="2434" y="338"/>
                  </a:lnTo>
                  <a:lnTo>
                    <a:pt x="2449" y="327"/>
                  </a:lnTo>
                  <a:lnTo>
                    <a:pt x="2499" y="296"/>
                  </a:lnTo>
                  <a:lnTo>
                    <a:pt x="2500" y="289"/>
                  </a:lnTo>
                  <a:lnTo>
                    <a:pt x="2498" y="276"/>
                  </a:lnTo>
                  <a:lnTo>
                    <a:pt x="2501" y="264"/>
                  </a:lnTo>
                  <a:lnTo>
                    <a:pt x="2512" y="251"/>
                  </a:lnTo>
                  <a:lnTo>
                    <a:pt x="2519" y="240"/>
                  </a:lnTo>
                  <a:lnTo>
                    <a:pt x="2526" y="210"/>
                  </a:lnTo>
                  <a:lnTo>
                    <a:pt x="2531" y="188"/>
                  </a:lnTo>
                  <a:lnTo>
                    <a:pt x="2538" y="171"/>
                  </a:lnTo>
                  <a:lnTo>
                    <a:pt x="2557" y="161"/>
                  </a:lnTo>
                  <a:lnTo>
                    <a:pt x="2581" y="134"/>
                  </a:lnTo>
                  <a:lnTo>
                    <a:pt x="2581" y="129"/>
                  </a:lnTo>
                  <a:lnTo>
                    <a:pt x="2576" y="118"/>
                  </a:lnTo>
                  <a:lnTo>
                    <a:pt x="2578" y="91"/>
                  </a:lnTo>
                  <a:lnTo>
                    <a:pt x="2571" y="87"/>
                  </a:lnTo>
                  <a:lnTo>
                    <a:pt x="2560" y="87"/>
                  </a:lnTo>
                  <a:lnTo>
                    <a:pt x="2542" y="92"/>
                  </a:lnTo>
                  <a:lnTo>
                    <a:pt x="2538" y="87"/>
                  </a:lnTo>
                  <a:lnTo>
                    <a:pt x="2543" y="74"/>
                  </a:lnTo>
                  <a:lnTo>
                    <a:pt x="2567" y="50"/>
                  </a:lnTo>
                  <a:lnTo>
                    <a:pt x="2575" y="38"/>
                  </a:lnTo>
                  <a:lnTo>
                    <a:pt x="2591" y="26"/>
                  </a:lnTo>
                  <a:lnTo>
                    <a:pt x="2625" y="20"/>
                  </a:lnTo>
                  <a:lnTo>
                    <a:pt x="2666" y="5"/>
                  </a:lnTo>
                  <a:lnTo>
                    <a:pt x="2691" y="6"/>
                  </a:lnTo>
                  <a:lnTo>
                    <a:pt x="2726" y="0"/>
                  </a:lnTo>
                  <a:lnTo>
                    <a:pt x="2738" y="0"/>
                  </a:lnTo>
                  <a:lnTo>
                    <a:pt x="2757" y="9"/>
                  </a:lnTo>
                  <a:lnTo>
                    <a:pt x="2774" y="21"/>
                  </a:lnTo>
                  <a:lnTo>
                    <a:pt x="2785" y="33"/>
                  </a:lnTo>
                  <a:lnTo>
                    <a:pt x="2801" y="37"/>
                  </a:lnTo>
                  <a:lnTo>
                    <a:pt x="2820" y="34"/>
                  </a:lnTo>
                  <a:lnTo>
                    <a:pt x="2836" y="38"/>
                  </a:lnTo>
                  <a:lnTo>
                    <a:pt x="2850" y="44"/>
                  </a:lnTo>
                  <a:lnTo>
                    <a:pt x="2858" y="58"/>
                  </a:lnTo>
                  <a:lnTo>
                    <a:pt x="2870" y="76"/>
                  </a:lnTo>
                  <a:lnTo>
                    <a:pt x="2871" y="89"/>
                  </a:lnTo>
                  <a:lnTo>
                    <a:pt x="2879" y="96"/>
                  </a:lnTo>
                  <a:lnTo>
                    <a:pt x="2888" y="102"/>
                  </a:lnTo>
                  <a:lnTo>
                    <a:pt x="2890" y="111"/>
                  </a:lnTo>
                  <a:lnTo>
                    <a:pt x="2891" y="106"/>
                  </a:lnTo>
                  <a:lnTo>
                    <a:pt x="2893" y="119"/>
                  </a:lnTo>
                  <a:lnTo>
                    <a:pt x="2898" y="134"/>
                  </a:lnTo>
                  <a:lnTo>
                    <a:pt x="2901" y="155"/>
                  </a:lnTo>
                  <a:lnTo>
                    <a:pt x="2909" y="172"/>
                  </a:lnTo>
                  <a:lnTo>
                    <a:pt x="2914" y="189"/>
                  </a:lnTo>
                  <a:lnTo>
                    <a:pt x="2935" y="229"/>
                  </a:lnTo>
                  <a:lnTo>
                    <a:pt x="2941" y="270"/>
                  </a:lnTo>
                  <a:lnTo>
                    <a:pt x="2950" y="289"/>
                  </a:lnTo>
                  <a:lnTo>
                    <a:pt x="2949" y="294"/>
                  </a:lnTo>
                  <a:lnTo>
                    <a:pt x="2950" y="295"/>
                  </a:lnTo>
                  <a:lnTo>
                    <a:pt x="2952" y="313"/>
                  </a:lnTo>
                  <a:lnTo>
                    <a:pt x="2952" y="334"/>
                  </a:lnTo>
                  <a:lnTo>
                    <a:pt x="2965" y="345"/>
                  </a:lnTo>
                  <a:lnTo>
                    <a:pt x="2988" y="348"/>
                  </a:lnTo>
                  <a:lnTo>
                    <a:pt x="3009" y="340"/>
                  </a:lnTo>
                  <a:lnTo>
                    <a:pt x="3025" y="348"/>
                  </a:lnTo>
                  <a:lnTo>
                    <a:pt x="3044" y="350"/>
                  </a:lnTo>
                  <a:lnTo>
                    <a:pt x="3062" y="359"/>
                  </a:lnTo>
                  <a:lnTo>
                    <a:pt x="3094" y="387"/>
                  </a:lnTo>
                  <a:lnTo>
                    <a:pt x="3109" y="394"/>
                  </a:lnTo>
                  <a:lnTo>
                    <a:pt x="3121" y="396"/>
                  </a:lnTo>
                  <a:lnTo>
                    <a:pt x="3125" y="403"/>
                  </a:lnTo>
                  <a:lnTo>
                    <a:pt x="3125" y="408"/>
                  </a:lnTo>
                  <a:lnTo>
                    <a:pt x="3127" y="407"/>
                  </a:lnTo>
                  <a:lnTo>
                    <a:pt x="3128" y="423"/>
                  </a:lnTo>
                  <a:lnTo>
                    <a:pt x="3135" y="432"/>
                  </a:lnTo>
                  <a:lnTo>
                    <a:pt x="3134" y="448"/>
                  </a:lnTo>
                  <a:lnTo>
                    <a:pt x="3135" y="466"/>
                  </a:lnTo>
                  <a:lnTo>
                    <a:pt x="3145" y="482"/>
                  </a:lnTo>
                  <a:lnTo>
                    <a:pt x="3151" y="495"/>
                  </a:lnTo>
                  <a:lnTo>
                    <a:pt x="3170" y="494"/>
                  </a:lnTo>
                  <a:lnTo>
                    <a:pt x="3189" y="500"/>
                  </a:lnTo>
                  <a:lnTo>
                    <a:pt x="3207" y="498"/>
                  </a:lnTo>
                  <a:lnTo>
                    <a:pt x="3238" y="483"/>
                  </a:lnTo>
                  <a:lnTo>
                    <a:pt x="3272" y="461"/>
                  </a:lnTo>
                  <a:lnTo>
                    <a:pt x="3290" y="459"/>
                  </a:lnTo>
                  <a:lnTo>
                    <a:pt x="3323" y="441"/>
                  </a:lnTo>
                  <a:lnTo>
                    <a:pt x="3355" y="432"/>
                  </a:lnTo>
                  <a:lnTo>
                    <a:pt x="3356" y="435"/>
                  </a:lnTo>
                  <a:lnTo>
                    <a:pt x="3348" y="448"/>
                  </a:lnTo>
                  <a:lnTo>
                    <a:pt x="3348" y="468"/>
                  </a:lnTo>
                  <a:lnTo>
                    <a:pt x="3353" y="484"/>
                  </a:lnTo>
                  <a:lnTo>
                    <a:pt x="3350" y="504"/>
                  </a:lnTo>
                  <a:lnTo>
                    <a:pt x="3338" y="514"/>
                  </a:lnTo>
                  <a:lnTo>
                    <a:pt x="3324" y="527"/>
                  </a:lnTo>
                  <a:lnTo>
                    <a:pt x="3322" y="548"/>
                  </a:lnTo>
                  <a:lnTo>
                    <a:pt x="3308" y="581"/>
                  </a:lnTo>
                  <a:lnTo>
                    <a:pt x="3300" y="623"/>
                  </a:lnTo>
                  <a:lnTo>
                    <a:pt x="3281" y="661"/>
                  </a:lnTo>
                  <a:lnTo>
                    <a:pt x="3268" y="679"/>
                  </a:lnTo>
                  <a:lnTo>
                    <a:pt x="3263" y="699"/>
                  </a:lnTo>
                  <a:lnTo>
                    <a:pt x="3251" y="709"/>
                  </a:lnTo>
                  <a:lnTo>
                    <a:pt x="3246" y="705"/>
                  </a:lnTo>
                  <a:lnTo>
                    <a:pt x="3195" y="693"/>
                  </a:lnTo>
                  <a:lnTo>
                    <a:pt x="3182" y="700"/>
                  </a:lnTo>
                  <a:lnTo>
                    <a:pt x="3146" y="735"/>
                  </a:lnTo>
                  <a:lnTo>
                    <a:pt x="3154" y="748"/>
                  </a:lnTo>
                  <a:lnTo>
                    <a:pt x="3160" y="775"/>
                  </a:lnTo>
                  <a:lnTo>
                    <a:pt x="3160" y="834"/>
                  </a:lnTo>
                  <a:lnTo>
                    <a:pt x="3144" y="859"/>
                  </a:lnTo>
                  <a:lnTo>
                    <a:pt x="3124" y="876"/>
                  </a:lnTo>
                  <a:lnTo>
                    <a:pt x="3124" y="894"/>
                  </a:lnTo>
                  <a:lnTo>
                    <a:pt x="3116" y="893"/>
                  </a:lnTo>
                  <a:lnTo>
                    <a:pt x="3108" y="878"/>
                  </a:lnTo>
                  <a:lnTo>
                    <a:pt x="3097" y="867"/>
                  </a:lnTo>
                  <a:lnTo>
                    <a:pt x="3086" y="876"/>
                  </a:lnTo>
                  <a:lnTo>
                    <a:pt x="3079" y="896"/>
                  </a:lnTo>
                  <a:lnTo>
                    <a:pt x="3069" y="911"/>
                  </a:lnTo>
                  <a:lnTo>
                    <a:pt x="3038" y="935"/>
                  </a:lnTo>
                  <a:lnTo>
                    <a:pt x="3014" y="941"/>
                  </a:lnTo>
                  <a:lnTo>
                    <a:pt x="2994" y="941"/>
                  </a:lnTo>
                  <a:lnTo>
                    <a:pt x="2989" y="950"/>
                  </a:lnTo>
                  <a:lnTo>
                    <a:pt x="2995" y="981"/>
                  </a:lnTo>
                  <a:lnTo>
                    <a:pt x="2953" y="985"/>
                  </a:lnTo>
                  <a:lnTo>
                    <a:pt x="2939" y="975"/>
                  </a:lnTo>
                  <a:lnTo>
                    <a:pt x="2920" y="970"/>
                  </a:lnTo>
                  <a:lnTo>
                    <a:pt x="2908" y="980"/>
                  </a:lnTo>
                  <a:lnTo>
                    <a:pt x="2883" y="1009"/>
                  </a:lnTo>
                  <a:lnTo>
                    <a:pt x="2865" y="1024"/>
                  </a:lnTo>
                  <a:lnTo>
                    <a:pt x="2826" y="1045"/>
                  </a:lnTo>
                  <a:lnTo>
                    <a:pt x="2811" y="1052"/>
                  </a:lnTo>
                  <a:lnTo>
                    <a:pt x="2783" y="1087"/>
                  </a:lnTo>
                  <a:lnTo>
                    <a:pt x="2781" y="1091"/>
                  </a:lnTo>
                  <a:lnTo>
                    <a:pt x="2774" y="1094"/>
                  </a:lnTo>
                  <a:lnTo>
                    <a:pt x="2767" y="1097"/>
                  </a:lnTo>
                  <a:lnTo>
                    <a:pt x="2756" y="1097"/>
                  </a:lnTo>
                  <a:lnTo>
                    <a:pt x="2734" y="1104"/>
                  </a:lnTo>
                  <a:lnTo>
                    <a:pt x="2729" y="1097"/>
                  </a:lnTo>
                  <a:lnTo>
                    <a:pt x="2724" y="1102"/>
                  </a:lnTo>
                  <a:lnTo>
                    <a:pt x="2709" y="1113"/>
                  </a:lnTo>
                  <a:lnTo>
                    <a:pt x="2673" y="1128"/>
                  </a:lnTo>
                  <a:lnTo>
                    <a:pt x="2665" y="1136"/>
                  </a:lnTo>
                  <a:lnTo>
                    <a:pt x="2657" y="1149"/>
                  </a:lnTo>
                  <a:lnTo>
                    <a:pt x="2646" y="1157"/>
                  </a:lnTo>
                  <a:lnTo>
                    <a:pt x="2638" y="1157"/>
                  </a:lnTo>
                  <a:lnTo>
                    <a:pt x="2632" y="1163"/>
                  </a:lnTo>
                  <a:lnTo>
                    <a:pt x="2613" y="1172"/>
                  </a:lnTo>
                  <a:lnTo>
                    <a:pt x="2607" y="1168"/>
                  </a:lnTo>
                  <a:lnTo>
                    <a:pt x="2616" y="1156"/>
                  </a:lnTo>
                  <a:lnTo>
                    <a:pt x="2630" y="1151"/>
                  </a:lnTo>
                  <a:lnTo>
                    <a:pt x="2635" y="1140"/>
                  </a:lnTo>
                  <a:lnTo>
                    <a:pt x="2638" y="1129"/>
                  </a:lnTo>
                  <a:lnTo>
                    <a:pt x="2630" y="1126"/>
                  </a:lnTo>
                  <a:lnTo>
                    <a:pt x="2622" y="1119"/>
                  </a:lnTo>
                  <a:lnTo>
                    <a:pt x="2616" y="1118"/>
                  </a:lnTo>
                  <a:lnTo>
                    <a:pt x="2625" y="1112"/>
                  </a:lnTo>
                  <a:lnTo>
                    <a:pt x="2627" y="1101"/>
                  </a:lnTo>
                  <a:lnTo>
                    <a:pt x="2638" y="1093"/>
                  </a:lnTo>
                  <a:lnTo>
                    <a:pt x="2660" y="1063"/>
                  </a:lnTo>
                  <a:lnTo>
                    <a:pt x="2667" y="1050"/>
                  </a:lnTo>
                  <a:lnTo>
                    <a:pt x="2665" y="1042"/>
                  </a:lnTo>
                  <a:lnTo>
                    <a:pt x="2652" y="1028"/>
                  </a:lnTo>
                  <a:lnTo>
                    <a:pt x="2649" y="1016"/>
                  </a:lnTo>
                  <a:lnTo>
                    <a:pt x="2644" y="1010"/>
                  </a:lnTo>
                  <a:lnTo>
                    <a:pt x="2639" y="1016"/>
                  </a:lnTo>
                  <a:lnTo>
                    <a:pt x="2616" y="1017"/>
                  </a:lnTo>
                  <a:lnTo>
                    <a:pt x="2606" y="1021"/>
                  </a:lnTo>
                  <a:lnTo>
                    <a:pt x="2590" y="1038"/>
                  </a:lnTo>
                  <a:lnTo>
                    <a:pt x="2578" y="1053"/>
                  </a:lnTo>
                  <a:lnTo>
                    <a:pt x="2571" y="1065"/>
                  </a:lnTo>
                  <a:lnTo>
                    <a:pt x="2568" y="1070"/>
                  </a:lnTo>
                  <a:lnTo>
                    <a:pt x="2542" y="1082"/>
                  </a:lnTo>
                  <a:lnTo>
                    <a:pt x="2524" y="1096"/>
                  </a:lnTo>
                  <a:lnTo>
                    <a:pt x="2516" y="1098"/>
                  </a:lnTo>
                  <a:lnTo>
                    <a:pt x="2509" y="1112"/>
                  </a:lnTo>
                  <a:lnTo>
                    <a:pt x="2506" y="1126"/>
                  </a:lnTo>
                  <a:lnTo>
                    <a:pt x="2498" y="1135"/>
                  </a:lnTo>
                  <a:lnTo>
                    <a:pt x="2488" y="1141"/>
                  </a:lnTo>
                  <a:lnTo>
                    <a:pt x="2473" y="1144"/>
                  </a:lnTo>
                  <a:lnTo>
                    <a:pt x="2462" y="1147"/>
                  </a:lnTo>
                  <a:lnTo>
                    <a:pt x="2451" y="1147"/>
                  </a:lnTo>
                  <a:lnTo>
                    <a:pt x="2445" y="1144"/>
                  </a:lnTo>
                  <a:lnTo>
                    <a:pt x="2433" y="1142"/>
                  </a:lnTo>
                  <a:lnTo>
                    <a:pt x="2423" y="1152"/>
                  </a:lnTo>
                  <a:lnTo>
                    <a:pt x="2417" y="1172"/>
                  </a:lnTo>
                  <a:lnTo>
                    <a:pt x="2414" y="1189"/>
                  </a:lnTo>
                  <a:lnTo>
                    <a:pt x="2431" y="1207"/>
                  </a:lnTo>
                  <a:lnTo>
                    <a:pt x="2435" y="1216"/>
                  </a:lnTo>
                  <a:lnTo>
                    <a:pt x="2444" y="1221"/>
                  </a:lnTo>
                  <a:lnTo>
                    <a:pt x="2451" y="1221"/>
                  </a:lnTo>
                  <a:lnTo>
                    <a:pt x="2456" y="1228"/>
                  </a:lnTo>
                  <a:lnTo>
                    <a:pt x="2465" y="1228"/>
                  </a:lnTo>
                  <a:lnTo>
                    <a:pt x="2469" y="1239"/>
                  </a:lnTo>
                  <a:lnTo>
                    <a:pt x="2479" y="1247"/>
                  </a:lnTo>
                  <a:lnTo>
                    <a:pt x="2482" y="1255"/>
                  </a:lnTo>
                  <a:lnTo>
                    <a:pt x="2482" y="1265"/>
                  </a:lnTo>
                  <a:lnTo>
                    <a:pt x="2490" y="1276"/>
                  </a:lnTo>
                  <a:lnTo>
                    <a:pt x="2517" y="1286"/>
                  </a:lnTo>
                  <a:lnTo>
                    <a:pt x="2531" y="1285"/>
                  </a:lnTo>
                  <a:lnTo>
                    <a:pt x="2543" y="1269"/>
                  </a:lnTo>
                  <a:lnTo>
                    <a:pt x="2554" y="1260"/>
                  </a:lnTo>
                  <a:lnTo>
                    <a:pt x="2562" y="1249"/>
                  </a:lnTo>
                  <a:lnTo>
                    <a:pt x="2584" y="1239"/>
                  </a:lnTo>
                  <a:lnTo>
                    <a:pt x="2591" y="1238"/>
                  </a:lnTo>
                  <a:lnTo>
                    <a:pt x="2602" y="1249"/>
                  </a:lnTo>
                  <a:lnTo>
                    <a:pt x="2611" y="1254"/>
                  </a:lnTo>
                  <a:lnTo>
                    <a:pt x="2622" y="1255"/>
                  </a:lnTo>
                  <a:lnTo>
                    <a:pt x="2629" y="1264"/>
                  </a:lnTo>
                  <a:lnTo>
                    <a:pt x="2637" y="1265"/>
                  </a:lnTo>
                  <a:lnTo>
                    <a:pt x="2649" y="1263"/>
                  </a:lnTo>
                  <a:lnTo>
                    <a:pt x="2657" y="1258"/>
                  </a:lnTo>
                  <a:lnTo>
                    <a:pt x="2671" y="1264"/>
                  </a:lnTo>
                  <a:lnTo>
                    <a:pt x="2683" y="1266"/>
                  </a:lnTo>
                  <a:lnTo>
                    <a:pt x="2687" y="1268"/>
                  </a:lnTo>
                  <a:lnTo>
                    <a:pt x="2684" y="1281"/>
                  </a:lnTo>
                  <a:lnTo>
                    <a:pt x="2680" y="1290"/>
                  </a:lnTo>
                  <a:lnTo>
                    <a:pt x="2680" y="1295"/>
                  </a:lnTo>
                  <a:lnTo>
                    <a:pt x="2670" y="1307"/>
                  </a:lnTo>
                  <a:lnTo>
                    <a:pt x="2666" y="1303"/>
                  </a:lnTo>
                  <a:lnTo>
                    <a:pt x="2662" y="1293"/>
                  </a:lnTo>
                  <a:lnTo>
                    <a:pt x="2656" y="1297"/>
                  </a:lnTo>
                  <a:lnTo>
                    <a:pt x="2650" y="1295"/>
                  </a:lnTo>
                  <a:lnTo>
                    <a:pt x="2643" y="1301"/>
                  </a:lnTo>
                  <a:lnTo>
                    <a:pt x="2637" y="1311"/>
                  </a:lnTo>
                  <a:lnTo>
                    <a:pt x="2614" y="1313"/>
                  </a:lnTo>
                  <a:lnTo>
                    <a:pt x="2602" y="1319"/>
                  </a:lnTo>
                  <a:lnTo>
                    <a:pt x="2591" y="1319"/>
                  </a:lnTo>
                  <a:lnTo>
                    <a:pt x="2594" y="1333"/>
                  </a:lnTo>
                  <a:lnTo>
                    <a:pt x="2590" y="1333"/>
                  </a:lnTo>
                  <a:lnTo>
                    <a:pt x="2585" y="1338"/>
                  </a:lnTo>
                  <a:lnTo>
                    <a:pt x="2578" y="1355"/>
                  </a:lnTo>
                  <a:lnTo>
                    <a:pt x="2568" y="1356"/>
                  </a:lnTo>
                  <a:lnTo>
                    <a:pt x="2564" y="1345"/>
                  </a:lnTo>
                  <a:lnTo>
                    <a:pt x="2555" y="1345"/>
                  </a:lnTo>
                  <a:lnTo>
                    <a:pt x="2548" y="1354"/>
                  </a:lnTo>
                  <a:lnTo>
                    <a:pt x="2555" y="1362"/>
                  </a:lnTo>
                  <a:lnTo>
                    <a:pt x="2552" y="1371"/>
                  </a:lnTo>
                  <a:lnTo>
                    <a:pt x="2544" y="1381"/>
                  </a:lnTo>
                  <a:lnTo>
                    <a:pt x="2526" y="1391"/>
                  </a:lnTo>
                  <a:lnTo>
                    <a:pt x="2521" y="1404"/>
                  </a:lnTo>
                  <a:lnTo>
                    <a:pt x="2509" y="1421"/>
                  </a:lnTo>
                  <a:lnTo>
                    <a:pt x="2500" y="1437"/>
                  </a:lnTo>
                  <a:lnTo>
                    <a:pt x="2503" y="1446"/>
                  </a:lnTo>
                  <a:lnTo>
                    <a:pt x="2514" y="1448"/>
                  </a:lnTo>
                  <a:lnTo>
                    <a:pt x="2522" y="1456"/>
                  </a:lnTo>
                  <a:lnTo>
                    <a:pt x="2555" y="1473"/>
                  </a:lnTo>
                  <a:lnTo>
                    <a:pt x="2562" y="1483"/>
                  </a:lnTo>
                  <a:lnTo>
                    <a:pt x="2567" y="1499"/>
                  </a:lnTo>
                  <a:lnTo>
                    <a:pt x="2574" y="1508"/>
                  </a:lnTo>
                  <a:lnTo>
                    <a:pt x="2584" y="1548"/>
                  </a:lnTo>
                  <a:lnTo>
                    <a:pt x="2590" y="1561"/>
                  </a:lnTo>
                  <a:lnTo>
                    <a:pt x="2594" y="1578"/>
                  </a:lnTo>
                  <a:lnTo>
                    <a:pt x="2603" y="1592"/>
                  </a:lnTo>
                  <a:lnTo>
                    <a:pt x="2617" y="1598"/>
                  </a:lnTo>
                  <a:lnTo>
                    <a:pt x="2618" y="1608"/>
                  </a:lnTo>
                  <a:lnTo>
                    <a:pt x="2635" y="1625"/>
                  </a:lnTo>
                  <a:lnTo>
                    <a:pt x="2646" y="1642"/>
                  </a:lnTo>
                  <a:lnTo>
                    <a:pt x="2646" y="1646"/>
                  </a:lnTo>
                  <a:lnTo>
                    <a:pt x="2628" y="1637"/>
                  </a:lnTo>
                  <a:lnTo>
                    <a:pt x="2613" y="1632"/>
                  </a:lnTo>
                  <a:lnTo>
                    <a:pt x="2602" y="1632"/>
                  </a:lnTo>
                  <a:lnTo>
                    <a:pt x="2590" y="1624"/>
                  </a:lnTo>
                  <a:lnTo>
                    <a:pt x="2576" y="1620"/>
                  </a:lnTo>
                  <a:lnTo>
                    <a:pt x="2551" y="1625"/>
                  </a:lnTo>
                  <a:lnTo>
                    <a:pt x="2551" y="1631"/>
                  </a:lnTo>
                  <a:lnTo>
                    <a:pt x="2576" y="1626"/>
                  </a:lnTo>
                  <a:lnTo>
                    <a:pt x="2581" y="1630"/>
                  </a:lnTo>
                  <a:lnTo>
                    <a:pt x="2584" y="1637"/>
                  </a:lnTo>
                  <a:lnTo>
                    <a:pt x="2595" y="1639"/>
                  </a:lnTo>
                  <a:lnTo>
                    <a:pt x="2607" y="1647"/>
                  </a:lnTo>
                  <a:lnTo>
                    <a:pt x="2618" y="1660"/>
                  </a:lnTo>
                  <a:lnTo>
                    <a:pt x="2627" y="1664"/>
                  </a:lnTo>
                  <a:lnTo>
                    <a:pt x="2632" y="1667"/>
                  </a:lnTo>
                  <a:lnTo>
                    <a:pt x="2640" y="1677"/>
                  </a:lnTo>
                  <a:lnTo>
                    <a:pt x="2648" y="1690"/>
                  </a:lnTo>
                  <a:lnTo>
                    <a:pt x="2646" y="1695"/>
                  </a:lnTo>
                  <a:lnTo>
                    <a:pt x="2633" y="1696"/>
                  </a:lnTo>
                  <a:lnTo>
                    <a:pt x="2622" y="1706"/>
                  </a:lnTo>
                  <a:lnTo>
                    <a:pt x="2611" y="1710"/>
                  </a:lnTo>
                  <a:lnTo>
                    <a:pt x="2603" y="1715"/>
                  </a:lnTo>
                  <a:lnTo>
                    <a:pt x="2600" y="1720"/>
                  </a:lnTo>
                  <a:lnTo>
                    <a:pt x="2589" y="1727"/>
                  </a:lnTo>
                  <a:lnTo>
                    <a:pt x="2573" y="1727"/>
                  </a:lnTo>
                  <a:lnTo>
                    <a:pt x="2562" y="1730"/>
                  </a:lnTo>
                  <a:lnTo>
                    <a:pt x="2551" y="1734"/>
                  </a:lnTo>
                  <a:lnTo>
                    <a:pt x="2563" y="1733"/>
                  </a:lnTo>
                  <a:lnTo>
                    <a:pt x="2575" y="1737"/>
                  </a:lnTo>
                  <a:lnTo>
                    <a:pt x="2586" y="1742"/>
                  </a:lnTo>
                  <a:lnTo>
                    <a:pt x="2607" y="1733"/>
                  </a:lnTo>
                  <a:lnTo>
                    <a:pt x="2616" y="1736"/>
                  </a:lnTo>
                  <a:lnTo>
                    <a:pt x="2624" y="1743"/>
                  </a:lnTo>
                  <a:lnTo>
                    <a:pt x="2628" y="1749"/>
                  </a:lnTo>
                  <a:lnTo>
                    <a:pt x="2633" y="1753"/>
                  </a:lnTo>
                  <a:lnTo>
                    <a:pt x="2640" y="1755"/>
                  </a:lnTo>
                  <a:lnTo>
                    <a:pt x="2648" y="1755"/>
                  </a:lnTo>
                  <a:lnTo>
                    <a:pt x="2652" y="1758"/>
                  </a:lnTo>
                  <a:lnTo>
                    <a:pt x="2646" y="1761"/>
                  </a:lnTo>
                  <a:lnTo>
                    <a:pt x="2633" y="1776"/>
                  </a:lnTo>
                  <a:lnTo>
                    <a:pt x="2623" y="1781"/>
                  </a:lnTo>
                  <a:lnTo>
                    <a:pt x="2627" y="1782"/>
                  </a:lnTo>
                  <a:lnTo>
                    <a:pt x="2643" y="1775"/>
                  </a:lnTo>
                  <a:lnTo>
                    <a:pt x="2643" y="1788"/>
                  </a:lnTo>
                  <a:lnTo>
                    <a:pt x="2641" y="1798"/>
                  </a:lnTo>
                  <a:lnTo>
                    <a:pt x="2640" y="1795"/>
                  </a:lnTo>
                  <a:lnTo>
                    <a:pt x="2635" y="1798"/>
                  </a:lnTo>
                  <a:lnTo>
                    <a:pt x="2623" y="1802"/>
                  </a:lnTo>
                  <a:lnTo>
                    <a:pt x="2623" y="1804"/>
                  </a:lnTo>
                  <a:lnTo>
                    <a:pt x="2628" y="1814"/>
                  </a:lnTo>
                  <a:lnTo>
                    <a:pt x="2625" y="1829"/>
                  </a:lnTo>
                  <a:lnTo>
                    <a:pt x="2622" y="1833"/>
                  </a:lnTo>
                  <a:lnTo>
                    <a:pt x="2622" y="1850"/>
                  </a:lnTo>
                  <a:lnTo>
                    <a:pt x="2616" y="1865"/>
                  </a:lnTo>
                  <a:lnTo>
                    <a:pt x="2611" y="1862"/>
                  </a:lnTo>
                  <a:lnTo>
                    <a:pt x="2606" y="1856"/>
                  </a:lnTo>
                  <a:lnTo>
                    <a:pt x="2601" y="1860"/>
                  </a:lnTo>
                  <a:lnTo>
                    <a:pt x="2594" y="1871"/>
                  </a:lnTo>
                  <a:lnTo>
                    <a:pt x="2587" y="1879"/>
                  </a:lnTo>
                  <a:lnTo>
                    <a:pt x="2582" y="1887"/>
                  </a:lnTo>
                  <a:lnTo>
                    <a:pt x="2578" y="1890"/>
                  </a:lnTo>
                  <a:lnTo>
                    <a:pt x="2574" y="1897"/>
                  </a:lnTo>
                  <a:lnTo>
                    <a:pt x="2571" y="1904"/>
                  </a:lnTo>
                  <a:lnTo>
                    <a:pt x="2571" y="1911"/>
                  </a:lnTo>
                  <a:lnTo>
                    <a:pt x="2567" y="1921"/>
                  </a:lnTo>
                  <a:lnTo>
                    <a:pt x="2560" y="1930"/>
                  </a:lnTo>
                  <a:lnTo>
                    <a:pt x="2555" y="1933"/>
                  </a:lnTo>
                  <a:lnTo>
                    <a:pt x="2546" y="1943"/>
                  </a:lnTo>
                  <a:lnTo>
                    <a:pt x="2543" y="1957"/>
                  </a:lnTo>
                  <a:lnTo>
                    <a:pt x="2537" y="1964"/>
                  </a:lnTo>
                  <a:lnTo>
                    <a:pt x="2535" y="1962"/>
                  </a:lnTo>
                  <a:lnTo>
                    <a:pt x="2533" y="1948"/>
                  </a:lnTo>
                  <a:lnTo>
                    <a:pt x="2525" y="1949"/>
                  </a:lnTo>
                  <a:lnTo>
                    <a:pt x="2517" y="1956"/>
                  </a:lnTo>
                  <a:lnTo>
                    <a:pt x="2526" y="1973"/>
                  </a:lnTo>
                  <a:lnTo>
                    <a:pt x="2526" y="1976"/>
                  </a:lnTo>
                  <a:lnTo>
                    <a:pt x="2521" y="1992"/>
                  </a:lnTo>
                  <a:lnTo>
                    <a:pt x="2521" y="1997"/>
                  </a:lnTo>
                  <a:lnTo>
                    <a:pt x="2520" y="2003"/>
                  </a:lnTo>
                  <a:lnTo>
                    <a:pt x="2517" y="2010"/>
                  </a:lnTo>
                  <a:lnTo>
                    <a:pt x="2515" y="2013"/>
                  </a:lnTo>
                  <a:lnTo>
                    <a:pt x="2511" y="2014"/>
                  </a:lnTo>
                  <a:lnTo>
                    <a:pt x="2511" y="2021"/>
                  </a:lnTo>
                  <a:lnTo>
                    <a:pt x="2512" y="2028"/>
                  </a:lnTo>
                  <a:lnTo>
                    <a:pt x="2511" y="2030"/>
                  </a:lnTo>
                  <a:lnTo>
                    <a:pt x="2506" y="2028"/>
                  </a:lnTo>
                  <a:lnTo>
                    <a:pt x="2500" y="2028"/>
                  </a:lnTo>
                  <a:lnTo>
                    <a:pt x="2495" y="2033"/>
                  </a:lnTo>
                  <a:lnTo>
                    <a:pt x="2498" y="2040"/>
                  </a:lnTo>
                  <a:lnTo>
                    <a:pt x="2494" y="2046"/>
                  </a:lnTo>
                  <a:lnTo>
                    <a:pt x="2490" y="2044"/>
                  </a:lnTo>
                  <a:lnTo>
                    <a:pt x="2484" y="2045"/>
                  </a:lnTo>
                  <a:lnTo>
                    <a:pt x="2478" y="2060"/>
                  </a:lnTo>
                  <a:lnTo>
                    <a:pt x="2471" y="2065"/>
                  </a:lnTo>
                  <a:lnTo>
                    <a:pt x="2469" y="2075"/>
                  </a:lnTo>
                  <a:lnTo>
                    <a:pt x="2465" y="2081"/>
                  </a:lnTo>
                  <a:lnTo>
                    <a:pt x="2447" y="2083"/>
                  </a:lnTo>
                  <a:lnTo>
                    <a:pt x="2440" y="2081"/>
                  </a:lnTo>
                  <a:lnTo>
                    <a:pt x="2431" y="2088"/>
                  </a:lnTo>
                  <a:lnTo>
                    <a:pt x="2433" y="2091"/>
                  </a:lnTo>
                  <a:lnTo>
                    <a:pt x="2435" y="2097"/>
                  </a:lnTo>
                  <a:lnTo>
                    <a:pt x="2433" y="2105"/>
                  </a:lnTo>
                  <a:lnTo>
                    <a:pt x="2418" y="2119"/>
                  </a:lnTo>
                  <a:lnTo>
                    <a:pt x="2413" y="2119"/>
                  </a:lnTo>
                  <a:lnTo>
                    <a:pt x="2410" y="2131"/>
                  </a:lnTo>
                  <a:lnTo>
                    <a:pt x="2408" y="2123"/>
                  </a:lnTo>
                  <a:lnTo>
                    <a:pt x="2402" y="2127"/>
                  </a:lnTo>
                  <a:lnTo>
                    <a:pt x="2401" y="2135"/>
                  </a:lnTo>
                  <a:lnTo>
                    <a:pt x="2398" y="2134"/>
                  </a:lnTo>
                  <a:lnTo>
                    <a:pt x="2395" y="2134"/>
                  </a:lnTo>
                  <a:lnTo>
                    <a:pt x="2385" y="2141"/>
                  </a:lnTo>
                  <a:lnTo>
                    <a:pt x="2380" y="2140"/>
                  </a:lnTo>
                  <a:lnTo>
                    <a:pt x="2372" y="2141"/>
                  </a:lnTo>
                  <a:lnTo>
                    <a:pt x="2365" y="2152"/>
                  </a:lnTo>
                  <a:lnTo>
                    <a:pt x="2361" y="2159"/>
                  </a:lnTo>
                  <a:lnTo>
                    <a:pt x="2356" y="2164"/>
                  </a:lnTo>
                  <a:lnTo>
                    <a:pt x="2354" y="2170"/>
                  </a:lnTo>
                  <a:lnTo>
                    <a:pt x="2344" y="2177"/>
                  </a:lnTo>
                  <a:lnTo>
                    <a:pt x="2328" y="2183"/>
                  </a:lnTo>
                  <a:lnTo>
                    <a:pt x="2316" y="2189"/>
                  </a:lnTo>
                  <a:lnTo>
                    <a:pt x="2309" y="2186"/>
                  </a:lnTo>
                  <a:lnTo>
                    <a:pt x="2302" y="2184"/>
                  </a:lnTo>
                  <a:lnTo>
                    <a:pt x="2299" y="2189"/>
                  </a:lnTo>
                  <a:lnTo>
                    <a:pt x="2297" y="2193"/>
                  </a:lnTo>
                  <a:lnTo>
                    <a:pt x="2291" y="2195"/>
                  </a:lnTo>
                  <a:lnTo>
                    <a:pt x="2285" y="2193"/>
                  </a:lnTo>
                  <a:lnTo>
                    <a:pt x="2285" y="2188"/>
                  </a:lnTo>
                  <a:lnTo>
                    <a:pt x="2277" y="2184"/>
                  </a:lnTo>
                  <a:lnTo>
                    <a:pt x="2268" y="2190"/>
                  </a:lnTo>
                  <a:lnTo>
                    <a:pt x="2263" y="2199"/>
                  </a:lnTo>
                  <a:lnTo>
                    <a:pt x="2256" y="2199"/>
                  </a:lnTo>
                  <a:lnTo>
                    <a:pt x="2253" y="2193"/>
                  </a:lnTo>
                  <a:lnTo>
                    <a:pt x="2253" y="2189"/>
                  </a:lnTo>
                  <a:lnTo>
                    <a:pt x="2245" y="2191"/>
                  </a:lnTo>
                  <a:lnTo>
                    <a:pt x="2245" y="2202"/>
                  </a:lnTo>
                  <a:lnTo>
                    <a:pt x="2243" y="220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49" name="Freeform 115"/>
            <p:cNvSpPr>
              <a:spLocks noChangeAspect="1"/>
            </p:cNvSpPr>
            <p:nvPr/>
          </p:nvSpPr>
          <p:spPr bwMode="gray">
            <a:xfrm>
              <a:off x="8066183" y="3352365"/>
              <a:ext cx="109720" cy="132706"/>
            </a:xfrm>
            <a:custGeom>
              <a:avLst/>
              <a:gdLst/>
              <a:ahLst/>
              <a:cxnLst>
                <a:cxn ang="0">
                  <a:pos x="220" y="310"/>
                </a:cxn>
                <a:cxn ang="0">
                  <a:pos x="185" y="277"/>
                </a:cxn>
                <a:cxn ang="0">
                  <a:pos x="169" y="266"/>
                </a:cxn>
                <a:cxn ang="0">
                  <a:pos x="174" y="262"/>
                </a:cxn>
                <a:cxn ang="0">
                  <a:pos x="174" y="236"/>
                </a:cxn>
                <a:cxn ang="0">
                  <a:pos x="186" y="226"/>
                </a:cxn>
                <a:cxn ang="0">
                  <a:pos x="199" y="212"/>
                </a:cxn>
                <a:cxn ang="0">
                  <a:pos x="235" y="200"/>
                </a:cxn>
                <a:cxn ang="0">
                  <a:pos x="257" y="181"/>
                </a:cxn>
                <a:cxn ang="0">
                  <a:pos x="289" y="155"/>
                </a:cxn>
                <a:cxn ang="0">
                  <a:pos x="297" y="121"/>
                </a:cxn>
                <a:cxn ang="0">
                  <a:pos x="295" y="101"/>
                </a:cxn>
                <a:cxn ang="0">
                  <a:pos x="308" y="80"/>
                </a:cxn>
                <a:cxn ang="0">
                  <a:pos x="342" y="46"/>
                </a:cxn>
                <a:cxn ang="0">
                  <a:pos x="347" y="41"/>
                </a:cxn>
                <a:cxn ang="0">
                  <a:pos x="343" y="27"/>
                </a:cxn>
                <a:cxn ang="0">
                  <a:pos x="327" y="11"/>
                </a:cxn>
                <a:cxn ang="0">
                  <a:pos x="305" y="9"/>
                </a:cxn>
                <a:cxn ang="0">
                  <a:pos x="288" y="44"/>
                </a:cxn>
                <a:cxn ang="0">
                  <a:pos x="233" y="74"/>
                </a:cxn>
                <a:cxn ang="0">
                  <a:pos x="208" y="83"/>
                </a:cxn>
                <a:cxn ang="0">
                  <a:pos x="172" y="118"/>
                </a:cxn>
                <a:cxn ang="0">
                  <a:pos x="139" y="103"/>
                </a:cxn>
                <a:cxn ang="0">
                  <a:pos x="102" y="142"/>
                </a:cxn>
                <a:cxn ang="0">
                  <a:pos x="45" y="178"/>
                </a:cxn>
                <a:cxn ang="0">
                  <a:pos x="2" y="220"/>
                </a:cxn>
                <a:cxn ang="0">
                  <a:pos x="13" y="235"/>
                </a:cxn>
                <a:cxn ang="0">
                  <a:pos x="30" y="239"/>
                </a:cxn>
                <a:cxn ang="0">
                  <a:pos x="57" y="245"/>
                </a:cxn>
                <a:cxn ang="0">
                  <a:pos x="59" y="258"/>
                </a:cxn>
                <a:cxn ang="0">
                  <a:pos x="50" y="301"/>
                </a:cxn>
                <a:cxn ang="0">
                  <a:pos x="59" y="307"/>
                </a:cxn>
                <a:cxn ang="0">
                  <a:pos x="43" y="320"/>
                </a:cxn>
                <a:cxn ang="0">
                  <a:pos x="32" y="339"/>
                </a:cxn>
                <a:cxn ang="0">
                  <a:pos x="40" y="353"/>
                </a:cxn>
                <a:cxn ang="0">
                  <a:pos x="48" y="355"/>
                </a:cxn>
                <a:cxn ang="0">
                  <a:pos x="40" y="361"/>
                </a:cxn>
                <a:cxn ang="0">
                  <a:pos x="47" y="366"/>
                </a:cxn>
                <a:cxn ang="0">
                  <a:pos x="53" y="377"/>
                </a:cxn>
                <a:cxn ang="0">
                  <a:pos x="64" y="372"/>
                </a:cxn>
                <a:cxn ang="0">
                  <a:pos x="74" y="360"/>
                </a:cxn>
                <a:cxn ang="0">
                  <a:pos x="78" y="356"/>
                </a:cxn>
                <a:cxn ang="0">
                  <a:pos x="91" y="368"/>
                </a:cxn>
                <a:cxn ang="0">
                  <a:pos x="102" y="369"/>
                </a:cxn>
                <a:cxn ang="0">
                  <a:pos x="121" y="374"/>
                </a:cxn>
                <a:cxn ang="0">
                  <a:pos x="156" y="340"/>
                </a:cxn>
                <a:cxn ang="0">
                  <a:pos x="191" y="340"/>
                </a:cxn>
                <a:cxn ang="0">
                  <a:pos x="223" y="318"/>
                </a:cxn>
              </a:cxnLst>
              <a:rect l="0" t="0" r="r" b="b"/>
              <a:pathLst>
                <a:path w="349" h="377">
                  <a:moveTo>
                    <a:pt x="223" y="318"/>
                  </a:moveTo>
                  <a:lnTo>
                    <a:pt x="220" y="310"/>
                  </a:lnTo>
                  <a:lnTo>
                    <a:pt x="196" y="290"/>
                  </a:lnTo>
                  <a:lnTo>
                    <a:pt x="185" y="277"/>
                  </a:lnTo>
                  <a:lnTo>
                    <a:pt x="171" y="272"/>
                  </a:lnTo>
                  <a:lnTo>
                    <a:pt x="169" y="266"/>
                  </a:lnTo>
                  <a:lnTo>
                    <a:pt x="174" y="253"/>
                  </a:lnTo>
                  <a:lnTo>
                    <a:pt x="174" y="262"/>
                  </a:lnTo>
                  <a:lnTo>
                    <a:pt x="175" y="255"/>
                  </a:lnTo>
                  <a:lnTo>
                    <a:pt x="174" y="236"/>
                  </a:lnTo>
                  <a:lnTo>
                    <a:pt x="175" y="229"/>
                  </a:lnTo>
                  <a:lnTo>
                    <a:pt x="186" y="226"/>
                  </a:lnTo>
                  <a:lnTo>
                    <a:pt x="196" y="220"/>
                  </a:lnTo>
                  <a:lnTo>
                    <a:pt x="199" y="212"/>
                  </a:lnTo>
                  <a:lnTo>
                    <a:pt x="223" y="209"/>
                  </a:lnTo>
                  <a:lnTo>
                    <a:pt x="235" y="200"/>
                  </a:lnTo>
                  <a:lnTo>
                    <a:pt x="239" y="194"/>
                  </a:lnTo>
                  <a:lnTo>
                    <a:pt x="257" y="181"/>
                  </a:lnTo>
                  <a:lnTo>
                    <a:pt x="274" y="162"/>
                  </a:lnTo>
                  <a:lnTo>
                    <a:pt x="289" y="155"/>
                  </a:lnTo>
                  <a:lnTo>
                    <a:pt x="295" y="150"/>
                  </a:lnTo>
                  <a:lnTo>
                    <a:pt x="297" y="121"/>
                  </a:lnTo>
                  <a:lnTo>
                    <a:pt x="293" y="112"/>
                  </a:lnTo>
                  <a:lnTo>
                    <a:pt x="295" y="101"/>
                  </a:lnTo>
                  <a:lnTo>
                    <a:pt x="304" y="87"/>
                  </a:lnTo>
                  <a:lnTo>
                    <a:pt x="308" y="80"/>
                  </a:lnTo>
                  <a:lnTo>
                    <a:pt x="335" y="49"/>
                  </a:lnTo>
                  <a:lnTo>
                    <a:pt x="342" y="46"/>
                  </a:lnTo>
                  <a:lnTo>
                    <a:pt x="349" y="48"/>
                  </a:lnTo>
                  <a:lnTo>
                    <a:pt x="347" y="41"/>
                  </a:lnTo>
                  <a:lnTo>
                    <a:pt x="343" y="33"/>
                  </a:lnTo>
                  <a:lnTo>
                    <a:pt x="343" y="27"/>
                  </a:lnTo>
                  <a:lnTo>
                    <a:pt x="335" y="26"/>
                  </a:lnTo>
                  <a:lnTo>
                    <a:pt x="327" y="11"/>
                  </a:lnTo>
                  <a:lnTo>
                    <a:pt x="316" y="0"/>
                  </a:lnTo>
                  <a:lnTo>
                    <a:pt x="305" y="9"/>
                  </a:lnTo>
                  <a:lnTo>
                    <a:pt x="298" y="29"/>
                  </a:lnTo>
                  <a:lnTo>
                    <a:pt x="288" y="44"/>
                  </a:lnTo>
                  <a:lnTo>
                    <a:pt x="257" y="68"/>
                  </a:lnTo>
                  <a:lnTo>
                    <a:pt x="233" y="74"/>
                  </a:lnTo>
                  <a:lnTo>
                    <a:pt x="213" y="74"/>
                  </a:lnTo>
                  <a:lnTo>
                    <a:pt x="208" y="83"/>
                  </a:lnTo>
                  <a:lnTo>
                    <a:pt x="214" y="114"/>
                  </a:lnTo>
                  <a:lnTo>
                    <a:pt x="172" y="118"/>
                  </a:lnTo>
                  <a:lnTo>
                    <a:pt x="158" y="108"/>
                  </a:lnTo>
                  <a:lnTo>
                    <a:pt x="139" y="103"/>
                  </a:lnTo>
                  <a:lnTo>
                    <a:pt x="127" y="113"/>
                  </a:lnTo>
                  <a:lnTo>
                    <a:pt x="102" y="142"/>
                  </a:lnTo>
                  <a:lnTo>
                    <a:pt x="84" y="157"/>
                  </a:lnTo>
                  <a:lnTo>
                    <a:pt x="45" y="178"/>
                  </a:lnTo>
                  <a:lnTo>
                    <a:pt x="30" y="185"/>
                  </a:lnTo>
                  <a:lnTo>
                    <a:pt x="2" y="220"/>
                  </a:lnTo>
                  <a:lnTo>
                    <a:pt x="0" y="224"/>
                  </a:lnTo>
                  <a:lnTo>
                    <a:pt x="13" y="235"/>
                  </a:lnTo>
                  <a:lnTo>
                    <a:pt x="16" y="246"/>
                  </a:lnTo>
                  <a:lnTo>
                    <a:pt x="30" y="239"/>
                  </a:lnTo>
                  <a:lnTo>
                    <a:pt x="42" y="243"/>
                  </a:lnTo>
                  <a:lnTo>
                    <a:pt x="57" y="245"/>
                  </a:lnTo>
                  <a:lnTo>
                    <a:pt x="63" y="248"/>
                  </a:lnTo>
                  <a:lnTo>
                    <a:pt x="59" y="258"/>
                  </a:lnTo>
                  <a:lnTo>
                    <a:pt x="56" y="278"/>
                  </a:lnTo>
                  <a:lnTo>
                    <a:pt x="50" y="301"/>
                  </a:lnTo>
                  <a:lnTo>
                    <a:pt x="52" y="307"/>
                  </a:lnTo>
                  <a:lnTo>
                    <a:pt x="59" y="307"/>
                  </a:lnTo>
                  <a:lnTo>
                    <a:pt x="45" y="315"/>
                  </a:lnTo>
                  <a:lnTo>
                    <a:pt x="43" y="320"/>
                  </a:lnTo>
                  <a:lnTo>
                    <a:pt x="37" y="323"/>
                  </a:lnTo>
                  <a:lnTo>
                    <a:pt x="32" y="339"/>
                  </a:lnTo>
                  <a:lnTo>
                    <a:pt x="24" y="352"/>
                  </a:lnTo>
                  <a:lnTo>
                    <a:pt x="40" y="353"/>
                  </a:lnTo>
                  <a:lnTo>
                    <a:pt x="50" y="350"/>
                  </a:lnTo>
                  <a:lnTo>
                    <a:pt x="48" y="355"/>
                  </a:lnTo>
                  <a:lnTo>
                    <a:pt x="45" y="361"/>
                  </a:lnTo>
                  <a:lnTo>
                    <a:pt x="40" y="361"/>
                  </a:lnTo>
                  <a:lnTo>
                    <a:pt x="41" y="368"/>
                  </a:lnTo>
                  <a:lnTo>
                    <a:pt x="47" y="366"/>
                  </a:lnTo>
                  <a:lnTo>
                    <a:pt x="51" y="376"/>
                  </a:lnTo>
                  <a:lnTo>
                    <a:pt x="53" y="377"/>
                  </a:lnTo>
                  <a:lnTo>
                    <a:pt x="61" y="377"/>
                  </a:lnTo>
                  <a:lnTo>
                    <a:pt x="64" y="372"/>
                  </a:lnTo>
                  <a:lnTo>
                    <a:pt x="71" y="370"/>
                  </a:lnTo>
                  <a:lnTo>
                    <a:pt x="74" y="360"/>
                  </a:lnTo>
                  <a:lnTo>
                    <a:pt x="72" y="355"/>
                  </a:lnTo>
                  <a:lnTo>
                    <a:pt x="78" y="356"/>
                  </a:lnTo>
                  <a:lnTo>
                    <a:pt x="84" y="365"/>
                  </a:lnTo>
                  <a:lnTo>
                    <a:pt x="91" y="368"/>
                  </a:lnTo>
                  <a:lnTo>
                    <a:pt x="99" y="374"/>
                  </a:lnTo>
                  <a:lnTo>
                    <a:pt x="102" y="369"/>
                  </a:lnTo>
                  <a:lnTo>
                    <a:pt x="113" y="365"/>
                  </a:lnTo>
                  <a:lnTo>
                    <a:pt x="121" y="374"/>
                  </a:lnTo>
                  <a:lnTo>
                    <a:pt x="134" y="363"/>
                  </a:lnTo>
                  <a:lnTo>
                    <a:pt x="156" y="340"/>
                  </a:lnTo>
                  <a:lnTo>
                    <a:pt x="174" y="339"/>
                  </a:lnTo>
                  <a:lnTo>
                    <a:pt x="191" y="340"/>
                  </a:lnTo>
                  <a:lnTo>
                    <a:pt x="206" y="334"/>
                  </a:lnTo>
                  <a:lnTo>
                    <a:pt x="223" y="31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grpSp>
          <p:nvGrpSpPr>
            <p:cNvPr id="50" name="Group 116"/>
            <p:cNvGrpSpPr>
              <a:grpSpLocks noChangeAspect="1"/>
            </p:cNvGrpSpPr>
            <p:nvPr/>
          </p:nvGrpSpPr>
          <p:grpSpPr>
            <a:xfrm>
              <a:off x="6237522" y="1594009"/>
              <a:ext cx="2978333" cy="1802010"/>
              <a:chOff x="2730" y="960"/>
              <a:chExt cx="1873" cy="1032"/>
            </a:xfrm>
            <a:grpFill/>
          </p:grpSpPr>
          <p:grpSp>
            <p:nvGrpSpPr>
              <p:cNvPr id="325" name="Group 117"/>
              <p:cNvGrpSpPr>
                <a:grpSpLocks noChangeAspect="1"/>
              </p:cNvGrpSpPr>
              <p:nvPr/>
            </p:nvGrpSpPr>
            <p:grpSpPr>
              <a:xfrm>
                <a:off x="3044" y="960"/>
                <a:ext cx="1473" cy="481"/>
                <a:chOff x="3044" y="960"/>
                <a:chExt cx="1473" cy="481"/>
              </a:xfrm>
              <a:grpFill/>
            </p:grpSpPr>
            <p:sp>
              <p:nvSpPr>
                <p:cNvPr id="329" name="Freeform 118"/>
                <p:cNvSpPr>
                  <a:spLocks noChangeAspect="1"/>
                </p:cNvSpPr>
                <p:nvPr/>
              </p:nvSpPr>
              <p:spPr bwMode="gray">
                <a:xfrm>
                  <a:off x="3044" y="1416"/>
                  <a:ext cx="23" cy="25"/>
                </a:xfrm>
                <a:custGeom>
                  <a:avLst/>
                  <a:gdLst/>
                  <a:ahLst/>
                  <a:cxnLst>
                    <a:cxn ang="0">
                      <a:pos x="27" y="8"/>
                    </a:cxn>
                    <a:cxn ang="0">
                      <a:pos x="29" y="5"/>
                    </a:cxn>
                    <a:cxn ang="0">
                      <a:pos x="34" y="3"/>
                    </a:cxn>
                    <a:cxn ang="0">
                      <a:pos x="38" y="7"/>
                    </a:cxn>
                    <a:cxn ang="0">
                      <a:pos x="49" y="0"/>
                    </a:cxn>
                    <a:cxn ang="0">
                      <a:pos x="54" y="0"/>
                    </a:cxn>
                    <a:cxn ang="0">
                      <a:pos x="94" y="37"/>
                    </a:cxn>
                    <a:cxn ang="0">
                      <a:pos x="100" y="51"/>
                    </a:cxn>
                    <a:cxn ang="0">
                      <a:pos x="105" y="53"/>
                    </a:cxn>
                    <a:cxn ang="0">
                      <a:pos x="105" y="34"/>
                    </a:cxn>
                    <a:cxn ang="0">
                      <a:pos x="109" y="49"/>
                    </a:cxn>
                    <a:cxn ang="0">
                      <a:pos x="116" y="65"/>
                    </a:cxn>
                    <a:cxn ang="0">
                      <a:pos x="115" y="78"/>
                    </a:cxn>
                    <a:cxn ang="0">
                      <a:pos x="109" y="64"/>
                    </a:cxn>
                    <a:cxn ang="0">
                      <a:pos x="97" y="76"/>
                    </a:cxn>
                    <a:cxn ang="0">
                      <a:pos x="77" y="105"/>
                    </a:cxn>
                    <a:cxn ang="0">
                      <a:pos x="63" y="113"/>
                    </a:cxn>
                    <a:cxn ang="0">
                      <a:pos x="55" y="113"/>
                    </a:cxn>
                    <a:cxn ang="0">
                      <a:pos x="45" y="124"/>
                    </a:cxn>
                    <a:cxn ang="0">
                      <a:pos x="35" y="125"/>
                    </a:cxn>
                    <a:cxn ang="0">
                      <a:pos x="30" y="118"/>
                    </a:cxn>
                    <a:cxn ang="0">
                      <a:pos x="28" y="126"/>
                    </a:cxn>
                    <a:cxn ang="0">
                      <a:pos x="19" y="118"/>
                    </a:cxn>
                    <a:cxn ang="0">
                      <a:pos x="12" y="105"/>
                    </a:cxn>
                    <a:cxn ang="0">
                      <a:pos x="6" y="105"/>
                    </a:cxn>
                    <a:cxn ang="0">
                      <a:pos x="4" y="118"/>
                    </a:cxn>
                    <a:cxn ang="0">
                      <a:pos x="8" y="125"/>
                    </a:cxn>
                    <a:cxn ang="0">
                      <a:pos x="2" y="115"/>
                    </a:cxn>
                    <a:cxn ang="0">
                      <a:pos x="0" y="104"/>
                    </a:cxn>
                    <a:cxn ang="0">
                      <a:pos x="2" y="91"/>
                    </a:cxn>
                    <a:cxn ang="0">
                      <a:pos x="3" y="56"/>
                    </a:cxn>
                    <a:cxn ang="0">
                      <a:pos x="7" y="41"/>
                    </a:cxn>
                    <a:cxn ang="0">
                      <a:pos x="19" y="17"/>
                    </a:cxn>
                    <a:cxn ang="0">
                      <a:pos x="27" y="8"/>
                    </a:cxn>
                  </a:cxnLst>
                  <a:rect l="0" t="0" r="r" b="b"/>
                  <a:pathLst>
                    <a:path w="115" h="125">
                      <a:moveTo>
                        <a:pt x="27" y="8"/>
                      </a:moveTo>
                      <a:lnTo>
                        <a:pt x="29" y="5"/>
                      </a:lnTo>
                      <a:lnTo>
                        <a:pt x="34" y="3"/>
                      </a:lnTo>
                      <a:lnTo>
                        <a:pt x="38" y="7"/>
                      </a:lnTo>
                      <a:lnTo>
                        <a:pt x="49" y="0"/>
                      </a:lnTo>
                      <a:lnTo>
                        <a:pt x="54" y="0"/>
                      </a:lnTo>
                      <a:lnTo>
                        <a:pt x="94" y="37"/>
                      </a:lnTo>
                      <a:lnTo>
                        <a:pt x="100" y="51"/>
                      </a:lnTo>
                      <a:lnTo>
                        <a:pt x="105" y="53"/>
                      </a:lnTo>
                      <a:lnTo>
                        <a:pt x="105" y="34"/>
                      </a:lnTo>
                      <a:lnTo>
                        <a:pt x="109" y="49"/>
                      </a:lnTo>
                      <a:lnTo>
                        <a:pt x="116" y="65"/>
                      </a:lnTo>
                      <a:lnTo>
                        <a:pt x="115" y="78"/>
                      </a:lnTo>
                      <a:lnTo>
                        <a:pt x="109" y="64"/>
                      </a:lnTo>
                      <a:lnTo>
                        <a:pt x="97" y="76"/>
                      </a:lnTo>
                      <a:lnTo>
                        <a:pt x="77" y="105"/>
                      </a:lnTo>
                      <a:lnTo>
                        <a:pt x="63" y="113"/>
                      </a:lnTo>
                      <a:lnTo>
                        <a:pt x="55" y="113"/>
                      </a:lnTo>
                      <a:lnTo>
                        <a:pt x="45" y="124"/>
                      </a:lnTo>
                      <a:lnTo>
                        <a:pt x="35" y="125"/>
                      </a:lnTo>
                      <a:lnTo>
                        <a:pt x="30" y="118"/>
                      </a:lnTo>
                      <a:lnTo>
                        <a:pt x="28" y="126"/>
                      </a:lnTo>
                      <a:lnTo>
                        <a:pt x="19" y="118"/>
                      </a:lnTo>
                      <a:lnTo>
                        <a:pt x="12" y="105"/>
                      </a:lnTo>
                      <a:lnTo>
                        <a:pt x="6" y="105"/>
                      </a:lnTo>
                      <a:lnTo>
                        <a:pt x="4" y="118"/>
                      </a:lnTo>
                      <a:lnTo>
                        <a:pt x="8" y="125"/>
                      </a:lnTo>
                      <a:lnTo>
                        <a:pt x="2" y="115"/>
                      </a:lnTo>
                      <a:lnTo>
                        <a:pt x="0" y="104"/>
                      </a:lnTo>
                      <a:lnTo>
                        <a:pt x="2" y="91"/>
                      </a:lnTo>
                      <a:lnTo>
                        <a:pt x="3" y="56"/>
                      </a:lnTo>
                      <a:lnTo>
                        <a:pt x="7" y="41"/>
                      </a:lnTo>
                      <a:lnTo>
                        <a:pt x="19" y="17"/>
                      </a:lnTo>
                      <a:lnTo>
                        <a:pt x="27" y="8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330" name="Freeform 119"/>
                <p:cNvSpPr>
                  <a:spLocks noChangeAspect="1"/>
                </p:cNvSpPr>
                <p:nvPr/>
              </p:nvSpPr>
              <p:spPr bwMode="gray">
                <a:xfrm>
                  <a:off x="3605" y="995"/>
                  <a:ext cx="67" cy="84"/>
                </a:xfrm>
                <a:custGeom>
                  <a:avLst/>
                  <a:gdLst/>
                  <a:ahLst/>
                  <a:cxnLst>
                    <a:cxn ang="0">
                      <a:pos x="42" y="277"/>
                    </a:cxn>
                    <a:cxn ang="0">
                      <a:pos x="52" y="238"/>
                    </a:cxn>
                    <a:cxn ang="0">
                      <a:pos x="66" y="185"/>
                    </a:cxn>
                    <a:cxn ang="0">
                      <a:pos x="96" y="201"/>
                    </a:cxn>
                    <a:cxn ang="0">
                      <a:pos x="80" y="149"/>
                    </a:cxn>
                    <a:cxn ang="0">
                      <a:pos x="92" y="119"/>
                    </a:cxn>
                    <a:cxn ang="0">
                      <a:pos x="93" y="115"/>
                    </a:cxn>
                    <a:cxn ang="0">
                      <a:pos x="100" y="94"/>
                    </a:cxn>
                    <a:cxn ang="0">
                      <a:pos x="105" y="88"/>
                    </a:cxn>
                    <a:cxn ang="0">
                      <a:pos x="124" y="52"/>
                    </a:cxn>
                    <a:cxn ang="0">
                      <a:pos x="124" y="29"/>
                    </a:cxn>
                    <a:cxn ang="0">
                      <a:pos x="136" y="39"/>
                    </a:cxn>
                    <a:cxn ang="0">
                      <a:pos x="155" y="62"/>
                    </a:cxn>
                    <a:cxn ang="0">
                      <a:pos x="155" y="16"/>
                    </a:cxn>
                    <a:cxn ang="0">
                      <a:pos x="194" y="12"/>
                    </a:cxn>
                    <a:cxn ang="0">
                      <a:pos x="195" y="29"/>
                    </a:cxn>
                    <a:cxn ang="0">
                      <a:pos x="208" y="30"/>
                    </a:cxn>
                    <a:cxn ang="0">
                      <a:pos x="195" y="73"/>
                    </a:cxn>
                    <a:cxn ang="0">
                      <a:pos x="194" y="108"/>
                    </a:cxn>
                    <a:cxn ang="0">
                      <a:pos x="209" y="103"/>
                    </a:cxn>
                    <a:cxn ang="0">
                      <a:pos x="219" y="66"/>
                    </a:cxn>
                    <a:cxn ang="0">
                      <a:pos x="233" y="79"/>
                    </a:cxn>
                    <a:cxn ang="0">
                      <a:pos x="238" y="99"/>
                    </a:cxn>
                    <a:cxn ang="0">
                      <a:pos x="249" y="72"/>
                    </a:cxn>
                    <a:cxn ang="0">
                      <a:pos x="262" y="95"/>
                    </a:cxn>
                    <a:cxn ang="0">
                      <a:pos x="261" y="119"/>
                    </a:cxn>
                    <a:cxn ang="0">
                      <a:pos x="273" y="131"/>
                    </a:cxn>
                    <a:cxn ang="0">
                      <a:pos x="279" y="110"/>
                    </a:cxn>
                    <a:cxn ang="0">
                      <a:pos x="292" y="163"/>
                    </a:cxn>
                    <a:cxn ang="0">
                      <a:pos x="334" y="195"/>
                    </a:cxn>
                    <a:cxn ang="0">
                      <a:pos x="337" y="234"/>
                    </a:cxn>
                    <a:cxn ang="0">
                      <a:pos x="337" y="259"/>
                    </a:cxn>
                    <a:cxn ang="0">
                      <a:pos x="318" y="312"/>
                    </a:cxn>
                    <a:cxn ang="0">
                      <a:pos x="301" y="317"/>
                    </a:cxn>
                    <a:cxn ang="0">
                      <a:pos x="242" y="344"/>
                    </a:cxn>
                    <a:cxn ang="0">
                      <a:pos x="216" y="347"/>
                    </a:cxn>
                    <a:cxn ang="0">
                      <a:pos x="200" y="346"/>
                    </a:cxn>
                    <a:cxn ang="0">
                      <a:pos x="190" y="360"/>
                    </a:cxn>
                    <a:cxn ang="0">
                      <a:pos x="149" y="352"/>
                    </a:cxn>
                    <a:cxn ang="0">
                      <a:pos x="133" y="352"/>
                    </a:cxn>
                    <a:cxn ang="0">
                      <a:pos x="92" y="368"/>
                    </a:cxn>
                    <a:cxn ang="0">
                      <a:pos x="77" y="385"/>
                    </a:cxn>
                    <a:cxn ang="0">
                      <a:pos x="41" y="409"/>
                    </a:cxn>
                    <a:cxn ang="0">
                      <a:pos x="6" y="416"/>
                    </a:cxn>
                    <a:cxn ang="0">
                      <a:pos x="12" y="398"/>
                    </a:cxn>
                    <a:cxn ang="0">
                      <a:pos x="0" y="393"/>
                    </a:cxn>
                    <a:cxn ang="0">
                      <a:pos x="9" y="355"/>
                    </a:cxn>
                    <a:cxn ang="0">
                      <a:pos x="33" y="297"/>
                    </a:cxn>
                  </a:cxnLst>
                  <a:rect l="0" t="0" r="r" b="b"/>
                  <a:pathLst>
                    <a:path w="337" h="418">
                      <a:moveTo>
                        <a:pt x="33" y="286"/>
                      </a:moveTo>
                      <a:lnTo>
                        <a:pt x="42" y="277"/>
                      </a:lnTo>
                      <a:lnTo>
                        <a:pt x="42" y="269"/>
                      </a:lnTo>
                      <a:lnTo>
                        <a:pt x="52" y="238"/>
                      </a:lnTo>
                      <a:lnTo>
                        <a:pt x="49" y="228"/>
                      </a:lnTo>
                      <a:lnTo>
                        <a:pt x="66" y="185"/>
                      </a:lnTo>
                      <a:lnTo>
                        <a:pt x="85" y="202"/>
                      </a:lnTo>
                      <a:lnTo>
                        <a:pt x="96" y="201"/>
                      </a:lnTo>
                      <a:lnTo>
                        <a:pt x="80" y="183"/>
                      </a:lnTo>
                      <a:lnTo>
                        <a:pt x="80" y="149"/>
                      </a:lnTo>
                      <a:lnTo>
                        <a:pt x="81" y="131"/>
                      </a:lnTo>
                      <a:lnTo>
                        <a:pt x="92" y="119"/>
                      </a:lnTo>
                      <a:lnTo>
                        <a:pt x="100" y="118"/>
                      </a:lnTo>
                      <a:lnTo>
                        <a:pt x="93" y="115"/>
                      </a:lnTo>
                      <a:lnTo>
                        <a:pt x="93" y="103"/>
                      </a:lnTo>
                      <a:lnTo>
                        <a:pt x="100" y="94"/>
                      </a:lnTo>
                      <a:lnTo>
                        <a:pt x="109" y="92"/>
                      </a:lnTo>
                      <a:lnTo>
                        <a:pt x="105" y="88"/>
                      </a:lnTo>
                      <a:lnTo>
                        <a:pt x="105" y="73"/>
                      </a:lnTo>
                      <a:lnTo>
                        <a:pt x="124" y="52"/>
                      </a:lnTo>
                      <a:lnTo>
                        <a:pt x="125" y="44"/>
                      </a:lnTo>
                      <a:lnTo>
                        <a:pt x="124" y="29"/>
                      </a:lnTo>
                      <a:lnTo>
                        <a:pt x="130" y="24"/>
                      </a:lnTo>
                      <a:lnTo>
                        <a:pt x="136" y="39"/>
                      </a:lnTo>
                      <a:lnTo>
                        <a:pt x="139" y="56"/>
                      </a:lnTo>
                      <a:lnTo>
                        <a:pt x="155" y="62"/>
                      </a:lnTo>
                      <a:lnTo>
                        <a:pt x="157" y="48"/>
                      </a:lnTo>
                      <a:lnTo>
                        <a:pt x="155" y="16"/>
                      </a:lnTo>
                      <a:lnTo>
                        <a:pt x="166" y="0"/>
                      </a:lnTo>
                      <a:lnTo>
                        <a:pt x="194" y="12"/>
                      </a:lnTo>
                      <a:lnTo>
                        <a:pt x="194" y="36"/>
                      </a:lnTo>
                      <a:lnTo>
                        <a:pt x="195" y="29"/>
                      </a:lnTo>
                      <a:lnTo>
                        <a:pt x="200" y="23"/>
                      </a:lnTo>
                      <a:lnTo>
                        <a:pt x="208" y="30"/>
                      </a:lnTo>
                      <a:lnTo>
                        <a:pt x="208" y="43"/>
                      </a:lnTo>
                      <a:lnTo>
                        <a:pt x="195" y="73"/>
                      </a:lnTo>
                      <a:lnTo>
                        <a:pt x="197" y="94"/>
                      </a:lnTo>
                      <a:lnTo>
                        <a:pt x="194" y="108"/>
                      </a:lnTo>
                      <a:lnTo>
                        <a:pt x="194" y="122"/>
                      </a:lnTo>
                      <a:lnTo>
                        <a:pt x="209" y="103"/>
                      </a:lnTo>
                      <a:lnTo>
                        <a:pt x="219" y="84"/>
                      </a:lnTo>
                      <a:lnTo>
                        <a:pt x="219" y="66"/>
                      </a:lnTo>
                      <a:lnTo>
                        <a:pt x="224" y="65"/>
                      </a:lnTo>
                      <a:lnTo>
                        <a:pt x="233" y="79"/>
                      </a:lnTo>
                      <a:lnTo>
                        <a:pt x="236" y="94"/>
                      </a:lnTo>
                      <a:lnTo>
                        <a:pt x="238" y="99"/>
                      </a:lnTo>
                      <a:lnTo>
                        <a:pt x="245" y="88"/>
                      </a:lnTo>
                      <a:lnTo>
                        <a:pt x="249" y="72"/>
                      </a:lnTo>
                      <a:lnTo>
                        <a:pt x="258" y="77"/>
                      </a:lnTo>
                      <a:lnTo>
                        <a:pt x="262" y="95"/>
                      </a:lnTo>
                      <a:lnTo>
                        <a:pt x="259" y="110"/>
                      </a:lnTo>
                      <a:lnTo>
                        <a:pt x="261" y="119"/>
                      </a:lnTo>
                      <a:lnTo>
                        <a:pt x="267" y="131"/>
                      </a:lnTo>
                      <a:lnTo>
                        <a:pt x="273" y="131"/>
                      </a:lnTo>
                      <a:lnTo>
                        <a:pt x="272" y="118"/>
                      </a:lnTo>
                      <a:lnTo>
                        <a:pt x="279" y="110"/>
                      </a:lnTo>
                      <a:lnTo>
                        <a:pt x="284" y="137"/>
                      </a:lnTo>
                      <a:lnTo>
                        <a:pt x="292" y="163"/>
                      </a:lnTo>
                      <a:lnTo>
                        <a:pt x="326" y="184"/>
                      </a:lnTo>
                      <a:lnTo>
                        <a:pt x="334" y="195"/>
                      </a:lnTo>
                      <a:lnTo>
                        <a:pt x="337" y="217"/>
                      </a:lnTo>
                      <a:lnTo>
                        <a:pt x="337" y="234"/>
                      </a:lnTo>
                      <a:lnTo>
                        <a:pt x="333" y="245"/>
                      </a:lnTo>
                      <a:lnTo>
                        <a:pt x="337" y="259"/>
                      </a:lnTo>
                      <a:lnTo>
                        <a:pt x="337" y="276"/>
                      </a:lnTo>
                      <a:lnTo>
                        <a:pt x="318" y="312"/>
                      </a:lnTo>
                      <a:lnTo>
                        <a:pt x="307" y="323"/>
                      </a:lnTo>
                      <a:lnTo>
                        <a:pt x="301" y="317"/>
                      </a:lnTo>
                      <a:lnTo>
                        <a:pt x="280" y="321"/>
                      </a:lnTo>
                      <a:lnTo>
                        <a:pt x="242" y="344"/>
                      </a:lnTo>
                      <a:lnTo>
                        <a:pt x="226" y="341"/>
                      </a:lnTo>
                      <a:lnTo>
                        <a:pt x="216" y="347"/>
                      </a:lnTo>
                      <a:lnTo>
                        <a:pt x="205" y="344"/>
                      </a:lnTo>
                      <a:lnTo>
                        <a:pt x="200" y="346"/>
                      </a:lnTo>
                      <a:lnTo>
                        <a:pt x="199" y="355"/>
                      </a:lnTo>
                      <a:lnTo>
                        <a:pt x="190" y="360"/>
                      </a:lnTo>
                      <a:lnTo>
                        <a:pt x="176" y="342"/>
                      </a:lnTo>
                      <a:lnTo>
                        <a:pt x="149" y="352"/>
                      </a:lnTo>
                      <a:lnTo>
                        <a:pt x="143" y="346"/>
                      </a:lnTo>
                      <a:lnTo>
                        <a:pt x="133" y="352"/>
                      </a:lnTo>
                      <a:lnTo>
                        <a:pt x="98" y="350"/>
                      </a:lnTo>
                      <a:lnTo>
                        <a:pt x="92" y="368"/>
                      </a:lnTo>
                      <a:lnTo>
                        <a:pt x="86" y="371"/>
                      </a:lnTo>
                      <a:lnTo>
                        <a:pt x="77" y="385"/>
                      </a:lnTo>
                      <a:lnTo>
                        <a:pt x="53" y="396"/>
                      </a:lnTo>
                      <a:lnTo>
                        <a:pt x="41" y="409"/>
                      </a:lnTo>
                      <a:lnTo>
                        <a:pt x="33" y="418"/>
                      </a:lnTo>
                      <a:lnTo>
                        <a:pt x="6" y="416"/>
                      </a:lnTo>
                      <a:lnTo>
                        <a:pt x="7" y="409"/>
                      </a:lnTo>
                      <a:lnTo>
                        <a:pt x="12" y="398"/>
                      </a:lnTo>
                      <a:lnTo>
                        <a:pt x="11" y="387"/>
                      </a:lnTo>
                      <a:lnTo>
                        <a:pt x="0" y="393"/>
                      </a:lnTo>
                      <a:lnTo>
                        <a:pt x="4" y="366"/>
                      </a:lnTo>
                      <a:lnTo>
                        <a:pt x="9" y="355"/>
                      </a:lnTo>
                      <a:lnTo>
                        <a:pt x="38" y="302"/>
                      </a:lnTo>
                      <a:lnTo>
                        <a:pt x="33" y="297"/>
                      </a:lnTo>
                      <a:lnTo>
                        <a:pt x="33" y="28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331" name="Freeform 120"/>
                <p:cNvSpPr>
                  <a:spLocks noChangeAspect="1"/>
                </p:cNvSpPr>
                <p:nvPr/>
              </p:nvSpPr>
              <p:spPr bwMode="gray">
                <a:xfrm>
                  <a:off x="4015" y="1163"/>
                  <a:ext cx="73" cy="67"/>
                </a:xfrm>
                <a:custGeom>
                  <a:avLst/>
                  <a:gdLst/>
                  <a:ahLst/>
                  <a:cxnLst>
                    <a:cxn ang="0">
                      <a:pos x="179" y="89"/>
                    </a:cxn>
                    <a:cxn ang="0">
                      <a:pos x="185" y="89"/>
                    </a:cxn>
                    <a:cxn ang="0">
                      <a:pos x="200" y="103"/>
                    </a:cxn>
                    <a:cxn ang="0">
                      <a:pos x="194" y="120"/>
                    </a:cxn>
                    <a:cxn ang="0">
                      <a:pos x="195" y="127"/>
                    </a:cxn>
                    <a:cxn ang="0">
                      <a:pos x="205" y="132"/>
                    </a:cxn>
                    <a:cxn ang="0">
                      <a:pos x="216" y="133"/>
                    </a:cxn>
                    <a:cxn ang="0">
                      <a:pos x="228" y="133"/>
                    </a:cxn>
                    <a:cxn ang="0">
                      <a:pos x="233" y="103"/>
                    </a:cxn>
                    <a:cxn ang="0">
                      <a:pos x="225" y="60"/>
                    </a:cxn>
                    <a:cxn ang="0">
                      <a:pos x="235" y="34"/>
                    </a:cxn>
                    <a:cxn ang="0">
                      <a:pos x="268" y="49"/>
                    </a:cxn>
                    <a:cxn ang="0">
                      <a:pos x="290" y="89"/>
                    </a:cxn>
                    <a:cxn ang="0">
                      <a:pos x="307" y="109"/>
                    </a:cxn>
                    <a:cxn ang="0">
                      <a:pos x="314" y="127"/>
                    </a:cxn>
                    <a:cxn ang="0">
                      <a:pos x="309" y="151"/>
                    </a:cxn>
                    <a:cxn ang="0">
                      <a:pos x="300" y="170"/>
                    </a:cxn>
                    <a:cxn ang="0">
                      <a:pos x="296" y="191"/>
                    </a:cxn>
                    <a:cxn ang="0">
                      <a:pos x="309" y="234"/>
                    </a:cxn>
                    <a:cxn ang="0">
                      <a:pos x="344" y="259"/>
                    </a:cxn>
                    <a:cxn ang="0">
                      <a:pos x="365" y="280"/>
                    </a:cxn>
                    <a:cxn ang="0">
                      <a:pos x="343" y="289"/>
                    </a:cxn>
                    <a:cxn ang="0">
                      <a:pos x="314" y="287"/>
                    </a:cxn>
                    <a:cxn ang="0">
                      <a:pos x="305" y="302"/>
                    </a:cxn>
                    <a:cxn ang="0">
                      <a:pos x="287" y="272"/>
                    </a:cxn>
                    <a:cxn ang="0">
                      <a:pos x="279" y="253"/>
                    </a:cxn>
                    <a:cxn ang="0">
                      <a:pos x="238" y="280"/>
                    </a:cxn>
                    <a:cxn ang="0">
                      <a:pos x="211" y="301"/>
                    </a:cxn>
                    <a:cxn ang="0">
                      <a:pos x="174" y="310"/>
                    </a:cxn>
                    <a:cxn ang="0">
                      <a:pos x="172" y="303"/>
                    </a:cxn>
                    <a:cxn ang="0">
                      <a:pos x="169" y="289"/>
                    </a:cxn>
                    <a:cxn ang="0">
                      <a:pos x="162" y="256"/>
                    </a:cxn>
                    <a:cxn ang="0">
                      <a:pos x="146" y="288"/>
                    </a:cxn>
                    <a:cxn ang="0">
                      <a:pos x="150" y="298"/>
                    </a:cxn>
                    <a:cxn ang="0">
                      <a:pos x="140" y="331"/>
                    </a:cxn>
                    <a:cxn ang="0">
                      <a:pos x="113" y="324"/>
                    </a:cxn>
                    <a:cxn ang="0">
                      <a:pos x="70" y="307"/>
                    </a:cxn>
                    <a:cxn ang="0">
                      <a:pos x="54" y="260"/>
                    </a:cxn>
                    <a:cxn ang="0">
                      <a:pos x="15" y="242"/>
                    </a:cxn>
                    <a:cxn ang="0">
                      <a:pos x="0" y="196"/>
                    </a:cxn>
                    <a:cxn ang="0">
                      <a:pos x="20" y="196"/>
                    </a:cxn>
                    <a:cxn ang="0">
                      <a:pos x="27" y="179"/>
                    </a:cxn>
                    <a:cxn ang="0">
                      <a:pos x="15" y="176"/>
                    </a:cxn>
                    <a:cxn ang="0">
                      <a:pos x="26" y="173"/>
                    </a:cxn>
                    <a:cxn ang="0">
                      <a:pos x="13" y="152"/>
                    </a:cxn>
                    <a:cxn ang="0">
                      <a:pos x="8" y="140"/>
                    </a:cxn>
                    <a:cxn ang="0">
                      <a:pos x="21" y="143"/>
                    </a:cxn>
                    <a:cxn ang="0">
                      <a:pos x="17" y="122"/>
                    </a:cxn>
                    <a:cxn ang="0">
                      <a:pos x="26" y="99"/>
                    </a:cxn>
                    <a:cxn ang="0">
                      <a:pos x="44" y="95"/>
                    </a:cxn>
                    <a:cxn ang="0">
                      <a:pos x="33" y="88"/>
                    </a:cxn>
                    <a:cxn ang="0">
                      <a:pos x="26" y="67"/>
                    </a:cxn>
                    <a:cxn ang="0">
                      <a:pos x="36" y="51"/>
                    </a:cxn>
                    <a:cxn ang="0">
                      <a:pos x="67" y="43"/>
                    </a:cxn>
                    <a:cxn ang="0">
                      <a:pos x="80" y="22"/>
                    </a:cxn>
                    <a:cxn ang="0">
                      <a:pos x="119" y="0"/>
                    </a:cxn>
                    <a:cxn ang="0">
                      <a:pos x="117" y="13"/>
                    </a:cxn>
                    <a:cxn ang="0">
                      <a:pos x="146" y="54"/>
                    </a:cxn>
                    <a:cxn ang="0">
                      <a:pos x="160" y="54"/>
                    </a:cxn>
                    <a:cxn ang="0">
                      <a:pos x="169" y="68"/>
                    </a:cxn>
                    <a:cxn ang="0">
                      <a:pos x="168" y="87"/>
                    </a:cxn>
                  </a:cxnLst>
                  <a:rect l="0" t="0" r="r" b="b"/>
                  <a:pathLst>
                    <a:path w="365" h="334">
                      <a:moveTo>
                        <a:pt x="178" y="86"/>
                      </a:moveTo>
                      <a:lnTo>
                        <a:pt x="179" y="89"/>
                      </a:lnTo>
                      <a:lnTo>
                        <a:pt x="180" y="95"/>
                      </a:lnTo>
                      <a:lnTo>
                        <a:pt x="185" y="89"/>
                      </a:lnTo>
                      <a:lnTo>
                        <a:pt x="201" y="94"/>
                      </a:lnTo>
                      <a:lnTo>
                        <a:pt x="200" y="103"/>
                      </a:lnTo>
                      <a:lnTo>
                        <a:pt x="201" y="106"/>
                      </a:lnTo>
                      <a:lnTo>
                        <a:pt x="194" y="120"/>
                      </a:lnTo>
                      <a:lnTo>
                        <a:pt x="196" y="121"/>
                      </a:lnTo>
                      <a:lnTo>
                        <a:pt x="195" y="127"/>
                      </a:lnTo>
                      <a:lnTo>
                        <a:pt x="198" y="135"/>
                      </a:lnTo>
                      <a:lnTo>
                        <a:pt x="205" y="132"/>
                      </a:lnTo>
                      <a:lnTo>
                        <a:pt x="210" y="138"/>
                      </a:lnTo>
                      <a:lnTo>
                        <a:pt x="216" y="133"/>
                      </a:lnTo>
                      <a:lnTo>
                        <a:pt x="226" y="137"/>
                      </a:lnTo>
                      <a:lnTo>
                        <a:pt x="228" y="133"/>
                      </a:lnTo>
                      <a:lnTo>
                        <a:pt x="228" y="109"/>
                      </a:lnTo>
                      <a:lnTo>
                        <a:pt x="233" y="103"/>
                      </a:lnTo>
                      <a:lnTo>
                        <a:pt x="226" y="92"/>
                      </a:lnTo>
                      <a:lnTo>
                        <a:pt x="225" y="60"/>
                      </a:lnTo>
                      <a:lnTo>
                        <a:pt x="225" y="47"/>
                      </a:lnTo>
                      <a:lnTo>
                        <a:pt x="235" y="34"/>
                      </a:lnTo>
                      <a:lnTo>
                        <a:pt x="242" y="30"/>
                      </a:lnTo>
                      <a:lnTo>
                        <a:pt x="268" y="49"/>
                      </a:lnTo>
                      <a:lnTo>
                        <a:pt x="287" y="78"/>
                      </a:lnTo>
                      <a:lnTo>
                        <a:pt x="290" y="89"/>
                      </a:lnTo>
                      <a:lnTo>
                        <a:pt x="297" y="109"/>
                      </a:lnTo>
                      <a:lnTo>
                        <a:pt x="307" y="109"/>
                      </a:lnTo>
                      <a:lnTo>
                        <a:pt x="314" y="115"/>
                      </a:lnTo>
                      <a:lnTo>
                        <a:pt x="314" y="127"/>
                      </a:lnTo>
                      <a:lnTo>
                        <a:pt x="311" y="138"/>
                      </a:lnTo>
                      <a:lnTo>
                        <a:pt x="309" y="151"/>
                      </a:lnTo>
                      <a:lnTo>
                        <a:pt x="305" y="163"/>
                      </a:lnTo>
                      <a:lnTo>
                        <a:pt x="300" y="170"/>
                      </a:lnTo>
                      <a:lnTo>
                        <a:pt x="296" y="181"/>
                      </a:lnTo>
                      <a:lnTo>
                        <a:pt x="296" y="191"/>
                      </a:lnTo>
                      <a:lnTo>
                        <a:pt x="298" y="201"/>
                      </a:lnTo>
                      <a:lnTo>
                        <a:pt x="309" y="234"/>
                      </a:lnTo>
                      <a:lnTo>
                        <a:pt x="323" y="254"/>
                      </a:lnTo>
                      <a:lnTo>
                        <a:pt x="344" y="259"/>
                      </a:lnTo>
                      <a:lnTo>
                        <a:pt x="361" y="272"/>
                      </a:lnTo>
                      <a:lnTo>
                        <a:pt x="365" y="280"/>
                      </a:lnTo>
                      <a:lnTo>
                        <a:pt x="364" y="283"/>
                      </a:lnTo>
                      <a:lnTo>
                        <a:pt x="343" y="289"/>
                      </a:lnTo>
                      <a:lnTo>
                        <a:pt x="317" y="277"/>
                      </a:lnTo>
                      <a:lnTo>
                        <a:pt x="314" y="287"/>
                      </a:lnTo>
                      <a:lnTo>
                        <a:pt x="314" y="296"/>
                      </a:lnTo>
                      <a:lnTo>
                        <a:pt x="305" y="302"/>
                      </a:lnTo>
                      <a:lnTo>
                        <a:pt x="281" y="273"/>
                      </a:lnTo>
                      <a:lnTo>
                        <a:pt x="287" y="272"/>
                      </a:lnTo>
                      <a:lnTo>
                        <a:pt x="289" y="261"/>
                      </a:lnTo>
                      <a:lnTo>
                        <a:pt x="279" y="253"/>
                      </a:lnTo>
                      <a:lnTo>
                        <a:pt x="265" y="272"/>
                      </a:lnTo>
                      <a:lnTo>
                        <a:pt x="238" y="280"/>
                      </a:lnTo>
                      <a:lnTo>
                        <a:pt x="225" y="287"/>
                      </a:lnTo>
                      <a:lnTo>
                        <a:pt x="211" y="301"/>
                      </a:lnTo>
                      <a:lnTo>
                        <a:pt x="183" y="312"/>
                      </a:lnTo>
                      <a:lnTo>
                        <a:pt x="174" y="310"/>
                      </a:lnTo>
                      <a:lnTo>
                        <a:pt x="165" y="302"/>
                      </a:lnTo>
                      <a:lnTo>
                        <a:pt x="172" y="303"/>
                      </a:lnTo>
                      <a:lnTo>
                        <a:pt x="179" y="296"/>
                      </a:lnTo>
                      <a:lnTo>
                        <a:pt x="169" y="289"/>
                      </a:lnTo>
                      <a:lnTo>
                        <a:pt x="162" y="276"/>
                      </a:lnTo>
                      <a:lnTo>
                        <a:pt x="162" y="256"/>
                      </a:lnTo>
                      <a:lnTo>
                        <a:pt x="149" y="265"/>
                      </a:lnTo>
                      <a:lnTo>
                        <a:pt x="146" y="288"/>
                      </a:lnTo>
                      <a:lnTo>
                        <a:pt x="155" y="285"/>
                      </a:lnTo>
                      <a:lnTo>
                        <a:pt x="150" y="298"/>
                      </a:lnTo>
                      <a:lnTo>
                        <a:pt x="146" y="320"/>
                      </a:lnTo>
                      <a:lnTo>
                        <a:pt x="140" y="331"/>
                      </a:lnTo>
                      <a:lnTo>
                        <a:pt x="130" y="334"/>
                      </a:lnTo>
                      <a:lnTo>
                        <a:pt x="113" y="324"/>
                      </a:lnTo>
                      <a:lnTo>
                        <a:pt x="90" y="320"/>
                      </a:lnTo>
                      <a:lnTo>
                        <a:pt x="70" y="307"/>
                      </a:lnTo>
                      <a:lnTo>
                        <a:pt x="61" y="289"/>
                      </a:lnTo>
                      <a:lnTo>
                        <a:pt x="54" y="260"/>
                      </a:lnTo>
                      <a:lnTo>
                        <a:pt x="42" y="262"/>
                      </a:lnTo>
                      <a:lnTo>
                        <a:pt x="15" y="242"/>
                      </a:lnTo>
                      <a:lnTo>
                        <a:pt x="10" y="223"/>
                      </a:lnTo>
                      <a:lnTo>
                        <a:pt x="0" y="196"/>
                      </a:lnTo>
                      <a:lnTo>
                        <a:pt x="10" y="190"/>
                      </a:lnTo>
                      <a:lnTo>
                        <a:pt x="20" y="196"/>
                      </a:lnTo>
                      <a:lnTo>
                        <a:pt x="32" y="190"/>
                      </a:lnTo>
                      <a:lnTo>
                        <a:pt x="27" y="179"/>
                      </a:lnTo>
                      <a:lnTo>
                        <a:pt x="17" y="181"/>
                      </a:lnTo>
                      <a:lnTo>
                        <a:pt x="15" y="176"/>
                      </a:lnTo>
                      <a:lnTo>
                        <a:pt x="17" y="173"/>
                      </a:lnTo>
                      <a:lnTo>
                        <a:pt x="26" y="173"/>
                      </a:lnTo>
                      <a:lnTo>
                        <a:pt x="24" y="159"/>
                      </a:lnTo>
                      <a:lnTo>
                        <a:pt x="13" y="152"/>
                      </a:lnTo>
                      <a:lnTo>
                        <a:pt x="7" y="141"/>
                      </a:lnTo>
                      <a:lnTo>
                        <a:pt x="8" y="140"/>
                      </a:lnTo>
                      <a:lnTo>
                        <a:pt x="17" y="151"/>
                      </a:lnTo>
                      <a:lnTo>
                        <a:pt x="21" y="143"/>
                      </a:lnTo>
                      <a:lnTo>
                        <a:pt x="22" y="132"/>
                      </a:lnTo>
                      <a:lnTo>
                        <a:pt x="17" y="122"/>
                      </a:lnTo>
                      <a:lnTo>
                        <a:pt x="17" y="106"/>
                      </a:lnTo>
                      <a:lnTo>
                        <a:pt x="26" y="99"/>
                      </a:lnTo>
                      <a:lnTo>
                        <a:pt x="39" y="103"/>
                      </a:lnTo>
                      <a:lnTo>
                        <a:pt x="44" y="95"/>
                      </a:lnTo>
                      <a:lnTo>
                        <a:pt x="38" y="83"/>
                      </a:lnTo>
                      <a:lnTo>
                        <a:pt x="33" y="88"/>
                      </a:lnTo>
                      <a:lnTo>
                        <a:pt x="29" y="82"/>
                      </a:lnTo>
                      <a:lnTo>
                        <a:pt x="26" y="67"/>
                      </a:lnTo>
                      <a:lnTo>
                        <a:pt x="28" y="62"/>
                      </a:lnTo>
                      <a:lnTo>
                        <a:pt x="36" y="51"/>
                      </a:lnTo>
                      <a:lnTo>
                        <a:pt x="42" y="55"/>
                      </a:lnTo>
                      <a:lnTo>
                        <a:pt x="67" y="43"/>
                      </a:lnTo>
                      <a:lnTo>
                        <a:pt x="77" y="18"/>
                      </a:lnTo>
                      <a:lnTo>
                        <a:pt x="80" y="22"/>
                      </a:lnTo>
                      <a:lnTo>
                        <a:pt x="103" y="4"/>
                      </a:lnTo>
                      <a:lnTo>
                        <a:pt x="119" y="0"/>
                      </a:lnTo>
                      <a:lnTo>
                        <a:pt x="123" y="1"/>
                      </a:lnTo>
                      <a:lnTo>
                        <a:pt x="117" y="13"/>
                      </a:lnTo>
                      <a:lnTo>
                        <a:pt x="119" y="24"/>
                      </a:lnTo>
                      <a:lnTo>
                        <a:pt x="146" y="54"/>
                      </a:lnTo>
                      <a:lnTo>
                        <a:pt x="151" y="57"/>
                      </a:lnTo>
                      <a:lnTo>
                        <a:pt x="160" y="54"/>
                      </a:lnTo>
                      <a:lnTo>
                        <a:pt x="162" y="62"/>
                      </a:lnTo>
                      <a:lnTo>
                        <a:pt x="169" y="68"/>
                      </a:lnTo>
                      <a:lnTo>
                        <a:pt x="163" y="78"/>
                      </a:lnTo>
                      <a:lnTo>
                        <a:pt x="168" y="87"/>
                      </a:lnTo>
                      <a:lnTo>
                        <a:pt x="178" y="8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332" name="Freeform 121"/>
                <p:cNvSpPr>
                  <a:spLocks noChangeAspect="1"/>
                </p:cNvSpPr>
                <p:nvPr/>
              </p:nvSpPr>
              <p:spPr bwMode="gray">
                <a:xfrm>
                  <a:off x="4066" y="1166"/>
                  <a:ext cx="44" cy="5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6" y="8"/>
                    </a:cxn>
                    <a:cxn ang="0">
                      <a:pos x="32" y="30"/>
                    </a:cxn>
                    <a:cxn ang="0">
                      <a:pos x="42" y="38"/>
                    </a:cxn>
                    <a:cxn ang="0">
                      <a:pos x="56" y="59"/>
                    </a:cxn>
                    <a:cxn ang="0">
                      <a:pos x="64" y="66"/>
                    </a:cxn>
                    <a:cxn ang="0">
                      <a:pos x="89" y="71"/>
                    </a:cxn>
                    <a:cxn ang="0">
                      <a:pos x="106" y="59"/>
                    </a:cxn>
                    <a:cxn ang="0">
                      <a:pos x="116" y="56"/>
                    </a:cxn>
                    <a:cxn ang="0">
                      <a:pos x="138" y="64"/>
                    </a:cxn>
                    <a:cxn ang="0">
                      <a:pos x="152" y="89"/>
                    </a:cxn>
                    <a:cxn ang="0">
                      <a:pos x="169" y="97"/>
                    </a:cxn>
                    <a:cxn ang="0">
                      <a:pos x="182" y="110"/>
                    </a:cxn>
                    <a:cxn ang="0">
                      <a:pos x="201" y="120"/>
                    </a:cxn>
                    <a:cxn ang="0">
                      <a:pos x="215" y="136"/>
                    </a:cxn>
                    <a:cxn ang="0">
                      <a:pos x="222" y="136"/>
                    </a:cxn>
                    <a:cxn ang="0">
                      <a:pos x="224" y="145"/>
                    </a:cxn>
                    <a:cxn ang="0">
                      <a:pos x="206" y="142"/>
                    </a:cxn>
                    <a:cxn ang="0">
                      <a:pos x="197" y="146"/>
                    </a:cxn>
                    <a:cxn ang="0">
                      <a:pos x="193" y="155"/>
                    </a:cxn>
                    <a:cxn ang="0">
                      <a:pos x="181" y="156"/>
                    </a:cxn>
                    <a:cxn ang="0">
                      <a:pos x="185" y="161"/>
                    </a:cxn>
                    <a:cxn ang="0">
                      <a:pos x="182" y="169"/>
                    </a:cxn>
                    <a:cxn ang="0">
                      <a:pos x="182" y="183"/>
                    </a:cxn>
                    <a:cxn ang="0">
                      <a:pos x="188" y="194"/>
                    </a:cxn>
                    <a:cxn ang="0">
                      <a:pos x="183" y="200"/>
                    </a:cxn>
                    <a:cxn ang="0">
                      <a:pos x="180" y="217"/>
                    </a:cxn>
                    <a:cxn ang="0">
                      <a:pos x="167" y="226"/>
                    </a:cxn>
                    <a:cxn ang="0">
                      <a:pos x="163" y="232"/>
                    </a:cxn>
                    <a:cxn ang="0">
                      <a:pos x="138" y="248"/>
                    </a:cxn>
                    <a:cxn ang="0">
                      <a:pos x="128" y="241"/>
                    </a:cxn>
                    <a:cxn ang="0">
                      <a:pos x="91" y="233"/>
                    </a:cxn>
                    <a:cxn ang="0">
                      <a:pos x="77" y="222"/>
                    </a:cxn>
                    <a:cxn ang="0">
                      <a:pos x="54" y="164"/>
                    </a:cxn>
                    <a:cxn ang="0">
                      <a:pos x="56" y="147"/>
                    </a:cxn>
                    <a:cxn ang="0">
                      <a:pos x="69" y="108"/>
                    </a:cxn>
                    <a:cxn ang="0">
                      <a:pos x="73" y="85"/>
                    </a:cxn>
                    <a:cxn ang="0">
                      <a:pos x="64" y="85"/>
                    </a:cxn>
                    <a:cxn ang="0">
                      <a:pos x="61" y="73"/>
                    </a:cxn>
                    <a:cxn ang="0">
                      <a:pos x="16" y="19"/>
                    </a:cxn>
                    <a:cxn ang="0">
                      <a:pos x="8" y="1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24" h="248">
                      <a:moveTo>
                        <a:pt x="0" y="0"/>
                      </a:moveTo>
                      <a:lnTo>
                        <a:pt x="16" y="8"/>
                      </a:lnTo>
                      <a:lnTo>
                        <a:pt x="32" y="30"/>
                      </a:lnTo>
                      <a:lnTo>
                        <a:pt x="42" y="38"/>
                      </a:lnTo>
                      <a:lnTo>
                        <a:pt x="56" y="59"/>
                      </a:lnTo>
                      <a:lnTo>
                        <a:pt x="64" y="66"/>
                      </a:lnTo>
                      <a:lnTo>
                        <a:pt x="89" y="71"/>
                      </a:lnTo>
                      <a:lnTo>
                        <a:pt x="106" y="59"/>
                      </a:lnTo>
                      <a:lnTo>
                        <a:pt x="116" y="56"/>
                      </a:lnTo>
                      <a:lnTo>
                        <a:pt x="138" y="64"/>
                      </a:lnTo>
                      <a:lnTo>
                        <a:pt x="152" y="89"/>
                      </a:lnTo>
                      <a:lnTo>
                        <a:pt x="169" y="97"/>
                      </a:lnTo>
                      <a:lnTo>
                        <a:pt x="182" y="110"/>
                      </a:lnTo>
                      <a:lnTo>
                        <a:pt x="201" y="120"/>
                      </a:lnTo>
                      <a:lnTo>
                        <a:pt x="215" y="136"/>
                      </a:lnTo>
                      <a:lnTo>
                        <a:pt x="222" y="136"/>
                      </a:lnTo>
                      <a:lnTo>
                        <a:pt x="224" y="145"/>
                      </a:lnTo>
                      <a:lnTo>
                        <a:pt x="206" y="142"/>
                      </a:lnTo>
                      <a:lnTo>
                        <a:pt x="197" y="146"/>
                      </a:lnTo>
                      <a:lnTo>
                        <a:pt x="193" y="155"/>
                      </a:lnTo>
                      <a:lnTo>
                        <a:pt x="181" y="156"/>
                      </a:lnTo>
                      <a:lnTo>
                        <a:pt x="185" y="161"/>
                      </a:lnTo>
                      <a:lnTo>
                        <a:pt x="182" y="169"/>
                      </a:lnTo>
                      <a:lnTo>
                        <a:pt x="182" y="183"/>
                      </a:lnTo>
                      <a:lnTo>
                        <a:pt x="188" y="194"/>
                      </a:lnTo>
                      <a:lnTo>
                        <a:pt x="183" y="200"/>
                      </a:lnTo>
                      <a:lnTo>
                        <a:pt x="180" y="217"/>
                      </a:lnTo>
                      <a:lnTo>
                        <a:pt x="167" y="226"/>
                      </a:lnTo>
                      <a:lnTo>
                        <a:pt x="163" y="232"/>
                      </a:lnTo>
                      <a:lnTo>
                        <a:pt x="138" y="248"/>
                      </a:lnTo>
                      <a:lnTo>
                        <a:pt x="128" y="241"/>
                      </a:lnTo>
                      <a:lnTo>
                        <a:pt x="91" y="233"/>
                      </a:lnTo>
                      <a:lnTo>
                        <a:pt x="77" y="222"/>
                      </a:lnTo>
                      <a:lnTo>
                        <a:pt x="54" y="164"/>
                      </a:lnTo>
                      <a:lnTo>
                        <a:pt x="56" y="147"/>
                      </a:lnTo>
                      <a:lnTo>
                        <a:pt x="69" y="108"/>
                      </a:lnTo>
                      <a:lnTo>
                        <a:pt x="73" y="85"/>
                      </a:lnTo>
                      <a:lnTo>
                        <a:pt x="64" y="85"/>
                      </a:lnTo>
                      <a:lnTo>
                        <a:pt x="61" y="73"/>
                      </a:lnTo>
                      <a:lnTo>
                        <a:pt x="16" y="19"/>
                      </a:lnTo>
                      <a:lnTo>
                        <a:pt x="8" y="1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333" name="Freeform 122"/>
                <p:cNvSpPr>
                  <a:spLocks noChangeAspect="1"/>
                </p:cNvSpPr>
                <p:nvPr/>
              </p:nvSpPr>
              <p:spPr bwMode="gray">
                <a:xfrm>
                  <a:off x="4119" y="1193"/>
                  <a:ext cx="54" cy="36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9" y="6"/>
                    </a:cxn>
                    <a:cxn ang="0">
                      <a:pos x="19" y="10"/>
                    </a:cxn>
                    <a:cxn ang="0">
                      <a:pos x="24" y="15"/>
                    </a:cxn>
                    <a:cxn ang="0">
                      <a:pos x="26" y="25"/>
                    </a:cxn>
                    <a:cxn ang="0">
                      <a:pos x="36" y="30"/>
                    </a:cxn>
                    <a:cxn ang="0">
                      <a:pos x="51" y="33"/>
                    </a:cxn>
                    <a:cxn ang="0">
                      <a:pos x="66" y="35"/>
                    </a:cxn>
                    <a:cxn ang="0">
                      <a:pos x="73" y="31"/>
                    </a:cxn>
                    <a:cxn ang="0">
                      <a:pos x="127" y="41"/>
                    </a:cxn>
                    <a:cxn ang="0">
                      <a:pos x="129" y="49"/>
                    </a:cxn>
                    <a:cxn ang="0">
                      <a:pos x="122" y="49"/>
                    </a:cxn>
                    <a:cxn ang="0">
                      <a:pos x="121" y="55"/>
                    </a:cxn>
                    <a:cxn ang="0">
                      <a:pos x="109" y="67"/>
                    </a:cxn>
                    <a:cxn ang="0">
                      <a:pos x="132" y="64"/>
                    </a:cxn>
                    <a:cxn ang="0">
                      <a:pos x="154" y="68"/>
                    </a:cxn>
                    <a:cxn ang="0">
                      <a:pos x="163" y="62"/>
                    </a:cxn>
                    <a:cxn ang="0">
                      <a:pos x="172" y="62"/>
                    </a:cxn>
                    <a:cxn ang="0">
                      <a:pos x="182" y="68"/>
                    </a:cxn>
                    <a:cxn ang="0">
                      <a:pos x="188" y="79"/>
                    </a:cxn>
                    <a:cxn ang="0">
                      <a:pos x="207" y="75"/>
                    </a:cxn>
                    <a:cxn ang="0">
                      <a:pos x="218" y="79"/>
                    </a:cxn>
                    <a:cxn ang="0">
                      <a:pos x="225" y="91"/>
                    </a:cxn>
                    <a:cxn ang="0">
                      <a:pos x="266" y="100"/>
                    </a:cxn>
                    <a:cxn ang="0">
                      <a:pos x="256" y="108"/>
                    </a:cxn>
                    <a:cxn ang="0">
                      <a:pos x="257" y="135"/>
                    </a:cxn>
                    <a:cxn ang="0">
                      <a:pos x="245" y="154"/>
                    </a:cxn>
                    <a:cxn ang="0">
                      <a:pos x="208" y="176"/>
                    </a:cxn>
                    <a:cxn ang="0">
                      <a:pos x="198" y="180"/>
                    </a:cxn>
                    <a:cxn ang="0">
                      <a:pos x="191" y="171"/>
                    </a:cxn>
                    <a:cxn ang="0">
                      <a:pos x="186" y="176"/>
                    </a:cxn>
                    <a:cxn ang="0">
                      <a:pos x="179" y="173"/>
                    </a:cxn>
                    <a:cxn ang="0">
                      <a:pos x="174" y="164"/>
                    </a:cxn>
                    <a:cxn ang="0">
                      <a:pos x="171" y="175"/>
                    </a:cxn>
                    <a:cxn ang="0">
                      <a:pos x="160" y="175"/>
                    </a:cxn>
                    <a:cxn ang="0">
                      <a:pos x="144" y="170"/>
                    </a:cxn>
                    <a:cxn ang="0">
                      <a:pos x="133" y="156"/>
                    </a:cxn>
                    <a:cxn ang="0">
                      <a:pos x="117" y="156"/>
                    </a:cxn>
                    <a:cxn ang="0">
                      <a:pos x="104" y="151"/>
                    </a:cxn>
                    <a:cxn ang="0">
                      <a:pos x="95" y="140"/>
                    </a:cxn>
                    <a:cxn ang="0">
                      <a:pos x="85" y="135"/>
                    </a:cxn>
                    <a:cxn ang="0">
                      <a:pos x="75" y="123"/>
                    </a:cxn>
                    <a:cxn ang="0">
                      <a:pos x="57" y="118"/>
                    </a:cxn>
                    <a:cxn ang="0">
                      <a:pos x="46" y="110"/>
                    </a:cxn>
                    <a:cxn ang="0">
                      <a:pos x="45" y="81"/>
                    </a:cxn>
                    <a:cxn ang="0">
                      <a:pos x="31" y="67"/>
                    </a:cxn>
                    <a:cxn ang="0">
                      <a:pos x="26" y="47"/>
                    </a:cxn>
                    <a:cxn ang="0">
                      <a:pos x="5" y="20"/>
                    </a:cxn>
                    <a:cxn ang="0">
                      <a:pos x="0" y="3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266" h="180">
                      <a:moveTo>
                        <a:pt x="3" y="0"/>
                      </a:moveTo>
                      <a:lnTo>
                        <a:pt x="9" y="6"/>
                      </a:lnTo>
                      <a:lnTo>
                        <a:pt x="19" y="10"/>
                      </a:lnTo>
                      <a:lnTo>
                        <a:pt x="24" y="15"/>
                      </a:lnTo>
                      <a:lnTo>
                        <a:pt x="26" y="25"/>
                      </a:lnTo>
                      <a:lnTo>
                        <a:pt x="36" y="30"/>
                      </a:lnTo>
                      <a:lnTo>
                        <a:pt x="51" y="33"/>
                      </a:lnTo>
                      <a:lnTo>
                        <a:pt x="66" y="35"/>
                      </a:lnTo>
                      <a:lnTo>
                        <a:pt x="73" y="31"/>
                      </a:lnTo>
                      <a:lnTo>
                        <a:pt x="127" y="41"/>
                      </a:lnTo>
                      <a:lnTo>
                        <a:pt x="129" y="49"/>
                      </a:lnTo>
                      <a:lnTo>
                        <a:pt x="122" y="49"/>
                      </a:lnTo>
                      <a:lnTo>
                        <a:pt x="121" y="55"/>
                      </a:lnTo>
                      <a:lnTo>
                        <a:pt x="109" y="67"/>
                      </a:lnTo>
                      <a:lnTo>
                        <a:pt x="132" y="64"/>
                      </a:lnTo>
                      <a:lnTo>
                        <a:pt x="154" y="68"/>
                      </a:lnTo>
                      <a:lnTo>
                        <a:pt x="163" y="62"/>
                      </a:lnTo>
                      <a:lnTo>
                        <a:pt x="172" y="62"/>
                      </a:lnTo>
                      <a:lnTo>
                        <a:pt x="182" y="68"/>
                      </a:lnTo>
                      <a:lnTo>
                        <a:pt x="188" y="79"/>
                      </a:lnTo>
                      <a:lnTo>
                        <a:pt x="207" y="75"/>
                      </a:lnTo>
                      <a:lnTo>
                        <a:pt x="218" y="79"/>
                      </a:lnTo>
                      <a:lnTo>
                        <a:pt x="225" y="91"/>
                      </a:lnTo>
                      <a:lnTo>
                        <a:pt x="266" y="100"/>
                      </a:lnTo>
                      <a:lnTo>
                        <a:pt x="256" y="108"/>
                      </a:lnTo>
                      <a:lnTo>
                        <a:pt x="257" y="135"/>
                      </a:lnTo>
                      <a:lnTo>
                        <a:pt x="245" y="154"/>
                      </a:lnTo>
                      <a:lnTo>
                        <a:pt x="208" y="176"/>
                      </a:lnTo>
                      <a:lnTo>
                        <a:pt x="198" y="180"/>
                      </a:lnTo>
                      <a:lnTo>
                        <a:pt x="191" y="171"/>
                      </a:lnTo>
                      <a:lnTo>
                        <a:pt x="186" y="176"/>
                      </a:lnTo>
                      <a:lnTo>
                        <a:pt x="179" y="173"/>
                      </a:lnTo>
                      <a:lnTo>
                        <a:pt x="174" y="164"/>
                      </a:lnTo>
                      <a:lnTo>
                        <a:pt x="171" y="175"/>
                      </a:lnTo>
                      <a:lnTo>
                        <a:pt x="160" y="175"/>
                      </a:lnTo>
                      <a:lnTo>
                        <a:pt x="144" y="170"/>
                      </a:lnTo>
                      <a:lnTo>
                        <a:pt x="133" y="156"/>
                      </a:lnTo>
                      <a:lnTo>
                        <a:pt x="117" y="156"/>
                      </a:lnTo>
                      <a:lnTo>
                        <a:pt x="104" y="151"/>
                      </a:lnTo>
                      <a:lnTo>
                        <a:pt x="95" y="140"/>
                      </a:lnTo>
                      <a:lnTo>
                        <a:pt x="85" y="135"/>
                      </a:lnTo>
                      <a:lnTo>
                        <a:pt x="75" y="123"/>
                      </a:lnTo>
                      <a:lnTo>
                        <a:pt x="57" y="118"/>
                      </a:lnTo>
                      <a:lnTo>
                        <a:pt x="46" y="110"/>
                      </a:lnTo>
                      <a:lnTo>
                        <a:pt x="45" y="81"/>
                      </a:lnTo>
                      <a:lnTo>
                        <a:pt x="31" y="67"/>
                      </a:lnTo>
                      <a:lnTo>
                        <a:pt x="26" y="47"/>
                      </a:lnTo>
                      <a:lnTo>
                        <a:pt x="5" y="20"/>
                      </a:lnTo>
                      <a:lnTo>
                        <a:pt x="0" y="3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334" name="Freeform 123"/>
                <p:cNvSpPr>
                  <a:spLocks noChangeAspect="1"/>
                </p:cNvSpPr>
                <p:nvPr/>
              </p:nvSpPr>
              <p:spPr bwMode="gray">
                <a:xfrm>
                  <a:off x="4047" y="1261"/>
                  <a:ext cx="43" cy="27"/>
                </a:xfrm>
                <a:custGeom>
                  <a:avLst/>
                  <a:gdLst/>
                  <a:ahLst/>
                  <a:cxnLst>
                    <a:cxn ang="0">
                      <a:pos x="92" y="7"/>
                    </a:cxn>
                    <a:cxn ang="0">
                      <a:pos x="110" y="0"/>
                    </a:cxn>
                    <a:cxn ang="0">
                      <a:pos x="126" y="2"/>
                    </a:cxn>
                    <a:cxn ang="0">
                      <a:pos x="137" y="5"/>
                    </a:cxn>
                    <a:cxn ang="0">
                      <a:pos x="148" y="16"/>
                    </a:cxn>
                    <a:cxn ang="0">
                      <a:pos x="156" y="18"/>
                    </a:cxn>
                    <a:cxn ang="0">
                      <a:pos x="169" y="36"/>
                    </a:cxn>
                    <a:cxn ang="0">
                      <a:pos x="187" y="51"/>
                    </a:cxn>
                    <a:cxn ang="0">
                      <a:pos x="203" y="78"/>
                    </a:cxn>
                    <a:cxn ang="0">
                      <a:pos x="207" y="93"/>
                    </a:cxn>
                    <a:cxn ang="0">
                      <a:pos x="207" y="112"/>
                    </a:cxn>
                    <a:cxn ang="0">
                      <a:pos x="212" y="126"/>
                    </a:cxn>
                    <a:cxn ang="0">
                      <a:pos x="212" y="136"/>
                    </a:cxn>
                    <a:cxn ang="0">
                      <a:pos x="202" y="132"/>
                    </a:cxn>
                    <a:cxn ang="0">
                      <a:pos x="193" y="136"/>
                    </a:cxn>
                    <a:cxn ang="0">
                      <a:pos x="181" y="134"/>
                    </a:cxn>
                    <a:cxn ang="0">
                      <a:pos x="167" y="127"/>
                    </a:cxn>
                    <a:cxn ang="0">
                      <a:pos x="139" y="128"/>
                    </a:cxn>
                    <a:cxn ang="0">
                      <a:pos x="122" y="120"/>
                    </a:cxn>
                    <a:cxn ang="0">
                      <a:pos x="115" y="112"/>
                    </a:cxn>
                    <a:cxn ang="0">
                      <a:pos x="102" y="115"/>
                    </a:cxn>
                    <a:cxn ang="0">
                      <a:pos x="85" y="110"/>
                    </a:cxn>
                    <a:cxn ang="0">
                      <a:pos x="68" y="99"/>
                    </a:cxn>
                    <a:cxn ang="0">
                      <a:pos x="48" y="95"/>
                    </a:cxn>
                    <a:cxn ang="0">
                      <a:pos x="21" y="110"/>
                    </a:cxn>
                    <a:cxn ang="0">
                      <a:pos x="10" y="109"/>
                    </a:cxn>
                    <a:cxn ang="0">
                      <a:pos x="0" y="95"/>
                    </a:cxn>
                    <a:cxn ang="0">
                      <a:pos x="8" y="89"/>
                    </a:cxn>
                    <a:cxn ang="0">
                      <a:pos x="37" y="86"/>
                    </a:cxn>
                    <a:cxn ang="0">
                      <a:pos x="41" y="79"/>
                    </a:cxn>
                    <a:cxn ang="0">
                      <a:pos x="48" y="62"/>
                    </a:cxn>
                    <a:cxn ang="0">
                      <a:pos x="60" y="31"/>
                    </a:cxn>
                    <a:cxn ang="0">
                      <a:pos x="60" y="19"/>
                    </a:cxn>
                    <a:cxn ang="0">
                      <a:pos x="65" y="10"/>
                    </a:cxn>
                    <a:cxn ang="0">
                      <a:pos x="92" y="7"/>
                    </a:cxn>
                  </a:cxnLst>
                  <a:rect l="0" t="0" r="r" b="b"/>
                  <a:pathLst>
                    <a:path w="211" h="136">
                      <a:moveTo>
                        <a:pt x="92" y="7"/>
                      </a:moveTo>
                      <a:lnTo>
                        <a:pt x="110" y="0"/>
                      </a:lnTo>
                      <a:lnTo>
                        <a:pt x="126" y="2"/>
                      </a:lnTo>
                      <a:lnTo>
                        <a:pt x="137" y="5"/>
                      </a:lnTo>
                      <a:lnTo>
                        <a:pt x="148" y="16"/>
                      </a:lnTo>
                      <a:lnTo>
                        <a:pt x="156" y="18"/>
                      </a:lnTo>
                      <a:lnTo>
                        <a:pt x="169" y="36"/>
                      </a:lnTo>
                      <a:lnTo>
                        <a:pt x="187" y="51"/>
                      </a:lnTo>
                      <a:lnTo>
                        <a:pt x="203" y="78"/>
                      </a:lnTo>
                      <a:lnTo>
                        <a:pt x="207" y="93"/>
                      </a:lnTo>
                      <a:lnTo>
                        <a:pt x="207" y="112"/>
                      </a:lnTo>
                      <a:lnTo>
                        <a:pt x="212" y="126"/>
                      </a:lnTo>
                      <a:lnTo>
                        <a:pt x="212" y="136"/>
                      </a:lnTo>
                      <a:lnTo>
                        <a:pt x="202" y="132"/>
                      </a:lnTo>
                      <a:lnTo>
                        <a:pt x="193" y="136"/>
                      </a:lnTo>
                      <a:lnTo>
                        <a:pt x="181" y="134"/>
                      </a:lnTo>
                      <a:lnTo>
                        <a:pt x="167" y="127"/>
                      </a:lnTo>
                      <a:lnTo>
                        <a:pt x="139" y="128"/>
                      </a:lnTo>
                      <a:lnTo>
                        <a:pt x="122" y="120"/>
                      </a:lnTo>
                      <a:lnTo>
                        <a:pt x="115" y="112"/>
                      </a:lnTo>
                      <a:lnTo>
                        <a:pt x="102" y="115"/>
                      </a:lnTo>
                      <a:lnTo>
                        <a:pt x="85" y="110"/>
                      </a:lnTo>
                      <a:lnTo>
                        <a:pt x="68" y="99"/>
                      </a:lnTo>
                      <a:lnTo>
                        <a:pt x="48" y="95"/>
                      </a:lnTo>
                      <a:lnTo>
                        <a:pt x="21" y="110"/>
                      </a:lnTo>
                      <a:lnTo>
                        <a:pt x="10" y="109"/>
                      </a:lnTo>
                      <a:lnTo>
                        <a:pt x="0" y="95"/>
                      </a:lnTo>
                      <a:lnTo>
                        <a:pt x="8" y="89"/>
                      </a:lnTo>
                      <a:lnTo>
                        <a:pt x="37" y="86"/>
                      </a:lnTo>
                      <a:lnTo>
                        <a:pt x="41" y="79"/>
                      </a:lnTo>
                      <a:lnTo>
                        <a:pt x="48" y="62"/>
                      </a:lnTo>
                      <a:lnTo>
                        <a:pt x="60" y="31"/>
                      </a:lnTo>
                      <a:lnTo>
                        <a:pt x="60" y="19"/>
                      </a:lnTo>
                      <a:lnTo>
                        <a:pt x="65" y="10"/>
                      </a:lnTo>
                      <a:lnTo>
                        <a:pt x="92" y="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335" name="Freeform 124"/>
                <p:cNvSpPr>
                  <a:spLocks noChangeAspect="1"/>
                </p:cNvSpPr>
                <p:nvPr/>
              </p:nvSpPr>
              <p:spPr bwMode="gray">
                <a:xfrm>
                  <a:off x="3080" y="1282"/>
                  <a:ext cx="68" cy="102"/>
                </a:xfrm>
                <a:custGeom>
                  <a:avLst/>
                  <a:gdLst/>
                  <a:ahLst/>
                  <a:cxnLst>
                    <a:cxn ang="0">
                      <a:pos x="152" y="22"/>
                    </a:cxn>
                    <a:cxn ang="0">
                      <a:pos x="199" y="0"/>
                    </a:cxn>
                    <a:cxn ang="0">
                      <a:pos x="234" y="15"/>
                    </a:cxn>
                    <a:cxn ang="0">
                      <a:pos x="277" y="45"/>
                    </a:cxn>
                    <a:cxn ang="0">
                      <a:pos x="272" y="68"/>
                    </a:cxn>
                    <a:cxn ang="0">
                      <a:pos x="234" y="86"/>
                    </a:cxn>
                    <a:cxn ang="0">
                      <a:pos x="267" y="94"/>
                    </a:cxn>
                    <a:cxn ang="0">
                      <a:pos x="245" y="114"/>
                    </a:cxn>
                    <a:cxn ang="0">
                      <a:pos x="238" y="119"/>
                    </a:cxn>
                    <a:cxn ang="0">
                      <a:pos x="232" y="158"/>
                    </a:cxn>
                    <a:cxn ang="0">
                      <a:pos x="226" y="165"/>
                    </a:cxn>
                    <a:cxn ang="0">
                      <a:pos x="219" y="189"/>
                    </a:cxn>
                    <a:cxn ang="0">
                      <a:pos x="224" y="226"/>
                    </a:cxn>
                    <a:cxn ang="0">
                      <a:pos x="218" y="267"/>
                    </a:cxn>
                    <a:cxn ang="0">
                      <a:pos x="230" y="331"/>
                    </a:cxn>
                    <a:cxn ang="0">
                      <a:pos x="250" y="373"/>
                    </a:cxn>
                    <a:cxn ang="0">
                      <a:pos x="278" y="426"/>
                    </a:cxn>
                    <a:cxn ang="0">
                      <a:pos x="306" y="450"/>
                    </a:cxn>
                    <a:cxn ang="0">
                      <a:pos x="338" y="472"/>
                    </a:cxn>
                    <a:cxn ang="0">
                      <a:pos x="322" y="490"/>
                    </a:cxn>
                    <a:cxn ang="0">
                      <a:pos x="320" y="498"/>
                    </a:cxn>
                    <a:cxn ang="0">
                      <a:pos x="301" y="502"/>
                    </a:cxn>
                    <a:cxn ang="0">
                      <a:pos x="284" y="470"/>
                    </a:cxn>
                    <a:cxn ang="0">
                      <a:pos x="261" y="481"/>
                    </a:cxn>
                    <a:cxn ang="0">
                      <a:pos x="273" y="487"/>
                    </a:cxn>
                    <a:cxn ang="0">
                      <a:pos x="251" y="491"/>
                    </a:cxn>
                    <a:cxn ang="0">
                      <a:pos x="243" y="495"/>
                    </a:cxn>
                    <a:cxn ang="0">
                      <a:pos x="220" y="476"/>
                    </a:cxn>
                    <a:cxn ang="0">
                      <a:pos x="210" y="488"/>
                    </a:cxn>
                    <a:cxn ang="0">
                      <a:pos x="182" y="480"/>
                    </a:cxn>
                    <a:cxn ang="0">
                      <a:pos x="189" y="466"/>
                    </a:cxn>
                    <a:cxn ang="0">
                      <a:pos x="144" y="470"/>
                    </a:cxn>
                    <a:cxn ang="0">
                      <a:pos x="127" y="461"/>
                    </a:cxn>
                    <a:cxn ang="0">
                      <a:pos x="125" y="438"/>
                    </a:cxn>
                    <a:cxn ang="0">
                      <a:pos x="124" y="421"/>
                    </a:cxn>
                    <a:cxn ang="0">
                      <a:pos x="135" y="413"/>
                    </a:cxn>
                    <a:cxn ang="0">
                      <a:pos x="157" y="412"/>
                    </a:cxn>
                    <a:cxn ang="0">
                      <a:pos x="143" y="400"/>
                    </a:cxn>
                    <a:cxn ang="0">
                      <a:pos x="116" y="380"/>
                    </a:cxn>
                    <a:cxn ang="0">
                      <a:pos x="138" y="348"/>
                    </a:cxn>
                    <a:cxn ang="0">
                      <a:pos x="109" y="380"/>
                    </a:cxn>
                    <a:cxn ang="0">
                      <a:pos x="107" y="345"/>
                    </a:cxn>
                    <a:cxn ang="0">
                      <a:pos x="90" y="342"/>
                    </a:cxn>
                    <a:cxn ang="0">
                      <a:pos x="76" y="353"/>
                    </a:cxn>
                    <a:cxn ang="0">
                      <a:pos x="65" y="319"/>
                    </a:cxn>
                    <a:cxn ang="0">
                      <a:pos x="51" y="331"/>
                    </a:cxn>
                    <a:cxn ang="0">
                      <a:pos x="32" y="347"/>
                    </a:cxn>
                    <a:cxn ang="0">
                      <a:pos x="16" y="340"/>
                    </a:cxn>
                    <a:cxn ang="0">
                      <a:pos x="1" y="294"/>
                    </a:cxn>
                    <a:cxn ang="0">
                      <a:pos x="3" y="255"/>
                    </a:cxn>
                    <a:cxn ang="0">
                      <a:pos x="27" y="242"/>
                    </a:cxn>
                    <a:cxn ang="0">
                      <a:pos x="42" y="244"/>
                    </a:cxn>
                    <a:cxn ang="0">
                      <a:pos x="53" y="230"/>
                    </a:cxn>
                    <a:cxn ang="0">
                      <a:pos x="64" y="206"/>
                    </a:cxn>
                    <a:cxn ang="0">
                      <a:pos x="70" y="186"/>
                    </a:cxn>
                    <a:cxn ang="0">
                      <a:pos x="79" y="162"/>
                    </a:cxn>
                    <a:cxn ang="0">
                      <a:pos x="75" y="158"/>
                    </a:cxn>
                    <a:cxn ang="0">
                      <a:pos x="68" y="141"/>
                    </a:cxn>
                    <a:cxn ang="0">
                      <a:pos x="73" y="97"/>
                    </a:cxn>
                    <a:cxn ang="0">
                      <a:pos x="103" y="87"/>
                    </a:cxn>
                    <a:cxn ang="0">
                      <a:pos x="94" y="74"/>
                    </a:cxn>
                    <a:cxn ang="0">
                      <a:pos x="92" y="61"/>
                    </a:cxn>
                    <a:cxn ang="0">
                      <a:pos x="124" y="20"/>
                    </a:cxn>
                  </a:cxnLst>
                  <a:rect l="0" t="0" r="r" b="b"/>
                  <a:pathLst>
                    <a:path w="338" h="508">
                      <a:moveTo>
                        <a:pt x="124" y="20"/>
                      </a:moveTo>
                      <a:lnTo>
                        <a:pt x="128" y="17"/>
                      </a:lnTo>
                      <a:lnTo>
                        <a:pt x="152" y="22"/>
                      </a:lnTo>
                      <a:lnTo>
                        <a:pt x="161" y="12"/>
                      </a:lnTo>
                      <a:lnTo>
                        <a:pt x="187" y="0"/>
                      </a:lnTo>
                      <a:lnTo>
                        <a:pt x="199" y="0"/>
                      </a:lnTo>
                      <a:lnTo>
                        <a:pt x="210" y="9"/>
                      </a:lnTo>
                      <a:lnTo>
                        <a:pt x="219" y="14"/>
                      </a:lnTo>
                      <a:lnTo>
                        <a:pt x="234" y="15"/>
                      </a:lnTo>
                      <a:lnTo>
                        <a:pt x="256" y="33"/>
                      </a:lnTo>
                      <a:lnTo>
                        <a:pt x="268" y="34"/>
                      </a:lnTo>
                      <a:lnTo>
                        <a:pt x="277" y="45"/>
                      </a:lnTo>
                      <a:lnTo>
                        <a:pt x="279" y="55"/>
                      </a:lnTo>
                      <a:lnTo>
                        <a:pt x="245" y="63"/>
                      </a:lnTo>
                      <a:lnTo>
                        <a:pt x="272" y="68"/>
                      </a:lnTo>
                      <a:lnTo>
                        <a:pt x="268" y="74"/>
                      </a:lnTo>
                      <a:lnTo>
                        <a:pt x="256" y="73"/>
                      </a:lnTo>
                      <a:lnTo>
                        <a:pt x="234" y="86"/>
                      </a:lnTo>
                      <a:lnTo>
                        <a:pt x="246" y="88"/>
                      </a:lnTo>
                      <a:lnTo>
                        <a:pt x="265" y="82"/>
                      </a:lnTo>
                      <a:lnTo>
                        <a:pt x="267" y="94"/>
                      </a:lnTo>
                      <a:lnTo>
                        <a:pt x="262" y="103"/>
                      </a:lnTo>
                      <a:lnTo>
                        <a:pt x="253" y="111"/>
                      </a:lnTo>
                      <a:lnTo>
                        <a:pt x="245" y="114"/>
                      </a:lnTo>
                      <a:lnTo>
                        <a:pt x="225" y="111"/>
                      </a:lnTo>
                      <a:lnTo>
                        <a:pt x="222" y="121"/>
                      </a:lnTo>
                      <a:lnTo>
                        <a:pt x="238" y="119"/>
                      </a:lnTo>
                      <a:lnTo>
                        <a:pt x="242" y="131"/>
                      </a:lnTo>
                      <a:lnTo>
                        <a:pt x="235" y="143"/>
                      </a:lnTo>
                      <a:lnTo>
                        <a:pt x="232" y="158"/>
                      </a:lnTo>
                      <a:lnTo>
                        <a:pt x="226" y="156"/>
                      </a:lnTo>
                      <a:lnTo>
                        <a:pt x="222" y="160"/>
                      </a:lnTo>
                      <a:lnTo>
                        <a:pt x="226" y="165"/>
                      </a:lnTo>
                      <a:lnTo>
                        <a:pt x="225" y="176"/>
                      </a:lnTo>
                      <a:lnTo>
                        <a:pt x="219" y="178"/>
                      </a:lnTo>
                      <a:lnTo>
                        <a:pt x="219" y="189"/>
                      </a:lnTo>
                      <a:lnTo>
                        <a:pt x="218" y="201"/>
                      </a:lnTo>
                      <a:lnTo>
                        <a:pt x="219" y="214"/>
                      </a:lnTo>
                      <a:lnTo>
                        <a:pt x="224" y="226"/>
                      </a:lnTo>
                      <a:lnTo>
                        <a:pt x="224" y="235"/>
                      </a:lnTo>
                      <a:lnTo>
                        <a:pt x="216" y="255"/>
                      </a:lnTo>
                      <a:lnTo>
                        <a:pt x="218" y="267"/>
                      </a:lnTo>
                      <a:lnTo>
                        <a:pt x="222" y="273"/>
                      </a:lnTo>
                      <a:lnTo>
                        <a:pt x="226" y="313"/>
                      </a:lnTo>
                      <a:lnTo>
                        <a:pt x="230" y="331"/>
                      </a:lnTo>
                      <a:lnTo>
                        <a:pt x="234" y="341"/>
                      </a:lnTo>
                      <a:lnTo>
                        <a:pt x="242" y="353"/>
                      </a:lnTo>
                      <a:lnTo>
                        <a:pt x="250" y="373"/>
                      </a:lnTo>
                      <a:lnTo>
                        <a:pt x="253" y="382"/>
                      </a:lnTo>
                      <a:lnTo>
                        <a:pt x="254" y="394"/>
                      </a:lnTo>
                      <a:lnTo>
                        <a:pt x="278" y="426"/>
                      </a:lnTo>
                      <a:lnTo>
                        <a:pt x="288" y="436"/>
                      </a:lnTo>
                      <a:lnTo>
                        <a:pt x="296" y="439"/>
                      </a:lnTo>
                      <a:lnTo>
                        <a:pt x="306" y="450"/>
                      </a:lnTo>
                      <a:lnTo>
                        <a:pt x="322" y="464"/>
                      </a:lnTo>
                      <a:lnTo>
                        <a:pt x="327" y="463"/>
                      </a:lnTo>
                      <a:lnTo>
                        <a:pt x="338" y="472"/>
                      </a:lnTo>
                      <a:lnTo>
                        <a:pt x="332" y="475"/>
                      </a:lnTo>
                      <a:lnTo>
                        <a:pt x="332" y="485"/>
                      </a:lnTo>
                      <a:lnTo>
                        <a:pt x="322" y="490"/>
                      </a:lnTo>
                      <a:lnTo>
                        <a:pt x="301" y="486"/>
                      </a:lnTo>
                      <a:lnTo>
                        <a:pt x="296" y="491"/>
                      </a:lnTo>
                      <a:lnTo>
                        <a:pt x="320" y="498"/>
                      </a:lnTo>
                      <a:lnTo>
                        <a:pt x="311" y="499"/>
                      </a:lnTo>
                      <a:lnTo>
                        <a:pt x="310" y="508"/>
                      </a:lnTo>
                      <a:lnTo>
                        <a:pt x="301" y="502"/>
                      </a:lnTo>
                      <a:lnTo>
                        <a:pt x="286" y="486"/>
                      </a:lnTo>
                      <a:lnTo>
                        <a:pt x="281" y="482"/>
                      </a:lnTo>
                      <a:lnTo>
                        <a:pt x="284" y="470"/>
                      </a:lnTo>
                      <a:lnTo>
                        <a:pt x="274" y="475"/>
                      </a:lnTo>
                      <a:lnTo>
                        <a:pt x="265" y="475"/>
                      </a:lnTo>
                      <a:lnTo>
                        <a:pt x="261" y="481"/>
                      </a:lnTo>
                      <a:lnTo>
                        <a:pt x="262" y="487"/>
                      </a:lnTo>
                      <a:lnTo>
                        <a:pt x="268" y="491"/>
                      </a:lnTo>
                      <a:lnTo>
                        <a:pt x="273" y="487"/>
                      </a:lnTo>
                      <a:lnTo>
                        <a:pt x="275" y="498"/>
                      </a:lnTo>
                      <a:lnTo>
                        <a:pt x="261" y="499"/>
                      </a:lnTo>
                      <a:lnTo>
                        <a:pt x="251" y="491"/>
                      </a:lnTo>
                      <a:lnTo>
                        <a:pt x="246" y="491"/>
                      </a:lnTo>
                      <a:lnTo>
                        <a:pt x="248" y="498"/>
                      </a:lnTo>
                      <a:lnTo>
                        <a:pt x="243" y="495"/>
                      </a:lnTo>
                      <a:lnTo>
                        <a:pt x="237" y="481"/>
                      </a:lnTo>
                      <a:lnTo>
                        <a:pt x="229" y="482"/>
                      </a:lnTo>
                      <a:lnTo>
                        <a:pt x="220" y="476"/>
                      </a:lnTo>
                      <a:lnTo>
                        <a:pt x="216" y="487"/>
                      </a:lnTo>
                      <a:lnTo>
                        <a:pt x="213" y="483"/>
                      </a:lnTo>
                      <a:lnTo>
                        <a:pt x="210" y="488"/>
                      </a:lnTo>
                      <a:lnTo>
                        <a:pt x="209" y="499"/>
                      </a:lnTo>
                      <a:lnTo>
                        <a:pt x="204" y="499"/>
                      </a:lnTo>
                      <a:lnTo>
                        <a:pt x="182" y="480"/>
                      </a:lnTo>
                      <a:lnTo>
                        <a:pt x="178" y="471"/>
                      </a:lnTo>
                      <a:lnTo>
                        <a:pt x="191" y="471"/>
                      </a:lnTo>
                      <a:lnTo>
                        <a:pt x="189" y="466"/>
                      </a:lnTo>
                      <a:lnTo>
                        <a:pt x="173" y="465"/>
                      </a:lnTo>
                      <a:lnTo>
                        <a:pt x="151" y="472"/>
                      </a:lnTo>
                      <a:lnTo>
                        <a:pt x="144" y="470"/>
                      </a:lnTo>
                      <a:lnTo>
                        <a:pt x="139" y="461"/>
                      </a:lnTo>
                      <a:lnTo>
                        <a:pt x="134" y="465"/>
                      </a:lnTo>
                      <a:lnTo>
                        <a:pt x="127" y="461"/>
                      </a:lnTo>
                      <a:lnTo>
                        <a:pt x="125" y="458"/>
                      </a:lnTo>
                      <a:lnTo>
                        <a:pt x="124" y="449"/>
                      </a:lnTo>
                      <a:lnTo>
                        <a:pt x="125" y="438"/>
                      </a:lnTo>
                      <a:lnTo>
                        <a:pt x="125" y="431"/>
                      </a:lnTo>
                      <a:lnTo>
                        <a:pt x="122" y="423"/>
                      </a:lnTo>
                      <a:lnTo>
                        <a:pt x="124" y="421"/>
                      </a:lnTo>
                      <a:lnTo>
                        <a:pt x="137" y="427"/>
                      </a:lnTo>
                      <a:lnTo>
                        <a:pt x="139" y="422"/>
                      </a:lnTo>
                      <a:lnTo>
                        <a:pt x="135" y="413"/>
                      </a:lnTo>
                      <a:lnTo>
                        <a:pt x="144" y="418"/>
                      </a:lnTo>
                      <a:lnTo>
                        <a:pt x="156" y="416"/>
                      </a:lnTo>
                      <a:lnTo>
                        <a:pt x="157" y="412"/>
                      </a:lnTo>
                      <a:lnTo>
                        <a:pt x="145" y="410"/>
                      </a:lnTo>
                      <a:lnTo>
                        <a:pt x="150" y="404"/>
                      </a:lnTo>
                      <a:lnTo>
                        <a:pt x="143" y="400"/>
                      </a:lnTo>
                      <a:lnTo>
                        <a:pt x="124" y="397"/>
                      </a:lnTo>
                      <a:lnTo>
                        <a:pt x="116" y="388"/>
                      </a:lnTo>
                      <a:lnTo>
                        <a:pt x="116" y="380"/>
                      </a:lnTo>
                      <a:lnTo>
                        <a:pt x="119" y="382"/>
                      </a:lnTo>
                      <a:lnTo>
                        <a:pt x="121" y="372"/>
                      </a:lnTo>
                      <a:lnTo>
                        <a:pt x="138" y="348"/>
                      </a:lnTo>
                      <a:lnTo>
                        <a:pt x="124" y="357"/>
                      </a:lnTo>
                      <a:lnTo>
                        <a:pt x="116" y="373"/>
                      </a:lnTo>
                      <a:lnTo>
                        <a:pt x="109" y="380"/>
                      </a:lnTo>
                      <a:lnTo>
                        <a:pt x="109" y="364"/>
                      </a:lnTo>
                      <a:lnTo>
                        <a:pt x="107" y="356"/>
                      </a:lnTo>
                      <a:lnTo>
                        <a:pt x="107" y="345"/>
                      </a:lnTo>
                      <a:lnTo>
                        <a:pt x="109" y="336"/>
                      </a:lnTo>
                      <a:lnTo>
                        <a:pt x="97" y="348"/>
                      </a:lnTo>
                      <a:lnTo>
                        <a:pt x="90" y="342"/>
                      </a:lnTo>
                      <a:lnTo>
                        <a:pt x="86" y="352"/>
                      </a:lnTo>
                      <a:lnTo>
                        <a:pt x="80" y="348"/>
                      </a:lnTo>
                      <a:lnTo>
                        <a:pt x="76" y="353"/>
                      </a:lnTo>
                      <a:lnTo>
                        <a:pt x="73" y="341"/>
                      </a:lnTo>
                      <a:lnTo>
                        <a:pt x="73" y="325"/>
                      </a:lnTo>
                      <a:lnTo>
                        <a:pt x="65" y="319"/>
                      </a:lnTo>
                      <a:lnTo>
                        <a:pt x="57" y="335"/>
                      </a:lnTo>
                      <a:lnTo>
                        <a:pt x="55" y="346"/>
                      </a:lnTo>
                      <a:lnTo>
                        <a:pt x="51" y="331"/>
                      </a:lnTo>
                      <a:lnTo>
                        <a:pt x="46" y="336"/>
                      </a:lnTo>
                      <a:lnTo>
                        <a:pt x="44" y="347"/>
                      </a:lnTo>
                      <a:lnTo>
                        <a:pt x="32" y="347"/>
                      </a:lnTo>
                      <a:lnTo>
                        <a:pt x="26" y="346"/>
                      </a:lnTo>
                      <a:lnTo>
                        <a:pt x="22" y="341"/>
                      </a:lnTo>
                      <a:lnTo>
                        <a:pt x="16" y="340"/>
                      </a:lnTo>
                      <a:lnTo>
                        <a:pt x="10" y="330"/>
                      </a:lnTo>
                      <a:lnTo>
                        <a:pt x="3" y="309"/>
                      </a:lnTo>
                      <a:lnTo>
                        <a:pt x="1" y="294"/>
                      </a:lnTo>
                      <a:lnTo>
                        <a:pt x="0" y="280"/>
                      </a:lnTo>
                      <a:lnTo>
                        <a:pt x="3" y="269"/>
                      </a:lnTo>
                      <a:lnTo>
                        <a:pt x="3" y="255"/>
                      </a:lnTo>
                      <a:lnTo>
                        <a:pt x="6" y="246"/>
                      </a:lnTo>
                      <a:lnTo>
                        <a:pt x="21" y="234"/>
                      </a:lnTo>
                      <a:lnTo>
                        <a:pt x="27" y="242"/>
                      </a:lnTo>
                      <a:lnTo>
                        <a:pt x="33" y="235"/>
                      </a:lnTo>
                      <a:lnTo>
                        <a:pt x="43" y="234"/>
                      </a:lnTo>
                      <a:lnTo>
                        <a:pt x="42" y="244"/>
                      </a:lnTo>
                      <a:lnTo>
                        <a:pt x="48" y="249"/>
                      </a:lnTo>
                      <a:lnTo>
                        <a:pt x="52" y="240"/>
                      </a:lnTo>
                      <a:lnTo>
                        <a:pt x="53" y="230"/>
                      </a:lnTo>
                      <a:lnTo>
                        <a:pt x="57" y="228"/>
                      </a:lnTo>
                      <a:lnTo>
                        <a:pt x="58" y="206"/>
                      </a:lnTo>
                      <a:lnTo>
                        <a:pt x="64" y="206"/>
                      </a:lnTo>
                      <a:lnTo>
                        <a:pt x="65" y="199"/>
                      </a:lnTo>
                      <a:lnTo>
                        <a:pt x="62" y="189"/>
                      </a:lnTo>
                      <a:lnTo>
                        <a:pt x="70" y="186"/>
                      </a:lnTo>
                      <a:lnTo>
                        <a:pt x="70" y="174"/>
                      </a:lnTo>
                      <a:lnTo>
                        <a:pt x="74" y="171"/>
                      </a:lnTo>
                      <a:lnTo>
                        <a:pt x="79" y="162"/>
                      </a:lnTo>
                      <a:lnTo>
                        <a:pt x="85" y="156"/>
                      </a:lnTo>
                      <a:lnTo>
                        <a:pt x="86" y="149"/>
                      </a:lnTo>
                      <a:lnTo>
                        <a:pt x="75" y="158"/>
                      </a:lnTo>
                      <a:lnTo>
                        <a:pt x="71" y="152"/>
                      </a:lnTo>
                      <a:lnTo>
                        <a:pt x="76" y="140"/>
                      </a:lnTo>
                      <a:lnTo>
                        <a:pt x="68" y="141"/>
                      </a:lnTo>
                      <a:lnTo>
                        <a:pt x="52" y="126"/>
                      </a:lnTo>
                      <a:lnTo>
                        <a:pt x="55" y="111"/>
                      </a:lnTo>
                      <a:lnTo>
                        <a:pt x="73" y="97"/>
                      </a:lnTo>
                      <a:lnTo>
                        <a:pt x="85" y="90"/>
                      </a:lnTo>
                      <a:lnTo>
                        <a:pt x="91" y="95"/>
                      </a:lnTo>
                      <a:lnTo>
                        <a:pt x="103" y="87"/>
                      </a:lnTo>
                      <a:lnTo>
                        <a:pt x="95" y="87"/>
                      </a:lnTo>
                      <a:lnTo>
                        <a:pt x="90" y="81"/>
                      </a:lnTo>
                      <a:lnTo>
                        <a:pt x="94" y="74"/>
                      </a:lnTo>
                      <a:lnTo>
                        <a:pt x="100" y="72"/>
                      </a:lnTo>
                      <a:lnTo>
                        <a:pt x="97" y="66"/>
                      </a:lnTo>
                      <a:lnTo>
                        <a:pt x="92" y="61"/>
                      </a:lnTo>
                      <a:lnTo>
                        <a:pt x="91" y="52"/>
                      </a:lnTo>
                      <a:lnTo>
                        <a:pt x="109" y="30"/>
                      </a:lnTo>
                      <a:lnTo>
                        <a:pt x="124" y="2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336" name="Freeform 125"/>
                <p:cNvSpPr>
                  <a:spLocks noChangeAspect="1"/>
                </p:cNvSpPr>
                <p:nvPr/>
              </p:nvSpPr>
              <p:spPr bwMode="gray">
                <a:xfrm>
                  <a:off x="3104" y="1129"/>
                  <a:ext cx="169" cy="159"/>
                </a:xfrm>
                <a:custGeom>
                  <a:avLst/>
                  <a:gdLst/>
                  <a:ahLst/>
                  <a:cxnLst>
                    <a:cxn ang="0">
                      <a:pos x="31" y="669"/>
                    </a:cxn>
                    <a:cxn ang="0">
                      <a:pos x="88" y="629"/>
                    </a:cxn>
                    <a:cxn ang="0">
                      <a:pos x="84" y="616"/>
                    </a:cxn>
                    <a:cxn ang="0">
                      <a:pos x="83" y="578"/>
                    </a:cxn>
                    <a:cxn ang="0">
                      <a:pos x="109" y="554"/>
                    </a:cxn>
                    <a:cxn ang="0">
                      <a:pos x="106" y="527"/>
                    </a:cxn>
                    <a:cxn ang="0">
                      <a:pos x="144" y="509"/>
                    </a:cxn>
                    <a:cxn ang="0">
                      <a:pos x="113" y="481"/>
                    </a:cxn>
                    <a:cxn ang="0">
                      <a:pos x="103" y="457"/>
                    </a:cxn>
                    <a:cxn ang="0">
                      <a:pos x="105" y="410"/>
                    </a:cxn>
                    <a:cxn ang="0">
                      <a:pos x="163" y="404"/>
                    </a:cxn>
                    <a:cxn ang="0">
                      <a:pos x="230" y="351"/>
                    </a:cxn>
                    <a:cxn ang="0">
                      <a:pos x="259" y="310"/>
                    </a:cxn>
                    <a:cxn ang="0">
                      <a:pos x="302" y="253"/>
                    </a:cxn>
                    <a:cxn ang="0">
                      <a:pos x="372" y="196"/>
                    </a:cxn>
                    <a:cxn ang="0">
                      <a:pos x="385" y="219"/>
                    </a:cxn>
                    <a:cxn ang="0">
                      <a:pos x="398" y="169"/>
                    </a:cxn>
                    <a:cxn ang="0">
                      <a:pos x="426" y="161"/>
                    </a:cxn>
                    <a:cxn ang="0">
                      <a:pos x="502" y="184"/>
                    </a:cxn>
                    <a:cxn ang="0">
                      <a:pos x="572" y="161"/>
                    </a:cxn>
                    <a:cxn ang="0">
                      <a:pos x="615" y="124"/>
                    </a:cxn>
                    <a:cxn ang="0">
                      <a:pos x="660" y="105"/>
                    </a:cxn>
                    <a:cxn ang="0">
                      <a:pos x="689" y="39"/>
                    </a:cxn>
                    <a:cxn ang="0">
                      <a:pos x="750" y="0"/>
                    </a:cxn>
                    <a:cxn ang="0">
                      <a:pos x="832" y="36"/>
                    </a:cxn>
                    <a:cxn ang="0">
                      <a:pos x="829" y="110"/>
                    </a:cxn>
                    <a:cxn ang="0">
                      <a:pos x="799" y="176"/>
                    </a:cxn>
                    <a:cxn ang="0">
                      <a:pos x="733" y="221"/>
                    </a:cxn>
                    <a:cxn ang="0">
                      <a:pos x="648" y="244"/>
                    </a:cxn>
                    <a:cxn ang="0">
                      <a:pos x="614" y="276"/>
                    </a:cxn>
                    <a:cxn ang="0">
                      <a:pos x="540" y="304"/>
                    </a:cxn>
                    <a:cxn ang="0">
                      <a:pos x="472" y="372"/>
                    </a:cxn>
                    <a:cxn ang="0">
                      <a:pos x="391" y="442"/>
                    </a:cxn>
                    <a:cxn ang="0">
                      <a:pos x="374" y="453"/>
                    </a:cxn>
                    <a:cxn ang="0">
                      <a:pos x="358" y="511"/>
                    </a:cxn>
                    <a:cxn ang="0">
                      <a:pos x="331" y="520"/>
                    </a:cxn>
                    <a:cxn ang="0">
                      <a:pos x="294" y="530"/>
                    </a:cxn>
                    <a:cxn ang="0">
                      <a:pos x="297" y="562"/>
                    </a:cxn>
                    <a:cxn ang="0">
                      <a:pos x="249" y="547"/>
                    </a:cxn>
                    <a:cxn ang="0">
                      <a:pos x="273" y="603"/>
                    </a:cxn>
                    <a:cxn ang="0">
                      <a:pos x="262" y="625"/>
                    </a:cxn>
                    <a:cxn ang="0">
                      <a:pos x="251" y="651"/>
                    </a:cxn>
                    <a:cxn ang="0">
                      <a:pos x="213" y="601"/>
                    </a:cxn>
                    <a:cxn ang="0">
                      <a:pos x="221" y="652"/>
                    </a:cxn>
                    <a:cxn ang="0">
                      <a:pos x="228" y="687"/>
                    </a:cxn>
                    <a:cxn ang="0">
                      <a:pos x="179" y="679"/>
                    </a:cxn>
                    <a:cxn ang="0">
                      <a:pos x="211" y="723"/>
                    </a:cxn>
                    <a:cxn ang="0">
                      <a:pos x="185" y="718"/>
                    </a:cxn>
                    <a:cxn ang="0">
                      <a:pos x="192" y="760"/>
                    </a:cxn>
                    <a:cxn ang="0">
                      <a:pos x="159" y="794"/>
                    </a:cxn>
                    <a:cxn ang="0">
                      <a:pos x="82" y="761"/>
                    </a:cxn>
                    <a:cxn ang="0">
                      <a:pos x="39" y="757"/>
                    </a:cxn>
                    <a:cxn ang="0">
                      <a:pos x="63" y="724"/>
                    </a:cxn>
                    <a:cxn ang="0">
                      <a:pos x="52" y="713"/>
                    </a:cxn>
                    <a:cxn ang="0">
                      <a:pos x="0" y="692"/>
                    </a:cxn>
                  </a:cxnLst>
                  <a:rect l="0" t="0" r="r" b="b"/>
                  <a:pathLst>
                    <a:path w="843" h="796">
                      <a:moveTo>
                        <a:pt x="0" y="692"/>
                      </a:moveTo>
                      <a:lnTo>
                        <a:pt x="0" y="687"/>
                      </a:lnTo>
                      <a:lnTo>
                        <a:pt x="4" y="692"/>
                      </a:lnTo>
                      <a:lnTo>
                        <a:pt x="17" y="689"/>
                      </a:lnTo>
                      <a:lnTo>
                        <a:pt x="31" y="669"/>
                      </a:lnTo>
                      <a:lnTo>
                        <a:pt x="60" y="659"/>
                      </a:lnTo>
                      <a:lnTo>
                        <a:pt x="55" y="653"/>
                      </a:lnTo>
                      <a:lnTo>
                        <a:pt x="60" y="636"/>
                      </a:lnTo>
                      <a:lnTo>
                        <a:pt x="77" y="621"/>
                      </a:lnTo>
                      <a:lnTo>
                        <a:pt x="88" y="629"/>
                      </a:lnTo>
                      <a:lnTo>
                        <a:pt x="101" y="631"/>
                      </a:lnTo>
                      <a:lnTo>
                        <a:pt x="116" y="641"/>
                      </a:lnTo>
                      <a:lnTo>
                        <a:pt x="133" y="644"/>
                      </a:lnTo>
                      <a:lnTo>
                        <a:pt x="124" y="631"/>
                      </a:lnTo>
                      <a:lnTo>
                        <a:pt x="84" y="616"/>
                      </a:lnTo>
                      <a:lnTo>
                        <a:pt x="77" y="604"/>
                      </a:lnTo>
                      <a:lnTo>
                        <a:pt x="86" y="606"/>
                      </a:lnTo>
                      <a:lnTo>
                        <a:pt x="103" y="604"/>
                      </a:lnTo>
                      <a:lnTo>
                        <a:pt x="108" y="593"/>
                      </a:lnTo>
                      <a:lnTo>
                        <a:pt x="83" y="578"/>
                      </a:lnTo>
                      <a:lnTo>
                        <a:pt x="86" y="572"/>
                      </a:lnTo>
                      <a:lnTo>
                        <a:pt x="120" y="570"/>
                      </a:lnTo>
                      <a:lnTo>
                        <a:pt x="127" y="565"/>
                      </a:lnTo>
                      <a:lnTo>
                        <a:pt x="121" y="556"/>
                      </a:lnTo>
                      <a:lnTo>
                        <a:pt x="109" y="554"/>
                      </a:lnTo>
                      <a:lnTo>
                        <a:pt x="103" y="545"/>
                      </a:lnTo>
                      <a:lnTo>
                        <a:pt x="98" y="536"/>
                      </a:lnTo>
                      <a:lnTo>
                        <a:pt x="98" y="523"/>
                      </a:lnTo>
                      <a:lnTo>
                        <a:pt x="100" y="519"/>
                      </a:lnTo>
                      <a:lnTo>
                        <a:pt x="106" y="527"/>
                      </a:lnTo>
                      <a:lnTo>
                        <a:pt x="129" y="513"/>
                      </a:lnTo>
                      <a:lnTo>
                        <a:pt x="151" y="519"/>
                      </a:lnTo>
                      <a:lnTo>
                        <a:pt x="163" y="511"/>
                      </a:lnTo>
                      <a:lnTo>
                        <a:pt x="152" y="513"/>
                      </a:lnTo>
                      <a:lnTo>
                        <a:pt x="144" y="509"/>
                      </a:lnTo>
                      <a:lnTo>
                        <a:pt x="138" y="496"/>
                      </a:lnTo>
                      <a:lnTo>
                        <a:pt x="127" y="493"/>
                      </a:lnTo>
                      <a:lnTo>
                        <a:pt x="108" y="498"/>
                      </a:lnTo>
                      <a:lnTo>
                        <a:pt x="105" y="490"/>
                      </a:lnTo>
                      <a:lnTo>
                        <a:pt x="113" y="481"/>
                      </a:lnTo>
                      <a:lnTo>
                        <a:pt x="122" y="455"/>
                      </a:lnTo>
                      <a:lnTo>
                        <a:pt x="117" y="457"/>
                      </a:lnTo>
                      <a:lnTo>
                        <a:pt x="116" y="452"/>
                      </a:lnTo>
                      <a:lnTo>
                        <a:pt x="113" y="443"/>
                      </a:lnTo>
                      <a:lnTo>
                        <a:pt x="103" y="457"/>
                      </a:lnTo>
                      <a:lnTo>
                        <a:pt x="103" y="442"/>
                      </a:lnTo>
                      <a:lnTo>
                        <a:pt x="97" y="437"/>
                      </a:lnTo>
                      <a:lnTo>
                        <a:pt x="103" y="426"/>
                      </a:lnTo>
                      <a:lnTo>
                        <a:pt x="100" y="421"/>
                      </a:lnTo>
                      <a:lnTo>
                        <a:pt x="105" y="410"/>
                      </a:lnTo>
                      <a:lnTo>
                        <a:pt x="124" y="410"/>
                      </a:lnTo>
                      <a:lnTo>
                        <a:pt x="124" y="426"/>
                      </a:lnTo>
                      <a:lnTo>
                        <a:pt x="131" y="431"/>
                      </a:lnTo>
                      <a:lnTo>
                        <a:pt x="153" y="418"/>
                      </a:lnTo>
                      <a:lnTo>
                        <a:pt x="163" y="404"/>
                      </a:lnTo>
                      <a:lnTo>
                        <a:pt x="165" y="387"/>
                      </a:lnTo>
                      <a:lnTo>
                        <a:pt x="184" y="378"/>
                      </a:lnTo>
                      <a:lnTo>
                        <a:pt x="208" y="383"/>
                      </a:lnTo>
                      <a:lnTo>
                        <a:pt x="229" y="362"/>
                      </a:lnTo>
                      <a:lnTo>
                        <a:pt x="230" y="351"/>
                      </a:lnTo>
                      <a:lnTo>
                        <a:pt x="226" y="340"/>
                      </a:lnTo>
                      <a:lnTo>
                        <a:pt x="237" y="332"/>
                      </a:lnTo>
                      <a:lnTo>
                        <a:pt x="234" y="320"/>
                      </a:lnTo>
                      <a:lnTo>
                        <a:pt x="249" y="308"/>
                      </a:lnTo>
                      <a:lnTo>
                        <a:pt x="259" y="310"/>
                      </a:lnTo>
                      <a:lnTo>
                        <a:pt x="269" y="304"/>
                      </a:lnTo>
                      <a:lnTo>
                        <a:pt x="265" y="298"/>
                      </a:lnTo>
                      <a:lnTo>
                        <a:pt x="271" y="277"/>
                      </a:lnTo>
                      <a:lnTo>
                        <a:pt x="278" y="269"/>
                      </a:lnTo>
                      <a:lnTo>
                        <a:pt x="302" y="253"/>
                      </a:lnTo>
                      <a:lnTo>
                        <a:pt x="334" y="240"/>
                      </a:lnTo>
                      <a:lnTo>
                        <a:pt x="341" y="233"/>
                      </a:lnTo>
                      <a:lnTo>
                        <a:pt x="343" y="222"/>
                      </a:lnTo>
                      <a:lnTo>
                        <a:pt x="348" y="211"/>
                      </a:lnTo>
                      <a:lnTo>
                        <a:pt x="372" y="196"/>
                      </a:lnTo>
                      <a:lnTo>
                        <a:pt x="383" y="201"/>
                      </a:lnTo>
                      <a:lnTo>
                        <a:pt x="377" y="212"/>
                      </a:lnTo>
                      <a:lnTo>
                        <a:pt x="371" y="229"/>
                      </a:lnTo>
                      <a:lnTo>
                        <a:pt x="380" y="232"/>
                      </a:lnTo>
                      <a:lnTo>
                        <a:pt x="385" y="219"/>
                      </a:lnTo>
                      <a:lnTo>
                        <a:pt x="404" y="212"/>
                      </a:lnTo>
                      <a:lnTo>
                        <a:pt x="409" y="201"/>
                      </a:lnTo>
                      <a:lnTo>
                        <a:pt x="401" y="195"/>
                      </a:lnTo>
                      <a:lnTo>
                        <a:pt x="398" y="184"/>
                      </a:lnTo>
                      <a:lnTo>
                        <a:pt x="398" y="169"/>
                      </a:lnTo>
                      <a:lnTo>
                        <a:pt x="404" y="170"/>
                      </a:lnTo>
                      <a:lnTo>
                        <a:pt x="407" y="162"/>
                      </a:lnTo>
                      <a:lnTo>
                        <a:pt x="402" y="157"/>
                      </a:lnTo>
                      <a:lnTo>
                        <a:pt x="423" y="152"/>
                      </a:lnTo>
                      <a:lnTo>
                        <a:pt x="426" y="161"/>
                      </a:lnTo>
                      <a:lnTo>
                        <a:pt x="470" y="165"/>
                      </a:lnTo>
                      <a:lnTo>
                        <a:pt x="470" y="185"/>
                      </a:lnTo>
                      <a:lnTo>
                        <a:pt x="481" y="190"/>
                      </a:lnTo>
                      <a:lnTo>
                        <a:pt x="488" y="178"/>
                      </a:lnTo>
                      <a:lnTo>
                        <a:pt x="502" y="184"/>
                      </a:lnTo>
                      <a:lnTo>
                        <a:pt x="546" y="152"/>
                      </a:lnTo>
                      <a:lnTo>
                        <a:pt x="557" y="152"/>
                      </a:lnTo>
                      <a:lnTo>
                        <a:pt x="560" y="161"/>
                      </a:lnTo>
                      <a:lnTo>
                        <a:pt x="562" y="162"/>
                      </a:lnTo>
                      <a:lnTo>
                        <a:pt x="572" y="161"/>
                      </a:lnTo>
                      <a:lnTo>
                        <a:pt x="577" y="154"/>
                      </a:lnTo>
                      <a:lnTo>
                        <a:pt x="583" y="156"/>
                      </a:lnTo>
                      <a:lnTo>
                        <a:pt x="588" y="147"/>
                      </a:lnTo>
                      <a:lnTo>
                        <a:pt x="595" y="146"/>
                      </a:lnTo>
                      <a:lnTo>
                        <a:pt x="615" y="124"/>
                      </a:lnTo>
                      <a:lnTo>
                        <a:pt x="633" y="124"/>
                      </a:lnTo>
                      <a:lnTo>
                        <a:pt x="638" y="118"/>
                      </a:lnTo>
                      <a:lnTo>
                        <a:pt x="643" y="102"/>
                      </a:lnTo>
                      <a:lnTo>
                        <a:pt x="653" y="109"/>
                      </a:lnTo>
                      <a:lnTo>
                        <a:pt x="660" y="105"/>
                      </a:lnTo>
                      <a:lnTo>
                        <a:pt x="667" y="97"/>
                      </a:lnTo>
                      <a:lnTo>
                        <a:pt x="663" y="70"/>
                      </a:lnTo>
                      <a:lnTo>
                        <a:pt x="668" y="56"/>
                      </a:lnTo>
                      <a:lnTo>
                        <a:pt x="680" y="51"/>
                      </a:lnTo>
                      <a:lnTo>
                        <a:pt x="689" y="39"/>
                      </a:lnTo>
                      <a:lnTo>
                        <a:pt x="697" y="39"/>
                      </a:lnTo>
                      <a:lnTo>
                        <a:pt x="708" y="25"/>
                      </a:lnTo>
                      <a:lnTo>
                        <a:pt x="713" y="14"/>
                      </a:lnTo>
                      <a:lnTo>
                        <a:pt x="726" y="20"/>
                      </a:lnTo>
                      <a:lnTo>
                        <a:pt x="750" y="0"/>
                      </a:lnTo>
                      <a:lnTo>
                        <a:pt x="782" y="1"/>
                      </a:lnTo>
                      <a:lnTo>
                        <a:pt x="812" y="12"/>
                      </a:lnTo>
                      <a:lnTo>
                        <a:pt x="820" y="20"/>
                      </a:lnTo>
                      <a:lnTo>
                        <a:pt x="825" y="29"/>
                      </a:lnTo>
                      <a:lnTo>
                        <a:pt x="832" y="36"/>
                      </a:lnTo>
                      <a:lnTo>
                        <a:pt x="831" y="46"/>
                      </a:lnTo>
                      <a:lnTo>
                        <a:pt x="842" y="76"/>
                      </a:lnTo>
                      <a:lnTo>
                        <a:pt x="842" y="87"/>
                      </a:lnTo>
                      <a:lnTo>
                        <a:pt x="834" y="93"/>
                      </a:lnTo>
                      <a:lnTo>
                        <a:pt x="829" y="110"/>
                      </a:lnTo>
                      <a:lnTo>
                        <a:pt x="843" y="111"/>
                      </a:lnTo>
                      <a:lnTo>
                        <a:pt x="841" y="119"/>
                      </a:lnTo>
                      <a:lnTo>
                        <a:pt x="829" y="127"/>
                      </a:lnTo>
                      <a:lnTo>
                        <a:pt x="819" y="141"/>
                      </a:lnTo>
                      <a:lnTo>
                        <a:pt x="799" y="176"/>
                      </a:lnTo>
                      <a:lnTo>
                        <a:pt x="807" y="189"/>
                      </a:lnTo>
                      <a:lnTo>
                        <a:pt x="789" y="180"/>
                      </a:lnTo>
                      <a:lnTo>
                        <a:pt x="781" y="180"/>
                      </a:lnTo>
                      <a:lnTo>
                        <a:pt x="772" y="184"/>
                      </a:lnTo>
                      <a:lnTo>
                        <a:pt x="733" y="221"/>
                      </a:lnTo>
                      <a:lnTo>
                        <a:pt x="712" y="229"/>
                      </a:lnTo>
                      <a:lnTo>
                        <a:pt x="702" y="229"/>
                      </a:lnTo>
                      <a:lnTo>
                        <a:pt x="680" y="240"/>
                      </a:lnTo>
                      <a:lnTo>
                        <a:pt x="669" y="238"/>
                      </a:lnTo>
                      <a:lnTo>
                        <a:pt x="648" y="244"/>
                      </a:lnTo>
                      <a:lnTo>
                        <a:pt x="641" y="251"/>
                      </a:lnTo>
                      <a:lnTo>
                        <a:pt x="638" y="261"/>
                      </a:lnTo>
                      <a:lnTo>
                        <a:pt x="628" y="271"/>
                      </a:lnTo>
                      <a:lnTo>
                        <a:pt x="624" y="260"/>
                      </a:lnTo>
                      <a:lnTo>
                        <a:pt x="614" y="276"/>
                      </a:lnTo>
                      <a:lnTo>
                        <a:pt x="558" y="310"/>
                      </a:lnTo>
                      <a:lnTo>
                        <a:pt x="552" y="309"/>
                      </a:lnTo>
                      <a:lnTo>
                        <a:pt x="545" y="289"/>
                      </a:lnTo>
                      <a:lnTo>
                        <a:pt x="539" y="294"/>
                      </a:lnTo>
                      <a:lnTo>
                        <a:pt x="540" y="304"/>
                      </a:lnTo>
                      <a:lnTo>
                        <a:pt x="538" y="308"/>
                      </a:lnTo>
                      <a:lnTo>
                        <a:pt x="534" y="318"/>
                      </a:lnTo>
                      <a:lnTo>
                        <a:pt x="506" y="350"/>
                      </a:lnTo>
                      <a:lnTo>
                        <a:pt x="481" y="356"/>
                      </a:lnTo>
                      <a:lnTo>
                        <a:pt x="472" y="372"/>
                      </a:lnTo>
                      <a:lnTo>
                        <a:pt x="469" y="363"/>
                      </a:lnTo>
                      <a:lnTo>
                        <a:pt x="449" y="398"/>
                      </a:lnTo>
                      <a:lnTo>
                        <a:pt x="422" y="431"/>
                      </a:lnTo>
                      <a:lnTo>
                        <a:pt x="395" y="436"/>
                      </a:lnTo>
                      <a:lnTo>
                        <a:pt x="391" y="442"/>
                      </a:lnTo>
                      <a:lnTo>
                        <a:pt x="389" y="434"/>
                      </a:lnTo>
                      <a:lnTo>
                        <a:pt x="378" y="436"/>
                      </a:lnTo>
                      <a:lnTo>
                        <a:pt x="373" y="430"/>
                      </a:lnTo>
                      <a:lnTo>
                        <a:pt x="367" y="445"/>
                      </a:lnTo>
                      <a:lnTo>
                        <a:pt x="374" y="453"/>
                      </a:lnTo>
                      <a:lnTo>
                        <a:pt x="383" y="454"/>
                      </a:lnTo>
                      <a:lnTo>
                        <a:pt x="385" y="465"/>
                      </a:lnTo>
                      <a:lnTo>
                        <a:pt x="359" y="491"/>
                      </a:lnTo>
                      <a:lnTo>
                        <a:pt x="362" y="501"/>
                      </a:lnTo>
                      <a:lnTo>
                        <a:pt x="358" y="511"/>
                      </a:lnTo>
                      <a:lnTo>
                        <a:pt x="340" y="514"/>
                      </a:lnTo>
                      <a:lnTo>
                        <a:pt x="331" y="504"/>
                      </a:lnTo>
                      <a:lnTo>
                        <a:pt x="316" y="498"/>
                      </a:lnTo>
                      <a:lnTo>
                        <a:pt x="319" y="506"/>
                      </a:lnTo>
                      <a:lnTo>
                        <a:pt x="331" y="520"/>
                      </a:lnTo>
                      <a:lnTo>
                        <a:pt x="341" y="543"/>
                      </a:lnTo>
                      <a:lnTo>
                        <a:pt x="304" y="517"/>
                      </a:lnTo>
                      <a:lnTo>
                        <a:pt x="294" y="520"/>
                      </a:lnTo>
                      <a:lnTo>
                        <a:pt x="296" y="524"/>
                      </a:lnTo>
                      <a:lnTo>
                        <a:pt x="294" y="530"/>
                      </a:lnTo>
                      <a:lnTo>
                        <a:pt x="299" y="544"/>
                      </a:lnTo>
                      <a:lnTo>
                        <a:pt x="304" y="549"/>
                      </a:lnTo>
                      <a:lnTo>
                        <a:pt x="293" y="541"/>
                      </a:lnTo>
                      <a:lnTo>
                        <a:pt x="291" y="547"/>
                      </a:lnTo>
                      <a:lnTo>
                        <a:pt x="297" y="562"/>
                      </a:lnTo>
                      <a:lnTo>
                        <a:pt x="293" y="570"/>
                      </a:lnTo>
                      <a:lnTo>
                        <a:pt x="285" y="571"/>
                      </a:lnTo>
                      <a:lnTo>
                        <a:pt x="280" y="561"/>
                      </a:lnTo>
                      <a:lnTo>
                        <a:pt x="251" y="538"/>
                      </a:lnTo>
                      <a:lnTo>
                        <a:pt x="249" y="547"/>
                      </a:lnTo>
                      <a:lnTo>
                        <a:pt x="262" y="561"/>
                      </a:lnTo>
                      <a:lnTo>
                        <a:pt x="270" y="574"/>
                      </a:lnTo>
                      <a:lnTo>
                        <a:pt x="278" y="593"/>
                      </a:lnTo>
                      <a:lnTo>
                        <a:pt x="278" y="604"/>
                      </a:lnTo>
                      <a:lnTo>
                        <a:pt x="273" y="603"/>
                      </a:lnTo>
                      <a:lnTo>
                        <a:pt x="271" y="610"/>
                      </a:lnTo>
                      <a:lnTo>
                        <a:pt x="270" y="620"/>
                      </a:lnTo>
                      <a:lnTo>
                        <a:pt x="264" y="613"/>
                      </a:lnTo>
                      <a:lnTo>
                        <a:pt x="261" y="613"/>
                      </a:lnTo>
                      <a:lnTo>
                        <a:pt x="262" y="625"/>
                      </a:lnTo>
                      <a:lnTo>
                        <a:pt x="265" y="629"/>
                      </a:lnTo>
                      <a:lnTo>
                        <a:pt x="260" y="633"/>
                      </a:lnTo>
                      <a:lnTo>
                        <a:pt x="251" y="625"/>
                      </a:lnTo>
                      <a:lnTo>
                        <a:pt x="249" y="636"/>
                      </a:lnTo>
                      <a:lnTo>
                        <a:pt x="251" y="651"/>
                      </a:lnTo>
                      <a:lnTo>
                        <a:pt x="244" y="653"/>
                      </a:lnTo>
                      <a:lnTo>
                        <a:pt x="239" y="644"/>
                      </a:lnTo>
                      <a:lnTo>
                        <a:pt x="232" y="643"/>
                      </a:lnTo>
                      <a:lnTo>
                        <a:pt x="228" y="630"/>
                      </a:lnTo>
                      <a:lnTo>
                        <a:pt x="213" y="601"/>
                      </a:lnTo>
                      <a:lnTo>
                        <a:pt x="207" y="621"/>
                      </a:lnTo>
                      <a:lnTo>
                        <a:pt x="210" y="633"/>
                      </a:lnTo>
                      <a:lnTo>
                        <a:pt x="197" y="640"/>
                      </a:lnTo>
                      <a:lnTo>
                        <a:pt x="213" y="646"/>
                      </a:lnTo>
                      <a:lnTo>
                        <a:pt x="221" y="652"/>
                      </a:lnTo>
                      <a:lnTo>
                        <a:pt x="221" y="663"/>
                      </a:lnTo>
                      <a:lnTo>
                        <a:pt x="230" y="668"/>
                      </a:lnTo>
                      <a:lnTo>
                        <a:pt x="226" y="671"/>
                      </a:lnTo>
                      <a:lnTo>
                        <a:pt x="228" y="678"/>
                      </a:lnTo>
                      <a:lnTo>
                        <a:pt x="228" y="687"/>
                      </a:lnTo>
                      <a:lnTo>
                        <a:pt x="226" y="700"/>
                      </a:lnTo>
                      <a:lnTo>
                        <a:pt x="216" y="701"/>
                      </a:lnTo>
                      <a:lnTo>
                        <a:pt x="211" y="686"/>
                      </a:lnTo>
                      <a:lnTo>
                        <a:pt x="205" y="684"/>
                      </a:lnTo>
                      <a:lnTo>
                        <a:pt x="179" y="679"/>
                      </a:lnTo>
                      <a:lnTo>
                        <a:pt x="170" y="681"/>
                      </a:lnTo>
                      <a:lnTo>
                        <a:pt x="179" y="689"/>
                      </a:lnTo>
                      <a:lnTo>
                        <a:pt x="194" y="691"/>
                      </a:lnTo>
                      <a:lnTo>
                        <a:pt x="207" y="712"/>
                      </a:lnTo>
                      <a:lnTo>
                        <a:pt x="211" y="723"/>
                      </a:lnTo>
                      <a:lnTo>
                        <a:pt x="207" y="730"/>
                      </a:lnTo>
                      <a:lnTo>
                        <a:pt x="202" y="733"/>
                      </a:lnTo>
                      <a:lnTo>
                        <a:pt x="200" y="739"/>
                      </a:lnTo>
                      <a:lnTo>
                        <a:pt x="190" y="730"/>
                      </a:lnTo>
                      <a:lnTo>
                        <a:pt x="185" y="718"/>
                      </a:lnTo>
                      <a:lnTo>
                        <a:pt x="174" y="714"/>
                      </a:lnTo>
                      <a:lnTo>
                        <a:pt x="179" y="732"/>
                      </a:lnTo>
                      <a:lnTo>
                        <a:pt x="184" y="744"/>
                      </a:lnTo>
                      <a:lnTo>
                        <a:pt x="191" y="751"/>
                      </a:lnTo>
                      <a:lnTo>
                        <a:pt x="192" y="760"/>
                      </a:lnTo>
                      <a:lnTo>
                        <a:pt x="185" y="769"/>
                      </a:lnTo>
                      <a:lnTo>
                        <a:pt x="180" y="781"/>
                      </a:lnTo>
                      <a:lnTo>
                        <a:pt x="174" y="782"/>
                      </a:lnTo>
                      <a:lnTo>
                        <a:pt x="167" y="796"/>
                      </a:lnTo>
                      <a:lnTo>
                        <a:pt x="159" y="794"/>
                      </a:lnTo>
                      <a:lnTo>
                        <a:pt x="152" y="788"/>
                      </a:lnTo>
                      <a:lnTo>
                        <a:pt x="133" y="789"/>
                      </a:lnTo>
                      <a:lnTo>
                        <a:pt x="115" y="777"/>
                      </a:lnTo>
                      <a:lnTo>
                        <a:pt x="97" y="776"/>
                      </a:lnTo>
                      <a:lnTo>
                        <a:pt x="82" y="761"/>
                      </a:lnTo>
                      <a:lnTo>
                        <a:pt x="61" y="764"/>
                      </a:lnTo>
                      <a:lnTo>
                        <a:pt x="39" y="777"/>
                      </a:lnTo>
                      <a:lnTo>
                        <a:pt x="24" y="776"/>
                      </a:lnTo>
                      <a:lnTo>
                        <a:pt x="35" y="766"/>
                      </a:lnTo>
                      <a:lnTo>
                        <a:pt x="39" y="757"/>
                      </a:lnTo>
                      <a:lnTo>
                        <a:pt x="33" y="757"/>
                      </a:lnTo>
                      <a:lnTo>
                        <a:pt x="34" y="745"/>
                      </a:lnTo>
                      <a:lnTo>
                        <a:pt x="39" y="738"/>
                      </a:lnTo>
                      <a:lnTo>
                        <a:pt x="56" y="723"/>
                      </a:lnTo>
                      <a:lnTo>
                        <a:pt x="63" y="724"/>
                      </a:lnTo>
                      <a:lnTo>
                        <a:pt x="78" y="713"/>
                      </a:lnTo>
                      <a:lnTo>
                        <a:pt x="77" y="711"/>
                      </a:lnTo>
                      <a:lnTo>
                        <a:pt x="68" y="703"/>
                      </a:lnTo>
                      <a:lnTo>
                        <a:pt x="63" y="711"/>
                      </a:lnTo>
                      <a:lnTo>
                        <a:pt x="52" y="713"/>
                      </a:lnTo>
                      <a:lnTo>
                        <a:pt x="40" y="727"/>
                      </a:lnTo>
                      <a:lnTo>
                        <a:pt x="18" y="724"/>
                      </a:lnTo>
                      <a:lnTo>
                        <a:pt x="17" y="714"/>
                      </a:lnTo>
                      <a:lnTo>
                        <a:pt x="4" y="706"/>
                      </a:lnTo>
                      <a:lnTo>
                        <a:pt x="0" y="69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337" name="Freeform 126"/>
                <p:cNvSpPr>
                  <a:spLocks noChangeAspect="1"/>
                </p:cNvSpPr>
                <p:nvPr/>
              </p:nvSpPr>
              <p:spPr bwMode="gray">
                <a:xfrm>
                  <a:off x="3090" y="1355"/>
                  <a:ext cx="9" cy="16"/>
                </a:xfrm>
                <a:custGeom>
                  <a:avLst/>
                  <a:gdLst/>
                  <a:ahLst/>
                  <a:cxnLst>
                    <a:cxn ang="0">
                      <a:pos x="0" y="11"/>
                    </a:cxn>
                    <a:cxn ang="0">
                      <a:pos x="0" y="8"/>
                    </a:cxn>
                    <a:cxn ang="0">
                      <a:pos x="13" y="0"/>
                    </a:cxn>
                    <a:cxn ang="0">
                      <a:pos x="23" y="5"/>
                    </a:cxn>
                    <a:cxn ang="0">
                      <a:pos x="33" y="16"/>
                    </a:cxn>
                    <a:cxn ang="0">
                      <a:pos x="35" y="10"/>
                    </a:cxn>
                    <a:cxn ang="0">
                      <a:pos x="47" y="30"/>
                    </a:cxn>
                    <a:cxn ang="0">
                      <a:pos x="48" y="40"/>
                    </a:cxn>
                    <a:cxn ang="0">
                      <a:pos x="47" y="53"/>
                    </a:cxn>
                    <a:cxn ang="0">
                      <a:pos x="44" y="57"/>
                    </a:cxn>
                    <a:cxn ang="0">
                      <a:pos x="45" y="68"/>
                    </a:cxn>
                    <a:cxn ang="0">
                      <a:pos x="48" y="78"/>
                    </a:cxn>
                    <a:cxn ang="0">
                      <a:pos x="44" y="81"/>
                    </a:cxn>
                    <a:cxn ang="0">
                      <a:pos x="38" y="59"/>
                    </a:cxn>
                    <a:cxn ang="0">
                      <a:pos x="31" y="46"/>
                    </a:cxn>
                    <a:cxn ang="0">
                      <a:pos x="24" y="27"/>
                    </a:cxn>
                    <a:cxn ang="0">
                      <a:pos x="4" y="19"/>
                    </a:cxn>
                    <a:cxn ang="0">
                      <a:pos x="0" y="11"/>
                    </a:cxn>
                  </a:cxnLst>
                  <a:rect l="0" t="0" r="r" b="b"/>
                  <a:pathLst>
                    <a:path w="48" h="81">
                      <a:moveTo>
                        <a:pt x="0" y="11"/>
                      </a:moveTo>
                      <a:lnTo>
                        <a:pt x="0" y="8"/>
                      </a:lnTo>
                      <a:lnTo>
                        <a:pt x="13" y="0"/>
                      </a:lnTo>
                      <a:lnTo>
                        <a:pt x="23" y="5"/>
                      </a:lnTo>
                      <a:lnTo>
                        <a:pt x="33" y="16"/>
                      </a:lnTo>
                      <a:lnTo>
                        <a:pt x="35" y="10"/>
                      </a:lnTo>
                      <a:lnTo>
                        <a:pt x="47" y="30"/>
                      </a:lnTo>
                      <a:lnTo>
                        <a:pt x="48" y="40"/>
                      </a:lnTo>
                      <a:lnTo>
                        <a:pt x="47" y="53"/>
                      </a:lnTo>
                      <a:lnTo>
                        <a:pt x="44" y="57"/>
                      </a:lnTo>
                      <a:lnTo>
                        <a:pt x="45" y="68"/>
                      </a:lnTo>
                      <a:lnTo>
                        <a:pt x="48" y="78"/>
                      </a:lnTo>
                      <a:lnTo>
                        <a:pt x="44" y="81"/>
                      </a:lnTo>
                      <a:lnTo>
                        <a:pt x="38" y="59"/>
                      </a:lnTo>
                      <a:lnTo>
                        <a:pt x="31" y="46"/>
                      </a:lnTo>
                      <a:lnTo>
                        <a:pt x="24" y="27"/>
                      </a:lnTo>
                      <a:lnTo>
                        <a:pt x="4" y="19"/>
                      </a:lnTo>
                      <a:lnTo>
                        <a:pt x="0" y="11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338" name="Freeform 127"/>
                <p:cNvSpPr>
                  <a:spLocks noChangeAspect="1"/>
                </p:cNvSpPr>
                <p:nvPr/>
              </p:nvSpPr>
              <p:spPr bwMode="gray">
                <a:xfrm>
                  <a:off x="4042" y="1314"/>
                  <a:ext cx="17" cy="13"/>
                </a:xfrm>
                <a:custGeom>
                  <a:avLst/>
                  <a:gdLst/>
                  <a:ahLst/>
                  <a:cxnLst>
                    <a:cxn ang="0">
                      <a:pos x="44" y="7"/>
                    </a:cxn>
                    <a:cxn ang="0">
                      <a:pos x="57" y="9"/>
                    </a:cxn>
                    <a:cxn ang="0">
                      <a:pos x="84" y="4"/>
                    </a:cxn>
                    <a:cxn ang="0">
                      <a:pos x="85" y="7"/>
                    </a:cxn>
                    <a:cxn ang="0">
                      <a:pos x="84" y="14"/>
                    </a:cxn>
                    <a:cxn ang="0">
                      <a:pos x="79" y="27"/>
                    </a:cxn>
                    <a:cxn ang="0">
                      <a:pos x="76" y="37"/>
                    </a:cxn>
                    <a:cxn ang="0">
                      <a:pos x="71" y="45"/>
                    </a:cxn>
                    <a:cxn ang="0">
                      <a:pos x="70" y="40"/>
                    </a:cxn>
                    <a:cxn ang="0">
                      <a:pos x="70" y="26"/>
                    </a:cxn>
                    <a:cxn ang="0">
                      <a:pos x="62" y="51"/>
                    </a:cxn>
                    <a:cxn ang="0">
                      <a:pos x="54" y="50"/>
                    </a:cxn>
                    <a:cxn ang="0">
                      <a:pos x="44" y="42"/>
                    </a:cxn>
                    <a:cxn ang="0">
                      <a:pos x="36" y="52"/>
                    </a:cxn>
                    <a:cxn ang="0">
                      <a:pos x="20" y="51"/>
                    </a:cxn>
                    <a:cxn ang="0">
                      <a:pos x="17" y="57"/>
                    </a:cxn>
                    <a:cxn ang="0">
                      <a:pos x="13" y="61"/>
                    </a:cxn>
                    <a:cxn ang="0">
                      <a:pos x="0" y="46"/>
                    </a:cxn>
                    <a:cxn ang="0">
                      <a:pos x="4" y="40"/>
                    </a:cxn>
                    <a:cxn ang="0">
                      <a:pos x="11" y="37"/>
                    </a:cxn>
                    <a:cxn ang="0">
                      <a:pos x="10" y="29"/>
                    </a:cxn>
                    <a:cxn ang="0">
                      <a:pos x="13" y="23"/>
                    </a:cxn>
                    <a:cxn ang="0">
                      <a:pos x="19" y="20"/>
                    </a:cxn>
                    <a:cxn ang="0">
                      <a:pos x="19" y="14"/>
                    </a:cxn>
                    <a:cxn ang="0">
                      <a:pos x="16" y="4"/>
                    </a:cxn>
                    <a:cxn ang="0">
                      <a:pos x="25" y="0"/>
                    </a:cxn>
                    <a:cxn ang="0">
                      <a:pos x="41" y="2"/>
                    </a:cxn>
                    <a:cxn ang="0">
                      <a:pos x="44" y="3"/>
                    </a:cxn>
                    <a:cxn ang="0">
                      <a:pos x="44" y="7"/>
                    </a:cxn>
                  </a:cxnLst>
                  <a:rect l="0" t="0" r="r" b="b"/>
                  <a:pathLst>
                    <a:path w="85" h="61">
                      <a:moveTo>
                        <a:pt x="44" y="7"/>
                      </a:moveTo>
                      <a:lnTo>
                        <a:pt x="57" y="9"/>
                      </a:lnTo>
                      <a:lnTo>
                        <a:pt x="84" y="4"/>
                      </a:lnTo>
                      <a:lnTo>
                        <a:pt x="85" y="7"/>
                      </a:lnTo>
                      <a:lnTo>
                        <a:pt x="84" y="14"/>
                      </a:lnTo>
                      <a:lnTo>
                        <a:pt x="79" y="27"/>
                      </a:lnTo>
                      <a:lnTo>
                        <a:pt x="76" y="37"/>
                      </a:lnTo>
                      <a:lnTo>
                        <a:pt x="71" y="45"/>
                      </a:lnTo>
                      <a:lnTo>
                        <a:pt x="70" y="40"/>
                      </a:lnTo>
                      <a:lnTo>
                        <a:pt x="70" y="26"/>
                      </a:lnTo>
                      <a:lnTo>
                        <a:pt x="62" y="51"/>
                      </a:lnTo>
                      <a:lnTo>
                        <a:pt x="54" y="50"/>
                      </a:lnTo>
                      <a:lnTo>
                        <a:pt x="44" y="42"/>
                      </a:lnTo>
                      <a:lnTo>
                        <a:pt x="36" y="52"/>
                      </a:lnTo>
                      <a:lnTo>
                        <a:pt x="20" y="51"/>
                      </a:lnTo>
                      <a:lnTo>
                        <a:pt x="17" y="57"/>
                      </a:lnTo>
                      <a:lnTo>
                        <a:pt x="13" y="61"/>
                      </a:lnTo>
                      <a:lnTo>
                        <a:pt x="0" y="46"/>
                      </a:lnTo>
                      <a:lnTo>
                        <a:pt x="4" y="40"/>
                      </a:lnTo>
                      <a:lnTo>
                        <a:pt x="11" y="37"/>
                      </a:lnTo>
                      <a:lnTo>
                        <a:pt x="10" y="29"/>
                      </a:lnTo>
                      <a:lnTo>
                        <a:pt x="13" y="23"/>
                      </a:lnTo>
                      <a:lnTo>
                        <a:pt x="19" y="20"/>
                      </a:lnTo>
                      <a:lnTo>
                        <a:pt x="19" y="14"/>
                      </a:lnTo>
                      <a:lnTo>
                        <a:pt x="16" y="4"/>
                      </a:lnTo>
                      <a:lnTo>
                        <a:pt x="25" y="0"/>
                      </a:lnTo>
                      <a:lnTo>
                        <a:pt x="41" y="2"/>
                      </a:lnTo>
                      <a:lnTo>
                        <a:pt x="44" y="3"/>
                      </a:lnTo>
                      <a:lnTo>
                        <a:pt x="44" y="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339" name="Freeform 128"/>
                <p:cNvSpPr>
                  <a:spLocks noChangeAspect="1"/>
                </p:cNvSpPr>
                <p:nvPr/>
              </p:nvSpPr>
              <p:spPr bwMode="gray">
                <a:xfrm>
                  <a:off x="3158" y="1386"/>
                  <a:ext cx="22" cy="25"/>
                </a:xfrm>
                <a:custGeom>
                  <a:avLst/>
                  <a:gdLst/>
                  <a:ahLst/>
                  <a:cxnLst>
                    <a:cxn ang="0">
                      <a:pos x="15" y="75"/>
                    </a:cxn>
                    <a:cxn ang="0">
                      <a:pos x="12" y="75"/>
                    </a:cxn>
                    <a:cxn ang="0">
                      <a:pos x="7" y="57"/>
                    </a:cxn>
                    <a:cxn ang="0">
                      <a:pos x="7" y="49"/>
                    </a:cxn>
                    <a:cxn ang="0">
                      <a:pos x="3" y="47"/>
                    </a:cxn>
                    <a:cxn ang="0">
                      <a:pos x="0" y="36"/>
                    </a:cxn>
                    <a:cxn ang="0">
                      <a:pos x="10" y="41"/>
                    </a:cxn>
                    <a:cxn ang="0">
                      <a:pos x="19" y="38"/>
                    </a:cxn>
                    <a:cxn ang="0">
                      <a:pos x="6" y="25"/>
                    </a:cxn>
                    <a:cxn ang="0">
                      <a:pos x="10" y="23"/>
                    </a:cxn>
                    <a:cxn ang="0">
                      <a:pos x="15" y="15"/>
                    </a:cxn>
                    <a:cxn ang="0">
                      <a:pos x="19" y="3"/>
                    </a:cxn>
                    <a:cxn ang="0">
                      <a:pos x="27" y="0"/>
                    </a:cxn>
                    <a:cxn ang="0">
                      <a:pos x="37" y="16"/>
                    </a:cxn>
                    <a:cxn ang="0">
                      <a:pos x="46" y="23"/>
                    </a:cxn>
                    <a:cxn ang="0">
                      <a:pos x="52" y="38"/>
                    </a:cxn>
                    <a:cxn ang="0">
                      <a:pos x="68" y="46"/>
                    </a:cxn>
                    <a:cxn ang="0">
                      <a:pos x="82" y="62"/>
                    </a:cxn>
                    <a:cxn ang="0">
                      <a:pos x="109" y="98"/>
                    </a:cxn>
                    <a:cxn ang="0">
                      <a:pos x="112" y="108"/>
                    </a:cxn>
                    <a:cxn ang="0">
                      <a:pos x="103" y="123"/>
                    </a:cxn>
                    <a:cxn ang="0">
                      <a:pos x="96" y="118"/>
                    </a:cxn>
                    <a:cxn ang="0">
                      <a:pos x="89" y="117"/>
                    </a:cxn>
                    <a:cxn ang="0">
                      <a:pos x="85" y="122"/>
                    </a:cxn>
                    <a:cxn ang="0">
                      <a:pos x="74" y="122"/>
                    </a:cxn>
                    <a:cxn ang="0">
                      <a:pos x="60" y="112"/>
                    </a:cxn>
                    <a:cxn ang="0">
                      <a:pos x="64" y="103"/>
                    </a:cxn>
                    <a:cxn ang="0">
                      <a:pos x="54" y="96"/>
                    </a:cxn>
                    <a:cxn ang="0">
                      <a:pos x="44" y="95"/>
                    </a:cxn>
                    <a:cxn ang="0">
                      <a:pos x="26" y="82"/>
                    </a:cxn>
                    <a:cxn ang="0">
                      <a:pos x="31" y="95"/>
                    </a:cxn>
                    <a:cxn ang="0">
                      <a:pos x="39" y="106"/>
                    </a:cxn>
                    <a:cxn ang="0">
                      <a:pos x="37" y="113"/>
                    </a:cxn>
                    <a:cxn ang="0">
                      <a:pos x="28" y="95"/>
                    </a:cxn>
                    <a:cxn ang="0">
                      <a:pos x="15" y="75"/>
                    </a:cxn>
                  </a:cxnLst>
                  <a:rect l="0" t="0" r="r" b="b"/>
                  <a:pathLst>
                    <a:path w="112" h="123">
                      <a:moveTo>
                        <a:pt x="15" y="75"/>
                      </a:moveTo>
                      <a:lnTo>
                        <a:pt x="12" y="75"/>
                      </a:lnTo>
                      <a:lnTo>
                        <a:pt x="7" y="57"/>
                      </a:lnTo>
                      <a:lnTo>
                        <a:pt x="7" y="49"/>
                      </a:lnTo>
                      <a:lnTo>
                        <a:pt x="3" y="47"/>
                      </a:lnTo>
                      <a:lnTo>
                        <a:pt x="0" y="36"/>
                      </a:lnTo>
                      <a:lnTo>
                        <a:pt x="10" y="41"/>
                      </a:lnTo>
                      <a:lnTo>
                        <a:pt x="19" y="38"/>
                      </a:lnTo>
                      <a:lnTo>
                        <a:pt x="6" y="25"/>
                      </a:lnTo>
                      <a:lnTo>
                        <a:pt x="10" y="23"/>
                      </a:lnTo>
                      <a:lnTo>
                        <a:pt x="15" y="15"/>
                      </a:lnTo>
                      <a:lnTo>
                        <a:pt x="19" y="3"/>
                      </a:lnTo>
                      <a:lnTo>
                        <a:pt x="27" y="0"/>
                      </a:lnTo>
                      <a:lnTo>
                        <a:pt x="37" y="16"/>
                      </a:lnTo>
                      <a:lnTo>
                        <a:pt x="46" y="23"/>
                      </a:lnTo>
                      <a:lnTo>
                        <a:pt x="52" y="38"/>
                      </a:lnTo>
                      <a:lnTo>
                        <a:pt x="68" y="46"/>
                      </a:lnTo>
                      <a:lnTo>
                        <a:pt x="82" y="62"/>
                      </a:lnTo>
                      <a:lnTo>
                        <a:pt x="109" y="98"/>
                      </a:lnTo>
                      <a:lnTo>
                        <a:pt x="112" y="108"/>
                      </a:lnTo>
                      <a:lnTo>
                        <a:pt x="103" y="123"/>
                      </a:lnTo>
                      <a:lnTo>
                        <a:pt x="96" y="118"/>
                      </a:lnTo>
                      <a:lnTo>
                        <a:pt x="89" y="117"/>
                      </a:lnTo>
                      <a:lnTo>
                        <a:pt x="85" y="122"/>
                      </a:lnTo>
                      <a:lnTo>
                        <a:pt x="74" y="122"/>
                      </a:lnTo>
                      <a:lnTo>
                        <a:pt x="60" y="112"/>
                      </a:lnTo>
                      <a:lnTo>
                        <a:pt x="64" y="103"/>
                      </a:lnTo>
                      <a:lnTo>
                        <a:pt x="54" y="96"/>
                      </a:lnTo>
                      <a:lnTo>
                        <a:pt x="44" y="95"/>
                      </a:lnTo>
                      <a:lnTo>
                        <a:pt x="26" y="82"/>
                      </a:lnTo>
                      <a:lnTo>
                        <a:pt x="31" y="95"/>
                      </a:lnTo>
                      <a:lnTo>
                        <a:pt x="39" y="106"/>
                      </a:lnTo>
                      <a:lnTo>
                        <a:pt x="37" y="113"/>
                      </a:lnTo>
                      <a:lnTo>
                        <a:pt x="28" y="95"/>
                      </a:lnTo>
                      <a:lnTo>
                        <a:pt x="15" y="75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340" name="Freeform 129"/>
                <p:cNvSpPr>
                  <a:spLocks noChangeAspect="1"/>
                </p:cNvSpPr>
                <p:nvPr/>
              </p:nvSpPr>
              <p:spPr bwMode="gray">
                <a:xfrm>
                  <a:off x="3534" y="960"/>
                  <a:ext cx="81" cy="75"/>
                </a:xfrm>
                <a:custGeom>
                  <a:avLst/>
                  <a:gdLst/>
                  <a:ahLst/>
                  <a:cxnLst>
                    <a:cxn ang="0">
                      <a:pos x="81" y="49"/>
                    </a:cxn>
                    <a:cxn ang="0">
                      <a:pos x="90" y="63"/>
                    </a:cxn>
                    <a:cxn ang="0">
                      <a:pos x="54" y="79"/>
                    </a:cxn>
                    <a:cxn ang="0">
                      <a:pos x="47" y="106"/>
                    </a:cxn>
                    <a:cxn ang="0">
                      <a:pos x="0" y="138"/>
                    </a:cxn>
                    <a:cxn ang="0">
                      <a:pos x="17" y="168"/>
                    </a:cxn>
                    <a:cxn ang="0">
                      <a:pos x="19" y="154"/>
                    </a:cxn>
                    <a:cxn ang="0">
                      <a:pos x="31" y="142"/>
                    </a:cxn>
                    <a:cxn ang="0">
                      <a:pos x="45" y="154"/>
                    </a:cxn>
                    <a:cxn ang="0">
                      <a:pos x="51" y="168"/>
                    </a:cxn>
                    <a:cxn ang="0">
                      <a:pos x="71" y="160"/>
                    </a:cxn>
                    <a:cxn ang="0">
                      <a:pos x="75" y="181"/>
                    </a:cxn>
                    <a:cxn ang="0">
                      <a:pos x="76" y="220"/>
                    </a:cxn>
                    <a:cxn ang="0">
                      <a:pos x="83" y="247"/>
                    </a:cxn>
                    <a:cxn ang="0">
                      <a:pos x="103" y="276"/>
                    </a:cxn>
                    <a:cxn ang="0">
                      <a:pos x="120" y="302"/>
                    </a:cxn>
                    <a:cxn ang="0">
                      <a:pos x="157" y="255"/>
                    </a:cxn>
                    <a:cxn ang="0">
                      <a:pos x="161" y="298"/>
                    </a:cxn>
                    <a:cxn ang="0">
                      <a:pos x="176" y="300"/>
                    </a:cxn>
                    <a:cxn ang="0">
                      <a:pos x="185" y="313"/>
                    </a:cxn>
                    <a:cxn ang="0">
                      <a:pos x="233" y="338"/>
                    </a:cxn>
                    <a:cxn ang="0">
                      <a:pos x="260" y="354"/>
                    </a:cxn>
                    <a:cxn ang="0">
                      <a:pos x="327" y="373"/>
                    </a:cxn>
                    <a:cxn ang="0">
                      <a:pos x="350" y="366"/>
                    </a:cxn>
                    <a:cxn ang="0">
                      <a:pos x="365" y="348"/>
                    </a:cxn>
                    <a:cxn ang="0">
                      <a:pos x="375" y="322"/>
                    </a:cxn>
                    <a:cxn ang="0">
                      <a:pos x="377" y="295"/>
                    </a:cxn>
                    <a:cxn ang="0">
                      <a:pos x="366" y="262"/>
                    </a:cxn>
                    <a:cxn ang="0">
                      <a:pos x="339" y="232"/>
                    </a:cxn>
                    <a:cxn ang="0">
                      <a:pos x="371" y="232"/>
                    </a:cxn>
                    <a:cxn ang="0">
                      <a:pos x="376" y="190"/>
                    </a:cxn>
                    <a:cxn ang="0">
                      <a:pos x="377" y="160"/>
                    </a:cxn>
                    <a:cxn ang="0">
                      <a:pos x="383" y="139"/>
                    </a:cxn>
                    <a:cxn ang="0">
                      <a:pos x="405" y="107"/>
                    </a:cxn>
                    <a:cxn ang="0">
                      <a:pos x="386" y="103"/>
                    </a:cxn>
                    <a:cxn ang="0">
                      <a:pos x="390" y="72"/>
                    </a:cxn>
                    <a:cxn ang="0">
                      <a:pos x="384" y="65"/>
                    </a:cxn>
                    <a:cxn ang="0">
                      <a:pos x="367" y="18"/>
                    </a:cxn>
                    <a:cxn ang="0">
                      <a:pos x="359" y="0"/>
                    </a:cxn>
                    <a:cxn ang="0">
                      <a:pos x="335" y="2"/>
                    </a:cxn>
                    <a:cxn ang="0">
                      <a:pos x="306" y="0"/>
                    </a:cxn>
                    <a:cxn ang="0">
                      <a:pos x="306" y="32"/>
                    </a:cxn>
                    <a:cxn ang="0">
                      <a:pos x="269" y="75"/>
                    </a:cxn>
                    <a:cxn ang="0">
                      <a:pos x="237" y="95"/>
                    </a:cxn>
                    <a:cxn ang="0">
                      <a:pos x="255" y="66"/>
                    </a:cxn>
                    <a:cxn ang="0">
                      <a:pos x="265" y="45"/>
                    </a:cxn>
                    <a:cxn ang="0">
                      <a:pos x="291" y="2"/>
                    </a:cxn>
                    <a:cxn ang="0">
                      <a:pos x="97" y="0"/>
                    </a:cxn>
                    <a:cxn ang="0">
                      <a:pos x="77" y="32"/>
                    </a:cxn>
                  </a:cxnLst>
                  <a:rect l="0" t="0" r="r" b="b"/>
                  <a:pathLst>
                    <a:path w="405" h="373">
                      <a:moveTo>
                        <a:pt x="77" y="32"/>
                      </a:moveTo>
                      <a:lnTo>
                        <a:pt x="81" y="49"/>
                      </a:lnTo>
                      <a:lnTo>
                        <a:pt x="91" y="55"/>
                      </a:lnTo>
                      <a:lnTo>
                        <a:pt x="90" y="63"/>
                      </a:lnTo>
                      <a:lnTo>
                        <a:pt x="80" y="72"/>
                      </a:lnTo>
                      <a:lnTo>
                        <a:pt x="54" y="79"/>
                      </a:lnTo>
                      <a:lnTo>
                        <a:pt x="49" y="91"/>
                      </a:lnTo>
                      <a:lnTo>
                        <a:pt x="47" y="106"/>
                      </a:lnTo>
                      <a:lnTo>
                        <a:pt x="16" y="141"/>
                      </a:lnTo>
                      <a:lnTo>
                        <a:pt x="0" y="138"/>
                      </a:lnTo>
                      <a:lnTo>
                        <a:pt x="13" y="149"/>
                      </a:lnTo>
                      <a:lnTo>
                        <a:pt x="17" y="168"/>
                      </a:lnTo>
                      <a:lnTo>
                        <a:pt x="21" y="163"/>
                      </a:lnTo>
                      <a:lnTo>
                        <a:pt x="19" y="154"/>
                      </a:lnTo>
                      <a:lnTo>
                        <a:pt x="21" y="146"/>
                      </a:lnTo>
                      <a:lnTo>
                        <a:pt x="31" y="142"/>
                      </a:lnTo>
                      <a:lnTo>
                        <a:pt x="38" y="160"/>
                      </a:lnTo>
                      <a:lnTo>
                        <a:pt x="45" y="154"/>
                      </a:lnTo>
                      <a:lnTo>
                        <a:pt x="50" y="158"/>
                      </a:lnTo>
                      <a:lnTo>
                        <a:pt x="51" y="168"/>
                      </a:lnTo>
                      <a:lnTo>
                        <a:pt x="64" y="160"/>
                      </a:lnTo>
                      <a:lnTo>
                        <a:pt x="71" y="160"/>
                      </a:lnTo>
                      <a:lnTo>
                        <a:pt x="71" y="168"/>
                      </a:lnTo>
                      <a:lnTo>
                        <a:pt x="75" y="181"/>
                      </a:lnTo>
                      <a:lnTo>
                        <a:pt x="76" y="192"/>
                      </a:lnTo>
                      <a:lnTo>
                        <a:pt x="76" y="220"/>
                      </a:lnTo>
                      <a:lnTo>
                        <a:pt x="77" y="236"/>
                      </a:lnTo>
                      <a:lnTo>
                        <a:pt x="83" y="247"/>
                      </a:lnTo>
                      <a:lnTo>
                        <a:pt x="97" y="257"/>
                      </a:lnTo>
                      <a:lnTo>
                        <a:pt x="103" y="276"/>
                      </a:lnTo>
                      <a:lnTo>
                        <a:pt x="115" y="289"/>
                      </a:lnTo>
                      <a:lnTo>
                        <a:pt x="120" y="302"/>
                      </a:lnTo>
                      <a:lnTo>
                        <a:pt x="144" y="278"/>
                      </a:lnTo>
                      <a:lnTo>
                        <a:pt x="157" y="255"/>
                      </a:lnTo>
                      <a:lnTo>
                        <a:pt x="160" y="269"/>
                      </a:lnTo>
                      <a:lnTo>
                        <a:pt x="161" y="298"/>
                      </a:lnTo>
                      <a:lnTo>
                        <a:pt x="166" y="306"/>
                      </a:lnTo>
                      <a:lnTo>
                        <a:pt x="176" y="300"/>
                      </a:lnTo>
                      <a:lnTo>
                        <a:pt x="187" y="303"/>
                      </a:lnTo>
                      <a:lnTo>
                        <a:pt x="185" y="313"/>
                      </a:lnTo>
                      <a:lnTo>
                        <a:pt x="228" y="327"/>
                      </a:lnTo>
                      <a:lnTo>
                        <a:pt x="233" y="338"/>
                      </a:lnTo>
                      <a:lnTo>
                        <a:pt x="254" y="348"/>
                      </a:lnTo>
                      <a:lnTo>
                        <a:pt x="260" y="354"/>
                      </a:lnTo>
                      <a:lnTo>
                        <a:pt x="265" y="366"/>
                      </a:lnTo>
                      <a:lnTo>
                        <a:pt x="327" y="373"/>
                      </a:lnTo>
                      <a:lnTo>
                        <a:pt x="338" y="365"/>
                      </a:lnTo>
                      <a:lnTo>
                        <a:pt x="350" y="366"/>
                      </a:lnTo>
                      <a:lnTo>
                        <a:pt x="351" y="351"/>
                      </a:lnTo>
                      <a:lnTo>
                        <a:pt x="365" y="348"/>
                      </a:lnTo>
                      <a:lnTo>
                        <a:pt x="376" y="338"/>
                      </a:lnTo>
                      <a:lnTo>
                        <a:pt x="375" y="322"/>
                      </a:lnTo>
                      <a:lnTo>
                        <a:pt x="377" y="313"/>
                      </a:lnTo>
                      <a:lnTo>
                        <a:pt x="377" y="295"/>
                      </a:lnTo>
                      <a:lnTo>
                        <a:pt x="365" y="275"/>
                      </a:lnTo>
                      <a:lnTo>
                        <a:pt x="366" y="262"/>
                      </a:lnTo>
                      <a:lnTo>
                        <a:pt x="356" y="259"/>
                      </a:lnTo>
                      <a:lnTo>
                        <a:pt x="339" y="232"/>
                      </a:lnTo>
                      <a:lnTo>
                        <a:pt x="336" y="212"/>
                      </a:lnTo>
                      <a:lnTo>
                        <a:pt x="371" y="232"/>
                      </a:lnTo>
                      <a:lnTo>
                        <a:pt x="376" y="216"/>
                      </a:lnTo>
                      <a:lnTo>
                        <a:pt x="376" y="190"/>
                      </a:lnTo>
                      <a:lnTo>
                        <a:pt x="375" y="163"/>
                      </a:lnTo>
                      <a:lnTo>
                        <a:pt x="377" y="160"/>
                      </a:lnTo>
                      <a:lnTo>
                        <a:pt x="378" y="147"/>
                      </a:lnTo>
                      <a:lnTo>
                        <a:pt x="383" y="139"/>
                      </a:lnTo>
                      <a:lnTo>
                        <a:pt x="388" y="113"/>
                      </a:lnTo>
                      <a:lnTo>
                        <a:pt x="405" y="107"/>
                      </a:lnTo>
                      <a:lnTo>
                        <a:pt x="399" y="102"/>
                      </a:lnTo>
                      <a:lnTo>
                        <a:pt x="386" y="103"/>
                      </a:lnTo>
                      <a:lnTo>
                        <a:pt x="384" y="90"/>
                      </a:lnTo>
                      <a:lnTo>
                        <a:pt x="390" y="72"/>
                      </a:lnTo>
                      <a:lnTo>
                        <a:pt x="392" y="60"/>
                      </a:lnTo>
                      <a:lnTo>
                        <a:pt x="384" y="65"/>
                      </a:lnTo>
                      <a:lnTo>
                        <a:pt x="386" y="53"/>
                      </a:lnTo>
                      <a:lnTo>
                        <a:pt x="367" y="18"/>
                      </a:lnTo>
                      <a:lnTo>
                        <a:pt x="366" y="6"/>
                      </a:lnTo>
                      <a:lnTo>
                        <a:pt x="359" y="0"/>
                      </a:lnTo>
                      <a:lnTo>
                        <a:pt x="344" y="0"/>
                      </a:lnTo>
                      <a:lnTo>
                        <a:pt x="335" y="2"/>
                      </a:lnTo>
                      <a:lnTo>
                        <a:pt x="330" y="0"/>
                      </a:lnTo>
                      <a:lnTo>
                        <a:pt x="306" y="0"/>
                      </a:lnTo>
                      <a:lnTo>
                        <a:pt x="308" y="2"/>
                      </a:lnTo>
                      <a:lnTo>
                        <a:pt x="306" y="32"/>
                      </a:lnTo>
                      <a:lnTo>
                        <a:pt x="282" y="50"/>
                      </a:lnTo>
                      <a:lnTo>
                        <a:pt x="269" y="75"/>
                      </a:lnTo>
                      <a:lnTo>
                        <a:pt x="253" y="77"/>
                      </a:lnTo>
                      <a:lnTo>
                        <a:pt x="237" y="95"/>
                      </a:lnTo>
                      <a:lnTo>
                        <a:pt x="223" y="92"/>
                      </a:lnTo>
                      <a:lnTo>
                        <a:pt x="255" y="66"/>
                      </a:lnTo>
                      <a:lnTo>
                        <a:pt x="265" y="68"/>
                      </a:lnTo>
                      <a:lnTo>
                        <a:pt x="265" y="45"/>
                      </a:lnTo>
                      <a:lnTo>
                        <a:pt x="290" y="33"/>
                      </a:lnTo>
                      <a:lnTo>
                        <a:pt x="291" y="2"/>
                      </a:lnTo>
                      <a:lnTo>
                        <a:pt x="290" y="0"/>
                      </a:lnTo>
                      <a:lnTo>
                        <a:pt x="97" y="0"/>
                      </a:lnTo>
                      <a:lnTo>
                        <a:pt x="83" y="15"/>
                      </a:lnTo>
                      <a:lnTo>
                        <a:pt x="77" y="3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341" name="Freeform 130"/>
                <p:cNvSpPr>
                  <a:spLocks noChangeAspect="1"/>
                </p:cNvSpPr>
                <p:nvPr/>
              </p:nvSpPr>
              <p:spPr bwMode="gray">
                <a:xfrm>
                  <a:off x="4473" y="1348"/>
                  <a:ext cx="44" cy="25"/>
                </a:xfrm>
                <a:custGeom>
                  <a:avLst/>
                  <a:gdLst/>
                  <a:ahLst/>
                  <a:cxnLst>
                    <a:cxn ang="0">
                      <a:pos x="82" y="99"/>
                    </a:cxn>
                    <a:cxn ang="0">
                      <a:pos x="78" y="98"/>
                    </a:cxn>
                    <a:cxn ang="0">
                      <a:pos x="69" y="103"/>
                    </a:cxn>
                    <a:cxn ang="0">
                      <a:pos x="63" y="110"/>
                    </a:cxn>
                    <a:cxn ang="0">
                      <a:pos x="60" y="119"/>
                    </a:cxn>
                    <a:cxn ang="0">
                      <a:pos x="38" y="121"/>
                    </a:cxn>
                    <a:cxn ang="0">
                      <a:pos x="36" y="118"/>
                    </a:cxn>
                    <a:cxn ang="0">
                      <a:pos x="16" y="125"/>
                    </a:cxn>
                    <a:cxn ang="0">
                      <a:pos x="15" y="116"/>
                    </a:cxn>
                    <a:cxn ang="0">
                      <a:pos x="4" y="100"/>
                    </a:cxn>
                    <a:cxn ang="0">
                      <a:pos x="0" y="91"/>
                    </a:cxn>
                    <a:cxn ang="0">
                      <a:pos x="4" y="78"/>
                    </a:cxn>
                    <a:cxn ang="0">
                      <a:pos x="12" y="72"/>
                    </a:cxn>
                    <a:cxn ang="0">
                      <a:pos x="16" y="60"/>
                    </a:cxn>
                    <a:cxn ang="0">
                      <a:pos x="36" y="43"/>
                    </a:cxn>
                    <a:cxn ang="0">
                      <a:pos x="42" y="33"/>
                    </a:cxn>
                    <a:cxn ang="0">
                      <a:pos x="55" y="19"/>
                    </a:cxn>
                    <a:cxn ang="0">
                      <a:pos x="63" y="19"/>
                    </a:cxn>
                    <a:cxn ang="0">
                      <a:pos x="66" y="10"/>
                    </a:cxn>
                    <a:cxn ang="0">
                      <a:pos x="82" y="5"/>
                    </a:cxn>
                    <a:cxn ang="0">
                      <a:pos x="82" y="3"/>
                    </a:cxn>
                    <a:cxn ang="0">
                      <a:pos x="82" y="5"/>
                    </a:cxn>
                    <a:cxn ang="0">
                      <a:pos x="84" y="3"/>
                    </a:cxn>
                    <a:cxn ang="0">
                      <a:pos x="84" y="5"/>
                    </a:cxn>
                    <a:cxn ang="0">
                      <a:pos x="90" y="6"/>
                    </a:cxn>
                    <a:cxn ang="0">
                      <a:pos x="101" y="1"/>
                    </a:cxn>
                    <a:cxn ang="0">
                      <a:pos x="114" y="10"/>
                    </a:cxn>
                    <a:cxn ang="0">
                      <a:pos x="127" y="1"/>
                    </a:cxn>
                    <a:cxn ang="0">
                      <a:pos x="133" y="3"/>
                    </a:cxn>
                    <a:cxn ang="0">
                      <a:pos x="135" y="0"/>
                    </a:cxn>
                    <a:cxn ang="0">
                      <a:pos x="156" y="11"/>
                    </a:cxn>
                    <a:cxn ang="0">
                      <a:pos x="184" y="19"/>
                    </a:cxn>
                    <a:cxn ang="0">
                      <a:pos x="188" y="24"/>
                    </a:cxn>
                    <a:cxn ang="0">
                      <a:pos x="186" y="28"/>
                    </a:cxn>
                    <a:cxn ang="0">
                      <a:pos x="186" y="32"/>
                    </a:cxn>
                    <a:cxn ang="0">
                      <a:pos x="214" y="55"/>
                    </a:cxn>
                    <a:cxn ang="0">
                      <a:pos x="218" y="67"/>
                    </a:cxn>
                    <a:cxn ang="0">
                      <a:pos x="214" y="77"/>
                    </a:cxn>
                    <a:cxn ang="0">
                      <a:pos x="193" y="91"/>
                    </a:cxn>
                    <a:cxn ang="0">
                      <a:pos x="143" y="107"/>
                    </a:cxn>
                    <a:cxn ang="0">
                      <a:pos x="133" y="113"/>
                    </a:cxn>
                    <a:cxn ang="0">
                      <a:pos x="113" y="109"/>
                    </a:cxn>
                    <a:cxn ang="0">
                      <a:pos x="107" y="104"/>
                    </a:cxn>
                    <a:cxn ang="0">
                      <a:pos x="82" y="100"/>
                    </a:cxn>
                    <a:cxn ang="0">
                      <a:pos x="82" y="99"/>
                    </a:cxn>
                  </a:cxnLst>
                  <a:rect l="0" t="0" r="r" b="b"/>
                  <a:pathLst>
                    <a:path w="218" h="125">
                      <a:moveTo>
                        <a:pt x="82" y="99"/>
                      </a:moveTo>
                      <a:lnTo>
                        <a:pt x="78" y="98"/>
                      </a:lnTo>
                      <a:lnTo>
                        <a:pt x="69" y="103"/>
                      </a:lnTo>
                      <a:lnTo>
                        <a:pt x="63" y="110"/>
                      </a:lnTo>
                      <a:lnTo>
                        <a:pt x="60" y="119"/>
                      </a:lnTo>
                      <a:lnTo>
                        <a:pt x="38" y="121"/>
                      </a:lnTo>
                      <a:lnTo>
                        <a:pt x="36" y="118"/>
                      </a:lnTo>
                      <a:lnTo>
                        <a:pt x="16" y="125"/>
                      </a:lnTo>
                      <a:lnTo>
                        <a:pt x="15" y="116"/>
                      </a:lnTo>
                      <a:lnTo>
                        <a:pt x="4" y="100"/>
                      </a:lnTo>
                      <a:lnTo>
                        <a:pt x="0" y="91"/>
                      </a:lnTo>
                      <a:lnTo>
                        <a:pt x="4" y="78"/>
                      </a:lnTo>
                      <a:lnTo>
                        <a:pt x="12" y="72"/>
                      </a:lnTo>
                      <a:lnTo>
                        <a:pt x="16" y="60"/>
                      </a:lnTo>
                      <a:lnTo>
                        <a:pt x="36" y="43"/>
                      </a:lnTo>
                      <a:lnTo>
                        <a:pt x="42" y="33"/>
                      </a:lnTo>
                      <a:lnTo>
                        <a:pt x="55" y="19"/>
                      </a:lnTo>
                      <a:lnTo>
                        <a:pt x="63" y="19"/>
                      </a:lnTo>
                      <a:lnTo>
                        <a:pt x="66" y="10"/>
                      </a:lnTo>
                      <a:lnTo>
                        <a:pt x="82" y="5"/>
                      </a:lnTo>
                      <a:lnTo>
                        <a:pt x="82" y="3"/>
                      </a:lnTo>
                      <a:lnTo>
                        <a:pt x="82" y="5"/>
                      </a:lnTo>
                      <a:lnTo>
                        <a:pt x="84" y="3"/>
                      </a:lnTo>
                      <a:lnTo>
                        <a:pt x="84" y="5"/>
                      </a:lnTo>
                      <a:lnTo>
                        <a:pt x="90" y="6"/>
                      </a:lnTo>
                      <a:lnTo>
                        <a:pt x="101" y="1"/>
                      </a:lnTo>
                      <a:lnTo>
                        <a:pt x="114" y="10"/>
                      </a:lnTo>
                      <a:lnTo>
                        <a:pt x="127" y="1"/>
                      </a:lnTo>
                      <a:lnTo>
                        <a:pt x="133" y="3"/>
                      </a:lnTo>
                      <a:lnTo>
                        <a:pt x="135" y="0"/>
                      </a:lnTo>
                      <a:lnTo>
                        <a:pt x="156" y="11"/>
                      </a:lnTo>
                      <a:lnTo>
                        <a:pt x="184" y="19"/>
                      </a:lnTo>
                      <a:lnTo>
                        <a:pt x="188" y="24"/>
                      </a:lnTo>
                      <a:lnTo>
                        <a:pt x="186" y="28"/>
                      </a:lnTo>
                      <a:lnTo>
                        <a:pt x="186" y="32"/>
                      </a:lnTo>
                      <a:lnTo>
                        <a:pt x="214" y="55"/>
                      </a:lnTo>
                      <a:lnTo>
                        <a:pt x="218" y="67"/>
                      </a:lnTo>
                      <a:lnTo>
                        <a:pt x="214" y="77"/>
                      </a:lnTo>
                      <a:lnTo>
                        <a:pt x="193" y="91"/>
                      </a:lnTo>
                      <a:lnTo>
                        <a:pt x="143" y="107"/>
                      </a:lnTo>
                      <a:lnTo>
                        <a:pt x="133" y="113"/>
                      </a:lnTo>
                      <a:lnTo>
                        <a:pt x="113" y="109"/>
                      </a:lnTo>
                      <a:lnTo>
                        <a:pt x="107" y="104"/>
                      </a:lnTo>
                      <a:lnTo>
                        <a:pt x="82" y="100"/>
                      </a:lnTo>
                      <a:lnTo>
                        <a:pt x="82" y="99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</p:grpSp>
          <p:sp>
            <p:nvSpPr>
              <p:cNvPr id="326" name="Freeform 131"/>
              <p:cNvSpPr>
                <a:spLocks noChangeAspect="1"/>
              </p:cNvSpPr>
              <p:nvPr/>
            </p:nvSpPr>
            <p:spPr bwMode="gray">
              <a:xfrm>
                <a:off x="4071" y="1777"/>
                <a:ext cx="34" cy="144"/>
              </a:xfrm>
              <a:custGeom>
                <a:avLst/>
                <a:gdLst/>
                <a:ahLst/>
                <a:cxnLst>
                  <a:cxn ang="0">
                    <a:pos x="55" y="0"/>
                  </a:cxn>
                  <a:cxn ang="0">
                    <a:pos x="69" y="22"/>
                  </a:cxn>
                  <a:cxn ang="0">
                    <a:pos x="76" y="79"/>
                  </a:cxn>
                  <a:cxn ang="0">
                    <a:pos x="92" y="144"/>
                  </a:cxn>
                  <a:cxn ang="0">
                    <a:pos x="90" y="187"/>
                  </a:cxn>
                  <a:cxn ang="0">
                    <a:pos x="84" y="210"/>
                  </a:cxn>
                  <a:cxn ang="0">
                    <a:pos x="90" y="243"/>
                  </a:cxn>
                  <a:cxn ang="0">
                    <a:pos x="92" y="257"/>
                  </a:cxn>
                  <a:cxn ang="0">
                    <a:pos x="102" y="289"/>
                  </a:cxn>
                  <a:cxn ang="0">
                    <a:pos x="116" y="344"/>
                  </a:cxn>
                  <a:cxn ang="0">
                    <a:pos x="139" y="425"/>
                  </a:cxn>
                  <a:cxn ang="0">
                    <a:pos x="150" y="459"/>
                  </a:cxn>
                  <a:cxn ang="0">
                    <a:pos x="168" y="487"/>
                  </a:cxn>
                  <a:cxn ang="0">
                    <a:pos x="149" y="466"/>
                  </a:cxn>
                  <a:cxn ang="0">
                    <a:pos x="119" y="448"/>
                  </a:cxn>
                  <a:cxn ang="0">
                    <a:pos x="92" y="447"/>
                  </a:cxn>
                  <a:cxn ang="0">
                    <a:pos x="75" y="475"/>
                  </a:cxn>
                  <a:cxn ang="0">
                    <a:pos x="65" y="509"/>
                  </a:cxn>
                  <a:cxn ang="0">
                    <a:pos x="53" y="566"/>
                  </a:cxn>
                  <a:cxn ang="0">
                    <a:pos x="61" y="602"/>
                  </a:cxn>
                  <a:cxn ang="0">
                    <a:pos x="80" y="635"/>
                  </a:cxn>
                  <a:cxn ang="0">
                    <a:pos x="89" y="651"/>
                  </a:cxn>
                  <a:cxn ang="0">
                    <a:pos x="100" y="654"/>
                  </a:cxn>
                  <a:cxn ang="0">
                    <a:pos x="108" y="684"/>
                  </a:cxn>
                  <a:cxn ang="0">
                    <a:pos x="102" y="713"/>
                  </a:cxn>
                  <a:cxn ang="0">
                    <a:pos x="69" y="663"/>
                  </a:cxn>
                  <a:cxn ang="0">
                    <a:pos x="46" y="673"/>
                  </a:cxn>
                  <a:cxn ang="0">
                    <a:pos x="31" y="721"/>
                  </a:cxn>
                  <a:cxn ang="0">
                    <a:pos x="15" y="689"/>
                  </a:cxn>
                  <a:cxn ang="0">
                    <a:pos x="21" y="623"/>
                  </a:cxn>
                  <a:cxn ang="0">
                    <a:pos x="32" y="554"/>
                  </a:cxn>
                  <a:cxn ang="0">
                    <a:pos x="23" y="522"/>
                  </a:cxn>
                  <a:cxn ang="0">
                    <a:pos x="17" y="479"/>
                  </a:cxn>
                  <a:cxn ang="0">
                    <a:pos x="28" y="425"/>
                  </a:cxn>
                  <a:cxn ang="0">
                    <a:pos x="32" y="392"/>
                  </a:cxn>
                  <a:cxn ang="0">
                    <a:pos x="30" y="375"/>
                  </a:cxn>
                  <a:cxn ang="0">
                    <a:pos x="25" y="348"/>
                  </a:cxn>
                  <a:cxn ang="0">
                    <a:pos x="31" y="297"/>
                  </a:cxn>
                  <a:cxn ang="0">
                    <a:pos x="21" y="260"/>
                  </a:cxn>
                  <a:cxn ang="0">
                    <a:pos x="4" y="243"/>
                  </a:cxn>
                  <a:cxn ang="0">
                    <a:pos x="3" y="226"/>
                  </a:cxn>
                  <a:cxn ang="0">
                    <a:pos x="0" y="188"/>
                  </a:cxn>
                  <a:cxn ang="0">
                    <a:pos x="12" y="125"/>
                  </a:cxn>
                  <a:cxn ang="0">
                    <a:pos x="9" y="96"/>
                  </a:cxn>
                  <a:cxn ang="0">
                    <a:pos x="25" y="79"/>
                  </a:cxn>
                  <a:cxn ang="0">
                    <a:pos x="37" y="87"/>
                  </a:cxn>
                  <a:cxn ang="0">
                    <a:pos x="50" y="81"/>
                  </a:cxn>
                  <a:cxn ang="0">
                    <a:pos x="50" y="66"/>
                  </a:cxn>
                  <a:cxn ang="0">
                    <a:pos x="59" y="64"/>
                  </a:cxn>
                  <a:cxn ang="0">
                    <a:pos x="49" y="33"/>
                  </a:cxn>
                  <a:cxn ang="0">
                    <a:pos x="38" y="9"/>
                  </a:cxn>
                  <a:cxn ang="0">
                    <a:pos x="47" y="6"/>
                  </a:cxn>
                </a:cxnLst>
                <a:rect l="0" t="0" r="r" b="b"/>
                <a:pathLst>
                  <a:path w="170" h="721">
                    <a:moveTo>
                      <a:pt x="52" y="3"/>
                    </a:moveTo>
                    <a:lnTo>
                      <a:pt x="55" y="0"/>
                    </a:lnTo>
                    <a:lnTo>
                      <a:pt x="63" y="4"/>
                    </a:lnTo>
                    <a:lnTo>
                      <a:pt x="69" y="22"/>
                    </a:lnTo>
                    <a:lnTo>
                      <a:pt x="73" y="59"/>
                    </a:lnTo>
                    <a:lnTo>
                      <a:pt x="76" y="79"/>
                    </a:lnTo>
                    <a:lnTo>
                      <a:pt x="87" y="113"/>
                    </a:lnTo>
                    <a:lnTo>
                      <a:pt x="92" y="144"/>
                    </a:lnTo>
                    <a:lnTo>
                      <a:pt x="93" y="166"/>
                    </a:lnTo>
                    <a:lnTo>
                      <a:pt x="90" y="187"/>
                    </a:lnTo>
                    <a:lnTo>
                      <a:pt x="82" y="192"/>
                    </a:lnTo>
                    <a:lnTo>
                      <a:pt x="84" y="210"/>
                    </a:lnTo>
                    <a:lnTo>
                      <a:pt x="89" y="229"/>
                    </a:lnTo>
                    <a:lnTo>
                      <a:pt x="90" y="243"/>
                    </a:lnTo>
                    <a:lnTo>
                      <a:pt x="89" y="258"/>
                    </a:lnTo>
                    <a:lnTo>
                      <a:pt x="92" y="257"/>
                    </a:lnTo>
                    <a:lnTo>
                      <a:pt x="98" y="272"/>
                    </a:lnTo>
                    <a:lnTo>
                      <a:pt x="102" y="289"/>
                    </a:lnTo>
                    <a:lnTo>
                      <a:pt x="103" y="292"/>
                    </a:lnTo>
                    <a:lnTo>
                      <a:pt x="116" y="344"/>
                    </a:lnTo>
                    <a:lnTo>
                      <a:pt x="135" y="407"/>
                    </a:lnTo>
                    <a:lnTo>
                      <a:pt x="139" y="425"/>
                    </a:lnTo>
                    <a:lnTo>
                      <a:pt x="144" y="445"/>
                    </a:lnTo>
                    <a:lnTo>
                      <a:pt x="150" y="459"/>
                    </a:lnTo>
                    <a:lnTo>
                      <a:pt x="157" y="474"/>
                    </a:lnTo>
                    <a:lnTo>
                      <a:pt x="168" y="487"/>
                    </a:lnTo>
                    <a:lnTo>
                      <a:pt x="170" y="496"/>
                    </a:lnTo>
                    <a:lnTo>
                      <a:pt x="149" y="466"/>
                    </a:lnTo>
                    <a:lnTo>
                      <a:pt x="135" y="456"/>
                    </a:lnTo>
                    <a:lnTo>
                      <a:pt x="119" y="448"/>
                    </a:lnTo>
                    <a:lnTo>
                      <a:pt x="104" y="445"/>
                    </a:lnTo>
                    <a:lnTo>
                      <a:pt x="92" y="447"/>
                    </a:lnTo>
                    <a:lnTo>
                      <a:pt x="80" y="457"/>
                    </a:lnTo>
                    <a:lnTo>
                      <a:pt x="75" y="475"/>
                    </a:lnTo>
                    <a:lnTo>
                      <a:pt x="73" y="491"/>
                    </a:lnTo>
                    <a:lnTo>
                      <a:pt x="65" y="509"/>
                    </a:lnTo>
                    <a:lnTo>
                      <a:pt x="55" y="549"/>
                    </a:lnTo>
                    <a:lnTo>
                      <a:pt x="53" y="566"/>
                    </a:lnTo>
                    <a:lnTo>
                      <a:pt x="53" y="586"/>
                    </a:lnTo>
                    <a:lnTo>
                      <a:pt x="61" y="602"/>
                    </a:lnTo>
                    <a:lnTo>
                      <a:pt x="77" y="623"/>
                    </a:lnTo>
                    <a:lnTo>
                      <a:pt x="80" y="635"/>
                    </a:lnTo>
                    <a:lnTo>
                      <a:pt x="84" y="645"/>
                    </a:lnTo>
                    <a:lnTo>
                      <a:pt x="89" y="651"/>
                    </a:lnTo>
                    <a:lnTo>
                      <a:pt x="97" y="656"/>
                    </a:lnTo>
                    <a:lnTo>
                      <a:pt x="100" y="654"/>
                    </a:lnTo>
                    <a:lnTo>
                      <a:pt x="103" y="657"/>
                    </a:lnTo>
                    <a:lnTo>
                      <a:pt x="108" y="684"/>
                    </a:lnTo>
                    <a:lnTo>
                      <a:pt x="107" y="700"/>
                    </a:lnTo>
                    <a:lnTo>
                      <a:pt x="102" y="713"/>
                    </a:lnTo>
                    <a:lnTo>
                      <a:pt x="95" y="674"/>
                    </a:lnTo>
                    <a:lnTo>
                      <a:pt x="69" y="663"/>
                    </a:lnTo>
                    <a:lnTo>
                      <a:pt x="55" y="662"/>
                    </a:lnTo>
                    <a:lnTo>
                      <a:pt x="46" y="673"/>
                    </a:lnTo>
                    <a:lnTo>
                      <a:pt x="36" y="706"/>
                    </a:lnTo>
                    <a:lnTo>
                      <a:pt x="31" y="721"/>
                    </a:lnTo>
                    <a:lnTo>
                      <a:pt x="18" y="714"/>
                    </a:lnTo>
                    <a:lnTo>
                      <a:pt x="15" y="689"/>
                    </a:lnTo>
                    <a:lnTo>
                      <a:pt x="15" y="666"/>
                    </a:lnTo>
                    <a:lnTo>
                      <a:pt x="21" y="623"/>
                    </a:lnTo>
                    <a:lnTo>
                      <a:pt x="26" y="565"/>
                    </a:lnTo>
                    <a:lnTo>
                      <a:pt x="32" y="554"/>
                    </a:lnTo>
                    <a:lnTo>
                      <a:pt x="31" y="539"/>
                    </a:lnTo>
                    <a:lnTo>
                      <a:pt x="23" y="522"/>
                    </a:lnTo>
                    <a:lnTo>
                      <a:pt x="17" y="499"/>
                    </a:lnTo>
                    <a:lnTo>
                      <a:pt x="17" y="479"/>
                    </a:lnTo>
                    <a:lnTo>
                      <a:pt x="22" y="463"/>
                    </a:lnTo>
                    <a:lnTo>
                      <a:pt x="28" y="425"/>
                    </a:lnTo>
                    <a:lnTo>
                      <a:pt x="28" y="394"/>
                    </a:lnTo>
                    <a:lnTo>
                      <a:pt x="32" y="392"/>
                    </a:lnTo>
                    <a:lnTo>
                      <a:pt x="30" y="386"/>
                    </a:lnTo>
                    <a:lnTo>
                      <a:pt x="30" y="375"/>
                    </a:lnTo>
                    <a:lnTo>
                      <a:pt x="28" y="360"/>
                    </a:lnTo>
                    <a:lnTo>
                      <a:pt x="25" y="348"/>
                    </a:lnTo>
                    <a:lnTo>
                      <a:pt x="25" y="331"/>
                    </a:lnTo>
                    <a:lnTo>
                      <a:pt x="31" y="297"/>
                    </a:lnTo>
                    <a:lnTo>
                      <a:pt x="31" y="284"/>
                    </a:lnTo>
                    <a:lnTo>
                      <a:pt x="21" y="260"/>
                    </a:lnTo>
                    <a:lnTo>
                      <a:pt x="11" y="249"/>
                    </a:lnTo>
                    <a:lnTo>
                      <a:pt x="4" y="243"/>
                    </a:lnTo>
                    <a:lnTo>
                      <a:pt x="6" y="237"/>
                    </a:lnTo>
                    <a:lnTo>
                      <a:pt x="3" y="226"/>
                    </a:lnTo>
                    <a:lnTo>
                      <a:pt x="0" y="205"/>
                    </a:lnTo>
                    <a:lnTo>
                      <a:pt x="0" y="188"/>
                    </a:lnTo>
                    <a:lnTo>
                      <a:pt x="10" y="160"/>
                    </a:lnTo>
                    <a:lnTo>
                      <a:pt x="12" y="125"/>
                    </a:lnTo>
                    <a:lnTo>
                      <a:pt x="11" y="108"/>
                    </a:lnTo>
                    <a:lnTo>
                      <a:pt x="9" y="96"/>
                    </a:lnTo>
                    <a:lnTo>
                      <a:pt x="14" y="85"/>
                    </a:lnTo>
                    <a:lnTo>
                      <a:pt x="25" y="79"/>
                    </a:lnTo>
                    <a:lnTo>
                      <a:pt x="31" y="81"/>
                    </a:lnTo>
                    <a:lnTo>
                      <a:pt x="37" y="87"/>
                    </a:lnTo>
                    <a:lnTo>
                      <a:pt x="48" y="86"/>
                    </a:lnTo>
                    <a:lnTo>
                      <a:pt x="50" y="81"/>
                    </a:lnTo>
                    <a:lnTo>
                      <a:pt x="48" y="75"/>
                    </a:lnTo>
                    <a:lnTo>
                      <a:pt x="50" y="66"/>
                    </a:lnTo>
                    <a:lnTo>
                      <a:pt x="57" y="66"/>
                    </a:lnTo>
                    <a:lnTo>
                      <a:pt x="59" y="64"/>
                    </a:lnTo>
                    <a:lnTo>
                      <a:pt x="54" y="52"/>
                    </a:lnTo>
                    <a:lnTo>
                      <a:pt x="49" y="33"/>
                    </a:lnTo>
                    <a:lnTo>
                      <a:pt x="39" y="16"/>
                    </a:lnTo>
                    <a:lnTo>
                      <a:pt x="38" y="9"/>
                    </a:lnTo>
                    <a:lnTo>
                      <a:pt x="41" y="6"/>
                    </a:lnTo>
                    <a:lnTo>
                      <a:pt x="47" y="6"/>
                    </a:lnTo>
                    <a:lnTo>
                      <a:pt x="52" y="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27" name="Freeform 132"/>
              <p:cNvSpPr>
                <a:spLocks noChangeAspect="1"/>
              </p:cNvSpPr>
              <p:nvPr/>
            </p:nvSpPr>
            <p:spPr bwMode="gray">
              <a:xfrm>
                <a:off x="2817" y="1091"/>
                <a:ext cx="1786" cy="901"/>
              </a:xfrm>
              <a:custGeom>
                <a:avLst/>
                <a:gdLst/>
                <a:ahLst/>
                <a:cxnLst>
                  <a:cxn ang="0">
                    <a:pos x="3264" y="3913"/>
                  </a:cxn>
                  <a:cxn ang="0">
                    <a:pos x="4333" y="3788"/>
                  </a:cxn>
                  <a:cxn ang="0">
                    <a:pos x="5307" y="3536"/>
                  </a:cxn>
                  <a:cxn ang="0">
                    <a:pos x="5833" y="4138"/>
                  </a:cxn>
                  <a:cxn ang="0">
                    <a:pos x="6066" y="4138"/>
                  </a:cxn>
                  <a:cxn ang="0">
                    <a:pos x="6189" y="3482"/>
                  </a:cxn>
                  <a:cxn ang="0">
                    <a:pos x="5968" y="3336"/>
                  </a:cxn>
                  <a:cxn ang="0">
                    <a:pos x="6672" y="2912"/>
                  </a:cxn>
                  <a:cxn ang="0">
                    <a:pos x="6999" y="2815"/>
                  </a:cxn>
                  <a:cxn ang="0">
                    <a:pos x="7448" y="2593"/>
                  </a:cxn>
                  <a:cxn ang="0">
                    <a:pos x="7045" y="3206"/>
                  </a:cxn>
                  <a:cxn ang="0">
                    <a:pos x="7368" y="3293"/>
                  </a:cxn>
                  <a:cxn ang="0">
                    <a:pos x="7505" y="2864"/>
                  </a:cxn>
                  <a:cxn ang="0">
                    <a:pos x="7925" y="2760"/>
                  </a:cxn>
                  <a:cxn ang="0">
                    <a:pos x="8227" y="2553"/>
                  </a:cxn>
                  <a:cxn ang="0">
                    <a:pos x="8363" y="2256"/>
                  </a:cxn>
                  <a:cxn ang="0">
                    <a:pos x="8646" y="2287"/>
                  </a:cxn>
                  <a:cxn ang="0">
                    <a:pos x="8841" y="2201"/>
                  </a:cxn>
                  <a:cxn ang="0">
                    <a:pos x="8685" y="1981"/>
                  </a:cxn>
                  <a:cxn ang="0">
                    <a:pos x="8538" y="1863"/>
                  </a:cxn>
                  <a:cxn ang="0">
                    <a:pos x="7819" y="1608"/>
                  </a:cxn>
                  <a:cxn ang="0">
                    <a:pos x="7284" y="1590"/>
                  </a:cxn>
                  <a:cxn ang="0">
                    <a:pos x="6685" y="1267"/>
                  </a:cxn>
                  <a:cxn ang="0">
                    <a:pos x="6173" y="1286"/>
                  </a:cxn>
                  <a:cxn ang="0">
                    <a:pos x="5674" y="1395"/>
                  </a:cxn>
                  <a:cxn ang="0">
                    <a:pos x="5597" y="1031"/>
                  </a:cxn>
                  <a:cxn ang="0">
                    <a:pos x="5210" y="1036"/>
                  </a:cxn>
                  <a:cxn ang="0">
                    <a:pos x="4698" y="872"/>
                  </a:cxn>
                  <a:cxn ang="0">
                    <a:pos x="4354" y="1003"/>
                  </a:cxn>
                  <a:cxn ang="0">
                    <a:pos x="4584" y="721"/>
                  </a:cxn>
                  <a:cxn ang="0">
                    <a:pos x="4684" y="394"/>
                  </a:cxn>
                  <a:cxn ang="0">
                    <a:pos x="4372" y="204"/>
                  </a:cxn>
                  <a:cxn ang="0">
                    <a:pos x="4025" y="232"/>
                  </a:cxn>
                  <a:cxn ang="0">
                    <a:pos x="3791" y="419"/>
                  </a:cxn>
                  <a:cxn ang="0">
                    <a:pos x="3374" y="550"/>
                  </a:cxn>
                  <a:cxn ang="0">
                    <a:pos x="3254" y="832"/>
                  </a:cxn>
                  <a:cxn ang="0">
                    <a:pos x="2949" y="1149"/>
                  </a:cxn>
                  <a:cxn ang="0">
                    <a:pos x="2945" y="1235"/>
                  </a:cxn>
                  <a:cxn ang="0">
                    <a:pos x="2627" y="1222"/>
                  </a:cxn>
                  <a:cxn ang="0">
                    <a:pos x="2758" y="1734"/>
                  </a:cxn>
                  <a:cxn ang="0">
                    <a:pos x="2590" y="1842"/>
                  </a:cxn>
                  <a:cxn ang="0">
                    <a:pos x="2499" y="1888"/>
                  </a:cxn>
                  <a:cxn ang="0">
                    <a:pos x="2297" y="1040"/>
                  </a:cxn>
                  <a:cxn ang="0">
                    <a:pos x="2235" y="1800"/>
                  </a:cxn>
                  <a:cxn ang="0">
                    <a:pos x="1570" y="1757"/>
                  </a:cxn>
                  <a:cxn ang="0">
                    <a:pos x="1175" y="1897"/>
                  </a:cxn>
                  <a:cxn ang="0">
                    <a:pos x="933" y="2056"/>
                  </a:cxn>
                  <a:cxn ang="0">
                    <a:pos x="501" y="2289"/>
                  </a:cxn>
                  <a:cxn ang="0">
                    <a:pos x="306" y="2013"/>
                  </a:cxn>
                  <a:cxn ang="0">
                    <a:pos x="589" y="1783"/>
                  </a:cxn>
                  <a:cxn ang="0">
                    <a:pos x="191" y="1600"/>
                  </a:cxn>
                  <a:cxn ang="0">
                    <a:pos x="215" y="2548"/>
                  </a:cxn>
                  <a:cxn ang="0">
                    <a:pos x="14" y="3054"/>
                  </a:cxn>
                  <a:cxn ang="0">
                    <a:pos x="241" y="3470"/>
                  </a:cxn>
                  <a:cxn ang="0">
                    <a:pos x="440" y="3762"/>
                  </a:cxn>
                  <a:cxn ang="0">
                    <a:pos x="644" y="4043"/>
                  </a:cxn>
                  <a:cxn ang="0">
                    <a:pos x="898" y="4398"/>
                  </a:cxn>
                  <a:cxn ang="0">
                    <a:pos x="1107" y="4133"/>
                  </a:cxn>
                  <a:cxn ang="0">
                    <a:pos x="1169" y="3800"/>
                  </a:cxn>
                  <a:cxn ang="0">
                    <a:pos x="1520" y="3752"/>
                  </a:cxn>
                  <a:cxn ang="0">
                    <a:pos x="1831" y="3572"/>
                  </a:cxn>
                  <a:cxn ang="0">
                    <a:pos x="2183" y="3384"/>
                  </a:cxn>
                  <a:cxn ang="0">
                    <a:pos x="2523" y="3466"/>
                  </a:cxn>
                </a:cxnLst>
                <a:rect l="0" t="0" r="r" b="b"/>
                <a:pathLst>
                  <a:path w="8931" h="4504">
                    <a:moveTo>
                      <a:pt x="2688" y="3454"/>
                    </a:moveTo>
                    <a:lnTo>
                      <a:pt x="2691" y="3461"/>
                    </a:lnTo>
                    <a:lnTo>
                      <a:pt x="2695" y="3463"/>
                    </a:lnTo>
                    <a:lnTo>
                      <a:pt x="2768" y="3530"/>
                    </a:lnTo>
                    <a:lnTo>
                      <a:pt x="2887" y="3748"/>
                    </a:lnTo>
                    <a:lnTo>
                      <a:pt x="2902" y="3737"/>
                    </a:lnTo>
                    <a:lnTo>
                      <a:pt x="2904" y="3730"/>
                    </a:lnTo>
                    <a:lnTo>
                      <a:pt x="2904" y="3723"/>
                    </a:lnTo>
                    <a:lnTo>
                      <a:pt x="2915" y="3709"/>
                    </a:lnTo>
                    <a:lnTo>
                      <a:pt x="2923" y="3708"/>
                    </a:lnTo>
                    <a:lnTo>
                      <a:pt x="2928" y="3714"/>
                    </a:lnTo>
                    <a:lnTo>
                      <a:pt x="2936" y="3717"/>
                    </a:lnTo>
                    <a:lnTo>
                      <a:pt x="2950" y="3725"/>
                    </a:lnTo>
                    <a:lnTo>
                      <a:pt x="2946" y="3732"/>
                    </a:lnTo>
                    <a:lnTo>
                      <a:pt x="2951" y="3739"/>
                    </a:lnTo>
                    <a:lnTo>
                      <a:pt x="2956" y="3740"/>
                    </a:lnTo>
                    <a:lnTo>
                      <a:pt x="2961" y="3753"/>
                    </a:lnTo>
                    <a:lnTo>
                      <a:pt x="2985" y="3751"/>
                    </a:lnTo>
                    <a:lnTo>
                      <a:pt x="3003" y="3756"/>
                    </a:lnTo>
                    <a:lnTo>
                      <a:pt x="3010" y="3753"/>
                    </a:lnTo>
                    <a:lnTo>
                      <a:pt x="3026" y="3753"/>
                    </a:lnTo>
                    <a:lnTo>
                      <a:pt x="3028" y="3746"/>
                    </a:lnTo>
                    <a:lnTo>
                      <a:pt x="3033" y="3740"/>
                    </a:lnTo>
                    <a:lnTo>
                      <a:pt x="3042" y="3741"/>
                    </a:lnTo>
                    <a:lnTo>
                      <a:pt x="3049" y="3741"/>
                    </a:lnTo>
                    <a:lnTo>
                      <a:pt x="3053" y="3734"/>
                    </a:lnTo>
                    <a:lnTo>
                      <a:pt x="3060" y="3729"/>
                    </a:lnTo>
                    <a:lnTo>
                      <a:pt x="3075" y="3734"/>
                    </a:lnTo>
                    <a:lnTo>
                      <a:pt x="3082" y="3737"/>
                    </a:lnTo>
                    <a:lnTo>
                      <a:pt x="3086" y="3745"/>
                    </a:lnTo>
                    <a:lnTo>
                      <a:pt x="3093" y="3748"/>
                    </a:lnTo>
                    <a:lnTo>
                      <a:pt x="3103" y="3761"/>
                    </a:lnTo>
                    <a:lnTo>
                      <a:pt x="3112" y="3764"/>
                    </a:lnTo>
                    <a:lnTo>
                      <a:pt x="3114" y="3772"/>
                    </a:lnTo>
                    <a:lnTo>
                      <a:pt x="3112" y="3779"/>
                    </a:lnTo>
                    <a:lnTo>
                      <a:pt x="3113" y="3788"/>
                    </a:lnTo>
                    <a:lnTo>
                      <a:pt x="3117" y="3795"/>
                    </a:lnTo>
                    <a:lnTo>
                      <a:pt x="3125" y="3796"/>
                    </a:lnTo>
                    <a:lnTo>
                      <a:pt x="3146" y="3807"/>
                    </a:lnTo>
                    <a:lnTo>
                      <a:pt x="3150" y="3815"/>
                    </a:lnTo>
                    <a:lnTo>
                      <a:pt x="3150" y="3822"/>
                    </a:lnTo>
                    <a:lnTo>
                      <a:pt x="3157" y="3826"/>
                    </a:lnTo>
                    <a:lnTo>
                      <a:pt x="3162" y="3831"/>
                    </a:lnTo>
                    <a:lnTo>
                      <a:pt x="3170" y="3845"/>
                    </a:lnTo>
                    <a:lnTo>
                      <a:pt x="3176" y="3849"/>
                    </a:lnTo>
                    <a:lnTo>
                      <a:pt x="3193" y="3852"/>
                    </a:lnTo>
                    <a:lnTo>
                      <a:pt x="3199" y="3857"/>
                    </a:lnTo>
                    <a:lnTo>
                      <a:pt x="3208" y="3859"/>
                    </a:lnTo>
                    <a:lnTo>
                      <a:pt x="3215" y="3860"/>
                    </a:lnTo>
                    <a:lnTo>
                      <a:pt x="3224" y="3860"/>
                    </a:lnTo>
                    <a:lnTo>
                      <a:pt x="3226" y="3853"/>
                    </a:lnTo>
                    <a:lnTo>
                      <a:pt x="3231" y="3847"/>
                    </a:lnTo>
                    <a:lnTo>
                      <a:pt x="3246" y="3841"/>
                    </a:lnTo>
                    <a:lnTo>
                      <a:pt x="3248" y="3849"/>
                    </a:lnTo>
                    <a:lnTo>
                      <a:pt x="3252" y="3857"/>
                    </a:lnTo>
                    <a:lnTo>
                      <a:pt x="3259" y="3861"/>
                    </a:lnTo>
                    <a:lnTo>
                      <a:pt x="3267" y="3875"/>
                    </a:lnTo>
                    <a:lnTo>
                      <a:pt x="3273" y="3880"/>
                    </a:lnTo>
                    <a:lnTo>
                      <a:pt x="3277" y="3887"/>
                    </a:lnTo>
                    <a:lnTo>
                      <a:pt x="3264" y="3913"/>
                    </a:lnTo>
                    <a:lnTo>
                      <a:pt x="3289" y="3920"/>
                    </a:lnTo>
                    <a:lnTo>
                      <a:pt x="3305" y="3904"/>
                    </a:lnTo>
                    <a:lnTo>
                      <a:pt x="3310" y="3904"/>
                    </a:lnTo>
                    <a:lnTo>
                      <a:pt x="3322" y="3882"/>
                    </a:lnTo>
                    <a:lnTo>
                      <a:pt x="3338" y="3865"/>
                    </a:lnTo>
                    <a:lnTo>
                      <a:pt x="3356" y="3858"/>
                    </a:lnTo>
                    <a:lnTo>
                      <a:pt x="3375" y="3852"/>
                    </a:lnTo>
                    <a:lnTo>
                      <a:pt x="3394" y="3839"/>
                    </a:lnTo>
                    <a:lnTo>
                      <a:pt x="3414" y="3823"/>
                    </a:lnTo>
                    <a:lnTo>
                      <a:pt x="3439" y="3811"/>
                    </a:lnTo>
                    <a:lnTo>
                      <a:pt x="3464" y="3789"/>
                    </a:lnTo>
                    <a:lnTo>
                      <a:pt x="3505" y="3777"/>
                    </a:lnTo>
                    <a:lnTo>
                      <a:pt x="3530" y="3766"/>
                    </a:lnTo>
                    <a:lnTo>
                      <a:pt x="3553" y="3763"/>
                    </a:lnTo>
                    <a:lnTo>
                      <a:pt x="3575" y="3767"/>
                    </a:lnTo>
                    <a:lnTo>
                      <a:pt x="3591" y="3773"/>
                    </a:lnTo>
                    <a:lnTo>
                      <a:pt x="3604" y="3784"/>
                    </a:lnTo>
                    <a:lnTo>
                      <a:pt x="3623" y="3780"/>
                    </a:lnTo>
                    <a:lnTo>
                      <a:pt x="3644" y="3779"/>
                    </a:lnTo>
                    <a:lnTo>
                      <a:pt x="3661" y="3782"/>
                    </a:lnTo>
                    <a:lnTo>
                      <a:pt x="3692" y="3811"/>
                    </a:lnTo>
                    <a:lnTo>
                      <a:pt x="3697" y="3818"/>
                    </a:lnTo>
                    <a:lnTo>
                      <a:pt x="3714" y="3821"/>
                    </a:lnTo>
                    <a:lnTo>
                      <a:pt x="3761" y="3814"/>
                    </a:lnTo>
                    <a:lnTo>
                      <a:pt x="3774" y="3820"/>
                    </a:lnTo>
                    <a:lnTo>
                      <a:pt x="3818" y="3821"/>
                    </a:lnTo>
                    <a:lnTo>
                      <a:pt x="3856" y="3816"/>
                    </a:lnTo>
                    <a:lnTo>
                      <a:pt x="3866" y="3811"/>
                    </a:lnTo>
                    <a:lnTo>
                      <a:pt x="3866" y="3803"/>
                    </a:lnTo>
                    <a:lnTo>
                      <a:pt x="3862" y="3791"/>
                    </a:lnTo>
                    <a:lnTo>
                      <a:pt x="3865" y="3777"/>
                    </a:lnTo>
                    <a:lnTo>
                      <a:pt x="3875" y="3761"/>
                    </a:lnTo>
                    <a:lnTo>
                      <a:pt x="3875" y="3745"/>
                    </a:lnTo>
                    <a:lnTo>
                      <a:pt x="3864" y="3730"/>
                    </a:lnTo>
                    <a:lnTo>
                      <a:pt x="3860" y="3712"/>
                    </a:lnTo>
                    <a:lnTo>
                      <a:pt x="3862" y="3694"/>
                    </a:lnTo>
                    <a:lnTo>
                      <a:pt x="3878" y="3680"/>
                    </a:lnTo>
                    <a:lnTo>
                      <a:pt x="3892" y="3664"/>
                    </a:lnTo>
                    <a:lnTo>
                      <a:pt x="3910" y="3649"/>
                    </a:lnTo>
                    <a:lnTo>
                      <a:pt x="3921" y="3632"/>
                    </a:lnTo>
                    <a:lnTo>
                      <a:pt x="3935" y="3631"/>
                    </a:lnTo>
                    <a:lnTo>
                      <a:pt x="3955" y="3637"/>
                    </a:lnTo>
                    <a:lnTo>
                      <a:pt x="3969" y="3648"/>
                    </a:lnTo>
                    <a:lnTo>
                      <a:pt x="4006" y="3658"/>
                    </a:lnTo>
                    <a:lnTo>
                      <a:pt x="4017" y="3672"/>
                    </a:lnTo>
                    <a:lnTo>
                      <a:pt x="4041" y="3678"/>
                    </a:lnTo>
                    <a:lnTo>
                      <a:pt x="4065" y="3681"/>
                    </a:lnTo>
                    <a:lnTo>
                      <a:pt x="4082" y="3688"/>
                    </a:lnTo>
                    <a:lnTo>
                      <a:pt x="4092" y="3704"/>
                    </a:lnTo>
                    <a:lnTo>
                      <a:pt x="4097" y="3734"/>
                    </a:lnTo>
                    <a:lnTo>
                      <a:pt x="4097" y="3755"/>
                    </a:lnTo>
                    <a:lnTo>
                      <a:pt x="4102" y="3755"/>
                    </a:lnTo>
                    <a:lnTo>
                      <a:pt x="4117" y="3769"/>
                    </a:lnTo>
                    <a:lnTo>
                      <a:pt x="4140" y="3785"/>
                    </a:lnTo>
                    <a:lnTo>
                      <a:pt x="4174" y="3796"/>
                    </a:lnTo>
                    <a:lnTo>
                      <a:pt x="4202" y="3790"/>
                    </a:lnTo>
                    <a:lnTo>
                      <a:pt x="4229" y="3775"/>
                    </a:lnTo>
                    <a:lnTo>
                      <a:pt x="4254" y="3763"/>
                    </a:lnTo>
                    <a:lnTo>
                      <a:pt x="4285" y="3771"/>
                    </a:lnTo>
                    <a:lnTo>
                      <a:pt x="4333" y="3788"/>
                    </a:lnTo>
                    <a:lnTo>
                      <a:pt x="4343" y="3800"/>
                    </a:lnTo>
                    <a:lnTo>
                      <a:pt x="4344" y="3800"/>
                    </a:lnTo>
                    <a:lnTo>
                      <a:pt x="4350" y="3805"/>
                    </a:lnTo>
                    <a:lnTo>
                      <a:pt x="4372" y="3817"/>
                    </a:lnTo>
                    <a:lnTo>
                      <a:pt x="4393" y="3823"/>
                    </a:lnTo>
                    <a:lnTo>
                      <a:pt x="4414" y="3832"/>
                    </a:lnTo>
                    <a:lnTo>
                      <a:pt x="4428" y="3852"/>
                    </a:lnTo>
                    <a:lnTo>
                      <a:pt x="4455" y="3868"/>
                    </a:lnTo>
                    <a:lnTo>
                      <a:pt x="4487" y="3873"/>
                    </a:lnTo>
                    <a:lnTo>
                      <a:pt x="4510" y="3880"/>
                    </a:lnTo>
                    <a:lnTo>
                      <a:pt x="4528" y="3881"/>
                    </a:lnTo>
                    <a:lnTo>
                      <a:pt x="4553" y="3879"/>
                    </a:lnTo>
                    <a:lnTo>
                      <a:pt x="4571" y="3887"/>
                    </a:lnTo>
                    <a:lnTo>
                      <a:pt x="4627" y="3868"/>
                    </a:lnTo>
                    <a:lnTo>
                      <a:pt x="4661" y="3860"/>
                    </a:lnTo>
                    <a:lnTo>
                      <a:pt x="4688" y="3855"/>
                    </a:lnTo>
                    <a:lnTo>
                      <a:pt x="4725" y="3826"/>
                    </a:lnTo>
                    <a:lnTo>
                      <a:pt x="4749" y="3810"/>
                    </a:lnTo>
                    <a:lnTo>
                      <a:pt x="4774" y="3801"/>
                    </a:lnTo>
                    <a:lnTo>
                      <a:pt x="4799" y="3811"/>
                    </a:lnTo>
                    <a:lnTo>
                      <a:pt x="4817" y="3826"/>
                    </a:lnTo>
                    <a:lnTo>
                      <a:pt x="4838" y="3830"/>
                    </a:lnTo>
                    <a:lnTo>
                      <a:pt x="4855" y="3826"/>
                    </a:lnTo>
                    <a:lnTo>
                      <a:pt x="4869" y="3818"/>
                    </a:lnTo>
                    <a:lnTo>
                      <a:pt x="4875" y="3821"/>
                    </a:lnTo>
                    <a:lnTo>
                      <a:pt x="4886" y="3823"/>
                    </a:lnTo>
                    <a:lnTo>
                      <a:pt x="4899" y="3833"/>
                    </a:lnTo>
                    <a:lnTo>
                      <a:pt x="4931" y="3843"/>
                    </a:lnTo>
                    <a:lnTo>
                      <a:pt x="4956" y="3855"/>
                    </a:lnTo>
                    <a:lnTo>
                      <a:pt x="4967" y="3853"/>
                    </a:lnTo>
                    <a:lnTo>
                      <a:pt x="4982" y="3842"/>
                    </a:lnTo>
                    <a:lnTo>
                      <a:pt x="5032" y="3811"/>
                    </a:lnTo>
                    <a:lnTo>
                      <a:pt x="5033" y="3804"/>
                    </a:lnTo>
                    <a:lnTo>
                      <a:pt x="5031" y="3791"/>
                    </a:lnTo>
                    <a:lnTo>
                      <a:pt x="5034" y="3779"/>
                    </a:lnTo>
                    <a:lnTo>
                      <a:pt x="5045" y="3766"/>
                    </a:lnTo>
                    <a:lnTo>
                      <a:pt x="5052" y="3755"/>
                    </a:lnTo>
                    <a:lnTo>
                      <a:pt x="5059" y="3725"/>
                    </a:lnTo>
                    <a:lnTo>
                      <a:pt x="5064" y="3703"/>
                    </a:lnTo>
                    <a:lnTo>
                      <a:pt x="5071" y="3686"/>
                    </a:lnTo>
                    <a:lnTo>
                      <a:pt x="5090" y="3676"/>
                    </a:lnTo>
                    <a:lnTo>
                      <a:pt x="5114" y="3649"/>
                    </a:lnTo>
                    <a:lnTo>
                      <a:pt x="5114" y="3644"/>
                    </a:lnTo>
                    <a:lnTo>
                      <a:pt x="5109" y="3633"/>
                    </a:lnTo>
                    <a:lnTo>
                      <a:pt x="5111" y="3606"/>
                    </a:lnTo>
                    <a:lnTo>
                      <a:pt x="5104" y="3602"/>
                    </a:lnTo>
                    <a:lnTo>
                      <a:pt x="5093" y="3602"/>
                    </a:lnTo>
                    <a:lnTo>
                      <a:pt x="5075" y="3607"/>
                    </a:lnTo>
                    <a:lnTo>
                      <a:pt x="5071" y="3602"/>
                    </a:lnTo>
                    <a:lnTo>
                      <a:pt x="5076" y="3589"/>
                    </a:lnTo>
                    <a:lnTo>
                      <a:pt x="5100" y="3565"/>
                    </a:lnTo>
                    <a:lnTo>
                      <a:pt x="5108" y="3553"/>
                    </a:lnTo>
                    <a:lnTo>
                      <a:pt x="5124" y="3541"/>
                    </a:lnTo>
                    <a:lnTo>
                      <a:pt x="5158" y="3535"/>
                    </a:lnTo>
                    <a:lnTo>
                      <a:pt x="5199" y="3520"/>
                    </a:lnTo>
                    <a:lnTo>
                      <a:pt x="5224" y="3521"/>
                    </a:lnTo>
                    <a:lnTo>
                      <a:pt x="5259" y="3515"/>
                    </a:lnTo>
                    <a:lnTo>
                      <a:pt x="5271" y="3515"/>
                    </a:lnTo>
                    <a:lnTo>
                      <a:pt x="5290" y="3524"/>
                    </a:lnTo>
                    <a:lnTo>
                      <a:pt x="5307" y="3536"/>
                    </a:lnTo>
                    <a:lnTo>
                      <a:pt x="5318" y="3548"/>
                    </a:lnTo>
                    <a:lnTo>
                      <a:pt x="5334" y="3552"/>
                    </a:lnTo>
                    <a:lnTo>
                      <a:pt x="5353" y="3549"/>
                    </a:lnTo>
                    <a:lnTo>
                      <a:pt x="5369" y="3553"/>
                    </a:lnTo>
                    <a:lnTo>
                      <a:pt x="5383" y="3559"/>
                    </a:lnTo>
                    <a:lnTo>
                      <a:pt x="5391" y="3573"/>
                    </a:lnTo>
                    <a:lnTo>
                      <a:pt x="5403" y="3591"/>
                    </a:lnTo>
                    <a:lnTo>
                      <a:pt x="5404" y="3604"/>
                    </a:lnTo>
                    <a:lnTo>
                      <a:pt x="5412" y="3611"/>
                    </a:lnTo>
                    <a:lnTo>
                      <a:pt x="5421" y="3617"/>
                    </a:lnTo>
                    <a:lnTo>
                      <a:pt x="5423" y="3626"/>
                    </a:lnTo>
                    <a:lnTo>
                      <a:pt x="5424" y="3621"/>
                    </a:lnTo>
                    <a:lnTo>
                      <a:pt x="5426" y="3634"/>
                    </a:lnTo>
                    <a:lnTo>
                      <a:pt x="5431" y="3649"/>
                    </a:lnTo>
                    <a:lnTo>
                      <a:pt x="5434" y="3670"/>
                    </a:lnTo>
                    <a:lnTo>
                      <a:pt x="5442" y="3687"/>
                    </a:lnTo>
                    <a:lnTo>
                      <a:pt x="5447" y="3704"/>
                    </a:lnTo>
                    <a:lnTo>
                      <a:pt x="5468" y="3744"/>
                    </a:lnTo>
                    <a:lnTo>
                      <a:pt x="5474" y="3785"/>
                    </a:lnTo>
                    <a:lnTo>
                      <a:pt x="5483" y="3804"/>
                    </a:lnTo>
                    <a:lnTo>
                      <a:pt x="5482" y="3809"/>
                    </a:lnTo>
                    <a:lnTo>
                      <a:pt x="5483" y="3810"/>
                    </a:lnTo>
                    <a:lnTo>
                      <a:pt x="5485" y="3828"/>
                    </a:lnTo>
                    <a:lnTo>
                      <a:pt x="5485" y="3849"/>
                    </a:lnTo>
                    <a:lnTo>
                      <a:pt x="5498" y="3860"/>
                    </a:lnTo>
                    <a:lnTo>
                      <a:pt x="5521" y="3863"/>
                    </a:lnTo>
                    <a:lnTo>
                      <a:pt x="5542" y="3855"/>
                    </a:lnTo>
                    <a:lnTo>
                      <a:pt x="5558" y="3863"/>
                    </a:lnTo>
                    <a:lnTo>
                      <a:pt x="5577" y="3865"/>
                    </a:lnTo>
                    <a:lnTo>
                      <a:pt x="5595" y="3874"/>
                    </a:lnTo>
                    <a:lnTo>
                      <a:pt x="5627" y="3902"/>
                    </a:lnTo>
                    <a:lnTo>
                      <a:pt x="5642" y="3909"/>
                    </a:lnTo>
                    <a:lnTo>
                      <a:pt x="5654" y="3911"/>
                    </a:lnTo>
                    <a:lnTo>
                      <a:pt x="5658" y="3918"/>
                    </a:lnTo>
                    <a:lnTo>
                      <a:pt x="5658" y="3923"/>
                    </a:lnTo>
                    <a:lnTo>
                      <a:pt x="5660" y="3922"/>
                    </a:lnTo>
                    <a:lnTo>
                      <a:pt x="5661" y="3938"/>
                    </a:lnTo>
                    <a:lnTo>
                      <a:pt x="5668" y="3947"/>
                    </a:lnTo>
                    <a:lnTo>
                      <a:pt x="5667" y="3963"/>
                    </a:lnTo>
                    <a:lnTo>
                      <a:pt x="5668" y="3981"/>
                    </a:lnTo>
                    <a:lnTo>
                      <a:pt x="5678" y="3997"/>
                    </a:lnTo>
                    <a:lnTo>
                      <a:pt x="5684" y="4010"/>
                    </a:lnTo>
                    <a:lnTo>
                      <a:pt x="5703" y="4009"/>
                    </a:lnTo>
                    <a:lnTo>
                      <a:pt x="5722" y="4015"/>
                    </a:lnTo>
                    <a:lnTo>
                      <a:pt x="5740" y="4013"/>
                    </a:lnTo>
                    <a:lnTo>
                      <a:pt x="5771" y="3998"/>
                    </a:lnTo>
                    <a:lnTo>
                      <a:pt x="5805" y="3976"/>
                    </a:lnTo>
                    <a:lnTo>
                      <a:pt x="5823" y="3974"/>
                    </a:lnTo>
                    <a:lnTo>
                      <a:pt x="5856" y="3956"/>
                    </a:lnTo>
                    <a:lnTo>
                      <a:pt x="5888" y="3947"/>
                    </a:lnTo>
                    <a:lnTo>
                      <a:pt x="5889" y="3950"/>
                    </a:lnTo>
                    <a:lnTo>
                      <a:pt x="5881" y="3963"/>
                    </a:lnTo>
                    <a:lnTo>
                      <a:pt x="5881" y="3983"/>
                    </a:lnTo>
                    <a:lnTo>
                      <a:pt x="5886" y="3999"/>
                    </a:lnTo>
                    <a:lnTo>
                      <a:pt x="5883" y="4019"/>
                    </a:lnTo>
                    <a:lnTo>
                      <a:pt x="5871" y="4029"/>
                    </a:lnTo>
                    <a:lnTo>
                      <a:pt x="5857" y="4042"/>
                    </a:lnTo>
                    <a:lnTo>
                      <a:pt x="5855" y="4063"/>
                    </a:lnTo>
                    <a:lnTo>
                      <a:pt x="5841" y="4096"/>
                    </a:lnTo>
                    <a:lnTo>
                      <a:pt x="5833" y="4138"/>
                    </a:lnTo>
                    <a:lnTo>
                      <a:pt x="5814" y="4176"/>
                    </a:lnTo>
                    <a:lnTo>
                      <a:pt x="5801" y="4194"/>
                    </a:lnTo>
                    <a:lnTo>
                      <a:pt x="5796" y="4214"/>
                    </a:lnTo>
                    <a:lnTo>
                      <a:pt x="5784" y="4224"/>
                    </a:lnTo>
                    <a:lnTo>
                      <a:pt x="5779" y="4220"/>
                    </a:lnTo>
                    <a:lnTo>
                      <a:pt x="5728" y="4208"/>
                    </a:lnTo>
                    <a:lnTo>
                      <a:pt x="5715" y="4215"/>
                    </a:lnTo>
                    <a:lnTo>
                      <a:pt x="5679" y="4250"/>
                    </a:lnTo>
                    <a:lnTo>
                      <a:pt x="5687" y="4263"/>
                    </a:lnTo>
                    <a:lnTo>
                      <a:pt x="5693" y="4290"/>
                    </a:lnTo>
                    <a:lnTo>
                      <a:pt x="5693" y="4349"/>
                    </a:lnTo>
                    <a:lnTo>
                      <a:pt x="5677" y="4374"/>
                    </a:lnTo>
                    <a:lnTo>
                      <a:pt x="5657" y="4391"/>
                    </a:lnTo>
                    <a:lnTo>
                      <a:pt x="5657" y="4409"/>
                    </a:lnTo>
                    <a:lnTo>
                      <a:pt x="5657" y="4415"/>
                    </a:lnTo>
                    <a:lnTo>
                      <a:pt x="5661" y="4423"/>
                    </a:lnTo>
                    <a:lnTo>
                      <a:pt x="5669" y="4419"/>
                    </a:lnTo>
                    <a:lnTo>
                      <a:pt x="5667" y="4412"/>
                    </a:lnTo>
                    <a:lnTo>
                      <a:pt x="5665" y="4407"/>
                    </a:lnTo>
                    <a:lnTo>
                      <a:pt x="5673" y="4404"/>
                    </a:lnTo>
                    <a:lnTo>
                      <a:pt x="5693" y="4406"/>
                    </a:lnTo>
                    <a:lnTo>
                      <a:pt x="5699" y="4396"/>
                    </a:lnTo>
                    <a:lnTo>
                      <a:pt x="5705" y="4390"/>
                    </a:lnTo>
                    <a:lnTo>
                      <a:pt x="5709" y="4382"/>
                    </a:lnTo>
                    <a:lnTo>
                      <a:pt x="5721" y="4369"/>
                    </a:lnTo>
                    <a:lnTo>
                      <a:pt x="5728" y="4345"/>
                    </a:lnTo>
                    <a:lnTo>
                      <a:pt x="5730" y="4354"/>
                    </a:lnTo>
                    <a:lnTo>
                      <a:pt x="5737" y="4355"/>
                    </a:lnTo>
                    <a:lnTo>
                      <a:pt x="5732" y="4365"/>
                    </a:lnTo>
                    <a:lnTo>
                      <a:pt x="5736" y="4370"/>
                    </a:lnTo>
                    <a:lnTo>
                      <a:pt x="5748" y="4361"/>
                    </a:lnTo>
                    <a:lnTo>
                      <a:pt x="5754" y="4359"/>
                    </a:lnTo>
                    <a:lnTo>
                      <a:pt x="5754" y="4366"/>
                    </a:lnTo>
                    <a:lnTo>
                      <a:pt x="5753" y="4374"/>
                    </a:lnTo>
                    <a:lnTo>
                      <a:pt x="5753" y="4385"/>
                    </a:lnTo>
                    <a:lnTo>
                      <a:pt x="5755" y="4387"/>
                    </a:lnTo>
                    <a:lnTo>
                      <a:pt x="5764" y="4387"/>
                    </a:lnTo>
                    <a:lnTo>
                      <a:pt x="5774" y="4390"/>
                    </a:lnTo>
                    <a:lnTo>
                      <a:pt x="5784" y="4396"/>
                    </a:lnTo>
                    <a:lnTo>
                      <a:pt x="5787" y="4395"/>
                    </a:lnTo>
                    <a:lnTo>
                      <a:pt x="5794" y="4398"/>
                    </a:lnTo>
                    <a:lnTo>
                      <a:pt x="5806" y="4401"/>
                    </a:lnTo>
                    <a:lnTo>
                      <a:pt x="5828" y="4393"/>
                    </a:lnTo>
                    <a:lnTo>
                      <a:pt x="5835" y="4393"/>
                    </a:lnTo>
                    <a:lnTo>
                      <a:pt x="5846" y="4387"/>
                    </a:lnTo>
                    <a:lnTo>
                      <a:pt x="5860" y="4376"/>
                    </a:lnTo>
                    <a:lnTo>
                      <a:pt x="5903" y="4347"/>
                    </a:lnTo>
                    <a:lnTo>
                      <a:pt x="5916" y="4332"/>
                    </a:lnTo>
                    <a:lnTo>
                      <a:pt x="5925" y="4318"/>
                    </a:lnTo>
                    <a:lnTo>
                      <a:pt x="5939" y="4299"/>
                    </a:lnTo>
                    <a:lnTo>
                      <a:pt x="5940" y="4290"/>
                    </a:lnTo>
                    <a:lnTo>
                      <a:pt x="5947" y="4279"/>
                    </a:lnTo>
                    <a:lnTo>
                      <a:pt x="5957" y="4269"/>
                    </a:lnTo>
                    <a:lnTo>
                      <a:pt x="5968" y="4263"/>
                    </a:lnTo>
                    <a:lnTo>
                      <a:pt x="5982" y="4240"/>
                    </a:lnTo>
                    <a:lnTo>
                      <a:pt x="5989" y="4232"/>
                    </a:lnTo>
                    <a:lnTo>
                      <a:pt x="6000" y="4215"/>
                    </a:lnTo>
                    <a:lnTo>
                      <a:pt x="6050" y="4161"/>
                    </a:lnTo>
                    <a:lnTo>
                      <a:pt x="6055" y="4148"/>
                    </a:lnTo>
                    <a:lnTo>
                      <a:pt x="6066" y="4138"/>
                    </a:lnTo>
                    <a:lnTo>
                      <a:pt x="6069" y="4134"/>
                    </a:lnTo>
                    <a:lnTo>
                      <a:pt x="6083" y="4106"/>
                    </a:lnTo>
                    <a:lnTo>
                      <a:pt x="6095" y="4070"/>
                    </a:lnTo>
                    <a:lnTo>
                      <a:pt x="6102" y="4056"/>
                    </a:lnTo>
                    <a:lnTo>
                      <a:pt x="6123" y="4031"/>
                    </a:lnTo>
                    <a:lnTo>
                      <a:pt x="6140" y="4001"/>
                    </a:lnTo>
                    <a:lnTo>
                      <a:pt x="6160" y="3979"/>
                    </a:lnTo>
                    <a:lnTo>
                      <a:pt x="6169" y="3967"/>
                    </a:lnTo>
                    <a:lnTo>
                      <a:pt x="6172" y="3961"/>
                    </a:lnTo>
                    <a:lnTo>
                      <a:pt x="6179" y="3957"/>
                    </a:lnTo>
                    <a:lnTo>
                      <a:pt x="6188" y="3949"/>
                    </a:lnTo>
                    <a:lnTo>
                      <a:pt x="6192" y="3924"/>
                    </a:lnTo>
                    <a:lnTo>
                      <a:pt x="6194" y="3912"/>
                    </a:lnTo>
                    <a:lnTo>
                      <a:pt x="6193" y="3902"/>
                    </a:lnTo>
                    <a:lnTo>
                      <a:pt x="6195" y="3890"/>
                    </a:lnTo>
                    <a:lnTo>
                      <a:pt x="6204" y="3871"/>
                    </a:lnTo>
                    <a:lnTo>
                      <a:pt x="6205" y="3861"/>
                    </a:lnTo>
                    <a:lnTo>
                      <a:pt x="6201" y="3827"/>
                    </a:lnTo>
                    <a:lnTo>
                      <a:pt x="6210" y="3816"/>
                    </a:lnTo>
                    <a:lnTo>
                      <a:pt x="6209" y="3810"/>
                    </a:lnTo>
                    <a:lnTo>
                      <a:pt x="6205" y="3806"/>
                    </a:lnTo>
                    <a:lnTo>
                      <a:pt x="6199" y="3778"/>
                    </a:lnTo>
                    <a:lnTo>
                      <a:pt x="6199" y="3757"/>
                    </a:lnTo>
                    <a:lnTo>
                      <a:pt x="6205" y="3747"/>
                    </a:lnTo>
                    <a:lnTo>
                      <a:pt x="6208" y="3734"/>
                    </a:lnTo>
                    <a:lnTo>
                      <a:pt x="6209" y="3713"/>
                    </a:lnTo>
                    <a:lnTo>
                      <a:pt x="6214" y="3712"/>
                    </a:lnTo>
                    <a:lnTo>
                      <a:pt x="6214" y="3705"/>
                    </a:lnTo>
                    <a:lnTo>
                      <a:pt x="6219" y="3702"/>
                    </a:lnTo>
                    <a:lnTo>
                      <a:pt x="6216" y="3696"/>
                    </a:lnTo>
                    <a:lnTo>
                      <a:pt x="6228" y="3676"/>
                    </a:lnTo>
                    <a:lnTo>
                      <a:pt x="6236" y="3671"/>
                    </a:lnTo>
                    <a:lnTo>
                      <a:pt x="6241" y="3661"/>
                    </a:lnTo>
                    <a:lnTo>
                      <a:pt x="6247" y="3653"/>
                    </a:lnTo>
                    <a:lnTo>
                      <a:pt x="6248" y="3643"/>
                    </a:lnTo>
                    <a:lnTo>
                      <a:pt x="6253" y="3631"/>
                    </a:lnTo>
                    <a:lnTo>
                      <a:pt x="6233" y="3610"/>
                    </a:lnTo>
                    <a:lnTo>
                      <a:pt x="6241" y="3591"/>
                    </a:lnTo>
                    <a:lnTo>
                      <a:pt x="6238" y="3578"/>
                    </a:lnTo>
                    <a:lnTo>
                      <a:pt x="6235" y="3565"/>
                    </a:lnTo>
                    <a:lnTo>
                      <a:pt x="6225" y="3559"/>
                    </a:lnTo>
                    <a:lnTo>
                      <a:pt x="6214" y="3549"/>
                    </a:lnTo>
                    <a:lnTo>
                      <a:pt x="6203" y="3551"/>
                    </a:lnTo>
                    <a:lnTo>
                      <a:pt x="6190" y="3542"/>
                    </a:lnTo>
                    <a:lnTo>
                      <a:pt x="6176" y="3537"/>
                    </a:lnTo>
                    <a:lnTo>
                      <a:pt x="6168" y="3538"/>
                    </a:lnTo>
                    <a:lnTo>
                      <a:pt x="6174" y="3532"/>
                    </a:lnTo>
                    <a:lnTo>
                      <a:pt x="6188" y="3532"/>
                    </a:lnTo>
                    <a:lnTo>
                      <a:pt x="6200" y="3542"/>
                    </a:lnTo>
                    <a:lnTo>
                      <a:pt x="6209" y="3543"/>
                    </a:lnTo>
                    <a:lnTo>
                      <a:pt x="6219" y="3542"/>
                    </a:lnTo>
                    <a:lnTo>
                      <a:pt x="6237" y="3554"/>
                    </a:lnTo>
                    <a:lnTo>
                      <a:pt x="6241" y="3551"/>
                    </a:lnTo>
                    <a:lnTo>
                      <a:pt x="6249" y="3540"/>
                    </a:lnTo>
                    <a:lnTo>
                      <a:pt x="6248" y="3529"/>
                    </a:lnTo>
                    <a:lnTo>
                      <a:pt x="6241" y="3526"/>
                    </a:lnTo>
                    <a:lnTo>
                      <a:pt x="6215" y="3508"/>
                    </a:lnTo>
                    <a:lnTo>
                      <a:pt x="6203" y="3495"/>
                    </a:lnTo>
                    <a:lnTo>
                      <a:pt x="6192" y="3487"/>
                    </a:lnTo>
                    <a:lnTo>
                      <a:pt x="6189" y="3482"/>
                    </a:lnTo>
                    <a:lnTo>
                      <a:pt x="6189" y="3468"/>
                    </a:lnTo>
                    <a:lnTo>
                      <a:pt x="6182" y="3461"/>
                    </a:lnTo>
                    <a:lnTo>
                      <a:pt x="6173" y="3454"/>
                    </a:lnTo>
                    <a:lnTo>
                      <a:pt x="6163" y="3450"/>
                    </a:lnTo>
                    <a:lnTo>
                      <a:pt x="6161" y="3445"/>
                    </a:lnTo>
                    <a:lnTo>
                      <a:pt x="6161" y="3440"/>
                    </a:lnTo>
                    <a:lnTo>
                      <a:pt x="6158" y="3440"/>
                    </a:lnTo>
                    <a:lnTo>
                      <a:pt x="6150" y="3440"/>
                    </a:lnTo>
                    <a:lnTo>
                      <a:pt x="6135" y="3446"/>
                    </a:lnTo>
                    <a:lnTo>
                      <a:pt x="6124" y="3446"/>
                    </a:lnTo>
                    <a:lnTo>
                      <a:pt x="6103" y="3438"/>
                    </a:lnTo>
                    <a:lnTo>
                      <a:pt x="6103" y="3457"/>
                    </a:lnTo>
                    <a:lnTo>
                      <a:pt x="6106" y="3459"/>
                    </a:lnTo>
                    <a:lnTo>
                      <a:pt x="6103" y="3467"/>
                    </a:lnTo>
                    <a:lnTo>
                      <a:pt x="6101" y="3483"/>
                    </a:lnTo>
                    <a:lnTo>
                      <a:pt x="6093" y="3504"/>
                    </a:lnTo>
                    <a:lnTo>
                      <a:pt x="6082" y="3510"/>
                    </a:lnTo>
                    <a:lnTo>
                      <a:pt x="6086" y="3495"/>
                    </a:lnTo>
                    <a:lnTo>
                      <a:pt x="6095" y="3481"/>
                    </a:lnTo>
                    <a:lnTo>
                      <a:pt x="6090" y="3471"/>
                    </a:lnTo>
                    <a:lnTo>
                      <a:pt x="6071" y="3493"/>
                    </a:lnTo>
                    <a:lnTo>
                      <a:pt x="6058" y="3500"/>
                    </a:lnTo>
                    <a:lnTo>
                      <a:pt x="6038" y="3505"/>
                    </a:lnTo>
                    <a:lnTo>
                      <a:pt x="6023" y="3504"/>
                    </a:lnTo>
                    <a:lnTo>
                      <a:pt x="6023" y="3499"/>
                    </a:lnTo>
                    <a:lnTo>
                      <a:pt x="6032" y="3495"/>
                    </a:lnTo>
                    <a:lnTo>
                      <a:pt x="6038" y="3488"/>
                    </a:lnTo>
                    <a:lnTo>
                      <a:pt x="6045" y="3477"/>
                    </a:lnTo>
                    <a:lnTo>
                      <a:pt x="6043" y="3470"/>
                    </a:lnTo>
                    <a:lnTo>
                      <a:pt x="6033" y="3465"/>
                    </a:lnTo>
                    <a:lnTo>
                      <a:pt x="6028" y="3455"/>
                    </a:lnTo>
                    <a:lnTo>
                      <a:pt x="6034" y="3452"/>
                    </a:lnTo>
                    <a:lnTo>
                      <a:pt x="6043" y="3443"/>
                    </a:lnTo>
                    <a:lnTo>
                      <a:pt x="6044" y="3438"/>
                    </a:lnTo>
                    <a:lnTo>
                      <a:pt x="6028" y="3439"/>
                    </a:lnTo>
                    <a:lnTo>
                      <a:pt x="6018" y="3445"/>
                    </a:lnTo>
                    <a:lnTo>
                      <a:pt x="6015" y="3454"/>
                    </a:lnTo>
                    <a:lnTo>
                      <a:pt x="6021" y="3462"/>
                    </a:lnTo>
                    <a:lnTo>
                      <a:pt x="6018" y="3470"/>
                    </a:lnTo>
                    <a:lnTo>
                      <a:pt x="6010" y="3479"/>
                    </a:lnTo>
                    <a:lnTo>
                      <a:pt x="6001" y="3479"/>
                    </a:lnTo>
                    <a:lnTo>
                      <a:pt x="5996" y="3487"/>
                    </a:lnTo>
                    <a:lnTo>
                      <a:pt x="5994" y="3484"/>
                    </a:lnTo>
                    <a:lnTo>
                      <a:pt x="5993" y="3466"/>
                    </a:lnTo>
                    <a:lnTo>
                      <a:pt x="5995" y="3455"/>
                    </a:lnTo>
                    <a:lnTo>
                      <a:pt x="5996" y="3444"/>
                    </a:lnTo>
                    <a:lnTo>
                      <a:pt x="5997" y="3434"/>
                    </a:lnTo>
                    <a:lnTo>
                      <a:pt x="5996" y="3430"/>
                    </a:lnTo>
                    <a:lnTo>
                      <a:pt x="5997" y="3417"/>
                    </a:lnTo>
                    <a:lnTo>
                      <a:pt x="5995" y="3408"/>
                    </a:lnTo>
                    <a:lnTo>
                      <a:pt x="5985" y="3406"/>
                    </a:lnTo>
                    <a:lnTo>
                      <a:pt x="5962" y="3412"/>
                    </a:lnTo>
                    <a:lnTo>
                      <a:pt x="5939" y="3413"/>
                    </a:lnTo>
                    <a:lnTo>
                      <a:pt x="5929" y="3405"/>
                    </a:lnTo>
                    <a:lnTo>
                      <a:pt x="5910" y="3396"/>
                    </a:lnTo>
                    <a:lnTo>
                      <a:pt x="5910" y="3390"/>
                    </a:lnTo>
                    <a:lnTo>
                      <a:pt x="5915" y="3376"/>
                    </a:lnTo>
                    <a:lnTo>
                      <a:pt x="5942" y="3354"/>
                    </a:lnTo>
                    <a:lnTo>
                      <a:pt x="5950" y="3350"/>
                    </a:lnTo>
                    <a:lnTo>
                      <a:pt x="5968" y="3336"/>
                    </a:lnTo>
                    <a:lnTo>
                      <a:pt x="5977" y="3320"/>
                    </a:lnTo>
                    <a:lnTo>
                      <a:pt x="5983" y="3314"/>
                    </a:lnTo>
                    <a:lnTo>
                      <a:pt x="5989" y="3312"/>
                    </a:lnTo>
                    <a:lnTo>
                      <a:pt x="5999" y="3305"/>
                    </a:lnTo>
                    <a:lnTo>
                      <a:pt x="6047" y="3260"/>
                    </a:lnTo>
                    <a:lnTo>
                      <a:pt x="6056" y="3241"/>
                    </a:lnTo>
                    <a:lnTo>
                      <a:pt x="6065" y="3235"/>
                    </a:lnTo>
                    <a:lnTo>
                      <a:pt x="6069" y="3226"/>
                    </a:lnTo>
                    <a:lnTo>
                      <a:pt x="6070" y="3218"/>
                    </a:lnTo>
                    <a:lnTo>
                      <a:pt x="6076" y="3212"/>
                    </a:lnTo>
                    <a:lnTo>
                      <a:pt x="6083" y="3202"/>
                    </a:lnTo>
                    <a:lnTo>
                      <a:pt x="6087" y="3194"/>
                    </a:lnTo>
                    <a:lnTo>
                      <a:pt x="6093" y="3196"/>
                    </a:lnTo>
                    <a:lnTo>
                      <a:pt x="6099" y="3182"/>
                    </a:lnTo>
                    <a:lnTo>
                      <a:pt x="6114" y="3169"/>
                    </a:lnTo>
                    <a:lnTo>
                      <a:pt x="6130" y="3145"/>
                    </a:lnTo>
                    <a:lnTo>
                      <a:pt x="6140" y="3147"/>
                    </a:lnTo>
                    <a:lnTo>
                      <a:pt x="6158" y="3127"/>
                    </a:lnTo>
                    <a:lnTo>
                      <a:pt x="6166" y="3111"/>
                    </a:lnTo>
                    <a:lnTo>
                      <a:pt x="6169" y="3112"/>
                    </a:lnTo>
                    <a:lnTo>
                      <a:pt x="6182" y="3101"/>
                    </a:lnTo>
                    <a:lnTo>
                      <a:pt x="6193" y="3095"/>
                    </a:lnTo>
                    <a:lnTo>
                      <a:pt x="6201" y="3078"/>
                    </a:lnTo>
                    <a:lnTo>
                      <a:pt x="6204" y="3063"/>
                    </a:lnTo>
                    <a:lnTo>
                      <a:pt x="6219" y="3043"/>
                    </a:lnTo>
                    <a:lnTo>
                      <a:pt x="6258" y="3011"/>
                    </a:lnTo>
                    <a:lnTo>
                      <a:pt x="6270" y="2994"/>
                    </a:lnTo>
                    <a:lnTo>
                      <a:pt x="6280" y="2976"/>
                    </a:lnTo>
                    <a:lnTo>
                      <a:pt x="6298" y="2960"/>
                    </a:lnTo>
                    <a:lnTo>
                      <a:pt x="6316" y="2946"/>
                    </a:lnTo>
                    <a:lnTo>
                      <a:pt x="6345" y="2932"/>
                    </a:lnTo>
                    <a:lnTo>
                      <a:pt x="6400" y="2927"/>
                    </a:lnTo>
                    <a:lnTo>
                      <a:pt x="6436" y="2927"/>
                    </a:lnTo>
                    <a:lnTo>
                      <a:pt x="6456" y="2924"/>
                    </a:lnTo>
                    <a:lnTo>
                      <a:pt x="6464" y="2927"/>
                    </a:lnTo>
                    <a:lnTo>
                      <a:pt x="6475" y="2925"/>
                    </a:lnTo>
                    <a:lnTo>
                      <a:pt x="6488" y="2929"/>
                    </a:lnTo>
                    <a:lnTo>
                      <a:pt x="6495" y="2929"/>
                    </a:lnTo>
                    <a:lnTo>
                      <a:pt x="6495" y="2941"/>
                    </a:lnTo>
                    <a:lnTo>
                      <a:pt x="6500" y="2950"/>
                    </a:lnTo>
                    <a:lnTo>
                      <a:pt x="6507" y="2951"/>
                    </a:lnTo>
                    <a:lnTo>
                      <a:pt x="6518" y="2949"/>
                    </a:lnTo>
                    <a:lnTo>
                      <a:pt x="6521" y="2944"/>
                    </a:lnTo>
                    <a:lnTo>
                      <a:pt x="6522" y="2923"/>
                    </a:lnTo>
                    <a:lnTo>
                      <a:pt x="6527" y="2919"/>
                    </a:lnTo>
                    <a:lnTo>
                      <a:pt x="6585" y="2943"/>
                    </a:lnTo>
                    <a:lnTo>
                      <a:pt x="6602" y="2940"/>
                    </a:lnTo>
                    <a:lnTo>
                      <a:pt x="6602" y="2932"/>
                    </a:lnTo>
                    <a:lnTo>
                      <a:pt x="6610" y="2927"/>
                    </a:lnTo>
                    <a:lnTo>
                      <a:pt x="6630" y="2928"/>
                    </a:lnTo>
                    <a:lnTo>
                      <a:pt x="6638" y="2937"/>
                    </a:lnTo>
                    <a:lnTo>
                      <a:pt x="6641" y="2944"/>
                    </a:lnTo>
                    <a:lnTo>
                      <a:pt x="6646" y="2945"/>
                    </a:lnTo>
                    <a:lnTo>
                      <a:pt x="6660" y="2941"/>
                    </a:lnTo>
                    <a:lnTo>
                      <a:pt x="6660" y="2932"/>
                    </a:lnTo>
                    <a:lnTo>
                      <a:pt x="6656" y="2932"/>
                    </a:lnTo>
                    <a:lnTo>
                      <a:pt x="6651" y="2923"/>
                    </a:lnTo>
                    <a:lnTo>
                      <a:pt x="6660" y="2918"/>
                    </a:lnTo>
                    <a:lnTo>
                      <a:pt x="6673" y="2918"/>
                    </a:lnTo>
                    <a:lnTo>
                      <a:pt x="6672" y="2912"/>
                    </a:lnTo>
                    <a:lnTo>
                      <a:pt x="6667" y="2905"/>
                    </a:lnTo>
                    <a:lnTo>
                      <a:pt x="6668" y="2898"/>
                    </a:lnTo>
                    <a:lnTo>
                      <a:pt x="6679" y="2891"/>
                    </a:lnTo>
                    <a:lnTo>
                      <a:pt x="6692" y="2890"/>
                    </a:lnTo>
                    <a:lnTo>
                      <a:pt x="6705" y="2892"/>
                    </a:lnTo>
                    <a:lnTo>
                      <a:pt x="6737" y="2905"/>
                    </a:lnTo>
                    <a:lnTo>
                      <a:pt x="6747" y="2905"/>
                    </a:lnTo>
                    <a:lnTo>
                      <a:pt x="6760" y="2913"/>
                    </a:lnTo>
                    <a:lnTo>
                      <a:pt x="6762" y="2918"/>
                    </a:lnTo>
                    <a:lnTo>
                      <a:pt x="6770" y="2921"/>
                    </a:lnTo>
                    <a:lnTo>
                      <a:pt x="6775" y="2908"/>
                    </a:lnTo>
                    <a:lnTo>
                      <a:pt x="6785" y="2906"/>
                    </a:lnTo>
                    <a:lnTo>
                      <a:pt x="6798" y="2910"/>
                    </a:lnTo>
                    <a:lnTo>
                      <a:pt x="6808" y="2916"/>
                    </a:lnTo>
                    <a:lnTo>
                      <a:pt x="6817" y="2927"/>
                    </a:lnTo>
                    <a:lnTo>
                      <a:pt x="6822" y="2937"/>
                    </a:lnTo>
                    <a:lnTo>
                      <a:pt x="6841" y="2940"/>
                    </a:lnTo>
                    <a:lnTo>
                      <a:pt x="6845" y="2948"/>
                    </a:lnTo>
                    <a:lnTo>
                      <a:pt x="6833" y="2953"/>
                    </a:lnTo>
                    <a:lnTo>
                      <a:pt x="6817" y="2954"/>
                    </a:lnTo>
                    <a:lnTo>
                      <a:pt x="6795" y="2954"/>
                    </a:lnTo>
                    <a:lnTo>
                      <a:pt x="6784" y="2959"/>
                    </a:lnTo>
                    <a:lnTo>
                      <a:pt x="6785" y="2965"/>
                    </a:lnTo>
                    <a:lnTo>
                      <a:pt x="6800" y="2984"/>
                    </a:lnTo>
                    <a:lnTo>
                      <a:pt x="6816" y="2986"/>
                    </a:lnTo>
                    <a:lnTo>
                      <a:pt x="6829" y="2984"/>
                    </a:lnTo>
                    <a:lnTo>
                      <a:pt x="6843" y="2981"/>
                    </a:lnTo>
                    <a:lnTo>
                      <a:pt x="6849" y="2971"/>
                    </a:lnTo>
                    <a:lnTo>
                      <a:pt x="6859" y="2966"/>
                    </a:lnTo>
                    <a:lnTo>
                      <a:pt x="6866" y="2973"/>
                    </a:lnTo>
                    <a:lnTo>
                      <a:pt x="6878" y="2978"/>
                    </a:lnTo>
                    <a:lnTo>
                      <a:pt x="6886" y="2972"/>
                    </a:lnTo>
                    <a:lnTo>
                      <a:pt x="6892" y="2962"/>
                    </a:lnTo>
                    <a:lnTo>
                      <a:pt x="6905" y="2960"/>
                    </a:lnTo>
                    <a:lnTo>
                      <a:pt x="6907" y="2953"/>
                    </a:lnTo>
                    <a:lnTo>
                      <a:pt x="6919" y="2946"/>
                    </a:lnTo>
                    <a:lnTo>
                      <a:pt x="6935" y="2951"/>
                    </a:lnTo>
                    <a:lnTo>
                      <a:pt x="6942" y="2962"/>
                    </a:lnTo>
                    <a:lnTo>
                      <a:pt x="6951" y="2962"/>
                    </a:lnTo>
                    <a:lnTo>
                      <a:pt x="6963" y="2959"/>
                    </a:lnTo>
                    <a:lnTo>
                      <a:pt x="6967" y="2950"/>
                    </a:lnTo>
                    <a:lnTo>
                      <a:pt x="6981" y="2951"/>
                    </a:lnTo>
                    <a:lnTo>
                      <a:pt x="6988" y="2956"/>
                    </a:lnTo>
                    <a:lnTo>
                      <a:pt x="6991" y="2950"/>
                    </a:lnTo>
                    <a:lnTo>
                      <a:pt x="7001" y="2950"/>
                    </a:lnTo>
                    <a:lnTo>
                      <a:pt x="7002" y="2943"/>
                    </a:lnTo>
                    <a:lnTo>
                      <a:pt x="7000" y="2933"/>
                    </a:lnTo>
                    <a:lnTo>
                      <a:pt x="6993" y="2922"/>
                    </a:lnTo>
                    <a:lnTo>
                      <a:pt x="6972" y="2913"/>
                    </a:lnTo>
                    <a:lnTo>
                      <a:pt x="6951" y="2917"/>
                    </a:lnTo>
                    <a:lnTo>
                      <a:pt x="6952" y="2910"/>
                    </a:lnTo>
                    <a:lnTo>
                      <a:pt x="6958" y="2902"/>
                    </a:lnTo>
                    <a:lnTo>
                      <a:pt x="6950" y="2879"/>
                    </a:lnTo>
                    <a:lnTo>
                      <a:pt x="6953" y="2875"/>
                    </a:lnTo>
                    <a:lnTo>
                      <a:pt x="6959" y="2879"/>
                    </a:lnTo>
                    <a:lnTo>
                      <a:pt x="6962" y="2879"/>
                    </a:lnTo>
                    <a:lnTo>
                      <a:pt x="6975" y="2849"/>
                    </a:lnTo>
                    <a:lnTo>
                      <a:pt x="6983" y="2837"/>
                    </a:lnTo>
                    <a:lnTo>
                      <a:pt x="6986" y="2827"/>
                    </a:lnTo>
                    <a:lnTo>
                      <a:pt x="6999" y="2815"/>
                    </a:lnTo>
                    <a:lnTo>
                      <a:pt x="7011" y="2809"/>
                    </a:lnTo>
                    <a:lnTo>
                      <a:pt x="7047" y="2776"/>
                    </a:lnTo>
                    <a:lnTo>
                      <a:pt x="7047" y="2767"/>
                    </a:lnTo>
                    <a:lnTo>
                      <a:pt x="7051" y="2757"/>
                    </a:lnTo>
                    <a:lnTo>
                      <a:pt x="7074" y="2731"/>
                    </a:lnTo>
                    <a:lnTo>
                      <a:pt x="7083" y="2723"/>
                    </a:lnTo>
                    <a:lnTo>
                      <a:pt x="7088" y="2697"/>
                    </a:lnTo>
                    <a:lnTo>
                      <a:pt x="7099" y="2690"/>
                    </a:lnTo>
                    <a:lnTo>
                      <a:pt x="7118" y="2670"/>
                    </a:lnTo>
                    <a:lnTo>
                      <a:pt x="7128" y="2666"/>
                    </a:lnTo>
                    <a:lnTo>
                      <a:pt x="7137" y="2659"/>
                    </a:lnTo>
                    <a:lnTo>
                      <a:pt x="7165" y="2661"/>
                    </a:lnTo>
                    <a:lnTo>
                      <a:pt x="7205" y="2653"/>
                    </a:lnTo>
                    <a:lnTo>
                      <a:pt x="7211" y="2648"/>
                    </a:lnTo>
                    <a:lnTo>
                      <a:pt x="7215" y="2642"/>
                    </a:lnTo>
                    <a:lnTo>
                      <a:pt x="7221" y="2643"/>
                    </a:lnTo>
                    <a:lnTo>
                      <a:pt x="7235" y="2652"/>
                    </a:lnTo>
                    <a:lnTo>
                      <a:pt x="7241" y="2659"/>
                    </a:lnTo>
                    <a:lnTo>
                      <a:pt x="7244" y="2670"/>
                    </a:lnTo>
                    <a:lnTo>
                      <a:pt x="7260" y="2669"/>
                    </a:lnTo>
                    <a:lnTo>
                      <a:pt x="7270" y="2658"/>
                    </a:lnTo>
                    <a:lnTo>
                      <a:pt x="7290" y="2638"/>
                    </a:lnTo>
                    <a:lnTo>
                      <a:pt x="7281" y="2685"/>
                    </a:lnTo>
                    <a:lnTo>
                      <a:pt x="7273" y="2693"/>
                    </a:lnTo>
                    <a:lnTo>
                      <a:pt x="7269" y="2703"/>
                    </a:lnTo>
                    <a:lnTo>
                      <a:pt x="7263" y="2712"/>
                    </a:lnTo>
                    <a:lnTo>
                      <a:pt x="7263" y="2725"/>
                    </a:lnTo>
                    <a:lnTo>
                      <a:pt x="7269" y="2733"/>
                    </a:lnTo>
                    <a:lnTo>
                      <a:pt x="7268" y="2741"/>
                    </a:lnTo>
                    <a:lnTo>
                      <a:pt x="7263" y="2745"/>
                    </a:lnTo>
                    <a:lnTo>
                      <a:pt x="7260" y="2752"/>
                    </a:lnTo>
                    <a:lnTo>
                      <a:pt x="7265" y="2756"/>
                    </a:lnTo>
                    <a:lnTo>
                      <a:pt x="7280" y="2749"/>
                    </a:lnTo>
                    <a:lnTo>
                      <a:pt x="7292" y="2746"/>
                    </a:lnTo>
                    <a:lnTo>
                      <a:pt x="7281" y="2771"/>
                    </a:lnTo>
                    <a:lnTo>
                      <a:pt x="7278" y="2787"/>
                    </a:lnTo>
                    <a:lnTo>
                      <a:pt x="7279" y="2797"/>
                    </a:lnTo>
                    <a:lnTo>
                      <a:pt x="7286" y="2793"/>
                    </a:lnTo>
                    <a:lnTo>
                      <a:pt x="7300" y="2781"/>
                    </a:lnTo>
                    <a:lnTo>
                      <a:pt x="7309" y="2781"/>
                    </a:lnTo>
                    <a:lnTo>
                      <a:pt x="7345" y="2734"/>
                    </a:lnTo>
                    <a:lnTo>
                      <a:pt x="7355" y="2728"/>
                    </a:lnTo>
                    <a:lnTo>
                      <a:pt x="7367" y="2713"/>
                    </a:lnTo>
                    <a:lnTo>
                      <a:pt x="7378" y="2704"/>
                    </a:lnTo>
                    <a:lnTo>
                      <a:pt x="7399" y="2680"/>
                    </a:lnTo>
                    <a:lnTo>
                      <a:pt x="7414" y="2679"/>
                    </a:lnTo>
                    <a:lnTo>
                      <a:pt x="7420" y="2675"/>
                    </a:lnTo>
                    <a:lnTo>
                      <a:pt x="7422" y="2666"/>
                    </a:lnTo>
                    <a:lnTo>
                      <a:pt x="7430" y="2671"/>
                    </a:lnTo>
                    <a:lnTo>
                      <a:pt x="7429" y="2680"/>
                    </a:lnTo>
                    <a:lnTo>
                      <a:pt x="7431" y="2688"/>
                    </a:lnTo>
                    <a:lnTo>
                      <a:pt x="7438" y="2687"/>
                    </a:lnTo>
                    <a:lnTo>
                      <a:pt x="7447" y="2669"/>
                    </a:lnTo>
                    <a:lnTo>
                      <a:pt x="7437" y="2666"/>
                    </a:lnTo>
                    <a:lnTo>
                      <a:pt x="7434" y="2656"/>
                    </a:lnTo>
                    <a:lnTo>
                      <a:pt x="7437" y="2642"/>
                    </a:lnTo>
                    <a:lnTo>
                      <a:pt x="7438" y="2627"/>
                    </a:lnTo>
                    <a:lnTo>
                      <a:pt x="7438" y="2618"/>
                    </a:lnTo>
                    <a:lnTo>
                      <a:pt x="7448" y="2601"/>
                    </a:lnTo>
                    <a:lnTo>
                      <a:pt x="7448" y="2593"/>
                    </a:lnTo>
                    <a:lnTo>
                      <a:pt x="7452" y="2583"/>
                    </a:lnTo>
                    <a:lnTo>
                      <a:pt x="7467" y="2569"/>
                    </a:lnTo>
                    <a:lnTo>
                      <a:pt x="7511" y="2553"/>
                    </a:lnTo>
                    <a:lnTo>
                      <a:pt x="7526" y="2557"/>
                    </a:lnTo>
                    <a:lnTo>
                      <a:pt x="7542" y="2572"/>
                    </a:lnTo>
                    <a:lnTo>
                      <a:pt x="7535" y="2585"/>
                    </a:lnTo>
                    <a:lnTo>
                      <a:pt x="7524" y="2582"/>
                    </a:lnTo>
                    <a:lnTo>
                      <a:pt x="7506" y="2596"/>
                    </a:lnTo>
                    <a:lnTo>
                      <a:pt x="7496" y="2607"/>
                    </a:lnTo>
                    <a:lnTo>
                      <a:pt x="7494" y="2623"/>
                    </a:lnTo>
                    <a:lnTo>
                      <a:pt x="7490" y="2631"/>
                    </a:lnTo>
                    <a:lnTo>
                      <a:pt x="7489" y="2644"/>
                    </a:lnTo>
                    <a:lnTo>
                      <a:pt x="7489" y="2670"/>
                    </a:lnTo>
                    <a:lnTo>
                      <a:pt x="7478" y="2681"/>
                    </a:lnTo>
                    <a:lnTo>
                      <a:pt x="7477" y="2688"/>
                    </a:lnTo>
                    <a:lnTo>
                      <a:pt x="7478" y="2699"/>
                    </a:lnTo>
                    <a:lnTo>
                      <a:pt x="7480" y="2706"/>
                    </a:lnTo>
                    <a:lnTo>
                      <a:pt x="7479" y="2718"/>
                    </a:lnTo>
                    <a:lnTo>
                      <a:pt x="7472" y="2728"/>
                    </a:lnTo>
                    <a:lnTo>
                      <a:pt x="7465" y="2731"/>
                    </a:lnTo>
                    <a:lnTo>
                      <a:pt x="7464" y="2738"/>
                    </a:lnTo>
                    <a:lnTo>
                      <a:pt x="7463" y="2749"/>
                    </a:lnTo>
                    <a:lnTo>
                      <a:pt x="7472" y="2755"/>
                    </a:lnTo>
                    <a:lnTo>
                      <a:pt x="7472" y="2762"/>
                    </a:lnTo>
                    <a:lnTo>
                      <a:pt x="7462" y="2771"/>
                    </a:lnTo>
                    <a:lnTo>
                      <a:pt x="7451" y="2777"/>
                    </a:lnTo>
                    <a:lnTo>
                      <a:pt x="7440" y="2774"/>
                    </a:lnTo>
                    <a:lnTo>
                      <a:pt x="7427" y="2779"/>
                    </a:lnTo>
                    <a:lnTo>
                      <a:pt x="7415" y="2797"/>
                    </a:lnTo>
                    <a:lnTo>
                      <a:pt x="7402" y="2798"/>
                    </a:lnTo>
                    <a:lnTo>
                      <a:pt x="7376" y="2809"/>
                    </a:lnTo>
                    <a:lnTo>
                      <a:pt x="7372" y="2814"/>
                    </a:lnTo>
                    <a:lnTo>
                      <a:pt x="7372" y="2826"/>
                    </a:lnTo>
                    <a:lnTo>
                      <a:pt x="7367" y="2838"/>
                    </a:lnTo>
                    <a:lnTo>
                      <a:pt x="7356" y="2848"/>
                    </a:lnTo>
                    <a:lnTo>
                      <a:pt x="7343" y="2864"/>
                    </a:lnTo>
                    <a:lnTo>
                      <a:pt x="7318" y="2897"/>
                    </a:lnTo>
                    <a:lnTo>
                      <a:pt x="7293" y="2911"/>
                    </a:lnTo>
                    <a:lnTo>
                      <a:pt x="7286" y="2929"/>
                    </a:lnTo>
                    <a:lnTo>
                      <a:pt x="7276" y="2934"/>
                    </a:lnTo>
                    <a:lnTo>
                      <a:pt x="7258" y="2960"/>
                    </a:lnTo>
                    <a:lnTo>
                      <a:pt x="7255" y="2978"/>
                    </a:lnTo>
                    <a:lnTo>
                      <a:pt x="7236" y="3002"/>
                    </a:lnTo>
                    <a:lnTo>
                      <a:pt x="7225" y="3019"/>
                    </a:lnTo>
                    <a:lnTo>
                      <a:pt x="7210" y="3031"/>
                    </a:lnTo>
                    <a:lnTo>
                      <a:pt x="7195" y="3047"/>
                    </a:lnTo>
                    <a:lnTo>
                      <a:pt x="7182" y="3066"/>
                    </a:lnTo>
                    <a:lnTo>
                      <a:pt x="7162" y="3075"/>
                    </a:lnTo>
                    <a:lnTo>
                      <a:pt x="7144" y="3075"/>
                    </a:lnTo>
                    <a:lnTo>
                      <a:pt x="7137" y="3085"/>
                    </a:lnTo>
                    <a:lnTo>
                      <a:pt x="7128" y="3096"/>
                    </a:lnTo>
                    <a:lnTo>
                      <a:pt x="7108" y="3091"/>
                    </a:lnTo>
                    <a:lnTo>
                      <a:pt x="7098" y="3093"/>
                    </a:lnTo>
                    <a:lnTo>
                      <a:pt x="7103" y="3105"/>
                    </a:lnTo>
                    <a:lnTo>
                      <a:pt x="7106" y="3124"/>
                    </a:lnTo>
                    <a:lnTo>
                      <a:pt x="7093" y="3164"/>
                    </a:lnTo>
                    <a:lnTo>
                      <a:pt x="7077" y="3174"/>
                    </a:lnTo>
                    <a:lnTo>
                      <a:pt x="7065" y="3186"/>
                    </a:lnTo>
                    <a:lnTo>
                      <a:pt x="7051" y="3193"/>
                    </a:lnTo>
                    <a:lnTo>
                      <a:pt x="7045" y="3206"/>
                    </a:lnTo>
                    <a:lnTo>
                      <a:pt x="7040" y="3229"/>
                    </a:lnTo>
                    <a:lnTo>
                      <a:pt x="7028" y="3279"/>
                    </a:lnTo>
                    <a:lnTo>
                      <a:pt x="7027" y="3328"/>
                    </a:lnTo>
                    <a:lnTo>
                      <a:pt x="7028" y="3352"/>
                    </a:lnTo>
                    <a:lnTo>
                      <a:pt x="7031" y="3374"/>
                    </a:lnTo>
                    <a:lnTo>
                      <a:pt x="7032" y="3403"/>
                    </a:lnTo>
                    <a:lnTo>
                      <a:pt x="7036" y="3418"/>
                    </a:lnTo>
                    <a:lnTo>
                      <a:pt x="7040" y="3459"/>
                    </a:lnTo>
                    <a:lnTo>
                      <a:pt x="7042" y="3463"/>
                    </a:lnTo>
                    <a:lnTo>
                      <a:pt x="7044" y="3467"/>
                    </a:lnTo>
                    <a:lnTo>
                      <a:pt x="7051" y="3503"/>
                    </a:lnTo>
                    <a:lnTo>
                      <a:pt x="7056" y="3524"/>
                    </a:lnTo>
                    <a:lnTo>
                      <a:pt x="7058" y="3551"/>
                    </a:lnTo>
                    <a:lnTo>
                      <a:pt x="7061" y="3573"/>
                    </a:lnTo>
                    <a:lnTo>
                      <a:pt x="7066" y="3596"/>
                    </a:lnTo>
                    <a:lnTo>
                      <a:pt x="7075" y="3617"/>
                    </a:lnTo>
                    <a:lnTo>
                      <a:pt x="7081" y="3640"/>
                    </a:lnTo>
                    <a:lnTo>
                      <a:pt x="7081" y="3685"/>
                    </a:lnTo>
                    <a:lnTo>
                      <a:pt x="7082" y="3705"/>
                    </a:lnTo>
                    <a:lnTo>
                      <a:pt x="7092" y="3729"/>
                    </a:lnTo>
                    <a:lnTo>
                      <a:pt x="7094" y="3742"/>
                    </a:lnTo>
                    <a:lnTo>
                      <a:pt x="7108" y="3728"/>
                    </a:lnTo>
                    <a:lnTo>
                      <a:pt x="7120" y="3718"/>
                    </a:lnTo>
                    <a:lnTo>
                      <a:pt x="7131" y="3704"/>
                    </a:lnTo>
                    <a:lnTo>
                      <a:pt x="7139" y="3691"/>
                    </a:lnTo>
                    <a:lnTo>
                      <a:pt x="7150" y="3682"/>
                    </a:lnTo>
                    <a:lnTo>
                      <a:pt x="7172" y="3656"/>
                    </a:lnTo>
                    <a:lnTo>
                      <a:pt x="7184" y="3626"/>
                    </a:lnTo>
                    <a:lnTo>
                      <a:pt x="7185" y="3613"/>
                    </a:lnTo>
                    <a:lnTo>
                      <a:pt x="7184" y="3595"/>
                    </a:lnTo>
                    <a:lnTo>
                      <a:pt x="7188" y="3589"/>
                    </a:lnTo>
                    <a:lnTo>
                      <a:pt x="7192" y="3573"/>
                    </a:lnTo>
                    <a:lnTo>
                      <a:pt x="7187" y="3569"/>
                    </a:lnTo>
                    <a:lnTo>
                      <a:pt x="7192" y="3561"/>
                    </a:lnTo>
                    <a:lnTo>
                      <a:pt x="7198" y="3562"/>
                    </a:lnTo>
                    <a:lnTo>
                      <a:pt x="7203" y="3567"/>
                    </a:lnTo>
                    <a:lnTo>
                      <a:pt x="7212" y="3556"/>
                    </a:lnTo>
                    <a:lnTo>
                      <a:pt x="7228" y="3545"/>
                    </a:lnTo>
                    <a:lnTo>
                      <a:pt x="7252" y="3536"/>
                    </a:lnTo>
                    <a:lnTo>
                      <a:pt x="7269" y="3542"/>
                    </a:lnTo>
                    <a:lnTo>
                      <a:pt x="7268" y="3536"/>
                    </a:lnTo>
                    <a:lnTo>
                      <a:pt x="7264" y="3529"/>
                    </a:lnTo>
                    <a:lnTo>
                      <a:pt x="7262" y="3516"/>
                    </a:lnTo>
                    <a:lnTo>
                      <a:pt x="7262" y="3479"/>
                    </a:lnTo>
                    <a:lnTo>
                      <a:pt x="7263" y="3463"/>
                    </a:lnTo>
                    <a:lnTo>
                      <a:pt x="7273" y="3450"/>
                    </a:lnTo>
                    <a:lnTo>
                      <a:pt x="7301" y="3423"/>
                    </a:lnTo>
                    <a:lnTo>
                      <a:pt x="7319" y="3413"/>
                    </a:lnTo>
                    <a:lnTo>
                      <a:pt x="7335" y="3409"/>
                    </a:lnTo>
                    <a:lnTo>
                      <a:pt x="7341" y="3418"/>
                    </a:lnTo>
                    <a:lnTo>
                      <a:pt x="7354" y="3418"/>
                    </a:lnTo>
                    <a:lnTo>
                      <a:pt x="7366" y="3414"/>
                    </a:lnTo>
                    <a:lnTo>
                      <a:pt x="7382" y="3398"/>
                    </a:lnTo>
                    <a:lnTo>
                      <a:pt x="7384" y="3390"/>
                    </a:lnTo>
                    <a:lnTo>
                      <a:pt x="7365" y="3362"/>
                    </a:lnTo>
                    <a:lnTo>
                      <a:pt x="7360" y="3347"/>
                    </a:lnTo>
                    <a:lnTo>
                      <a:pt x="7357" y="3335"/>
                    </a:lnTo>
                    <a:lnTo>
                      <a:pt x="7359" y="3322"/>
                    </a:lnTo>
                    <a:lnTo>
                      <a:pt x="7362" y="3305"/>
                    </a:lnTo>
                    <a:lnTo>
                      <a:pt x="7368" y="3293"/>
                    </a:lnTo>
                    <a:lnTo>
                      <a:pt x="7372" y="3279"/>
                    </a:lnTo>
                    <a:lnTo>
                      <a:pt x="7381" y="3267"/>
                    </a:lnTo>
                    <a:lnTo>
                      <a:pt x="7397" y="3256"/>
                    </a:lnTo>
                    <a:lnTo>
                      <a:pt x="7394" y="3247"/>
                    </a:lnTo>
                    <a:lnTo>
                      <a:pt x="7391" y="3242"/>
                    </a:lnTo>
                    <a:lnTo>
                      <a:pt x="7389" y="3237"/>
                    </a:lnTo>
                    <a:lnTo>
                      <a:pt x="7405" y="3231"/>
                    </a:lnTo>
                    <a:lnTo>
                      <a:pt x="7422" y="3229"/>
                    </a:lnTo>
                    <a:lnTo>
                      <a:pt x="7429" y="3222"/>
                    </a:lnTo>
                    <a:lnTo>
                      <a:pt x="7431" y="3226"/>
                    </a:lnTo>
                    <a:lnTo>
                      <a:pt x="7424" y="3237"/>
                    </a:lnTo>
                    <a:lnTo>
                      <a:pt x="7416" y="3242"/>
                    </a:lnTo>
                    <a:lnTo>
                      <a:pt x="7413" y="3251"/>
                    </a:lnTo>
                    <a:lnTo>
                      <a:pt x="7422" y="3271"/>
                    </a:lnTo>
                    <a:lnTo>
                      <a:pt x="7431" y="3274"/>
                    </a:lnTo>
                    <a:lnTo>
                      <a:pt x="7435" y="3274"/>
                    </a:lnTo>
                    <a:lnTo>
                      <a:pt x="7445" y="3258"/>
                    </a:lnTo>
                    <a:lnTo>
                      <a:pt x="7447" y="3247"/>
                    </a:lnTo>
                    <a:lnTo>
                      <a:pt x="7442" y="3212"/>
                    </a:lnTo>
                    <a:lnTo>
                      <a:pt x="7437" y="3203"/>
                    </a:lnTo>
                    <a:lnTo>
                      <a:pt x="7421" y="3206"/>
                    </a:lnTo>
                    <a:lnTo>
                      <a:pt x="7419" y="3202"/>
                    </a:lnTo>
                    <a:lnTo>
                      <a:pt x="7419" y="3180"/>
                    </a:lnTo>
                    <a:lnTo>
                      <a:pt x="7416" y="3159"/>
                    </a:lnTo>
                    <a:lnTo>
                      <a:pt x="7418" y="3147"/>
                    </a:lnTo>
                    <a:lnTo>
                      <a:pt x="7421" y="3137"/>
                    </a:lnTo>
                    <a:lnTo>
                      <a:pt x="7434" y="3126"/>
                    </a:lnTo>
                    <a:lnTo>
                      <a:pt x="7445" y="3106"/>
                    </a:lnTo>
                    <a:lnTo>
                      <a:pt x="7443" y="3097"/>
                    </a:lnTo>
                    <a:lnTo>
                      <a:pt x="7413" y="3079"/>
                    </a:lnTo>
                    <a:lnTo>
                      <a:pt x="7400" y="3083"/>
                    </a:lnTo>
                    <a:lnTo>
                      <a:pt x="7397" y="3096"/>
                    </a:lnTo>
                    <a:lnTo>
                      <a:pt x="7394" y="3100"/>
                    </a:lnTo>
                    <a:lnTo>
                      <a:pt x="7387" y="3097"/>
                    </a:lnTo>
                    <a:lnTo>
                      <a:pt x="7381" y="3093"/>
                    </a:lnTo>
                    <a:lnTo>
                      <a:pt x="7377" y="3081"/>
                    </a:lnTo>
                    <a:lnTo>
                      <a:pt x="7377" y="3063"/>
                    </a:lnTo>
                    <a:lnTo>
                      <a:pt x="7381" y="3051"/>
                    </a:lnTo>
                    <a:lnTo>
                      <a:pt x="7386" y="3032"/>
                    </a:lnTo>
                    <a:lnTo>
                      <a:pt x="7393" y="3019"/>
                    </a:lnTo>
                    <a:lnTo>
                      <a:pt x="7407" y="2999"/>
                    </a:lnTo>
                    <a:lnTo>
                      <a:pt x="7420" y="2983"/>
                    </a:lnTo>
                    <a:lnTo>
                      <a:pt x="7427" y="2970"/>
                    </a:lnTo>
                    <a:lnTo>
                      <a:pt x="7426" y="2960"/>
                    </a:lnTo>
                    <a:lnTo>
                      <a:pt x="7430" y="2954"/>
                    </a:lnTo>
                    <a:lnTo>
                      <a:pt x="7440" y="2957"/>
                    </a:lnTo>
                    <a:lnTo>
                      <a:pt x="7437" y="2950"/>
                    </a:lnTo>
                    <a:lnTo>
                      <a:pt x="7437" y="2943"/>
                    </a:lnTo>
                    <a:lnTo>
                      <a:pt x="7446" y="2938"/>
                    </a:lnTo>
                    <a:lnTo>
                      <a:pt x="7450" y="2932"/>
                    </a:lnTo>
                    <a:lnTo>
                      <a:pt x="7446" y="2918"/>
                    </a:lnTo>
                    <a:lnTo>
                      <a:pt x="7447" y="2905"/>
                    </a:lnTo>
                    <a:lnTo>
                      <a:pt x="7454" y="2892"/>
                    </a:lnTo>
                    <a:lnTo>
                      <a:pt x="7456" y="2881"/>
                    </a:lnTo>
                    <a:lnTo>
                      <a:pt x="7462" y="2875"/>
                    </a:lnTo>
                    <a:lnTo>
                      <a:pt x="7472" y="2871"/>
                    </a:lnTo>
                    <a:lnTo>
                      <a:pt x="7485" y="2862"/>
                    </a:lnTo>
                    <a:lnTo>
                      <a:pt x="7492" y="2867"/>
                    </a:lnTo>
                    <a:lnTo>
                      <a:pt x="7496" y="2876"/>
                    </a:lnTo>
                    <a:lnTo>
                      <a:pt x="7505" y="2864"/>
                    </a:lnTo>
                    <a:lnTo>
                      <a:pt x="7517" y="2855"/>
                    </a:lnTo>
                    <a:lnTo>
                      <a:pt x="7527" y="2865"/>
                    </a:lnTo>
                    <a:lnTo>
                      <a:pt x="7532" y="2879"/>
                    </a:lnTo>
                    <a:lnTo>
                      <a:pt x="7542" y="2881"/>
                    </a:lnTo>
                    <a:lnTo>
                      <a:pt x="7547" y="2864"/>
                    </a:lnTo>
                    <a:lnTo>
                      <a:pt x="7547" y="2852"/>
                    </a:lnTo>
                    <a:lnTo>
                      <a:pt x="7556" y="2840"/>
                    </a:lnTo>
                    <a:lnTo>
                      <a:pt x="7563" y="2836"/>
                    </a:lnTo>
                    <a:lnTo>
                      <a:pt x="7581" y="2830"/>
                    </a:lnTo>
                    <a:lnTo>
                      <a:pt x="7588" y="2824"/>
                    </a:lnTo>
                    <a:lnTo>
                      <a:pt x="7598" y="2809"/>
                    </a:lnTo>
                    <a:lnTo>
                      <a:pt x="7604" y="2803"/>
                    </a:lnTo>
                    <a:lnTo>
                      <a:pt x="7609" y="2806"/>
                    </a:lnTo>
                    <a:lnTo>
                      <a:pt x="7612" y="2814"/>
                    </a:lnTo>
                    <a:lnTo>
                      <a:pt x="7607" y="2821"/>
                    </a:lnTo>
                    <a:lnTo>
                      <a:pt x="7610" y="2841"/>
                    </a:lnTo>
                    <a:lnTo>
                      <a:pt x="7606" y="2855"/>
                    </a:lnTo>
                    <a:lnTo>
                      <a:pt x="7606" y="2864"/>
                    </a:lnTo>
                    <a:lnTo>
                      <a:pt x="7604" y="2870"/>
                    </a:lnTo>
                    <a:lnTo>
                      <a:pt x="7602" y="2875"/>
                    </a:lnTo>
                    <a:lnTo>
                      <a:pt x="7602" y="2880"/>
                    </a:lnTo>
                    <a:lnTo>
                      <a:pt x="7606" y="2880"/>
                    </a:lnTo>
                    <a:lnTo>
                      <a:pt x="7618" y="2863"/>
                    </a:lnTo>
                    <a:lnTo>
                      <a:pt x="7647" y="2835"/>
                    </a:lnTo>
                    <a:lnTo>
                      <a:pt x="7649" y="2828"/>
                    </a:lnTo>
                    <a:lnTo>
                      <a:pt x="7647" y="2819"/>
                    </a:lnTo>
                    <a:lnTo>
                      <a:pt x="7650" y="2815"/>
                    </a:lnTo>
                    <a:lnTo>
                      <a:pt x="7658" y="2822"/>
                    </a:lnTo>
                    <a:lnTo>
                      <a:pt x="7667" y="2814"/>
                    </a:lnTo>
                    <a:lnTo>
                      <a:pt x="7678" y="2812"/>
                    </a:lnTo>
                    <a:lnTo>
                      <a:pt x="7694" y="2800"/>
                    </a:lnTo>
                    <a:lnTo>
                      <a:pt x="7706" y="2799"/>
                    </a:lnTo>
                    <a:lnTo>
                      <a:pt x="7714" y="2790"/>
                    </a:lnTo>
                    <a:lnTo>
                      <a:pt x="7720" y="2795"/>
                    </a:lnTo>
                    <a:lnTo>
                      <a:pt x="7726" y="2794"/>
                    </a:lnTo>
                    <a:lnTo>
                      <a:pt x="7755" y="2795"/>
                    </a:lnTo>
                    <a:lnTo>
                      <a:pt x="7770" y="2799"/>
                    </a:lnTo>
                    <a:lnTo>
                      <a:pt x="7781" y="2804"/>
                    </a:lnTo>
                    <a:lnTo>
                      <a:pt x="7795" y="2815"/>
                    </a:lnTo>
                    <a:lnTo>
                      <a:pt x="7800" y="2827"/>
                    </a:lnTo>
                    <a:lnTo>
                      <a:pt x="7819" y="2857"/>
                    </a:lnTo>
                    <a:lnTo>
                      <a:pt x="7820" y="2863"/>
                    </a:lnTo>
                    <a:lnTo>
                      <a:pt x="7833" y="2865"/>
                    </a:lnTo>
                    <a:lnTo>
                      <a:pt x="7836" y="2863"/>
                    </a:lnTo>
                    <a:lnTo>
                      <a:pt x="7836" y="2846"/>
                    </a:lnTo>
                    <a:lnTo>
                      <a:pt x="7848" y="2820"/>
                    </a:lnTo>
                    <a:lnTo>
                      <a:pt x="7848" y="2814"/>
                    </a:lnTo>
                    <a:lnTo>
                      <a:pt x="7845" y="2811"/>
                    </a:lnTo>
                    <a:lnTo>
                      <a:pt x="7852" y="2809"/>
                    </a:lnTo>
                    <a:lnTo>
                      <a:pt x="7865" y="2800"/>
                    </a:lnTo>
                    <a:lnTo>
                      <a:pt x="7871" y="2799"/>
                    </a:lnTo>
                    <a:lnTo>
                      <a:pt x="7875" y="2792"/>
                    </a:lnTo>
                    <a:lnTo>
                      <a:pt x="7879" y="2795"/>
                    </a:lnTo>
                    <a:lnTo>
                      <a:pt x="7886" y="2795"/>
                    </a:lnTo>
                    <a:lnTo>
                      <a:pt x="7899" y="2778"/>
                    </a:lnTo>
                    <a:lnTo>
                      <a:pt x="7903" y="2777"/>
                    </a:lnTo>
                    <a:lnTo>
                      <a:pt x="7903" y="2772"/>
                    </a:lnTo>
                    <a:lnTo>
                      <a:pt x="7913" y="2765"/>
                    </a:lnTo>
                    <a:lnTo>
                      <a:pt x="7921" y="2763"/>
                    </a:lnTo>
                    <a:lnTo>
                      <a:pt x="7925" y="2760"/>
                    </a:lnTo>
                    <a:lnTo>
                      <a:pt x="7931" y="2758"/>
                    </a:lnTo>
                    <a:lnTo>
                      <a:pt x="7932" y="2754"/>
                    </a:lnTo>
                    <a:lnTo>
                      <a:pt x="7931" y="2749"/>
                    </a:lnTo>
                    <a:lnTo>
                      <a:pt x="7926" y="2744"/>
                    </a:lnTo>
                    <a:lnTo>
                      <a:pt x="7927" y="2739"/>
                    </a:lnTo>
                    <a:lnTo>
                      <a:pt x="7936" y="2746"/>
                    </a:lnTo>
                    <a:lnTo>
                      <a:pt x="7941" y="2749"/>
                    </a:lnTo>
                    <a:lnTo>
                      <a:pt x="7946" y="2745"/>
                    </a:lnTo>
                    <a:lnTo>
                      <a:pt x="7948" y="2733"/>
                    </a:lnTo>
                    <a:lnTo>
                      <a:pt x="7946" y="2727"/>
                    </a:lnTo>
                    <a:lnTo>
                      <a:pt x="7957" y="2727"/>
                    </a:lnTo>
                    <a:lnTo>
                      <a:pt x="7968" y="2719"/>
                    </a:lnTo>
                    <a:lnTo>
                      <a:pt x="7970" y="2719"/>
                    </a:lnTo>
                    <a:lnTo>
                      <a:pt x="7973" y="2714"/>
                    </a:lnTo>
                    <a:lnTo>
                      <a:pt x="7968" y="2703"/>
                    </a:lnTo>
                    <a:lnTo>
                      <a:pt x="7972" y="2701"/>
                    </a:lnTo>
                    <a:lnTo>
                      <a:pt x="7978" y="2706"/>
                    </a:lnTo>
                    <a:lnTo>
                      <a:pt x="7981" y="2706"/>
                    </a:lnTo>
                    <a:lnTo>
                      <a:pt x="7988" y="2702"/>
                    </a:lnTo>
                    <a:lnTo>
                      <a:pt x="7992" y="2696"/>
                    </a:lnTo>
                    <a:lnTo>
                      <a:pt x="7996" y="2688"/>
                    </a:lnTo>
                    <a:lnTo>
                      <a:pt x="8000" y="2688"/>
                    </a:lnTo>
                    <a:lnTo>
                      <a:pt x="8002" y="2684"/>
                    </a:lnTo>
                    <a:lnTo>
                      <a:pt x="8004" y="2671"/>
                    </a:lnTo>
                    <a:lnTo>
                      <a:pt x="8006" y="2664"/>
                    </a:lnTo>
                    <a:lnTo>
                      <a:pt x="8012" y="2665"/>
                    </a:lnTo>
                    <a:lnTo>
                      <a:pt x="8017" y="2674"/>
                    </a:lnTo>
                    <a:lnTo>
                      <a:pt x="8022" y="2675"/>
                    </a:lnTo>
                    <a:lnTo>
                      <a:pt x="8027" y="2672"/>
                    </a:lnTo>
                    <a:lnTo>
                      <a:pt x="8040" y="2660"/>
                    </a:lnTo>
                    <a:lnTo>
                      <a:pt x="8067" y="2652"/>
                    </a:lnTo>
                    <a:lnTo>
                      <a:pt x="8075" y="2644"/>
                    </a:lnTo>
                    <a:lnTo>
                      <a:pt x="8090" y="2637"/>
                    </a:lnTo>
                    <a:lnTo>
                      <a:pt x="8093" y="2629"/>
                    </a:lnTo>
                    <a:lnTo>
                      <a:pt x="8094" y="2623"/>
                    </a:lnTo>
                    <a:lnTo>
                      <a:pt x="8094" y="2616"/>
                    </a:lnTo>
                    <a:lnTo>
                      <a:pt x="8103" y="2614"/>
                    </a:lnTo>
                    <a:lnTo>
                      <a:pt x="8102" y="2618"/>
                    </a:lnTo>
                    <a:lnTo>
                      <a:pt x="8099" y="2625"/>
                    </a:lnTo>
                    <a:lnTo>
                      <a:pt x="8103" y="2625"/>
                    </a:lnTo>
                    <a:lnTo>
                      <a:pt x="8126" y="2612"/>
                    </a:lnTo>
                    <a:lnTo>
                      <a:pt x="8133" y="2612"/>
                    </a:lnTo>
                    <a:lnTo>
                      <a:pt x="8146" y="2605"/>
                    </a:lnTo>
                    <a:lnTo>
                      <a:pt x="8182" y="2579"/>
                    </a:lnTo>
                    <a:lnTo>
                      <a:pt x="8209" y="2569"/>
                    </a:lnTo>
                    <a:lnTo>
                      <a:pt x="8212" y="2566"/>
                    </a:lnTo>
                    <a:lnTo>
                      <a:pt x="8210" y="2563"/>
                    </a:lnTo>
                    <a:lnTo>
                      <a:pt x="8205" y="2559"/>
                    </a:lnTo>
                    <a:lnTo>
                      <a:pt x="8199" y="2543"/>
                    </a:lnTo>
                    <a:lnTo>
                      <a:pt x="8196" y="2534"/>
                    </a:lnTo>
                    <a:lnTo>
                      <a:pt x="8200" y="2530"/>
                    </a:lnTo>
                    <a:lnTo>
                      <a:pt x="8204" y="2536"/>
                    </a:lnTo>
                    <a:lnTo>
                      <a:pt x="8209" y="2548"/>
                    </a:lnTo>
                    <a:lnTo>
                      <a:pt x="8215" y="2557"/>
                    </a:lnTo>
                    <a:lnTo>
                      <a:pt x="8219" y="2557"/>
                    </a:lnTo>
                    <a:lnTo>
                      <a:pt x="8219" y="2563"/>
                    </a:lnTo>
                    <a:lnTo>
                      <a:pt x="8221" y="2566"/>
                    </a:lnTo>
                    <a:lnTo>
                      <a:pt x="8232" y="2567"/>
                    </a:lnTo>
                    <a:lnTo>
                      <a:pt x="8231" y="2559"/>
                    </a:lnTo>
                    <a:lnTo>
                      <a:pt x="8227" y="2553"/>
                    </a:lnTo>
                    <a:lnTo>
                      <a:pt x="8233" y="2553"/>
                    </a:lnTo>
                    <a:lnTo>
                      <a:pt x="8237" y="2561"/>
                    </a:lnTo>
                    <a:lnTo>
                      <a:pt x="8243" y="2568"/>
                    </a:lnTo>
                    <a:lnTo>
                      <a:pt x="8253" y="2568"/>
                    </a:lnTo>
                    <a:lnTo>
                      <a:pt x="8266" y="2573"/>
                    </a:lnTo>
                    <a:lnTo>
                      <a:pt x="8275" y="2582"/>
                    </a:lnTo>
                    <a:lnTo>
                      <a:pt x="8290" y="2591"/>
                    </a:lnTo>
                    <a:lnTo>
                      <a:pt x="8306" y="2596"/>
                    </a:lnTo>
                    <a:lnTo>
                      <a:pt x="8309" y="2594"/>
                    </a:lnTo>
                    <a:lnTo>
                      <a:pt x="8313" y="2582"/>
                    </a:lnTo>
                    <a:lnTo>
                      <a:pt x="8320" y="2580"/>
                    </a:lnTo>
                    <a:lnTo>
                      <a:pt x="8334" y="2558"/>
                    </a:lnTo>
                    <a:lnTo>
                      <a:pt x="8338" y="2545"/>
                    </a:lnTo>
                    <a:lnTo>
                      <a:pt x="8334" y="2535"/>
                    </a:lnTo>
                    <a:lnTo>
                      <a:pt x="8324" y="2526"/>
                    </a:lnTo>
                    <a:lnTo>
                      <a:pt x="8311" y="2521"/>
                    </a:lnTo>
                    <a:lnTo>
                      <a:pt x="8308" y="2518"/>
                    </a:lnTo>
                    <a:lnTo>
                      <a:pt x="8307" y="2512"/>
                    </a:lnTo>
                    <a:lnTo>
                      <a:pt x="8309" y="2512"/>
                    </a:lnTo>
                    <a:lnTo>
                      <a:pt x="8316" y="2509"/>
                    </a:lnTo>
                    <a:lnTo>
                      <a:pt x="8327" y="2510"/>
                    </a:lnTo>
                    <a:lnTo>
                      <a:pt x="8332" y="2507"/>
                    </a:lnTo>
                    <a:lnTo>
                      <a:pt x="8324" y="2491"/>
                    </a:lnTo>
                    <a:lnTo>
                      <a:pt x="8317" y="2491"/>
                    </a:lnTo>
                    <a:lnTo>
                      <a:pt x="8308" y="2478"/>
                    </a:lnTo>
                    <a:lnTo>
                      <a:pt x="8301" y="2464"/>
                    </a:lnTo>
                    <a:lnTo>
                      <a:pt x="8297" y="2443"/>
                    </a:lnTo>
                    <a:lnTo>
                      <a:pt x="8295" y="2435"/>
                    </a:lnTo>
                    <a:lnTo>
                      <a:pt x="8291" y="2396"/>
                    </a:lnTo>
                    <a:lnTo>
                      <a:pt x="8280" y="2402"/>
                    </a:lnTo>
                    <a:lnTo>
                      <a:pt x="8271" y="2390"/>
                    </a:lnTo>
                    <a:lnTo>
                      <a:pt x="8270" y="2384"/>
                    </a:lnTo>
                    <a:lnTo>
                      <a:pt x="8280" y="2381"/>
                    </a:lnTo>
                    <a:lnTo>
                      <a:pt x="8284" y="2384"/>
                    </a:lnTo>
                    <a:lnTo>
                      <a:pt x="8280" y="2369"/>
                    </a:lnTo>
                    <a:lnTo>
                      <a:pt x="8273" y="2347"/>
                    </a:lnTo>
                    <a:lnTo>
                      <a:pt x="8266" y="2359"/>
                    </a:lnTo>
                    <a:lnTo>
                      <a:pt x="8260" y="2363"/>
                    </a:lnTo>
                    <a:lnTo>
                      <a:pt x="8249" y="2358"/>
                    </a:lnTo>
                    <a:lnTo>
                      <a:pt x="8242" y="2349"/>
                    </a:lnTo>
                    <a:lnTo>
                      <a:pt x="8231" y="2346"/>
                    </a:lnTo>
                    <a:lnTo>
                      <a:pt x="8222" y="2335"/>
                    </a:lnTo>
                    <a:lnTo>
                      <a:pt x="8221" y="2321"/>
                    </a:lnTo>
                    <a:lnTo>
                      <a:pt x="8221" y="2311"/>
                    </a:lnTo>
                    <a:lnTo>
                      <a:pt x="8222" y="2300"/>
                    </a:lnTo>
                    <a:lnTo>
                      <a:pt x="8230" y="2292"/>
                    </a:lnTo>
                    <a:lnTo>
                      <a:pt x="8239" y="2300"/>
                    </a:lnTo>
                    <a:lnTo>
                      <a:pt x="8258" y="2305"/>
                    </a:lnTo>
                    <a:lnTo>
                      <a:pt x="8268" y="2298"/>
                    </a:lnTo>
                    <a:lnTo>
                      <a:pt x="8266" y="2302"/>
                    </a:lnTo>
                    <a:lnTo>
                      <a:pt x="8271" y="2309"/>
                    </a:lnTo>
                    <a:lnTo>
                      <a:pt x="8289" y="2305"/>
                    </a:lnTo>
                    <a:lnTo>
                      <a:pt x="8285" y="2314"/>
                    </a:lnTo>
                    <a:lnTo>
                      <a:pt x="8286" y="2319"/>
                    </a:lnTo>
                    <a:lnTo>
                      <a:pt x="8298" y="2310"/>
                    </a:lnTo>
                    <a:lnTo>
                      <a:pt x="8306" y="2299"/>
                    </a:lnTo>
                    <a:lnTo>
                      <a:pt x="8320" y="2292"/>
                    </a:lnTo>
                    <a:lnTo>
                      <a:pt x="8335" y="2288"/>
                    </a:lnTo>
                    <a:lnTo>
                      <a:pt x="8355" y="2263"/>
                    </a:lnTo>
                    <a:lnTo>
                      <a:pt x="8363" y="2256"/>
                    </a:lnTo>
                    <a:lnTo>
                      <a:pt x="8363" y="2254"/>
                    </a:lnTo>
                    <a:lnTo>
                      <a:pt x="8377" y="2243"/>
                    </a:lnTo>
                    <a:lnTo>
                      <a:pt x="8393" y="2219"/>
                    </a:lnTo>
                    <a:lnTo>
                      <a:pt x="8395" y="2204"/>
                    </a:lnTo>
                    <a:lnTo>
                      <a:pt x="8404" y="2193"/>
                    </a:lnTo>
                    <a:lnTo>
                      <a:pt x="8403" y="2179"/>
                    </a:lnTo>
                    <a:lnTo>
                      <a:pt x="8390" y="2170"/>
                    </a:lnTo>
                    <a:lnTo>
                      <a:pt x="8373" y="2149"/>
                    </a:lnTo>
                    <a:lnTo>
                      <a:pt x="8372" y="2130"/>
                    </a:lnTo>
                    <a:lnTo>
                      <a:pt x="8370" y="2115"/>
                    </a:lnTo>
                    <a:lnTo>
                      <a:pt x="8378" y="2115"/>
                    </a:lnTo>
                    <a:lnTo>
                      <a:pt x="8384" y="2111"/>
                    </a:lnTo>
                    <a:lnTo>
                      <a:pt x="8389" y="2119"/>
                    </a:lnTo>
                    <a:lnTo>
                      <a:pt x="8402" y="2112"/>
                    </a:lnTo>
                    <a:lnTo>
                      <a:pt x="8400" y="2088"/>
                    </a:lnTo>
                    <a:lnTo>
                      <a:pt x="8408" y="2095"/>
                    </a:lnTo>
                    <a:lnTo>
                      <a:pt x="8410" y="2085"/>
                    </a:lnTo>
                    <a:lnTo>
                      <a:pt x="8413" y="2096"/>
                    </a:lnTo>
                    <a:lnTo>
                      <a:pt x="8424" y="2110"/>
                    </a:lnTo>
                    <a:lnTo>
                      <a:pt x="8431" y="2107"/>
                    </a:lnTo>
                    <a:lnTo>
                      <a:pt x="8437" y="2095"/>
                    </a:lnTo>
                    <a:lnTo>
                      <a:pt x="8440" y="2085"/>
                    </a:lnTo>
                    <a:lnTo>
                      <a:pt x="8446" y="2084"/>
                    </a:lnTo>
                    <a:lnTo>
                      <a:pt x="8447" y="2087"/>
                    </a:lnTo>
                    <a:lnTo>
                      <a:pt x="8443" y="2106"/>
                    </a:lnTo>
                    <a:lnTo>
                      <a:pt x="8445" y="2120"/>
                    </a:lnTo>
                    <a:lnTo>
                      <a:pt x="8436" y="2126"/>
                    </a:lnTo>
                    <a:lnTo>
                      <a:pt x="8430" y="2126"/>
                    </a:lnTo>
                    <a:lnTo>
                      <a:pt x="8422" y="2123"/>
                    </a:lnTo>
                    <a:lnTo>
                      <a:pt x="8427" y="2137"/>
                    </a:lnTo>
                    <a:lnTo>
                      <a:pt x="8432" y="2147"/>
                    </a:lnTo>
                    <a:lnTo>
                      <a:pt x="8437" y="2158"/>
                    </a:lnTo>
                    <a:lnTo>
                      <a:pt x="8443" y="2159"/>
                    </a:lnTo>
                    <a:lnTo>
                      <a:pt x="8448" y="2173"/>
                    </a:lnTo>
                    <a:lnTo>
                      <a:pt x="8448" y="2190"/>
                    </a:lnTo>
                    <a:lnTo>
                      <a:pt x="8459" y="2195"/>
                    </a:lnTo>
                    <a:lnTo>
                      <a:pt x="8473" y="2195"/>
                    </a:lnTo>
                    <a:lnTo>
                      <a:pt x="8491" y="2200"/>
                    </a:lnTo>
                    <a:lnTo>
                      <a:pt x="8511" y="2193"/>
                    </a:lnTo>
                    <a:lnTo>
                      <a:pt x="8516" y="2185"/>
                    </a:lnTo>
                    <a:lnTo>
                      <a:pt x="8526" y="2184"/>
                    </a:lnTo>
                    <a:lnTo>
                      <a:pt x="8546" y="2187"/>
                    </a:lnTo>
                    <a:lnTo>
                      <a:pt x="8556" y="2185"/>
                    </a:lnTo>
                    <a:lnTo>
                      <a:pt x="8564" y="2192"/>
                    </a:lnTo>
                    <a:lnTo>
                      <a:pt x="8569" y="2200"/>
                    </a:lnTo>
                    <a:lnTo>
                      <a:pt x="8578" y="2200"/>
                    </a:lnTo>
                    <a:lnTo>
                      <a:pt x="8589" y="2204"/>
                    </a:lnTo>
                    <a:lnTo>
                      <a:pt x="8588" y="2222"/>
                    </a:lnTo>
                    <a:lnTo>
                      <a:pt x="8593" y="2233"/>
                    </a:lnTo>
                    <a:lnTo>
                      <a:pt x="8593" y="2247"/>
                    </a:lnTo>
                    <a:lnTo>
                      <a:pt x="8591" y="2259"/>
                    </a:lnTo>
                    <a:lnTo>
                      <a:pt x="8613" y="2278"/>
                    </a:lnTo>
                    <a:lnTo>
                      <a:pt x="8618" y="2286"/>
                    </a:lnTo>
                    <a:lnTo>
                      <a:pt x="8619" y="2293"/>
                    </a:lnTo>
                    <a:lnTo>
                      <a:pt x="8630" y="2294"/>
                    </a:lnTo>
                    <a:lnTo>
                      <a:pt x="8640" y="2299"/>
                    </a:lnTo>
                    <a:lnTo>
                      <a:pt x="8645" y="2298"/>
                    </a:lnTo>
                    <a:lnTo>
                      <a:pt x="8637" y="2292"/>
                    </a:lnTo>
                    <a:lnTo>
                      <a:pt x="8644" y="2281"/>
                    </a:lnTo>
                    <a:lnTo>
                      <a:pt x="8646" y="2287"/>
                    </a:lnTo>
                    <a:lnTo>
                      <a:pt x="8656" y="2288"/>
                    </a:lnTo>
                    <a:lnTo>
                      <a:pt x="8656" y="2272"/>
                    </a:lnTo>
                    <a:lnTo>
                      <a:pt x="8660" y="2266"/>
                    </a:lnTo>
                    <a:lnTo>
                      <a:pt x="8661" y="2270"/>
                    </a:lnTo>
                    <a:lnTo>
                      <a:pt x="8660" y="2286"/>
                    </a:lnTo>
                    <a:lnTo>
                      <a:pt x="8652" y="2295"/>
                    </a:lnTo>
                    <a:lnTo>
                      <a:pt x="8668" y="2309"/>
                    </a:lnTo>
                    <a:lnTo>
                      <a:pt x="8678" y="2309"/>
                    </a:lnTo>
                    <a:lnTo>
                      <a:pt x="8684" y="2313"/>
                    </a:lnTo>
                    <a:lnTo>
                      <a:pt x="8682" y="2319"/>
                    </a:lnTo>
                    <a:lnTo>
                      <a:pt x="8693" y="2329"/>
                    </a:lnTo>
                    <a:lnTo>
                      <a:pt x="8693" y="2340"/>
                    </a:lnTo>
                    <a:lnTo>
                      <a:pt x="8705" y="2340"/>
                    </a:lnTo>
                    <a:lnTo>
                      <a:pt x="8709" y="2330"/>
                    </a:lnTo>
                    <a:lnTo>
                      <a:pt x="8707" y="2345"/>
                    </a:lnTo>
                    <a:lnTo>
                      <a:pt x="8718" y="2348"/>
                    </a:lnTo>
                    <a:lnTo>
                      <a:pt x="8727" y="2343"/>
                    </a:lnTo>
                    <a:lnTo>
                      <a:pt x="8731" y="2331"/>
                    </a:lnTo>
                    <a:lnTo>
                      <a:pt x="8732" y="2317"/>
                    </a:lnTo>
                    <a:lnTo>
                      <a:pt x="8737" y="2324"/>
                    </a:lnTo>
                    <a:lnTo>
                      <a:pt x="8736" y="2332"/>
                    </a:lnTo>
                    <a:lnTo>
                      <a:pt x="8728" y="2351"/>
                    </a:lnTo>
                    <a:lnTo>
                      <a:pt x="8736" y="2358"/>
                    </a:lnTo>
                    <a:lnTo>
                      <a:pt x="8744" y="2360"/>
                    </a:lnTo>
                    <a:lnTo>
                      <a:pt x="8749" y="2359"/>
                    </a:lnTo>
                    <a:lnTo>
                      <a:pt x="8757" y="2352"/>
                    </a:lnTo>
                    <a:lnTo>
                      <a:pt x="8757" y="2335"/>
                    </a:lnTo>
                    <a:lnTo>
                      <a:pt x="8747" y="2333"/>
                    </a:lnTo>
                    <a:lnTo>
                      <a:pt x="8746" y="2329"/>
                    </a:lnTo>
                    <a:lnTo>
                      <a:pt x="8755" y="2326"/>
                    </a:lnTo>
                    <a:lnTo>
                      <a:pt x="8764" y="2331"/>
                    </a:lnTo>
                    <a:lnTo>
                      <a:pt x="8773" y="2341"/>
                    </a:lnTo>
                    <a:lnTo>
                      <a:pt x="8785" y="2337"/>
                    </a:lnTo>
                    <a:lnTo>
                      <a:pt x="8776" y="2319"/>
                    </a:lnTo>
                    <a:lnTo>
                      <a:pt x="8776" y="2315"/>
                    </a:lnTo>
                    <a:lnTo>
                      <a:pt x="8770" y="2309"/>
                    </a:lnTo>
                    <a:lnTo>
                      <a:pt x="8758" y="2311"/>
                    </a:lnTo>
                    <a:lnTo>
                      <a:pt x="8758" y="2309"/>
                    </a:lnTo>
                    <a:lnTo>
                      <a:pt x="8752" y="2305"/>
                    </a:lnTo>
                    <a:lnTo>
                      <a:pt x="8750" y="2300"/>
                    </a:lnTo>
                    <a:lnTo>
                      <a:pt x="8761" y="2299"/>
                    </a:lnTo>
                    <a:lnTo>
                      <a:pt x="8764" y="2293"/>
                    </a:lnTo>
                    <a:lnTo>
                      <a:pt x="8758" y="2287"/>
                    </a:lnTo>
                    <a:lnTo>
                      <a:pt x="8744" y="2290"/>
                    </a:lnTo>
                    <a:lnTo>
                      <a:pt x="8753" y="2283"/>
                    </a:lnTo>
                    <a:lnTo>
                      <a:pt x="8765" y="2283"/>
                    </a:lnTo>
                    <a:lnTo>
                      <a:pt x="8770" y="2278"/>
                    </a:lnTo>
                    <a:lnTo>
                      <a:pt x="8769" y="2270"/>
                    </a:lnTo>
                    <a:lnTo>
                      <a:pt x="8779" y="2276"/>
                    </a:lnTo>
                    <a:lnTo>
                      <a:pt x="8801" y="2256"/>
                    </a:lnTo>
                    <a:lnTo>
                      <a:pt x="8796" y="2249"/>
                    </a:lnTo>
                    <a:lnTo>
                      <a:pt x="8790" y="2236"/>
                    </a:lnTo>
                    <a:lnTo>
                      <a:pt x="8780" y="2238"/>
                    </a:lnTo>
                    <a:lnTo>
                      <a:pt x="8769" y="2233"/>
                    </a:lnTo>
                    <a:lnTo>
                      <a:pt x="8795" y="2232"/>
                    </a:lnTo>
                    <a:lnTo>
                      <a:pt x="8792" y="2220"/>
                    </a:lnTo>
                    <a:lnTo>
                      <a:pt x="8796" y="2209"/>
                    </a:lnTo>
                    <a:lnTo>
                      <a:pt x="8811" y="2197"/>
                    </a:lnTo>
                    <a:lnTo>
                      <a:pt x="8824" y="2195"/>
                    </a:lnTo>
                    <a:lnTo>
                      <a:pt x="8841" y="2201"/>
                    </a:lnTo>
                    <a:lnTo>
                      <a:pt x="8852" y="2201"/>
                    </a:lnTo>
                    <a:lnTo>
                      <a:pt x="8857" y="2195"/>
                    </a:lnTo>
                    <a:lnTo>
                      <a:pt x="8854" y="2186"/>
                    </a:lnTo>
                    <a:lnTo>
                      <a:pt x="8839" y="2176"/>
                    </a:lnTo>
                    <a:lnTo>
                      <a:pt x="8835" y="2160"/>
                    </a:lnTo>
                    <a:lnTo>
                      <a:pt x="8840" y="2153"/>
                    </a:lnTo>
                    <a:lnTo>
                      <a:pt x="8850" y="2166"/>
                    </a:lnTo>
                    <a:lnTo>
                      <a:pt x="8861" y="2173"/>
                    </a:lnTo>
                    <a:lnTo>
                      <a:pt x="8867" y="2182"/>
                    </a:lnTo>
                    <a:lnTo>
                      <a:pt x="8881" y="2184"/>
                    </a:lnTo>
                    <a:lnTo>
                      <a:pt x="8883" y="2174"/>
                    </a:lnTo>
                    <a:lnTo>
                      <a:pt x="8882" y="2164"/>
                    </a:lnTo>
                    <a:lnTo>
                      <a:pt x="8886" y="2142"/>
                    </a:lnTo>
                    <a:lnTo>
                      <a:pt x="8898" y="2137"/>
                    </a:lnTo>
                    <a:lnTo>
                      <a:pt x="8906" y="2126"/>
                    </a:lnTo>
                    <a:lnTo>
                      <a:pt x="8916" y="2125"/>
                    </a:lnTo>
                    <a:lnTo>
                      <a:pt x="8926" y="2127"/>
                    </a:lnTo>
                    <a:lnTo>
                      <a:pt x="8931" y="2116"/>
                    </a:lnTo>
                    <a:lnTo>
                      <a:pt x="8921" y="2114"/>
                    </a:lnTo>
                    <a:lnTo>
                      <a:pt x="8917" y="2116"/>
                    </a:lnTo>
                    <a:lnTo>
                      <a:pt x="8909" y="2110"/>
                    </a:lnTo>
                    <a:lnTo>
                      <a:pt x="8902" y="2109"/>
                    </a:lnTo>
                    <a:lnTo>
                      <a:pt x="8904" y="2101"/>
                    </a:lnTo>
                    <a:lnTo>
                      <a:pt x="8895" y="2091"/>
                    </a:lnTo>
                    <a:lnTo>
                      <a:pt x="8883" y="2104"/>
                    </a:lnTo>
                    <a:lnTo>
                      <a:pt x="8878" y="2098"/>
                    </a:lnTo>
                    <a:lnTo>
                      <a:pt x="8886" y="2093"/>
                    </a:lnTo>
                    <a:lnTo>
                      <a:pt x="8886" y="2089"/>
                    </a:lnTo>
                    <a:lnTo>
                      <a:pt x="8874" y="2078"/>
                    </a:lnTo>
                    <a:lnTo>
                      <a:pt x="8862" y="2071"/>
                    </a:lnTo>
                    <a:lnTo>
                      <a:pt x="8856" y="2058"/>
                    </a:lnTo>
                    <a:lnTo>
                      <a:pt x="8841" y="2046"/>
                    </a:lnTo>
                    <a:lnTo>
                      <a:pt x="8834" y="2035"/>
                    </a:lnTo>
                    <a:lnTo>
                      <a:pt x="8834" y="2026"/>
                    </a:lnTo>
                    <a:lnTo>
                      <a:pt x="8823" y="2020"/>
                    </a:lnTo>
                    <a:lnTo>
                      <a:pt x="8819" y="2013"/>
                    </a:lnTo>
                    <a:lnTo>
                      <a:pt x="8817" y="2002"/>
                    </a:lnTo>
                    <a:lnTo>
                      <a:pt x="8769" y="1992"/>
                    </a:lnTo>
                    <a:lnTo>
                      <a:pt x="8759" y="1996"/>
                    </a:lnTo>
                    <a:lnTo>
                      <a:pt x="8781" y="2002"/>
                    </a:lnTo>
                    <a:lnTo>
                      <a:pt x="8777" y="2009"/>
                    </a:lnTo>
                    <a:lnTo>
                      <a:pt x="8766" y="2010"/>
                    </a:lnTo>
                    <a:lnTo>
                      <a:pt x="8755" y="2008"/>
                    </a:lnTo>
                    <a:lnTo>
                      <a:pt x="8737" y="1997"/>
                    </a:lnTo>
                    <a:lnTo>
                      <a:pt x="8741" y="2010"/>
                    </a:lnTo>
                    <a:lnTo>
                      <a:pt x="8737" y="2019"/>
                    </a:lnTo>
                    <a:lnTo>
                      <a:pt x="8732" y="2019"/>
                    </a:lnTo>
                    <a:lnTo>
                      <a:pt x="8728" y="2009"/>
                    </a:lnTo>
                    <a:lnTo>
                      <a:pt x="8723" y="2002"/>
                    </a:lnTo>
                    <a:lnTo>
                      <a:pt x="8726" y="1992"/>
                    </a:lnTo>
                    <a:lnTo>
                      <a:pt x="8734" y="1990"/>
                    </a:lnTo>
                    <a:lnTo>
                      <a:pt x="8723" y="1983"/>
                    </a:lnTo>
                    <a:lnTo>
                      <a:pt x="8717" y="1983"/>
                    </a:lnTo>
                    <a:lnTo>
                      <a:pt x="8715" y="1977"/>
                    </a:lnTo>
                    <a:lnTo>
                      <a:pt x="8707" y="1975"/>
                    </a:lnTo>
                    <a:lnTo>
                      <a:pt x="8709" y="1982"/>
                    </a:lnTo>
                    <a:lnTo>
                      <a:pt x="8704" y="1993"/>
                    </a:lnTo>
                    <a:lnTo>
                      <a:pt x="8700" y="1991"/>
                    </a:lnTo>
                    <a:lnTo>
                      <a:pt x="8698" y="1985"/>
                    </a:lnTo>
                    <a:lnTo>
                      <a:pt x="8685" y="1981"/>
                    </a:lnTo>
                    <a:lnTo>
                      <a:pt x="8674" y="1982"/>
                    </a:lnTo>
                    <a:lnTo>
                      <a:pt x="8663" y="1987"/>
                    </a:lnTo>
                    <a:lnTo>
                      <a:pt x="8668" y="1994"/>
                    </a:lnTo>
                    <a:lnTo>
                      <a:pt x="8671" y="1987"/>
                    </a:lnTo>
                    <a:lnTo>
                      <a:pt x="8683" y="1983"/>
                    </a:lnTo>
                    <a:lnTo>
                      <a:pt x="8684" y="1988"/>
                    </a:lnTo>
                    <a:lnTo>
                      <a:pt x="8677" y="1992"/>
                    </a:lnTo>
                    <a:lnTo>
                      <a:pt x="8690" y="1997"/>
                    </a:lnTo>
                    <a:lnTo>
                      <a:pt x="8690" y="2023"/>
                    </a:lnTo>
                    <a:lnTo>
                      <a:pt x="8685" y="2046"/>
                    </a:lnTo>
                    <a:lnTo>
                      <a:pt x="8693" y="2048"/>
                    </a:lnTo>
                    <a:lnTo>
                      <a:pt x="8696" y="2044"/>
                    </a:lnTo>
                    <a:lnTo>
                      <a:pt x="8700" y="2047"/>
                    </a:lnTo>
                    <a:lnTo>
                      <a:pt x="8706" y="2060"/>
                    </a:lnTo>
                    <a:lnTo>
                      <a:pt x="8706" y="2069"/>
                    </a:lnTo>
                    <a:lnTo>
                      <a:pt x="8704" y="2079"/>
                    </a:lnTo>
                    <a:lnTo>
                      <a:pt x="8696" y="2080"/>
                    </a:lnTo>
                    <a:lnTo>
                      <a:pt x="8693" y="2088"/>
                    </a:lnTo>
                    <a:lnTo>
                      <a:pt x="8693" y="2080"/>
                    </a:lnTo>
                    <a:lnTo>
                      <a:pt x="8695" y="2076"/>
                    </a:lnTo>
                    <a:lnTo>
                      <a:pt x="8695" y="2061"/>
                    </a:lnTo>
                    <a:lnTo>
                      <a:pt x="8683" y="2056"/>
                    </a:lnTo>
                    <a:lnTo>
                      <a:pt x="8673" y="2057"/>
                    </a:lnTo>
                    <a:lnTo>
                      <a:pt x="8671" y="2047"/>
                    </a:lnTo>
                    <a:lnTo>
                      <a:pt x="8672" y="2041"/>
                    </a:lnTo>
                    <a:lnTo>
                      <a:pt x="8660" y="2034"/>
                    </a:lnTo>
                    <a:lnTo>
                      <a:pt x="8655" y="2025"/>
                    </a:lnTo>
                    <a:lnTo>
                      <a:pt x="8657" y="2013"/>
                    </a:lnTo>
                    <a:lnTo>
                      <a:pt x="8656" y="2002"/>
                    </a:lnTo>
                    <a:lnTo>
                      <a:pt x="8650" y="1987"/>
                    </a:lnTo>
                    <a:lnTo>
                      <a:pt x="8647" y="1971"/>
                    </a:lnTo>
                    <a:lnTo>
                      <a:pt x="8642" y="1949"/>
                    </a:lnTo>
                    <a:lnTo>
                      <a:pt x="8637" y="1940"/>
                    </a:lnTo>
                    <a:lnTo>
                      <a:pt x="8640" y="1932"/>
                    </a:lnTo>
                    <a:lnTo>
                      <a:pt x="8647" y="1940"/>
                    </a:lnTo>
                    <a:lnTo>
                      <a:pt x="8648" y="1951"/>
                    </a:lnTo>
                    <a:lnTo>
                      <a:pt x="8651" y="1947"/>
                    </a:lnTo>
                    <a:lnTo>
                      <a:pt x="8647" y="1938"/>
                    </a:lnTo>
                    <a:lnTo>
                      <a:pt x="8623" y="1920"/>
                    </a:lnTo>
                    <a:lnTo>
                      <a:pt x="8619" y="1906"/>
                    </a:lnTo>
                    <a:lnTo>
                      <a:pt x="8618" y="1897"/>
                    </a:lnTo>
                    <a:lnTo>
                      <a:pt x="8592" y="1884"/>
                    </a:lnTo>
                    <a:lnTo>
                      <a:pt x="8588" y="1886"/>
                    </a:lnTo>
                    <a:lnTo>
                      <a:pt x="8592" y="1897"/>
                    </a:lnTo>
                    <a:lnTo>
                      <a:pt x="8599" y="1910"/>
                    </a:lnTo>
                    <a:lnTo>
                      <a:pt x="8605" y="1916"/>
                    </a:lnTo>
                    <a:lnTo>
                      <a:pt x="8610" y="1916"/>
                    </a:lnTo>
                    <a:lnTo>
                      <a:pt x="8615" y="1923"/>
                    </a:lnTo>
                    <a:lnTo>
                      <a:pt x="8617" y="1932"/>
                    </a:lnTo>
                    <a:lnTo>
                      <a:pt x="8608" y="1928"/>
                    </a:lnTo>
                    <a:lnTo>
                      <a:pt x="8578" y="1906"/>
                    </a:lnTo>
                    <a:lnTo>
                      <a:pt x="8569" y="1904"/>
                    </a:lnTo>
                    <a:lnTo>
                      <a:pt x="8559" y="1897"/>
                    </a:lnTo>
                    <a:lnTo>
                      <a:pt x="8564" y="1891"/>
                    </a:lnTo>
                    <a:lnTo>
                      <a:pt x="8574" y="1889"/>
                    </a:lnTo>
                    <a:lnTo>
                      <a:pt x="8575" y="1879"/>
                    </a:lnTo>
                    <a:lnTo>
                      <a:pt x="8577" y="1874"/>
                    </a:lnTo>
                    <a:lnTo>
                      <a:pt x="8556" y="1869"/>
                    </a:lnTo>
                    <a:lnTo>
                      <a:pt x="8545" y="1869"/>
                    </a:lnTo>
                    <a:lnTo>
                      <a:pt x="8538" y="1863"/>
                    </a:lnTo>
                    <a:lnTo>
                      <a:pt x="8527" y="1859"/>
                    </a:lnTo>
                    <a:lnTo>
                      <a:pt x="8532" y="1852"/>
                    </a:lnTo>
                    <a:lnTo>
                      <a:pt x="8537" y="1851"/>
                    </a:lnTo>
                    <a:lnTo>
                      <a:pt x="8534" y="1845"/>
                    </a:lnTo>
                    <a:lnTo>
                      <a:pt x="8532" y="1836"/>
                    </a:lnTo>
                    <a:lnTo>
                      <a:pt x="8515" y="1836"/>
                    </a:lnTo>
                    <a:lnTo>
                      <a:pt x="8517" y="1829"/>
                    </a:lnTo>
                    <a:lnTo>
                      <a:pt x="8510" y="1818"/>
                    </a:lnTo>
                    <a:lnTo>
                      <a:pt x="8501" y="1820"/>
                    </a:lnTo>
                    <a:lnTo>
                      <a:pt x="8501" y="1816"/>
                    </a:lnTo>
                    <a:lnTo>
                      <a:pt x="8489" y="1808"/>
                    </a:lnTo>
                    <a:lnTo>
                      <a:pt x="8470" y="1816"/>
                    </a:lnTo>
                    <a:lnTo>
                      <a:pt x="8469" y="1810"/>
                    </a:lnTo>
                    <a:lnTo>
                      <a:pt x="8472" y="1802"/>
                    </a:lnTo>
                    <a:lnTo>
                      <a:pt x="8470" y="1795"/>
                    </a:lnTo>
                    <a:lnTo>
                      <a:pt x="8465" y="1787"/>
                    </a:lnTo>
                    <a:lnTo>
                      <a:pt x="8453" y="1776"/>
                    </a:lnTo>
                    <a:lnTo>
                      <a:pt x="8463" y="1789"/>
                    </a:lnTo>
                    <a:lnTo>
                      <a:pt x="8448" y="1782"/>
                    </a:lnTo>
                    <a:lnTo>
                      <a:pt x="8442" y="1782"/>
                    </a:lnTo>
                    <a:lnTo>
                      <a:pt x="8433" y="1773"/>
                    </a:lnTo>
                    <a:lnTo>
                      <a:pt x="8431" y="1752"/>
                    </a:lnTo>
                    <a:lnTo>
                      <a:pt x="8425" y="1740"/>
                    </a:lnTo>
                    <a:lnTo>
                      <a:pt x="8419" y="1740"/>
                    </a:lnTo>
                    <a:lnTo>
                      <a:pt x="8394" y="1729"/>
                    </a:lnTo>
                    <a:lnTo>
                      <a:pt x="8387" y="1721"/>
                    </a:lnTo>
                    <a:lnTo>
                      <a:pt x="8375" y="1722"/>
                    </a:lnTo>
                    <a:lnTo>
                      <a:pt x="8363" y="1716"/>
                    </a:lnTo>
                    <a:lnTo>
                      <a:pt x="8363" y="1716"/>
                    </a:lnTo>
                    <a:lnTo>
                      <a:pt x="8317" y="1666"/>
                    </a:lnTo>
                    <a:lnTo>
                      <a:pt x="8295" y="1652"/>
                    </a:lnTo>
                    <a:lnTo>
                      <a:pt x="8282" y="1648"/>
                    </a:lnTo>
                    <a:lnTo>
                      <a:pt x="8276" y="1637"/>
                    </a:lnTo>
                    <a:lnTo>
                      <a:pt x="8271" y="1641"/>
                    </a:lnTo>
                    <a:lnTo>
                      <a:pt x="8234" y="1622"/>
                    </a:lnTo>
                    <a:lnTo>
                      <a:pt x="8220" y="1606"/>
                    </a:lnTo>
                    <a:lnTo>
                      <a:pt x="8212" y="1609"/>
                    </a:lnTo>
                    <a:lnTo>
                      <a:pt x="8191" y="1599"/>
                    </a:lnTo>
                    <a:lnTo>
                      <a:pt x="8179" y="1598"/>
                    </a:lnTo>
                    <a:lnTo>
                      <a:pt x="8150" y="1569"/>
                    </a:lnTo>
                    <a:lnTo>
                      <a:pt x="8137" y="1567"/>
                    </a:lnTo>
                    <a:lnTo>
                      <a:pt x="8086" y="1566"/>
                    </a:lnTo>
                    <a:lnTo>
                      <a:pt x="8081" y="1571"/>
                    </a:lnTo>
                    <a:lnTo>
                      <a:pt x="8066" y="1574"/>
                    </a:lnTo>
                    <a:lnTo>
                      <a:pt x="8056" y="1568"/>
                    </a:lnTo>
                    <a:lnTo>
                      <a:pt x="8042" y="1563"/>
                    </a:lnTo>
                    <a:lnTo>
                      <a:pt x="8028" y="1567"/>
                    </a:lnTo>
                    <a:lnTo>
                      <a:pt x="8005" y="1565"/>
                    </a:lnTo>
                    <a:lnTo>
                      <a:pt x="7992" y="1571"/>
                    </a:lnTo>
                    <a:lnTo>
                      <a:pt x="7978" y="1568"/>
                    </a:lnTo>
                    <a:lnTo>
                      <a:pt x="7952" y="1553"/>
                    </a:lnTo>
                    <a:lnTo>
                      <a:pt x="7945" y="1556"/>
                    </a:lnTo>
                    <a:lnTo>
                      <a:pt x="7877" y="1539"/>
                    </a:lnTo>
                    <a:lnTo>
                      <a:pt x="7850" y="1539"/>
                    </a:lnTo>
                    <a:lnTo>
                      <a:pt x="7840" y="1545"/>
                    </a:lnTo>
                    <a:lnTo>
                      <a:pt x="7839" y="1557"/>
                    </a:lnTo>
                    <a:lnTo>
                      <a:pt x="7843" y="1567"/>
                    </a:lnTo>
                    <a:lnTo>
                      <a:pt x="7841" y="1589"/>
                    </a:lnTo>
                    <a:lnTo>
                      <a:pt x="7824" y="1595"/>
                    </a:lnTo>
                    <a:lnTo>
                      <a:pt x="7819" y="1608"/>
                    </a:lnTo>
                    <a:lnTo>
                      <a:pt x="7849" y="1615"/>
                    </a:lnTo>
                    <a:lnTo>
                      <a:pt x="7860" y="1651"/>
                    </a:lnTo>
                    <a:lnTo>
                      <a:pt x="7866" y="1657"/>
                    </a:lnTo>
                    <a:lnTo>
                      <a:pt x="7866" y="1666"/>
                    </a:lnTo>
                    <a:lnTo>
                      <a:pt x="7871" y="1689"/>
                    </a:lnTo>
                    <a:lnTo>
                      <a:pt x="7840" y="1725"/>
                    </a:lnTo>
                    <a:lnTo>
                      <a:pt x="7820" y="1739"/>
                    </a:lnTo>
                    <a:lnTo>
                      <a:pt x="7797" y="1738"/>
                    </a:lnTo>
                    <a:lnTo>
                      <a:pt x="7790" y="1733"/>
                    </a:lnTo>
                    <a:lnTo>
                      <a:pt x="7782" y="1711"/>
                    </a:lnTo>
                    <a:lnTo>
                      <a:pt x="7777" y="1700"/>
                    </a:lnTo>
                    <a:lnTo>
                      <a:pt x="7762" y="1690"/>
                    </a:lnTo>
                    <a:lnTo>
                      <a:pt x="7760" y="1684"/>
                    </a:lnTo>
                    <a:lnTo>
                      <a:pt x="7750" y="1678"/>
                    </a:lnTo>
                    <a:lnTo>
                      <a:pt x="7727" y="1675"/>
                    </a:lnTo>
                    <a:lnTo>
                      <a:pt x="7721" y="1670"/>
                    </a:lnTo>
                    <a:lnTo>
                      <a:pt x="7719" y="1663"/>
                    </a:lnTo>
                    <a:lnTo>
                      <a:pt x="7717" y="1655"/>
                    </a:lnTo>
                    <a:lnTo>
                      <a:pt x="7720" y="1625"/>
                    </a:lnTo>
                    <a:lnTo>
                      <a:pt x="7716" y="1614"/>
                    </a:lnTo>
                    <a:lnTo>
                      <a:pt x="7698" y="1608"/>
                    </a:lnTo>
                    <a:lnTo>
                      <a:pt x="7700" y="1598"/>
                    </a:lnTo>
                    <a:lnTo>
                      <a:pt x="7707" y="1595"/>
                    </a:lnTo>
                    <a:lnTo>
                      <a:pt x="7706" y="1590"/>
                    </a:lnTo>
                    <a:lnTo>
                      <a:pt x="7693" y="1582"/>
                    </a:lnTo>
                    <a:lnTo>
                      <a:pt x="7685" y="1584"/>
                    </a:lnTo>
                    <a:lnTo>
                      <a:pt x="7679" y="1590"/>
                    </a:lnTo>
                    <a:lnTo>
                      <a:pt x="7650" y="1627"/>
                    </a:lnTo>
                    <a:lnTo>
                      <a:pt x="7641" y="1628"/>
                    </a:lnTo>
                    <a:lnTo>
                      <a:pt x="7635" y="1626"/>
                    </a:lnTo>
                    <a:lnTo>
                      <a:pt x="7613" y="1626"/>
                    </a:lnTo>
                    <a:lnTo>
                      <a:pt x="7591" y="1614"/>
                    </a:lnTo>
                    <a:lnTo>
                      <a:pt x="7559" y="1610"/>
                    </a:lnTo>
                    <a:lnTo>
                      <a:pt x="7547" y="1614"/>
                    </a:lnTo>
                    <a:lnTo>
                      <a:pt x="7544" y="1617"/>
                    </a:lnTo>
                    <a:lnTo>
                      <a:pt x="7542" y="1614"/>
                    </a:lnTo>
                    <a:lnTo>
                      <a:pt x="7518" y="1616"/>
                    </a:lnTo>
                    <a:lnTo>
                      <a:pt x="7504" y="1606"/>
                    </a:lnTo>
                    <a:lnTo>
                      <a:pt x="7489" y="1582"/>
                    </a:lnTo>
                    <a:lnTo>
                      <a:pt x="7469" y="1594"/>
                    </a:lnTo>
                    <a:lnTo>
                      <a:pt x="7438" y="1590"/>
                    </a:lnTo>
                    <a:lnTo>
                      <a:pt x="7420" y="1600"/>
                    </a:lnTo>
                    <a:lnTo>
                      <a:pt x="7405" y="1594"/>
                    </a:lnTo>
                    <a:lnTo>
                      <a:pt x="7398" y="1594"/>
                    </a:lnTo>
                    <a:lnTo>
                      <a:pt x="7393" y="1599"/>
                    </a:lnTo>
                    <a:lnTo>
                      <a:pt x="7389" y="1606"/>
                    </a:lnTo>
                    <a:lnTo>
                      <a:pt x="7382" y="1606"/>
                    </a:lnTo>
                    <a:lnTo>
                      <a:pt x="7378" y="1623"/>
                    </a:lnTo>
                    <a:lnTo>
                      <a:pt x="7362" y="1622"/>
                    </a:lnTo>
                    <a:lnTo>
                      <a:pt x="7356" y="1635"/>
                    </a:lnTo>
                    <a:lnTo>
                      <a:pt x="7346" y="1646"/>
                    </a:lnTo>
                    <a:lnTo>
                      <a:pt x="7338" y="1643"/>
                    </a:lnTo>
                    <a:lnTo>
                      <a:pt x="7339" y="1626"/>
                    </a:lnTo>
                    <a:lnTo>
                      <a:pt x="7336" y="1616"/>
                    </a:lnTo>
                    <a:lnTo>
                      <a:pt x="7327" y="1620"/>
                    </a:lnTo>
                    <a:lnTo>
                      <a:pt x="7322" y="1617"/>
                    </a:lnTo>
                    <a:lnTo>
                      <a:pt x="7314" y="1605"/>
                    </a:lnTo>
                    <a:lnTo>
                      <a:pt x="7306" y="1596"/>
                    </a:lnTo>
                    <a:lnTo>
                      <a:pt x="7293" y="1590"/>
                    </a:lnTo>
                    <a:lnTo>
                      <a:pt x="7284" y="1590"/>
                    </a:lnTo>
                    <a:lnTo>
                      <a:pt x="7273" y="1590"/>
                    </a:lnTo>
                    <a:lnTo>
                      <a:pt x="7268" y="1582"/>
                    </a:lnTo>
                    <a:lnTo>
                      <a:pt x="7250" y="1578"/>
                    </a:lnTo>
                    <a:lnTo>
                      <a:pt x="7250" y="1569"/>
                    </a:lnTo>
                    <a:lnTo>
                      <a:pt x="7270" y="1509"/>
                    </a:lnTo>
                    <a:lnTo>
                      <a:pt x="7270" y="1497"/>
                    </a:lnTo>
                    <a:lnTo>
                      <a:pt x="7268" y="1486"/>
                    </a:lnTo>
                    <a:lnTo>
                      <a:pt x="7268" y="1480"/>
                    </a:lnTo>
                    <a:lnTo>
                      <a:pt x="7258" y="1459"/>
                    </a:lnTo>
                    <a:lnTo>
                      <a:pt x="7258" y="1455"/>
                    </a:lnTo>
                    <a:lnTo>
                      <a:pt x="7247" y="1444"/>
                    </a:lnTo>
                    <a:lnTo>
                      <a:pt x="7238" y="1431"/>
                    </a:lnTo>
                    <a:lnTo>
                      <a:pt x="7232" y="1426"/>
                    </a:lnTo>
                    <a:lnTo>
                      <a:pt x="7222" y="1409"/>
                    </a:lnTo>
                    <a:lnTo>
                      <a:pt x="7212" y="1402"/>
                    </a:lnTo>
                    <a:lnTo>
                      <a:pt x="7204" y="1393"/>
                    </a:lnTo>
                    <a:lnTo>
                      <a:pt x="7192" y="1388"/>
                    </a:lnTo>
                    <a:lnTo>
                      <a:pt x="7152" y="1384"/>
                    </a:lnTo>
                    <a:lnTo>
                      <a:pt x="7139" y="1379"/>
                    </a:lnTo>
                    <a:lnTo>
                      <a:pt x="7112" y="1378"/>
                    </a:lnTo>
                    <a:lnTo>
                      <a:pt x="7090" y="1382"/>
                    </a:lnTo>
                    <a:lnTo>
                      <a:pt x="7064" y="1380"/>
                    </a:lnTo>
                    <a:lnTo>
                      <a:pt x="7051" y="1383"/>
                    </a:lnTo>
                    <a:lnTo>
                      <a:pt x="7047" y="1388"/>
                    </a:lnTo>
                    <a:lnTo>
                      <a:pt x="7024" y="1385"/>
                    </a:lnTo>
                    <a:lnTo>
                      <a:pt x="7017" y="1393"/>
                    </a:lnTo>
                    <a:lnTo>
                      <a:pt x="7006" y="1393"/>
                    </a:lnTo>
                    <a:lnTo>
                      <a:pt x="6979" y="1386"/>
                    </a:lnTo>
                    <a:lnTo>
                      <a:pt x="6973" y="1388"/>
                    </a:lnTo>
                    <a:lnTo>
                      <a:pt x="6964" y="1396"/>
                    </a:lnTo>
                    <a:lnTo>
                      <a:pt x="6951" y="1400"/>
                    </a:lnTo>
                    <a:lnTo>
                      <a:pt x="6941" y="1395"/>
                    </a:lnTo>
                    <a:lnTo>
                      <a:pt x="6920" y="1396"/>
                    </a:lnTo>
                    <a:lnTo>
                      <a:pt x="6913" y="1400"/>
                    </a:lnTo>
                    <a:lnTo>
                      <a:pt x="6905" y="1397"/>
                    </a:lnTo>
                    <a:lnTo>
                      <a:pt x="6881" y="1410"/>
                    </a:lnTo>
                    <a:lnTo>
                      <a:pt x="6870" y="1410"/>
                    </a:lnTo>
                    <a:lnTo>
                      <a:pt x="6861" y="1417"/>
                    </a:lnTo>
                    <a:lnTo>
                      <a:pt x="6855" y="1409"/>
                    </a:lnTo>
                    <a:lnTo>
                      <a:pt x="6837" y="1393"/>
                    </a:lnTo>
                    <a:lnTo>
                      <a:pt x="6823" y="1391"/>
                    </a:lnTo>
                    <a:lnTo>
                      <a:pt x="6817" y="1386"/>
                    </a:lnTo>
                    <a:lnTo>
                      <a:pt x="6840" y="1379"/>
                    </a:lnTo>
                    <a:lnTo>
                      <a:pt x="6848" y="1368"/>
                    </a:lnTo>
                    <a:lnTo>
                      <a:pt x="6850" y="1354"/>
                    </a:lnTo>
                    <a:lnTo>
                      <a:pt x="6814" y="1323"/>
                    </a:lnTo>
                    <a:lnTo>
                      <a:pt x="6811" y="1315"/>
                    </a:lnTo>
                    <a:lnTo>
                      <a:pt x="6808" y="1307"/>
                    </a:lnTo>
                    <a:lnTo>
                      <a:pt x="6786" y="1310"/>
                    </a:lnTo>
                    <a:lnTo>
                      <a:pt x="6769" y="1316"/>
                    </a:lnTo>
                    <a:lnTo>
                      <a:pt x="6759" y="1316"/>
                    </a:lnTo>
                    <a:lnTo>
                      <a:pt x="6755" y="1307"/>
                    </a:lnTo>
                    <a:lnTo>
                      <a:pt x="6755" y="1299"/>
                    </a:lnTo>
                    <a:lnTo>
                      <a:pt x="6737" y="1288"/>
                    </a:lnTo>
                    <a:lnTo>
                      <a:pt x="6732" y="1276"/>
                    </a:lnTo>
                    <a:lnTo>
                      <a:pt x="6725" y="1275"/>
                    </a:lnTo>
                    <a:lnTo>
                      <a:pt x="6706" y="1264"/>
                    </a:lnTo>
                    <a:lnTo>
                      <a:pt x="6701" y="1271"/>
                    </a:lnTo>
                    <a:lnTo>
                      <a:pt x="6692" y="1272"/>
                    </a:lnTo>
                    <a:lnTo>
                      <a:pt x="6685" y="1267"/>
                    </a:lnTo>
                    <a:lnTo>
                      <a:pt x="6671" y="1264"/>
                    </a:lnTo>
                    <a:lnTo>
                      <a:pt x="6665" y="1266"/>
                    </a:lnTo>
                    <a:lnTo>
                      <a:pt x="6665" y="1260"/>
                    </a:lnTo>
                    <a:lnTo>
                      <a:pt x="6684" y="1232"/>
                    </a:lnTo>
                    <a:lnTo>
                      <a:pt x="6690" y="1227"/>
                    </a:lnTo>
                    <a:lnTo>
                      <a:pt x="6703" y="1237"/>
                    </a:lnTo>
                    <a:lnTo>
                      <a:pt x="6709" y="1245"/>
                    </a:lnTo>
                    <a:lnTo>
                      <a:pt x="6722" y="1237"/>
                    </a:lnTo>
                    <a:lnTo>
                      <a:pt x="6722" y="1226"/>
                    </a:lnTo>
                    <a:lnTo>
                      <a:pt x="6721" y="1217"/>
                    </a:lnTo>
                    <a:lnTo>
                      <a:pt x="6708" y="1181"/>
                    </a:lnTo>
                    <a:lnTo>
                      <a:pt x="6689" y="1169"/>
                    </a:lnTo>
                    <a:lnTo>
                      <a:pt x="6678" y="1162"/>
                    </a:lnTo>
                    <a:lnTo>
                      <a:pt x="6662" y="1159"/>
                    </a:lnTo>
                    <a:lnTo>
                      <a:pt x="6656" y="1153"/>
                    </a:lnTo>
                    <a:lnTo>
                      <a:pt x="6636" y="1143"/>
                    </a:lnTo>
                    <a:lnTo>
                      <a:pt x="6617" y="1147"/>
                    </a:lnTo>
                    <a:lnTo>
                      <a:pt x="6615" y="1151"/>
                    </a:lnTo>
                    <a:lnTo>
                      <a:pt x="6612" y="1144"/>
                    </a:lnTo>
                    <a:lnTo>
                      <a:pt x="6603" y="1143"/>
                    </a:lnTo>
                    <a:lnTo>
                      <a:pt x="6575" y="1143"/>
                    </a:lnTo>
                    <a:lnTo>
                      <a:pt x="6565" y="1148"/>
                    </a:lnTo>
                    <a:lnTo>
                      <a:pt x="6540" y="1142"/>
                    </a:lnTo>
                    <a:lnTo>
                      <a:pt x="6528" y="1131"/>
                    </a:lnTo>
                    <a:lnTo>
                      <a:pt x="6512" y="1131"/>
                    </a:lnTo>
                    <a:lnTo>
                      <a:pt x="6490" y="1109"/>
                    </a:lnTo>
                    <a:lnTo>
                      <a:pt x="6484" y="1111"/>
                    </a:lnTo>
                    <a:lnTo>
                      <a:pt x="6443" y="1106"/>
                    </a:lnTo>
                    <a:lnTo>
                      <a:pt x="6419" y="1092"/>
                    </a:lnTo>
                    <a:lnTo>
                      <a:pt x="6378" y="1089"/>
                    </a:lnTo>
                    <a:lnTo>
                      <a:pt x="6365" y="1084"/>
                    </a:lnTo>
                    <a:lnTo>
                      <a:pt x="6319" y="1086"/>
                    </a:lnTo>
                    <a:lnTo>
                      <a:pt x="6264" y="1079"/>
                    </a:lnTo>
                    <a:lnTo>
                      <a:pt x="6257" y="1073"/>
                    </a:lnTo>
                    <a:lnTo>
                      <a:pt x="6252" y="1066"/>
                    </a:lnTo>
                    <a:lnTo>
                      <a:pt x="6242" y="1060"/>
                    </a:lnTo>
                    <a:lnTo>
                      <a:pt x="6232" y="1058"/>
                    </a:lnTo>
                    <a:lnTo>
                      <a:pt x="6225" y="1057"/>
                    </a:lnTo>
                    <a:lnTo>
                      <a:pt x="6217" y="1068"/>
                    </a:lnTo>
                    <a:lnTo>
                      <a:pt x="6216" y="1074"/>
                    </a:lnTo>
                    <a:lnTo>
                      <a:pt x="6226" y="1084"/>
                    </a:lnTo>
                    <a:lnTo>
                      <a:pt x="6227" y="1093"/>
                    </a:lnTo>
                    <a:lnTo>
                      <a:pt x="6235" y="1105"/>
                    </a:lnTo>
                    <a:lnTo>
                      <a:pt x="6227" y="1109"/>
                    </a:lnTo>
                    <a:lnTo>
                      <a:pt x="6216" y="1119"/>
                    </a:lnTo>
                    <a:lnTo>
                      <a:pt x="6211" y="1127"/>
                    </a:lnTo>
                    <a:lnTo>
                      <a:pt x="6206" y="1152"/>
                    </a:lnTo>
                    <a:lnTo>
                      <a:pt x="6199" y="1167"/>
                    </a:lnTo>
                    <a:lnTo>
                      <a:pt x="6192" y="1176"/>
                    </a:lnTo>
                    <a:lnTo>
                      <a:pt x="6179" y="1179"/>
                    </a:lnTo>
                    <a:lnTo>
                      <a:pt x="6166" y="1191"/>
                    </a:lnTo>
                    <a:lnTo>
                      <a:pt x="6158" y="1205"/>
                    </a:lnTo>
                    <a:lnTo>
                      <a:pt x="6157" y="1212"/>
                    </a:lnTo>
                    <a:lnTo>
                      <a:pt x="6163" y="1226"/>
                    </a:lnTo>
                    <a:lnTo>
                      <a:pt x="6165" y="1234"/>
                    </a:lnTo>
                    <a:lnTo>
                      <a:pt x="6155" y="1235"/>
                    </a:lnTo>
                    <a:lnTo>
                      <a:pt x="6156" y="1255"/>
                    </a:lnTo>
                    <a:lnTo>
                      <a:pt x="6161" y="1269"/>
                    </a:lnTo>
                    <a:lnTo>
                      <a:pt x="6171" y="1280"/>
                    </a:lnTo>
                    <a:lnTo>
                      <a:pt x="6173" y="1286"/>
                    </a:lnTo>
                    <a:lnTo>
                      <a:pt x="6173" y="1298"/>
                    </a:lnTo>
                    <a:lnTo>
                      <a:pt x="6171" y="1307"/>
                    </a:lnTo>
                    <a:lnTo>
                      <a:pt x="6161" y="1307"/>
                    </a:lnTo>
                    <a:lnTo>
                      <a:pt x="6141" y="1294"/>
                    </a:lnTo>
                    <a:lnTo>
                      <a:pt x="6135" y="1313"/>
                    </a:lnTo>
                    <a:lnTo>
                      <a:pt x="6120" y="1307"/>
                    </a:lnTo>
                    <a:lnTo>
                      <a:pt x="6115" y="1314"/>
                    </a:lnTo>
                    <a:lnTo>
                      <a:pt x="6113" y="1309"/>
                    </a:lnTo>
                    <a:lnTo>
                      <a:pt x="6093" y="1325"/>
                    </a:lnTo>
                    <a:lnTo>
                      <a:pt x="6088" y="1334"/>
                    </a:lnTo>
                    <a:lnTo>
                      <a:pt x="6080" y="1340"/>
                    </a:lnTo>
                    <a:lnTo>
                      <a:pt x="6076" y="1352"/>
                    </a:lnTo>
                    <a:lnTo>
                      <a:pt x="6065" y="1351"/>
                    </a:lnTo>
                    <a:lnTo>
                      <a:pt x="6060" y="1357"/>
                    </a:lnTo>
                    <a:lnTo>
                      <a:pt x="6054" y="1350"/>
                    </a:lnTo>
                    <a:lnTo>
                      <a:pt x="6047" y="1348"/>
                    </a:lnTo>
                    <a:lnTo>
                      <a:pt x="6042" y="1343"/>
                    </a:lnTo>
                    <a:lnTo>
                      <a:pt x="6042" y="1334"/>
                    </a:lnTo>
                    <a:lnTo>
                      <a:pt x="6033" y="1331"/>
                    </a:lnTo>
                    <a:lnTo>
                      <a:pt x="6029" y="1320"/>
                    </a:lnTo>
                    <a:lnTo>
                      <a:pt x="6021" y="1314"/>
                    </a:lnTo>
                    <a:lnTo>
                      <a:pt x="6013" y="1314"/>
                    </a:lnTo>
                    <a:lnTo>
                      <a:pt x="5985" y="1293"/>
                    </a:lnTo>
                    <a:lnTo>
                      <a:pt x="5972" y="1294"/>
                    </a:lnTo>
                    <a:lnTo>
                      <a:pt x="5956" y="1288"/>
                    </a:lnTo>
                    <a:lnTo>
                      <a:pt x="5950" y="1281"/>
                    </a:lnTo>
                    <a:lnTo>
                      <a:pt x="5941" y="1280"/>
                    </a:lnTo>
                    <a:lnTo>
                      <a:pt x="5929" y="1272"/>
                    </a:lnTo>
                    <a:lnTo>
                      <a:pt x="5898" y="1276"/>
                    </a:lnTo>
                    <a:lnTo>
                      <a:pt x="5887" y="1294"/>
                    </a:lnTo>
                    <a:lnTo>
                      <a:pt x="5886" y="1304"/>
                    </a:lnTo>
                    <a:lnTo>
                      <a:pt x="5888" y="1318"/>
                    </a:lnTo>
                    <a:lnTo>
                      <a:pt x="5887" y="1324"/>
                    </a:lnTo>
                    <a:lnTo>
                      <a:pt x="5877" y="1309"/>
                    </a:lnTo>
                    <a:lnTo>
                      <a:pt x="5872" y="1314"/>
                    </a:lnTo>
                    <a:lnTo>
                      <a:pt x="5845" y="1309"/>
                    </a:lnTo>
                    <a:lnTo>
                      <a:pt x="5834" y="1314"/>
                    </a:lnTo>
                    <a:lnTo>
                      <a:pt x="5824" y="1312"/>
                    </a:lnTo>
                    <a:lnTo>
                      <a:pt x="5811" y="1292"/>
                    </a:lnTo>
                    <a:lnTo>
                      <a:pt x="5802" y="1287"/>
                    </a:lnTo>
                    <a:lnTo>
                      <a:pt x="5792" y="1264"/>
                    </a:lnTo>
                    <a:lnTo>
                      <a:pt x="5783" y="1254"/>
                    </a:lnTo>
                    <a:lnTo>
                      <a:pt x="5775" y="1232"/>
                    </a:lnTo>
                    <a:lnTo>
                      <a:pt x="5774" y="1217"/>
                    </a:lnTo>
                    <a:lnTo>
                      <a:pt x="5773" y="1214"/>
                    </a:lnTo>
                    <a:lnTo>
                      <a:pt x="5767" y="1218"/>
                    </a:lnTo>
                    <a:lnTo>
                      <a:pt x="5762" y="1232"/>
                    </a:lnTo>
                    <a:lnTo>
                      <a:pt x="5744" y="1275"/>
                    </a:lnTo>
                    <a:lnTo>
                      <a:pt x="5737" y="1289"/>
                    </a:lnTo>
                    <a:lnTo>
                      <a:pt x="5736" y="1307"/>
                    </a:lnTo>
                    <a:lnTo>
                      <a:pt x="5733" y="1319"/>
                    </a:lnTo>
                    <a:lnTo>
                      <a:pt x="5735" y="1353"/>
                    </a:lnTo>
                    <a:lnTo>
                      <a:pt x="5727" y="1358"/>
                    </a:lnTo>
                    <a:lnTo>
                      <a:pt x="5719" y="1380"/>
                    </a:lnTo>
                    <a:lnTo>
                      <a:pt x="5712" y="1388"/>
                    </a:lnTo>
                    <a:lnTo>
                      <a:pt x="5710" y="1406"/>
                    </a:lnTo>
                    <a:lnTo>
                      <a:pt x="5700" y="1418"/>
                    </a:lnTo>
                    <a:lnTo>
                      <a:pt x="5697" y="1433"/>
                    </a:lnTo>
                    <a:lnTo>
                      <a:pt x="5684" y="1427"/>
                    </a:lnTo>
                    <a:lnTo>
                      <a:pt x="5674" y="1395"/>
                    </a:lnTo>
                    <a:lnTo>
                      <a:pt x="5671" y="1393"/>
                    </a:lnTo>
                    <a:lnTo>
                      <a:pt x="5669" y="1405"/>
                    </a:lnTo>
                    <a:lnTo>
                      <a:pt x="5662" y="1406"/>
                    </a:lnTo>
                    <a:lnTo>
                      <a:pt x="5656" y="1397"/>
                    </a:lnTo>
                    <a:lnTo>
                      <a:pt x="5649" y="1399"/>
                    </a:lnTo>
                    <a:lnTo>
                      <a:pt x="5641" y="1394"/>
                    </a:lnTo>
                    <a:lnTo>
                      <a:pt x="5636" y="1386"/>
                    </a:lnTo>
                    <a:lnTo>
                      <a:pt x="5636" y="1379"/>
                    </a:lnTo>
                    <a:lnTo>
                      <a:pt x="5627" y="1368"/>
                    </a:lnTo>
                    <a:lnTo>
                      <a:pt x="5620" y="1375"/>
                    </a:lnTo>
                    <a:lnTo>
                      <a:pt x="5618" y="1369"/>
                    </a:lnTo>
                    <a:lnTo>
                      <a:pt x="5613" y="1364"/>
                    </a:lnTo>
                    <a:lnTo>
                      <a:pt x="5609" y="1354"/>
                    </a:lnTo>
                    <a:lnTo>
                      <a:pt x="5607" y="1340"/>
                    </a:lnTo>
                    <a:lnTo>
                      <a:pt x="5599" y="1336"/>
                    </a:lnTo>
                    <a:lnTo>
                      <a:pt x="5596" y="1340"/>
                    </a:lnTo>
                    <a:lnTo>
                      <a:pt x="5596" y="1332"/>
                    </a:lnTo>
                    <a:lnTo>
                      <a:pt x="5588" y="1318"/>
                    </a:lnTo>
                    <a:lnTo>
                      <a:pt x="5586" y="1303"/>
                    </a:lnTo>
                    <a:lnTo>
                      <a:pt x="5582" y="1299"/>
                    </a:lnTo>
                    <a:lnTo>
                      <a:pt x="5582" y="1288"/>
                    </a:lnTo>
                    <a:lnTo>
                      <a:pt x="5579" y="1282"/>
                    </a:lnTo>
                    <a:lnTo>
                      <a:pt x="5576" y="1270"/>
                    </a:lnTo>
                    <a:lnTo>
                      <a:pt x="5575" y="1273"/>
                    </a:lnTo>
                    <a:lnTo>
                      <a:pt x="5565" y="1280"/>
                    </a:lnTo>
                    <a:lnTo>
                      <a:pt x="5559" y="1272"/>
                    </a:lnTo>
                    <a:lnTo>
                      <a:pt x="5561" y="1264"/>
                    </a:lnTo>
                    <a:lnTo>
                      <a:pt x="5559" y="1255"/>
                    </a:lnTo>
                    <a:lnTo>
                      <a:pt x="5555" y="1251"/>
                    </a:lnTo>
                    <a:lnTo>
                      <a:pt x="5554" y="1245"/>
                    </a:lnTo>
                    <a:lnTo>
                      <a:pt x="5553" y="1229"/>
                    </a:lnTo>
                    <a:lnTo>
                      <a:pt x="5572" y="1200"/>
                    </a:lnTo>
                    <a:lnTo>
                      <a:pt x="5577" y="1205"/>
                    </a:lnTo>
                    <a:lnTo>
                      <a:pt x="5582" y="1203"/>
                    </a:lnTo>
                    <a:lnTo>
                      <a:pt x="5579" y="1199"/>
                    </a:lnTo>
                    <a:lnTo>
                      <a:pt x="5580" y="1192"/>
                    </a:lnTo>
                    <a:lnTo>
                      <a:pt x="5591" y="1187"/>
                    </a:lnTo>
                    <a:lnTo>
                      <a:pt x="5597" y="1180"/>
                    </a:lnTo>
                    <a:lnTo>
                      <a:pt x="5591" y="1181"/>
                    </a:lnTo>
                    <a:lnTo>
                      <a:pt x="5591" y="1178"/>
                    </a:lnTo>
                    <a:lnTo>
                      <a:pt x="5596" y="1173"/>
                    </a:lnTo>
                    <a:lnTo>
                      <a:pt x="5593" y="1169"/>
                    </a:lnTo>
                    <a:lnTo>
                      <a:pt x="5593" y="1159"/>
                    </a:lnTo>
                    <a:lnTo>
                      <a:pt x="5603" y="1141"/>
                    </a:lnTo>
                    <a:lnTo>
                      <a:pt x="5581" y="1125"/>
                    </a:lnTo>
                    <a:lnTo>
                      <a:pt x="5582" y="1120"/>
                    </a:lnTo>
                    <a:lnTo>
                      <a:pt x="5590" y="1111"/>
                    </a:lnTo>
                    <a:lnTo>
                      <a:pt x="5580" y="1104"/>
                    </a:lnTo>
                    <a:lnTo>
                      <a:pt x="5582" y="1094"/>
                    </a:lnTo>
                    <a:lnTo>
                      <a:pt x="5588" y="1090"/>
                    </a:lnTo>
                    <a:lnTo>
                      <a:pt x="5588" y="1077"/>
                    </a:lnTo>
                    <a:lnTo>
                      <a:pt x="5591" y="1074"/>
                    </a:lnTo>
                    <a:lnTo>
                      <a:pt x="5587" y="1072"/>
                    </a:lnTo>
                    <a:lnTo>
                      <a:pt x="5586" y="1066"/>
                    </a:lnTo>
                    <a:lnTo>
                      <a:pt x="5587" y="1058"/>
                    </a:lnTo>
                    <a:lnTo>
                      <a:pt x="5585" y="1050"/>
                    </a:lnTo>
                    <a:lnTo>
                      <a:pt x="5592" y="1049"/>
                    </a:lnTo>
                    <a:lnTo>
                      <a:pt x="5593" y="1045"/>
                    </a:lnTo>
                    <a:lnTo>
                      <a:pt x="5595" y="1038"/>
                    </a:lnTo>
                    <a:lnTo>
                      <a:pt x="5597" y="1031"/>
                    </a:lnTo>
                    <a:lnTo>
                      <a:pt x="5593" y="1028"/>
                    </a:lnTo>
                    <a:lnTo>
                      <a:pt x="5593" y="1022"/>
                    </a:lnTo>
                    <a:lnTo>
                      <a:pt x="5577" y="1012"/>
                    </a:lnTo>
                    <a:lnTo>
                      <a:pt x="5572" y="1001"/>
                    </a:lnTo>
                    <a:lnTo>
                      <a:pt x="5565" y="992"/>
                    </a:lnTo>
                    <a:lnTo>
                      <a:pt x="5565" y="985"/>
                    </a:lnTo>
                    <a:lnTo>
                      <a:pt x="5541" y="971"/>
                    </a:lnTo>
                    <a:lnTo>
                      <a:pt x="5542" y="964"/>
                    </a:lnTo>
                    <a:lnTo>
                      <a:pt x="5541" y="957"/>
                    </a:lnTo>
                    <a:lnTo>
                      <a:pt x="5528" y="955"/>
                    </a:lnTo>
                    <a:lnTo>
                      <a:pt x="5523" y="952"/>
                    </a:lnTo>
                    <a:lnTo>
                      <a:pt x="5527" y="948"/>
                    </a:lnTo>
                    <a:lnTo>
                      <a:pt x="5521" y="939"/>
                    </a:lnTo>
                    <a:lnTo>
                      <a:pt x="5504" y="932"/>
                    </a:lnTo>
                    <a:lnTo>
                      <a:pt x="5494" y="936"/>
                    </a:lnTo>
                    <a:lnTo>
                      <a:pt x="5478" y="933"/>
                    </a:lnTo>
                    <a:lnTo>
                      <a:pt x="5461" y="925"/>
                    </a:lnTo>
                    <a:lnTo>
                      <a:pt x="5457" y="930"/>
                    </a:lnTo>
                    <a:lnTo>
                      <a:pt x="5455" y="938"/>
                    </a:lnTo>
                    <a:lnTo>
                      <a:pt x="5447" y="938"/>
                    </a:lnTo>
                    <a:lnTo>
                      <a:pt x="5437" y="950"/>
                    </a:lnTo>
                    <a:lnTo>
                      <a:pt x="5435" y="947"/>
                    </a:lnTo>
                    <a:lnTo>
                      <a:pt x="5434" y="941"/>
                    </a:lnTo>
                    <a:lnTo>
                      <a:pt x="5415" y="918"/>
                    </a:lnTo>
                    <a:lnTo>
                      <a:pt x="5408" y="925"/>
                    </a:lnTo>
                    <a:lnTo>
                      <a:pt x="5399" y="920"/>
                    </a:lnTo>
                    <a:lnTo>
                      <a:pt x="5392" y="922"/>
                    </a:lnTo>
                    <a:lnTo>
                      <a:pt x="5385" y="912"/>
                    </a:lnTo>
                    <a:lnTo>
                      <a:pt x="5380" y="916"/>
                    </a:lnTo>
                    <a:lnTo>
                      <a:pt x="5373" y="910"/>
                    </a:lnTo>
                    <a:lnTo>
                      <a:pt x="5370" y="918"/>
                    </a:lnTo>
                    <a:lnTo>
                      <a:pt x="5361" y="910"/>
                    </a:lnTo>
                    <a:lnTo>
                      <a:pt x="5361" y="904"/>
                    </a:lnTo>
                    <a:lnTo>
                      <a:pt x="5359" y="895"/>
                    </a:lnTo>
                    <a:lnTo>
                      <a:pt x="5354" y="891"/>
                    </a:lnTo>
                    <a:lnTo>
                      <a:pt x="5350" y="896"/>
                    </a:lnTo>
                    <a:lnTo>
                      <a:pt x="5339" y="883"/>
                    </a:lnTo>
                    <a:lnTo>
                      <a:pt x="5333" y="885"/>
                    </a:lnTo>
                    <a:lnTo>
                      <a:pt x="5323" y="879"/>
                    </a:lnTo>
                    <a:lnTo>
                      <a:pt x="5305" y="875"/>
                    </a:lnTo>
                    <a:lnTo>
                      <a:pt x="5292" y="866"/>
                    </a:lnTo>
                    <a:lnTo>
                      <a:pt x="5286" y="866"/>
                    </a:lnTo>
                    <a:lnTo>
                      <a:pt x="5285" y="873"/>
                    </a:lnTo>
                    <a:lnTo>
                      <a:pt x="5285" y="880"/>
                    </a:lnTo>
                    <a:lnTo>
                      <a:pt x="5286" y="890"/>
                    </a:lnTo>
                    <a:lnTo>
                      <a:pt x="5284" y="895"/>
                    </a:lnTo>
                    <a:lnTo>
                      <a:pt x="5268" y="893"/>
                    </a:lnTo>
                    <a:lnTo>
                      <a:pt x="5258" y="877"/>
                    </a:lnTo>
                    <a:lnTo>
                      <a:pt x="5257" y="883"/>
                    </a:lnTo>
                    <a:lnTo>
                      <a:pt x="5256" y="900"/>
                    </a:lnTo>
                    <a:lnTo>
                      <a:pt x="5247" y="942"/>
                    </a:lnTo>
                    <a:lnTo>
                      <a:pt x="5252" y="944"/>
                    </a:lnTo>
                    <a:lnTo>
                      <a:pt x="5249" y="950"/>
                    </a:lnTo>
                    <a:lnTo>
                      <a:pt x="5248" y="955"/>
                    </a:lnTo>
                    <a:lnTo>
                      <a:pt x="5251" y="970"/>
                    </a:lnTo>
                    <a:lnTo>
                      <a:pt x="5264" y="1003"/>
                    </a:lnTo>
                    <a:lnTo>
                      <a:pt x="5260" y="1011"/>
                    </a:lnTo>
                    <a:lnTo>
                      <a:pt x="5252" y="1019"/>
                    </a:lnTo>
                    <a:lnTo>
                      <a:pt x="5225" y="1024"/>
                    </a:lnTo>
                    <a:lnTo>
                      <a:pt x="5210" y="1036"/>
                    </a:lnTo>
                    <a:lnTo>
                      <a:pt x="5204" y="1031"/>
                    </a:lnTo>
                    <a:lnTo>
                      <a:pt x="5200" y="1038"/>
                    </a:lnTo>
                    <a:lnTo>
                      <a:pt x="5195" y="1034"/>
                    </a:lnTo>
                    <a:lnTo>
                      <a:pt x="5179" y="1038"/>
                    </a:lnTo>
                    <a:lnTo>
                      <a:pt x="5168" y="1033"/>
                    </a:lnTo>
                    <a:lnTo>
                      <a:pt x="5161" y="1033"/>
                    </a:lnTo>
                    <a:lnTo>
                      <a:pt x="5136" y="1038"/>
                    </a:lnTo>
                    <a:lnTo>
                      <a:pt x="5131" y="1041"/>
                    </a:lnTo>
                    <a:lnTo>
                      <a:pt x="5112" y="1030"/>
                    </a:lnTo>
                    <a:lnTo>
                      <a:pt x="5082" y="1023"/>
                    </a:lnTo>
                    <a:lnTo>
                      <a:pt x="5074" y="1022"/>
                    </a:lnTo>
                    <a:lnTo>
                      <a:pt x="5074" y="1030"/>
                    </a:lnTo>
                    <a:lnTo>
                      <a:pt x="5071" y="1035"/>
                    </a:lnTo>
                    <a:lnTo>
                      <a:pt x="5042" y="1015"/>
                    </a:lnTo>
                    <a:lnTo>
                      <a:pt x="5023" y="1011"/>
                    </a:lnTo>
                    <a:lnTo>
                      <a:pt x="4994" y="995"/>
                    </a:lnTo>
                    <a:lnTo>
                      <a:pt x="4989" y="987"/>
                    </a:lnTo>
                    <a:lnTo>
                      <a:pt x="4989" y="980"/>
                    </a:lnTo>
                    <a:lnTo>
                      <a:pt x="4989" y="974"/>
                    </a:lnTo>
                    <a:lnTo>
                      <a:pt x="4990" y="969"/>
                    </a:lnTo>
                    <a:lnTo>
                      <a:pt x="4988" y="955"/>
                    </a:lnTo>
                    <a:lnTo>
                      <a:pt x="4990" y="948"/>
                    </a:lnTo>
                    <a:lnTo>
                      <a:pt x="4996" y="944"/>
                    </a:lnTo>
                    <a:lnTo>
                      <a:pt x="5007" y="944"/>
                    </a:lnTo>
                    <a:lnTo>
                      <a:pt x="5009" y="938"/>
                    </a:lnTo>
                    <a:lnTo>
                      <a:pt x="5015" y="938"/>
                    </a:lnTo>
                    <a:lnTo>
                      <a:pt x="5012" y="931"/>
                    </a:lnTo>
                    <a:lnTo>
                      <a:pt x="5005" y="925"/>
                    </a:lnTo>
                    <a:lnTo>
                      <a:pt x="4978" y="926"/>
                    </a:lnTo>
                    <a:lnTo>
                      <a:pt x="4967" y="920"/>
                    </a:lnTo>
                    <a:lnTo>
                      <a:pt x="4948" y="925"/>
                    </a:lnTo>
                    <a:lnTo>
                      <a:pt x="4924" y="920"/>
                    </a:lnTo>
                    <a:lnTo>
                      <a:pt x="4912" y="912"/>
                    </a:lnTo>
                    <a:lnTo>
                      <a:pt x="4900" y="912"/>
                    </a:lnTo>
                    <a:lnTo>
                      <a:pt x="4888" y="907"/>
                    </a:lnTo>
                    <a:lnTo>
                      <a:pt x="4875" y="907"/>
                    </a:lnTo>
                    <a:lnTo>
                      <a:pt x="4858" y="899"/>
                    </a:lnTo>
                    <a:lnTo>
                      <a:pt x="4837" y="895"/>
                    </a:lnTo>
                    <a:lnTo>
                      <a:pt x="4818" y="900"/>
                    </a:lnTo>
                    <a:lnTo>
                      <a:pt x="4818" y="909"/>
                    </a:lnTo>
                    <a:lnTo>
                      <a:pt x="4792" y="918"/>
                    </a:lnTo>
                    <a:lnTo>
                      <a:pt x="4779" y="921"/>
                    </a:lnTo>
                    <a:lnTo>
                      <a:pt x="4756" y="918"/>
                    </a:lnTo>
                    <a:lnTo>
                      <a:pt x="4721" y="932"/>
                    </a:lnTo>
                    <a:lnTo>
                      <a:pt x="4736" y="957"/>
                    </a:lnTo>
                    <a:lnTo>
                      <a:pt x="4738" y="969"/>
                    </a:lnTo>
                    <a:lnTo>
                      <a:pt x="4735" y="974"/>
                    </a:lnTo>
                    <a:lnTo>
                      <a:pt x="4713" y="990"/>
                    </a:lnTo>
                    <a:lnTo>
                      <a:pt x="4698" y="984"/>
                    </a:lnTo>
                    <a:lnTo>
                      <a:pt x="4700" y="976"/>
                    </a:lnTo>
                    <a:lnTo>
                      <a:pt x="4715" y="979"/>
                    </a:lnTo>
                    <a:lnTo>
                      <a:pt x="4719" y="969"/>
                    </a:lnTo>
                    <a:lnTo>
                      <a:pt x="4703" y="964"/>
                    </a:lnTo>
                    <a:lnTo>
                      <a:pt x="4705" y="955"/>
                    </a:lnTo>
                    <a:lnTo>
                      <a:pt x="4700" y="947"/>
                    </a:lnTo>
                    <a:lnTo>
                      <a:pt x="4711" y="922"/>
                    </a:lnTo>
                    <a:lnTo>
                      <a:pt x="4710" y="907"/>
                    </a:lnTo>
                    <a:lnTo>
                      <a:pt x="4705" y="894"/>
                    </a:lnTo>
                    <a:lnTo>
                      <a:pt x="4700" y="889"/>
                    </a:lnTo>
                    <a:lnTo>
                      <a:pt x="4698" y="872"/>
                    </a:lnTo>
                    <a:lnTo>
                      <a:pt x="4690" y="858"/>
                    </a:lnTo>
                    <a:lnTo>
                      <a:pt x="4678" y="832"/>
                    </a:lnTo>
                    <a:lnTo>
                      <a:pt x="4684" y="861"/>
                    </a:lnTo>
                    <a:lnTo>
                      <a:pt x="4682" y="878"/>
                    </a:lnTo>
                    <a:lnTo>
                      <a:pt x="4674" y="891"/>
                    </a:lnTo>
                    <a:lnTo>
                      <a:pt x="4658" y="896"/>
                    </a:lnTo>
                    <a:lnTo>
                      <a:pt x="4628" y="894"/>
                    </a:lnTo>
                    <a:lnTo>
                      <a:pt x="4619" y="896"/>
                    </a:lnTo>
                    <a:lnTo>
                      <a:pt x="4617" y="891"/>
                    </a:lnTo>
                    <a:lnTo>
                      <a:pt x="4596" y="874"/>
                    </a:lnTo>
                    <a:lnTo>
                      <a:pt x="4592" y="862"/>
                    </a:lnTo>
                    <a:lnTo>
                      <a:pt x="4591" y="848"/>
                    </a:lnTo>
                    <a:lnTo>
                      <a:pt x="4596" y="837"/>
                    </a:lnTo>
                    <a:lnTo>
                      <a:pt x="4598" y="847"/>
                    </a:lnTo>
                    <a:lnTo>
                      <a:pt x="4607" y="832"/>
                    </a:lnTo>
                    <a:lnTo>
                      <a:pt x="4608" y="826"/>
                    </a:lnTo>
                    <a:lnTo>
                      <a:pt x="4584" y="834"/>
                    </a:lnTo>
                    <a:lnTo>
                      <a:pt x="4576" y="842"/>
                    </a:lnTo>
                    <a:lnTo>
                      <a:pt x="4574" y="851"/>
                    </a:lnTo>
                    <a:lnTo>
                      <a:pt x="4570" y="855"/>
                    </a:lnTo>
                    <a:lnTo>
                      <a:pt x="4565" y="845"/>
                    </a:lnTo>
                    <a:lnTo>
                      <a:pt x="4553" y="840"/>
                    </a:lnTo>
                    <a:lnTo>
                      <a:pt x="4542" y="831"/>
                    </a:lnTo>
                    <a:lnTo>
                      <a:pt x="4527" y="834"/>
                    </a:lnTo>
                    <a:lnTo>
                      <a:pt x="4515" y="839"/>
                    </a:lnTo>
                    <a:lnTo>
                      <a:pt x="4512" y="852"/>
                    </a:lnTo>
                    <a:lnTo>
                      <a:pt x="4496" y="875"/>
                    </a:lnTo>
                    <a:lnTo>
                      <a:pt x="4495" y="884"/>
                    </a:lnTo>
                    <a:lnTo>
                      <a:pt x="4500" y="899"/>
                    </a:lnTo>
                    <a:lnTo>
                      <a:pt x="4507" y="911"/>
                    </a:lnTo>
                    <a:lnTo>
                      <a:pt x="4514" y="907"/>
                    </a:lnTo>
                    <a:lnTo>
                      <a:pt x="4509" y="905"/>
                    </a:lnTo>
                    <a:lnTo>
                      <a:pt x="4509" y="896"/>
                    </a:lnTo>
                    <a:lnTo>
                      <a:pt x="4515" y="902"/>
                    </a:lnTo>
                    <a:lnTo>
                      <a:pt x="4534" y="902"/>
                    </a:lnTo>
                    <a:lnTo>
                      <a:pt x="4542" y="893"/>
                    </a:lnTo>
                    <a:lnTo>
                      <a:pt x="4552" y="888"/>
                    </a:lnTo>
                    <a:lnTo>
                      <a:pt x="4557" y="879"/>
                    </a:lnTo>
                    <a:lnTo>
                      <a:pt x="4565" y="884"/>
                    </a:lnTo>
                    <a:lnTo>
                      <a:pt x="4573" y="901"/>
                    </a:lnTo>
                    <a:lnTo>
                      <a:pt x="4542" y="916"/>
                    </a:lnTo>
                    <a:lnTo>
                      <a:pt x="4536" y="930"/>
                    </a:lnTo>
                    <a:lnTo>
                      <a:pt x="4531" y="927"/>
                    </a:lnTo>
                    <a:lnTo>
                      <a:pt x="4506" y="948"/>
                    </a:lnTo>
                    <a:lnTo>
                      <a:pt x="4495" y="948"/>
                    </a:lnTo>
                    <a:lnTo>
                      <a:pt x="4478" y="926"/>
                    </a:lnTo>
                    <a:lnTo>
                      <a:pt x="4490" y="949"/>
                    </a:lnTo>
                    <a:lnTo>
                      <a:pt x="4487" y="952"/>
                    </a:lnTo>
                    <a:lnTo>
                      <a:pt x="4480" y="945"/>
                    </a:lnTo>
                    <a:lnTo>
                      <a:pt x="4482" y="953"/>
                    </a:lnTo>
                    <a:lnTo>
                      <a:pt x="4479" y="960"/>
                    </a:lnTo>
                    <a:lnTo>
                      <a:pt x="4444" y="971"/>
                    </a:lnTo>
                    <a:lnTo>
                      <a:pt x="4432" y="970"/>
                    </a:lnTo>
                    <a:lnTo>
                      <a:pt x="4430" y="979"/>
                    </a:lnTo>
                    <a:lnTo>
                      <a:pt x="4432" y="986"/>
                    </a:lnTo>
                    <a:lnTo>
                      <a:pt x="4414" y="982"/>
                    </a:lnTo>
                    <a:lnTo>
                      <a:pt x="4394" y="1001"/>
                    </a:lnTo>
                    <a:lnTo>
                      <a:pt x="4389" y="998"/>
                    </a:lnTo>
                    <a:lnTo>
                      <a:pt x="4361" y="996"/>
                    </a:lnTo>
                    <a:lnTo>
                      <a:pt x="4354" y="1003"/>
                    </a:lnTo>
                    <a:lnTo>
                      <a:pt x="4326" y="996"/>
                    </a:lnTo>
                    <a:lnTo>
                      <a:pt x="4315" y="1004"/>
                    </a:lnTo>
                    <a:lnTo>
                      <a:pt x="4316" y="1018"/>
                    </a:lnTo>
                    <a:lnTo>
                      <a:pt x="4323" y="1036"/>
                    </a:lnTo>
                    <a:lnTo>
                      <a:pt x="4358" y="1054"/>
                    </a:lnTo>
                    <a:lnTo>
                      <a:pt x="4350" y="1056"/>
                    </a:lnTo>
                    <a:lnTo>
                      <a:pt x="4340" y="1054"/>
                    </a:lnTo>
                    <a:lnTo>
                      <a:pt x="4317" y="1044"/>
                    </a:lnTo>
                    <a:lnTo>
                      <a:pt x="4308" y="1038"/>
                    </a:lnTo>
                    <a:lnTo>
                      <a:pt x="4301" y="1047"/>
                    </a:lnTo>
                    <a:lnTo>
                      <a:pt x="4294" y="1052"/>
                    </a:lnTo>
                    <a:lnTo>
                      <a:pt x="4288" y="1065"/>
                    </a:lnTo>
                    <a:lnTo>
                      <a:pt x="4278" y="1071"/>
                    </a:lnTo>
                    <a:lnTo>
                      <a:pt x="4267" y="1072"/>
                    </a:lnTo>
                    <a:lnTo>
                      <a:pt x="4253" y="1082"/>
                    </a:lnTo>
                    <a:lnTo>
                      <a:pt x="4242" y="1090"/>
                    </a:lnTo>
                    <a:lnTo>
                      <a:pt x="4229" y="1109"/>
                    </a:lnTo>
                    <a:lnTo>
                      <a:pt x="4232" y="1104"/>
                    </a:lnTo>
                    <a:lnTo>
                      <a:pt x="4229" y="1101"/>
                    </a:lnTo>
                    <a:lnTo>
                      <a:pt x="4215" y="1105"/>
                    </a:lnTo>
                    <a:lnTo>
                      <a:pt x="4213" y="1111"/>
                    </a:lnTo>
                    <a:lnTo>
                      <a:pt x="4206" y="1110"/>
                    </a:lnTo>
                    <a:lnTo>
                      <a:pt x="4205" y="1103"/>
                    </a:lnTo>
                    <a:lnTo>
                      <a:pt x="4227" y="1083"/>
                    </a:lnTo>
                    <a:lnTo>
                      <a:pt x="4236" y="1078"/>
                    </a:lnTo>
                    <a:lnTo>
                      <a:pt x="4240" y="1072"/>
                    </a:lnTo>
                    <a:lnTo>
                      <a:pt x="4252" y="1063"/>
                    </a:lnTo>
                    <a:lnTo>
                      <a:pt x="4263" y="1067"/>
                    </a:lnTo>
                    <a:lnTo>
                      <a:pt x="4276" y="1055"/>
                    </a:lnTo>
                    <a:lnTo>
                      <a:pt x="4285" y="1044"/>
                    </a:lnTo>
                    <a:lnTo>
                      <a:pt x="4301" y="1008"/>
                    </a:lnTo>
                    <a:lnTo>
                      <a:pt x="4306" y="1002"/>
                    </a:lnTo>
                    <a:lnTo>
                      <a:pt x="4306" y="997"/>
                    </a:lnTo>
                    <a:lnTo>
                      <a:pt x="4310" y="987"/>
                    </a:lnTo>
                    <a:lnTo>
                      <a:pt x="4316" y="972"/>
                    </a:lnTo>
                    <a:lnTo>
                      <a:pt x="4326" y="974"/>
                    </a:lnTo>
                    <a:lnTo>
                      <a:pt x="4349" y="965"/>
                    </a:lnTo>
                    <a:lnTo>
                      <a:pt x="4351" y="952"/>
                    </a:lnTo>
                    <a:lnTo>
                      <a:pt x="4365" y="928"/>
                    </a:lnTo>
                    <a:lnTo>
                      <a:pt x="4369" y="911"/>
                    </a:lnTo>
                    <a:lnTo>
                      <a:pt x="4409" y="910"/>
                    </a:lnTo>
                    <a:lnTo>
                      <a:pt x="4419" y="907"/>
                    </a:lnTo>
                    <a:lnTo>
                      <a:pt x="4425" y="915"/>
                    </a:lnTo>
                    <a:lnTo>
                      <a:pt x="4445" y="875"/>
                    </a:lnTo>
                    <a:lnTo>
                      <a:pt x="4452" y="864"/>
                    </a:lnTo>
                    <a:lnTo>
                      <a:pt x="4456" y="848"/>
                    </a:lnTo>
                    <a:lnTo>
                      <a:pt x="4484" y="820"/>
                    </a:lnTo>
                    <a:lnTo>
                      <a:pt x="4500" y="813"/>
                    </a:lnTo>
                    <a:lnTo>
                      <a:pt x="4511" y="802"/>
                    </a:lnTo>
                    <a:lnTo>
                      <a:pt x="4520" y="788"/>
                    </a:lnTo>
                    <a:lnTo>
                      <a:pt x="4526" y="767"/>
                    </a:lnTo>
                    <a:lnTo>
                      <a:pt x="4547" y="748"/>
                    </a:lnTo>
                    <a:lnTo>
                      <a:pt x="4545" y="743"/>
                    </a:lnTo>
                    <a:lnTo>
                      <a:pt x="4548" y="735"/>
                    </a:lnTo>
                    <a:lnTo>
                      <a:pt x="4559" y="733"/>
                    </a:lnTo>
                    <a:lnTo>
                      <a:pt x="4566" y="727"/>
                    </a:lnTo>
                    <a:lnTo>
                      <a:pt x="4563" y="724"/>
                    </a:lnTo>
                    <a:lnTo>
                      <a:pt x="4569" y="722"/>
                    </a:lnTo>
                    <a:lnTo>
                      <a:pt x="4573" y="726"/>
                    </a:lnTo>
                    <a:lnTo>
                      <a:pt x="4584" y="721"/>
                    </a:lnTo>
                    <a:lnTo>
                      <a:pt x="4587" y="707"/>
                    </a:lnTo>
                    <a:lnTo>
                      <a:pt x="4592" y="708"/>
                    </a:lnTo>
                    <a:lnTo>
                      <a:pt x="4607" y="692"/>
                    </a:lnTo>
                    <a:lnTo>
                      <a:pt x="4625" y="703"/>
                    </a:lnTo>
                    <a:lnTo>
                      <a:pt x="4627" y="695"/>
                    </a:lnTo>
                    <a:lnTo>
                      <a:pt x="4630" y="686"/>
                    </a:lnTo>
                    <a:lnTo>
                      <a:pt x="4625" y="678"/>
                    </a:lnTo>
                    <a:lnTo>
                      <a:pt x="4657" y="665"/>
                    </a:lnTo>
                    <a:lnTo>
                      <a:pt x="4643" y="662"/>
                    </a:lnTo>
                    <a:lnTo>
                      <a:pt x="4645" y="656"/>
                    </a:lnTo>
                    <a:lnTo>
                      <a:pt x="4667" y="645"/>
                    </a:lnTo>
                    <a:lnTo>
                      <a:pt x="4665" y="656"/>
                    </a:lnTo>
                    <a:lnTo>
                      <a:pt x="4672" y="645"/>
                    </a:lnTo>
                    <a:lnTo>
                      <a:pt x="4678" y="643"/>
                    </a:lnTo>
                    <a:lnTo>
                      <a:pt x="4684" y="636"/>
                    </a:lnTo>
                    <a:lnTo>
                      <a:pt x="4679" y="631"/>
                    </a:lnTo>
                    <a:lnTo>
                      <a:pt x="4688" y="622"/>
                    </a:lnTo>
                    <a:lnTo>
                      <a:pt x="4698" y="624"/>
                    </a:lnTo>
                    <a:lnTo>
                      <a:pt x="4704" y="611"/>
                    </a:lnTo>
                    <a:lnTo>
                      <a:pt x="4708" y="599"/>
                    </a:lnTo>
                    <a:lnTo>
                      <a:pt x="4708" y="595"/>
                    </a:lnTo>
                    <a:lnTo>
                      <a:pt x="4719" y="582"/>
                    </a:lnTo>
                    <a:lnTo>
                      <a:pt x="4722" y="573"/>
                    </a:lnTo>
                    <a:lnTo>
                      <a:pt x="4729" y="567"/>
                    </a:lnTo>
                    <a:lnTo>
                      <a:pt x="4729" y="549"/>
                    </a:lnTo>
                    <a:lnTo>
                      <a:pt x="4726" y="548"/>
                    </a:lnTo>
                    <a:lnTo>
                      <a:pt x="4722" y="534"/>
                    </a:lnTo>
                    <a:lnTo>
                      <a:pt x="4731" y="538"/>
                    </a:lnTo>
                    <a:lnTo>
                      <a:pt x="4730" y="518"/>
                    </a:lnTo>
                    <a:lnTo>
                      <a:pt x="4716" y="518"/>
                    </a:lnTo>
                    <a:lnTo>
                      <a:pt x="4703" y="506"/>
                    </a:lnTo>
                    <a:lnTo>
                      <a:pt x="4701" y="491"/>
                    </a:lnTo>
                    <a:lnTo>
                      <a:pt x="4692" y="492"/>
                    </a:lnTo>
                    <a:lnTo>
                      <a:pt x="4689" y="502"/>
                    </a:lnTo>
                    <a:lnTo>
                      <a:pt x="4686" y="507"/>
                    </a:lnTo>
                    <a:lnTo>
                      <a:pt x="4681" y="497"/>
                    </a:lnTo>
                    <a:lnTo>
                      <a:pt x="4681" y="493"/>
                    </a:lnTo>
                    <a:lnTo>
                      <a:pt x="4676" y="481"/>
                    </a:lnTo>
                    <a:lnTo>
                      <a:pt x="4679" y="475"/>
                    </a:lnTo>
                    <a:lnTo>
                      <a:pt x="4666" y="464"/>
                    </a:lnTo>
                    <a:lnTo>
                      <a:pt x="4660" y="454"/>
                    </a:lnTo>
                    <a:lnTo>
                      <a:pt x="4662" y="447"/>
                    </a:lnTo>
                    <a:lnTo>
                      <a:pt x="4670" y="449"/>
                    </a:lnTo>
                    <a:lnTo>
                      <a:pt x="4687" y="470"/>
                    </a:lnTo>
                    <a:lnTo>
                      <a:pt x="4717" y="490"/>
                    </a:lnTo>
                    <a:lnTo>
                      <a:pt x="4711" y="507"/>
                    </a:lnTo>
                    <a:lnTo>
                      <a:pt x="4717" y="505"/>
                    </a:lnTo>
                    <a:lnTo>
                      <a:pt x="4724" y="493"/>
                    </a:lnTo>
                    <a:lnTo>
                      <a:pt x="4736" y="455"/>
                    </a:lnTo>
                    <a:lnTo>
                      <a:pt x="4736" y="441"/>
                    </a:lnTo>
                    <a:lnTo>
                      <a:pt x="4732" y="428"/>
                    </a:lnTo>
                    <a:lnTo>
                      <a:pt x="4726" y="432"/>
                    </a:lnTo>
                    <a:lnTo>
                      <a:pt x="4717" y="428"/>
                    </a:lnTo>
                    <a:lnTo>
                      <a:pt x="4713" y="400"/>
                    </a:lnTo>
                    <a:lnTo>
                      <a:pt x="4714" y="389"/>
                    </a:lnTo>
                    <a:lnTo>
                      <a:pt x="4698" y="360"/>
                    </a:lnTo>
                    <a:lnTo>
                      <a:pt x="4689" y="364"/>
                    </a:lnTo>
                    <a:lnTo>
                      <a:pt x="4695" y="378"/>
                    </a:lnTo>
                    <a:lnTo>
                      <a:pt x="4686" y="387"/>
                    </a:lnTo>
                    <a:lnTo>
                      <a:pt x="4684" y="394"/>
                    </a:lnTo>
                    <a:lnTo>
                      <a:pt x="4679" y="394"/>
                    </a:lnTo>
                    <a:lnTo>
                      <a:pt x="4672" y="374"/>
                    </a:lnTo>
                    <a:lnTo>
                      <a:pt x="4662" y="362"/>
                    </a:lnTo>
                    <a:lnTo>
                      <a:pt x="4670" y="358"/>
                    </a:lnTo>
                    <a:lnTo>
                      <a:pt x="4671" y="349"/>
                    </a:lnTo>
                    <a:lnTo>
                      <a:pt x="4673" y="341"/>
                    </a:lnTo>
                    <a:lnTo>
                      <a:pt x="4647" y="315"/>
                    </a:lnTo>
                    <a:lnTo>
                      <a:pt x="4640" y="318"/>
                    </a:lnTo>
                    <a:lnTo>
                      <a:pt x="4639" y="306"/>
                    </a:lnTo>
                    <a:lnTo>
                      <a:pt x="4624" y="283"/>
                    </a:lnTo>
                    <a:lnTo>
                      <a:pt x="4603" y="271"/>
                    </a:lnTo>
                    <a:lnTo>
                      <a:pt x="4607" y="266"/>
                    </a:lnTo>
                    <a:lnTo>
                      <a:pt x="4603" y="258"/>
                    </a:lnTo>
                    <a:lnTo>
                      <a:pt x="4593" y="255"/>
                    </a:lnTo>
                    <a:lnTo>
                      <a:pt x="4588" y="261"/>
                    </a:lnTo>
                    <a:lnTo>
                      <a:pt x="4585" y="255"/>
                    </a:lnTo>
                    <a:lnTo>
                      <a:pt x="4586" y="244"/>
                    </a:lnTo>
                    <a:lnTo>
                      <a:pt x="4569" y="248"/>
                    </a:lnTo>
                    <a:lnTo>
                      <a:pt x="4539" y="242"/>
                    </a:lnTo>
                    <a:lnTo>
                      <a:pt x="4523" y="255"/>
                    </a:lnTo>
                    <a:lnTo>
                      <a:pt x="4518" y="253"/>
                    </a:lnTo>
                    <a:lnTo>
                      <a:pt x="4509" y="255"/>
                    </a:lnTo>
                    <a:lnTo>
                      <a:pt x="4489" y="238"/>
                    </a:lnTo>
                    <a:lnTo>
                      <a:pt x="4477" y="248"/>
                    </a:lnTo>
                    <a:lnTo>
                      <a:pt x="4469" y="247"/>
                    </a:lnTo>
                    <a:lnTo>
                      <a:pt x="4441" y="253"/>
                    </a:lnTo>
                    <a:lnTo>
                      <a:pt x="4435" y="247"/>
                    </a:lnTo>
                    <a:lnTo>
                      <a:pt x="4426" y="255"/>
                    </a:lnTo>
                    <a:lnTo>
                      <a:pt x="4428" y="248"/>
                    </a:lnTo>
                    <a:lnTo>
                      <a:pt x="4432" y="242"/>
                    </a:lnTo>
                    <a:lnTo>
                      <a:pt x="4430" y="238"/>
                    </a:lnTo>
                    <a:lnTo>
                      <a:pt x="4424" y="237"/>
                    </a:lnTo>
                    <a:lnTo>
                      <a:pt x="4421" y="244"/>
                    </a:lnTo>
                    <a:lnTo>
                      <a:pt x="4410" y="247"/>
                    </a:lnTo>
                    <a:lnTo>
                      <a:pt x="4409" y="258"/>
                    </a:lnTo>
                    <a:lnTo>
                      <a:pt x="4405" y="264"/>
                    </a:lnTo>
                    <a:lnTo>
                      <a:pt x="4416" y="261"/>
                    </a:lnTo>
                    <a:lnTo>
                      <a:pt x="4409" y="272"/>
                    </a:lnTo>
                    <a:lnTo>
                      <a:pt x="4403" y="272"/>
                    </a:lnTo>
                    <a:lnTo>
                      <a:pt x="4402" y="283"/>
                    </a:lnTo>
                    <a:lnTo>
                      <a:pt x="4397" y="294"/>
                    </a:lnTo>
                    <a:lnTo>
                      <a:pt x="4386" y="299"/>
                    </a:lnTo>
                    <a:lnTo>
                      <a:pt x="4382" y="296"/>
                    </a:lnTo>
                    <a:lnTo>
                      <a:pt x="4380" y="307"/>
                    </a:lnTo>
                    <a:lnTo>
                      <a:pt x="4356" y="306"/>
                    </a:lnTo>
                    <a:lnTo>
                      <a:pt x="4349" y="312"/>
                    </a:lnTo>
                    <a:lnTo>
                      <a:pt x="4334" y="306"/>
                    </a:lnTo>
                    <a:lnTo>
                      <a:pt x="4313" y="306"/>
                    </a:lnTo>
                    <a:lnTo>
                      <a:pt x="4313" y="301"/>
                    </a:lnTo>
                    <a:lnTo>
                      <a:pt x="4311" y="299"/>
                    </a:lnTo>
                    <a:lnTo>
                      <a:pt x="4329" y="288"/>
                    </a:lnTo>
                    <a:lnTo>
                      <a:pt x="4333" y="292"/>
                    </a:lnTo>
                    <a:lnTo>
                      <a:pt x="4343" y="264"/>
                    </a:lnTo>
                    <a:lnTo>
                      <a:pt x="4349" y="253"/>
                    </a:lnTo>
                    <a:lnTo>
                      <a:pt x="4353" y="242"/>
                    </a:lnTo>
                    <a:lnTo>
                      <a:pt x="4367" y="238"/>
                    </a:lnTo>
                    <a:lnTo>
                      <a:pt x="4377" y="216"/>
                    </a:lnTo>
                    <a:lnTo>
                      <a:pt x="4373" y="213"/>
                    </a:lnTo>
                    <a:lnTo>
                      <a:pt x="4370" y="207"/>
                    </a:lnTo>
                    <a:lnTo>
                      <a:pt x="4372" y="204"/>
                    </a:lnTo>
                    <a:lnTo>
                      <a:pt x="4380" y="204"/>
                    </a:lnTo>
                    <a:lnTo>
                      <a:pt x="4380" y="197"/>
                    </a:lnTo>
                    <a:lnTo>
                      <a:pt x="4373" y="195"/>
                    </a:lnTo>
                    <a:lnTo>
                      <a:pt x="4373" y="188"/>
                    </a:lnTo>
                    <a:lnTo>
                      <a:pt x="4375" y="183"/>
                    </a:lnTo>
                    <a:lnTo>
                      <a:pt x="4349" y="175"/>
                    </a:lnTo>
                    <a:lnTo>
                      <a:pt x="4344" y="178"/>
                    </a:lnTo>
                    <a:lnTo>
                      <a:pt x="4338" y="168"/>
                    </a:lnTo>
                    <a:lnTo>
                      <a:pt x="4329" y="166"/>
                    </a:lnTo>
                    <a:lnTo>
                      <a:pt x="4321" y="166"/>
                    </a:lnTo>
                    <a:lnTo>
                      <a:pt x="4312" y="173"/>
                    </a:lnTo>
                    <a:lnTo>
                      <a:pt x="4306" y="164"/>
                    </a:lnTo>
                    <a:lnTo>
                      <a:pt x="4289" y="173"/>
                    </a:lnTo>
                    <a:lnTo>
                      <a:pt x="4294" y="157"/>
                    </a:lnTo>
                    <a:lnTo>
                      <a:pt x="4292" y="143"/>
                    </a:lnTo>
                    <a:lnTo>
                      <a:pt x="4286" y="162"/>
                    </a:lnTo>
                    <a:lnTo>
                      <a:pt x="4268" y="161"/>
                    </a:lnTo>
                    <a:lnTo>
                      <a:pt x="4211" y="189"/>
                    </a:lnTo>
                    <a:lnTo>
                      <a:pt x="4224" y="169"/>
                    </a:lnTo>
                    <a:lnTo>
                      <a:pt x="4231" y="166"/>
                    </a:lnTo>
                    <a:lnTo>
                      <a:pt x="4256" y="126"/>
                    </a:lnTo>
                    <a:lnTo>
                      <a:pt x="4268" y="116"/>
                    </a:lnTo>
                    <a:lnTo>
                      <a:pt x="4276" y="115"/>
                    </a:lnTo>
                    <a:lnTo>
                      <a:pt x="4286" y="98"/>
                    </a:lnTo>
                    <a:lnTo>
                      <a:pt x="4286" y="91"/>
                    </a:lnTo>
                    <a:lnTo>
                      <a:pt x="4301" y="88"/>
                    </a:lnTo>
                    <a:lnTo>
                      <a:pt x="4310" y="95"/>
                    </a:lnTo>
                    <a:lnTo>
                      <a:pt x="4301" y="82"/>
                    </a:lnTo>
                    <a:lnTo>
                      <a:pt x="4290" y="43"/>
                    </a:lnTo>
                    <a:lnTo>
                      <a:pt x="4281" y="39"/>
                    </a:lnTo>
                    <a:lnTo>
                      <a:pt x="4276" y="48"/>
                    </a:lnTo>
                    <a:lnTo>
                      <a:pt x="4259" y="45"/>
                    </a:lnTo>
                    <a:lnTo>
                      <a:pt x="4242" y="34"/>
                    </a:lnTo>
                    <a:lnTo>
                      <a:pt x="4226" y="7"/>
                    </a:lnTo>
                    <a:lnTo>
                      <a:pt x="4219" y="17"/>
                    </a:lnTo>
                    <a:lnTo>
                      <a:pt x="4213" y="14"/>
                    </a:lnTo>
                    <a:lnTo>
                      <a:pt x="4211" y="12"/>
                    </a:lnTo>
                    <a:lnTo>
                      <a:pt x="4211" y="5"/>
                    </a:lnTo>
                    <a:lnTo>
                      <a:pt x="4203" y="0"/>
                    </a:lnTo>
                    <a:lnTo>
                      <a:pt x="4193" y="2"/>
                    </a:lnTo>
                    <a:lnTo>
                      <a:pt x="4178" y="14"/>
                    </a:lnTo>
                    <a:lnTo>
                      <a:pt x="4172" y="24"/>
                    </a:lnTo>
                    <a:lnTo>
                      <a:pt x="4166" y="27"/>
                    </a:lnTo>
                    <a:lnTo>
                      <a:pt x="4143" y="22"/>
                    </a:lnTo>
                    <a:lnTo>
                      <a:pt x="4139" y="35"/>
                    </a:lnTo>
                    <a:lnTo>
                      <a:pt x="4122" y="51"/>
                    </a:lnTo>
                    <a:lnTo>
                      <a:pt x="4098" y="88"/>
                    </a:lnTo>
                    <a:lnTo>
                      <a:pt x="4093" y="102"/>
                    </a:lnTo>
                    <a:lnTo>
                      <a:pt x="4073" y="120"/>
                    </a:lnTo>
                    <a:lnTo>
                      <a:pt x="4070" y="126"/>
                    </a:lnTo>
                    <a:lnTo>
                      <a:pt x="4049" y="157"/>
                    </a:lnTo>
                    <a:lnTo>
                      <a:pt x="4043" y="168"/>
                    </a:lnTo>
                    <a:lnTo>
                      <a:pt x="4042" y="178"/>
                    </a:lnTo>
                    <a:lnTo>
                      <a:pt x="4042" y="185"/>
                    </a:lnTo>
                    <a:lnTo>
                      <a:pt x="4039" y="194"/>
                    </a:lnTo>
                    <a:lnTo>
                      <a:pt x="4033" y="194"/>
                    </a:lnTo>
                    <a:lnTo>
                      <a:pt x="4032" y="201"/>
                    </a:lnTo>
                    <a:lnTo>
                      <a:pt x="4023" y="220"/>
                    </a:lnTo>
                    <a:lnTo>
                      <a:pt x="4025" y="222"/>
                    </a:lnTo>
                    <a:lnTo>
                      <a:pt x="4025" y="232"/>
                    </a:lnTo>
                    <a:lnTo>
                      <a:pt x="4030" y="238"/>
                    </a:lnTo>
                    <a:lnTo>
                      <a:pt x="4043" y="244"/>
                    </a:lnTo>
                    <a:lnTo>
                      <a:pt x="4046" y="258"/>
                    </a:lnTo>
                    <a:lnTo>
                      <a:pt x="4052" y="263"/>
                    </a:lnTo>
                    <a:lnTo>
                      <a:pt x="4050" y="267"/>
                    </a:lnTo>
                    <a:lnTo>
                      <a:pt x="4039" y="265"/>
                    </a:lnTo>
                    <a:lnTo>
                      <a:pt x="4037" y="258"/>
                    </a:lnTo>
                    <a:lnTo>
                      <a:pt x="4037" y="282"/>
                    </a:lnTo>
                    <a:lnTo>
                      <a:pt x="4041" y="285"/>
                    </a:lnTo>
                    <a:lnTo>
                      <a:pt x="4039" y="286"/>
                    </a:lnTo>
                    <a:lnTo>
                      <a:pt x="4010" y="303"/>
                    </a:lnTo>
                    <a:lnTo>
                      <a:pt x="3995" y="307"/>
                    </a:lnTo>
                    <a:lnTo>
                      <a:pt x="3975" y="306"/>
                    </a:lnTo>
                    <a:lnTo>
                      <a:pt x="3962" y="312"/>
                    </a:lnTo>
                    <a:lnTo>
                      <a:pt x="3913" y="302"/>
                    </a:lnTo>
                    <a:lnTo>
                      <a:pt x="3915" y="310"/>
                    </a:lnTo>
                    <a:lnTo>
                      <a:pt x="3915" y="315"/>
                    </a:lnTo>
                    <a:lnTo>
                      <a:pt x="3921" y="321"/>
                    </a:lnTo>
                    <a:lnTo>
                      <a:pt x="3923" y="334"/>
                    </a:lnTo>
                    <a:lnTo>
                      <a:pt x="3934" y="335"/>
                    </a:lnTo>
                    <a:lnTo>
                      <a:pt x="3941" y="344"/>
                    </a:lnTo>
                    <a:lnTo>
                      <a:pt x="3941" y="351"/>
                    </a:lnTo>
                    <a:lnTo>
                      <a:pt x="3960" y="351"/>
                    </a:lnTo>
                    <a:lnTo>
                      <a:pt x="3967" y="356"/>
                    </a:lnTo>
                    <a:lnTo>
                      <a:pt x="3968" y="364"/>
                    </a:lnTo>
                    <a:lnTo>
                      <a:pt x="3963" y="377"/>
                    </a:lnTo>
                    <a:lnTo>
                      <a:pt x="3963" y="396"/>
                    </a:lnTo>
                    <a:lnTo>
                      <a:pt x="3960" y="406"/>
                    </a:lnTo>
                    <a:lnTo>
                      <a:pt x="3947" y="401"/>
                    </a:lnTo>
                    <a:lnTo>
                      <a:pt x="3947" y="389"/>
                    </a:lnTo>
                    <a:lnTo>
                      <a:pt x="3944" y="384"/>
                    </a:lnTo>
                    <a:lnTo>
                      <a:pt x="3923" y="380"/>
                    </a:lnTo>
                    <a:lnTo>
                      <a:pt x="3923" y="377"/>
                    </a:lnTo>
                    <a:lnTo>
                      <a:pt x="3926" y="366"/>
                    </a:lnTo>
                    <a:lnTo>
                      <a:pt x="3924" y="361"/>
                    </a:lnTo>
                    <a:lnTo>
                      <a:pt x="3907" y="364"/>
                    </a:lnTo>
                    <a:lnTo>
                      <a:pt x="3908" y="353"/>
                    </a:lnTo>
                    <a:lnTo>
                      <a:pt x="3902" y="352"/>
                    </a:lnTo>
                    <a:lnTo>
                      <a:pt x="3865" y="379"/>
                    </a:lnTo>
                    <a:lnTo>
                      <a:pt x="3869" y="389"/>
                    </a:lnTo>
                    <a:lnTo>
                      <a:pt x="3869" y="396"/>
                    </a:lnTo>
                    <a:lnTo>
                      <a:pt x="3864" y="396"/>
                    </a:lnTo>
                    <a:lnTo>
                      <a:pt x="3860" y="390"/>
                    </a:lnTo>
                    <a:lnTo>
                      <a:pt x="3849" y="393"/>
                    </a:lnTo>
                    <a:lnTo>
                      <a:pt x="3844" y="404"/>
                    </a:lnTo>
                    <a:lnTo>
                      <a:pt x="3851" y="405"/>
                    </a:lnTo>
                    <a:lnTo>
                      <a:pt x="3854" y="409"/>
                    </a:lnTo>
                    <a:lnTo>
                      <a:pt x="3855" y="417"/>
                    </a:lnTo>
                    <a:lnTo>
                      <a:pt x="3850" y="419"/>
                    </a:lnTo>
                    <a:lnTo>
                      <a:pt x="3838" y="415"/>
                    </a:lnTo>
                    <a:lnTo>
                      <a:pt x="3821" y="428"/>
                    </a:lnTo>
                    <a:lnTo>
                      <a:pt x="3821" y="415"/>
                    </a:lnTo>
                    <a:lnTo>
                      <a:pt x="3819" y="411"/>
                    </a:lnTo>
                    <a:lnTo>
                      <a:pt x="3815" y="415"/>
                    </a:lnTo>
                    <a:lnTo>
                      <a:pt x="3805" y="431"/>
                    </a:lnTo>
                    <a:lnTo>
                      <a:pt x="3797" y="431"/>
                    </a:lnTo>
                    <a:lnTo>
                      <a:pt x="3784" y="442"/>
                    </a:lnTo>
                    <a:lnTo>
                      <a:pt x="3780" y="439"/>
                    </a:lnTo>
                    <a:lnTo>
                      <a:pt x="3790" y="427"/>
                    </a:lnTo>
                    <a:lnTo>
                      <a:pt x="3791" y="419"/>
                    </a:lnTo>
                    <a:lnTo>
                      <a:pt x="3780" y="417"/>
                    </a:lnTo>
                    <a:lnTo>
                      <a:pt x="3779" y="411"/>
                    </a:lnTo>
                    <a:lnTo>
                      <a:pt x="3774" y="419"/>
                    </a:lnTo>
                    <a:lnTo>
                      <a:pt x="3756" y="423"/>
                    </a:lnTo>
                    <a:lnTo>
                      <a:pt x="3748" y="438"/>
                    </a:lnTo>
                    <a:lnTo>
                      <a:pt x="3740" y="442"/>
                    </a:lnTo>
                    <a:lnTo>
                      <a:pt x="3736" y="436"/>
                    </a:lnTo>
                    <a:lnTo>
                      <a:pt x="3756" y="414"/>
                    </a:lnTo>
                    <a:lnTo>
                      <a:pt x="3761" y="393"/>
                    </a:lnTo>
                    <a:lnTo>
                      <a:pt x="3745" y="380"/>
                    </a:lnTo>
                    <a:lnTo>
                      <a:pt x="3716" y="382"/>
                    </a:lnTo>
                    <a:lnTo>
                      <a:pt x="3711" y="385"/>
                    </a:lnTo>
                    <a:lnTo>
                      <a:pt x="3710" y="393"/>
                    </a:lnTo>
                    <a:lnTo>
                      <a:pt x="3678" y="383"/>
                    </a:lnTo>
                    <a:lnTo>
                      <a:pt x="3676" y="390"/>
                    </a:lnTo>
                    <a:lnTo>
                      <a:pt x="3665" y="399"/>
                    </a:lnTo>
                    <a:lnTo>
                      <a:pt x="3657" y="389"/>
                    </a:lnTo>
                    <a:lnTo>
                      <a:pt x="3629" y="390"/>
                    </a:lnTo>
                    <a:lnTo>
                      <a:pt x="3628" y="394"/>
                    </a:lnTo>
                    <a:lnTo>
                      <a:pt x="3635" y="399"/>
                    </a:lnTo>
                    <a:lnTo>
                      <a:pt x="3635" y="403"/>
                    </a:lnTo>
                    <a:lnTo>
                      <a:pt x="3609" y="409"/>
                    </a:lnTo>
                    <a:lnTo>
                      <a:pt x="3608" y="405"/>
                    </a:lnTo>
                    <a:lnTo>
                      <a:pt x="3611" y="398"/>
                    </a:lnTo>
                    <a:lnTo>
                      <a:pt x="3604" y="399"/>
                    </a:lnTo>
                    <a:lnTo>
                      <a:pt x="3590" y="412"/>
                    </a:lnTo>
                    <a:lnTo>
                      <a:pt x="3586" y="401"/>
                    </a:lnTo>
                    <a:lnTo>
                      <a:pt x="3581" y="405"/>
                    </a:lnTo>
                    <a:lnTo>
                      <a:pt x="3581" y="423"/>
                    </a:lnTo>
                    <a:lnTo>
                      <a:pt x="3585" y="427"/>
                    </a:lnTo>
                    <a:lnTo>
                      <a:pt x="3604" y="417"/>
                    </a:lnTo>
                    <a:lnTo>
                      <a:pt x="3607" y="428"/>
                    </a:lnTo>
                    <a:lnTo>
                      <a:pt x="3611" y="435"/>
                    </a:lnTo>
                    <a:lnTo>
                      <a:pt x="3612" y="432"/>
                    </a:lnTo>
                    <a:lnTo>
                      <a:pt x="3612" y="426"/>
                    </a:lnTo>
                    <a:lnTo>
                      <a:pt x="3619" y="423"/>
                    </a:lnTo>
                    <a:lnTo>
                      <a:pt x="3618" y="428"/>
                    </a:lnTo>
                    <a:lnTo>
                      <a:pt x="3620" y="435"/>
                    </a:lnTo>
                    <a:lnTo>
                      <a:pt x="3614" y="446"/>
                    </a:lnTo>
                    <a:lnTo>
                      <a:pt x="3549" y="471"/>
                    </a:lnTo>
                    <a:lnTo>
                      <a:pt x="3520" y="475"/>
                    </a:lnTo>
                    <a:lnTo>
                      <a:pt x="3516" y="473"/>
                    </a:lnTo>
                    <a:lnTo>
                      <a:pt x="3514" y="481"/>
                    </a:lnTo>
                    <a:lnTo>
                      <a:pt x="3514" y="492"/>
                    </a:lnTo>
                    <a:lnTo>
                      <a:pt x="3514" y="489"/>
                    </a:lnTo>
                    <a:lnTo>
                      <a:pt x="3501" y="487"/>
                    </a:lnTo>
                    <a:lnTo>
                      <a:pt x="3488" y="496"/>
                    </a:lnTo>
                    <a:lnTo>
                      <a:pt x="3473" y="490"/>
                    </a:lnTo>
                    <a:lnTo>
                      <a:pt x="3455" y="502"/>
                    </a:lnTo>
                    <a:lnTo>
                      <a:pt x="3436" y="502"/>
                    </a:lnTo>
                    <a:lnTo>
                      <a:pt x="3420" y="516"/>
                    </a:lnTo>
                    <a:lnTo>
                      <a:pt x="3434" y="524"/>
                    </a:lnTo>
                    <a:lnTo>
                      <a:pt x="3415" y="529"/>
                    </a:lnTo>
                    <a:lnTo>
                      <a:pt x="3401" y="541"/>
                    </a:lnTo>
                    <a:lnTo>
                      <a:pt x="3385" y="528"/>
                    </a:lnTo>
                    <a:lnTo>
                      <a:pt x="3378" y="536"/>
                    </a:lnTo>
                    <a:lnTo>
                      <a:pt x="3366" y="539"/>
                    </a:lnTo>
                    <a:lnTo>
                      <a:pt x="3365" y="544"/>
                    </a:lnTo>
                    <a:lnTo>
                      <a:pt x="3371" y="544"/>
                    </a:lnTo>
                    <a:lnTo>
                      <a:pt x="3374" y="550"/>
                    </a:lnTo>
                    <a:lnTo>
                      <a:pt x="3355" y="555"/>
                    </a:lnTo>
                    <a:lnTo>
                      <a:pt x="3354" y="562"/>
                    </a:lnTo>
                    <a:lnTo>
                      <a:pt x="3344" y="566"/>
                    </a:lnTo>
                    <a:lnTo>
                      <a:pt x="3333" y="584"/>
                    </a:lnTo>
                    <a:lnTo>
                      <a:pt x="3322" y="593"/>
                    </a:lnTo>
                    <a:lnTo>
                      <a:pt x="3321" y="598"/>
                    </a:lnTo>
                    <a:lnTo>
                      <a:pt x="3322" y="604"/>
                    </a:lnTo>
                    <a:lnTo>
                      <a:pt x="3319" y="608"/>
                    </a:lnTo>
                    <a:lnTo>
                      <a:pt x="3305" y="614"/>
                    </a:lnTo>
                    <a:lnTo>
                      <a:pt x="3300" y="605"/>
                    </a:lnTo>
                    <a:lnTo>
                      <a:pt x="3292" y="604"/>
                    </a:lnTo>
                    <a:lnTo>
                      <a:pt x="3269" y="602"/>
                    </a:lnTo>
                    <a:lnTo>
                      <a:pt x="3261" y="606"/>
                    </a:lnTo>
                    <a:lnTo>
                      <a:pt x="3256" y="611"/>
                    </a:lnTo>
                    <a:lnTo>
                      <a:pt x="3262" y="618"/>
                    </a:lnTo>
                    <a:lnTo>
                      <a:pt x="3279" y="625"/>
                    </a:lnTo>
                    <a:lnTo>
                      <a:pt x="3301" y="626"/>
                    </a:lnTo>
                    <a:lnTo>
                      <a:pt x="3297" y="633"/>
                    </a:lnTo>
                    <a:lnTo>
                      <a:pt x="3288" y="642"/>
                    </a:lnTo>
                    <a:lnTo>
                      <a:pt x="3281" y="640"/>
                    </a:lnTo>
                    <a:lnTo>
                      <a:pt x="3279" y="633"/>
                    </a:lnTo>
                    <a:lnTo>
                      <a:pt x="3272" y="640"/>
                    </a:lnTo>
                    <a:lnTo>
                      <a:pt x="3274" y="645"/>
                    </a:lnTo>
                    <a:lnTo>
                      <a:pt x="3268" y="659"/>
                    </a:lnTo>
                    <a:lnTo>
                      <a:pt x="3262" y="667"/>
                    </a:lnTo>
                    <a:lnTo>
                      <a:pt x="3256" y="683"/>
                    </a:lnTo>
                    <a:lnTo>
                      <a:pt x="3249" y="683"/>
                    </a:lnTo>
                    <a:lnTo>
                      <a:pt x="3247" y="694"/>
                    </a:lnTo>
                    <a:lnTo>
                      <a:pt x="3253" y="702"/>
                    </a:lnTo>
                    <a:lnTo>
                      <a:pt x="3246" y="708"/>
                    </a:lnTo>
                    <a:lnTo>
                      <a:pt x="3236" y="691"/>
                    </a:lnTo>
                    <a:lnTo>
                      <a:pt x="3222" y="684"/>
                    </a:lnTo>
                    <a:lnTo>
                      <a:pt x="3221" y="674"/>
                    </a:lnTo>
                    <a:lnTo>
                      <a:pt x="3204" y="667"/>
                    </a:lnTo>
                    <a:lnTo>
                      <a:pt x="3203" y="668"/>
                    </a:lnTo>
                    <a:lnTo>
                      <a:pt x="3209" y="681"/>
                    </a:lnTo>
                    <a:lnTo>
                      <a:pt x="3194" y="690"/>
                    </a:lnTo>
                    <a:lnTo>
                      <a:pt x="3197" y="699"/>
                    </a:lnTo>
                    <a:lnTo>
                      <a:pt x="3192" y="701"/>
                    </a:lnTo>
                    <a:lnTo>
                      <a:pt x="3193" y="707"/>
                    </a:lnTo>
                    <a:lnTo>
                      <a:pt x="3222" y="711"/>
                    </a:lnTo>
                    <a:lnTo>
                      <a:pt x="3229" y="717"/>
                    </a:lnTo>
                    <a:lnTo>
                      <a:pt x="3242" y="724"/>
                    </a:lnTo>
                    <a:lnTo>
                      <a:pt x="3238" y="728"/>
                    </a:lnTo>
                    <a:lnTo>
                      <a:pt x="3238" y="735"/>
                    </a:lnTo>
                    <a:lnTo>
                      <a:pt x="3242" y="739"/>
                    </a:lnTo>
                    <a:lnTo>
                      <a:pt x="3240" y="743"/>
                    </a:lnTo>
                    <a:lnTo>
                      <a:pt x="3227" y="740"/>
                    </a:lnTo>
                    <a:lnTo>
                      <a:pt x="3224" y="744"/>
                    </a:lnTo>
                    <a:lnTo>
                      <a:pt x="3211" y="750"/>
                    </a:lnTo>
                    <a:lnTo>
                      <a:pt x="3215" y="756"/>
                    </a:lnTo>
                    <a:lnTo>
                      <a:pt x="3204" y="756"/>
                    </a:lnTo>
                    <a:lnTo>
                      <a:pt x="3202" y="761"/>
                    </a:lnTo>
                    <a:lnTo>
                      <a:pt x="3203" y="771"/>
                    </a:lnTo>
                    <a:lnTo>
                      <a:pt x="3209" y="777"/>
                    </a:lnTo>
                    <a:lnTo>
                      <a:pt x="3246" y="788"/>
                    </a:lnTo>
                    <a:lnTo>
                      <a:pt x="3249" y="814"/>
                    </a:lnTo>
                    <a:lnTo>
                      <a:pt x="3253" y="821"/>
                    </a:lnTo>
                    <a:lnTo>
                      <a:pt x="3259" y="826"/>
                    </a:lnTo>
                    <a:lnTo>
                      <a:pt x="3254" y="832"/>
                    </a:lnTo>
                    <a:lnTo>
                      <a:pt x="3242" y="828"/>
                    </a:lnTo>
                    <a:lnTo>
                      <a:pt x="3242" y="831"/>
                    </a:lnTo>
                    <a:lnTo>
                      <a:pt x="3245" y="839"/>
                    </a:lnTo>
                    <a:lnTo>
                      <a:pt x="3240" y="841"/>
                    </a:lnTo>
                    <a:lnTo>
                      <a:pt x="3242" y="847"/>
                    </a:lnTo>
                    <a:lnTo>
                      <a:pt x="3247" y="850"/>
                    </a:lnTo>
                    <a:lnTo>
                      <a:pt x="3247" y="856"/>
                    </a:lnTo>
                    <a:lnTo>
                      <a:pt x="3237" y="861"/>
                    </a:lnTo>
                    <a:lnTo>
                      <a:pt x="3215" y="863"/>
                    </a:lnTo>
                    <a:lnTo>
                      <a:pt x="3202" y="872"/>
                    </a:lnTo>
                    <a:lnTo>
                      <a:pt x="3189" y="871"/>
                    </a:lnTo>
                    <a:lnTo>
                      <a:pt x="3182" y="874"/>
                    </a:lnTo>
                    <a:lnTo>
                      <a:pt x="3179" y="883"/>
                    </a:lnTo>
                    <a:lnTo>
                      <a:pt x="3166" y="894"/>
                    </a:lnTo>
                    <a:lnTo>
                      <a:pt x="3148" y="889"/>
                    </a:lnTo>
                    <a:lnTo>
                      <a:pt x="3145" y="883"/>
                    </a:lnTo>
                    <a:lnTo>
                      <a:pt x="3143" y="883"/>
                    </a:lnTo>
                    <a:lnTo>
                      <a:pt x="3130" y="888"/>
                    </a:lnTo>
                    <a:lnTo>
                      <a:pt x="3105" y="893"/>
                    </a:lnTo>
                    <a:lnTo>
                      <a:pt x="3082" y="900"/>
                    </a:lnTo>
                    <a:lnTo>
                      <a:pt x="3035" y="906"/>
                    </a:lnTo>
                    <a:lnTo>
                      <a:pt x="3026" y="900"/>
                    </a:lnTo>
                    <a:lnTo>
                      <a:pt x="3007" y="904"/>
                    </a:lnTo>
                    <a:lnTo>
                      <a:pt x="2989" y="901"/>
                    </a:lnTo>
                    <a:lnTo>
                      <a:pt x="2952" y="912"/>
                    </a:lnTo>
                    <a:lnTo>
                      <a:pt x="2952" y="917"/>
                    </a:lnTo>
                    <a:lnTo>
                      <a:pt x="2950" y="920"/>
                    </a:lnTo>
                    <a:lnTo>
                      <a:pt x="2939" y="914"/>
                    </a:lnTo>
                    <a:lnTo>
                      <a:pt x="2929" y="918"/>
                    </a:lnTo>
                    <a:lnTo>
                      <a:pt x="2928" y="922"/>
                    </a:lnTo>
                    <a:lnTo>
                      <a:pt x="2912" y="926"/>
                    </a:lnTo>
                    <a:lnTo>
                      <a:pt x="2913" y="936"/>
                    </a:lnTo>
                    <a:lnTo>
                      <a:pt x="2917" y="944"/>
                    </a:lnTo>
                    <a:lnTo>
                      <a:pt x="2920" y="943"/>
                    </a:lnTo>
                    <a:lnTo>
                      <a:pt x="2921" y="938"/>
                    </a:lnTo>
                    <a:lnTo>
                      <a:pt x="2926" y="939"/>
                    </a:lnTo>
                    <a:lnTo>
                      <a:pt x="2924" y="947"/>
                    </a:lnTo>
                    <a:lnTo>
                      <a:pt x="2912" y="958"/>
                    </a:lnTo>
                    <a:lnTo>
                      <a:pt x="2912" y="964"/>
                    </a:lnTo>
                    <a:lnTo>
                      <a:pt x="2904" y="960"/>
                    </a:lnTo>
                    <a:lnTo>
                      <a:pt x="2901" y="966"/>
                    </a:lnTo>
                    <a:lnTo>
                      <a:pt x="2904" y="975"/>
                    </a:lnTo>
                    <a:lnTo>
                      <a:pt x="2913" y="977"/>
                    </a:lnTo>
                    <a:lnTo>
                      <a:pt x="2913" y="987"/>
                    </a:lnTo>
                    <a:lnTo>
                      <a:pt x="2901" y="996"/>
                    </a:lnTo>
                    <a:lnTo>
                      <a:pt x="2918" y="1009"/>
                    </a:lnTo>
                    <a:lnTo>
                      <a:pt x="2917" y="1014"/>
                    </a:lnTo>
                    <a:lnTo>
                      <a:pt x="2923" y="1019"/>
                    </a:lnTo>
                    <a:lnTo>
                      <a:pt x="2926" y="1018"/>
                    </a:lnTo>
                    <a:lnTo>
                      <a:pt x="2931" y="1040"/>
                    </a:lnTo>
                    <a:lnTo>
                      <a:pt x="2937" y="1046"/>
                    </a:lnTo>
                    <a:lnTo>
                      <a:pt x="2934" y="1052"/>
                    </a:lnTo>
                    <a:lnTo>
                      <a:pt x="2933" y="1058"/>
                    </a:lnTo>
                    <a:lnTo>
                      <a:pt x="2929" y="1066"/>
                    </a:lnTo>
                    <a:lnTo>
                      <a:pt x="2924" y="1082"/>
                    </a:lnTo>
                    <a:lnTo>
                      <a:pt x="2925" y="1097"/>
                    </a:lnTo>
                    <a:lnTo>
                      <a:pt x="2930" y="1105"/>
                    </a:lnTo>
                    <a:lnTo>
                      <a:pt x="2930" y="1122"/>
                    </a:lnTo>
                    <a:lnTo>
                      <a:pt x="2935" y="1133"/>
                    </a:lnTo>
                    <a:lnTo>
                      <a:pt x="2949" y="1149"/>
                    </a:lnTo>
                    <a:lnTo>
                      <a:pt x="2962" y="1153"/>
                    </a:lnTo>
                    <a:lnTo>
                      <a:pt x="2987" y="1157"/>
                    </a:lnTo>
                    <a:lnTo>
                      <a:pt x="3001" y="1168"/>
                    </a:lnTo>
                    <a:lnTo>
                      <a:pt x="3009" y="1168"/>
                    </a:lnTo>
                    <a:lnTo>
                      <a:pt x="3015" y="1184"/>
                    </a:lnTo>
                    <a:lnTo>
                      <a:pt x="3010" y="1196"/>
                    </a:lnTo>
                    <a:lnTo>
                      <a:pt x="3006" y="1200"/>
                    </a:lnTo>
                    <a:lnTo>
                      <a:pt x="3017" y="1203"/>
                    </a:lnTo>
                    <a:lnTo>
                      <a:pt x="3023" y="1211"/>
                    </a:lnTo>
                    <a:lnTo>
                      <a:pt x="3031" y="1227"/>
                    </a:lnTo>
                    <a:lnTo>
                      <a:pt x="3041" y="1233"/>
                    </a:lnTo>
                    <a:lnTo>
                      <a:pt x="3060" y="1239"/>
                    </a:lnTo>
                    <a:lnTo>
                      <a:pt x="3069" y="1246"/>
                    </a:lnTo>
                    <a:lnTo>
                      <a:pt x="3073" y="1239"/>
                    </a:lnTo>
                    <a:lnTo>
                      <a:pt x="3076" y="1254"/>
                    </a:lnTo>
                    <a:lnTo>
                      <a:pt x="3084" y="1272"/>
                    </a:lnTo>
                    <a:lnTo>
                      <a:pt x="3084" y="1282"/>
                    </a:lnTo>
                    <a:lnTo>
                      <a:pt x="3080" y="1302"/>
                    </a:lnTo>
                    <a:lnTo>
                      <a:pt x="3069" y="1312"/>
                    </a:lnTo>
                    <a:lnTo>
                      <a:pt x="3068" y="1329"/>
                    </a:lnTo>
                    <a:lnTo>
                      <a:pt x="3060" y="1343"/>
                    </a:lnTo>
                    <a:lnTo>
                      <a:pt x="3064" y="1358"/>
                    </a:lnTo>
                    <a:lnTo>
                      <a:pt x="3063" y="1372"/>
                    </a:lnTo>
                    <a:lnTo>
                      <a:pt x="3079" y="1394"/>
                    </a:lnTo>
                    <a:lnTo>
                      <a:pt x="3082" y="1426"/>
                    </a:lnTo>
                    <a:lnTo>
                      <a:pt x="3087" y="1440"/>
                    </a:lnTo>
                    <a:lnTo>
                      <a:pt x="3090" y="1459"/>
                    </a:lnTo>
                    <a:lnTo>
                      <a:pt x="3090" y="1474"/>
                    </a:lnTo>
                    <a:lnTo>
                      <a:pt x="3085" y="1487"/>
                    </a:lnTo>
                    <a:lnTo>
                      <a:pt x="3075" y="1501"/>
                    </a:lnTo>
                    <a:lnTo>
                      <a:pt x="3063" y="1504"/>
                    </a:lnTo>
                    <a:lnTo>
                      <a:pt x="3055" y="1501"/>
                    </a:lnTo>
                    <a:lnTo>
                      <a:pt x="3054" y="1509"/>
                    </a:lnTo>
                    <a:lnTo>
                      <a:pt x="3063" y="1530"/>
                    </a:lnTo>
                    <a:lnTo>
                      <a:pt x="3059" y="1539"/>
                    </a:lnTo>
                    <a:lnTo>
                      <a:pt x="3035" y="1529"/>
                    </a:lnTo>
                    <a:lnTo>
                      <a:pt x="3017" y="1528"/>
                    </a:lnTo>
                    <a:lnTo>
                      <a:pt x="3006" y="1517"/>
                    </a:lnTo>
                    <a:lnTo>
                      <a:pt x="3004" y="1504"/>
                    </a:lnTo>
                    <a:lnTo>
                      <a:pt x="3004" y="1458"/>
                    </a:lnTo>
                    <a:lnTo>
                      <a:pt x="3012" y="1428"/>
                    </a:lnTo>
                    <a:lnTo>
                      <a:pt x="3009" y="1422"/>
                    </a:lnTo>
                    <a:lnTo>
                      <a:pt x="3007" y="1393"/>
                    </a:lnTo>
                    <a:lnTo>
                      <a:pt x="3010" y="1379"/>
                    </a:lnTo>
                    <a:lnTo>
                      <a:pt x="3009" y="1362"/>
                    </a:lnTo>
                    <a:lnTo>
                      <a:pt x="3007" y="1352"/>
                    </a:lnTo>
                    <a:lnTo>
                      <a:pt x="3015" y="1340"/>
                    </a:lnTo>
                    <a:lnTo>
                      <a:pt x="3047" y="1319"/>
                    </a:lnTo>
                    <a:lnTo>
                      <a:pt x="3049" y="1313"/>
                    </a:lnTo>
                    <a:lnTo>
                      <a:pt x="3049" y="1300"/>
                    </a:lnTo>
                    <a:lnTo>
                      <a:pt x="3052" y="1288"/>
                    </a:lnTo>
                    <a:lnTo>
                      <a:pt x="3060" y="1287"/>
                    </a:lnTo>
                    <a:lnTo>
                      <a:pt x="3063" y="1270"/>
                    </a:lnTo>
                    <a:lnTo>
                      <a:pt x="3039" y="1254"/>
                    </a:lnTo>
                    <a:lnTo>
                      <a:pt x="3010" y="1264"/>
                    </a:lnTo>
                    <a:lnTo>
                      <a:pt x="2982" y="1267"/>
                    </a:lnTo>
                    <a:lnTo>
                      <a:pt x="2966" y="1260"/>
                    </a:lnTo>
                    <a:lnTo>
                      <a:pt x="2955" y="1248"/>
                    </a:lnTo>
                    <a:lnTo>
                      <a:pt x="2952" y="1250"/>
                    </a:lnTo>
                    <a:lnTo>
                      <a:pt x="2945" y="1235"/>
                    </a:lnTo>
                    <a:lnTo>
                      <a:pt x="2931" y="1219"/>
                    </a:lnTo>
                    <a:lnTo>
                      <a:pt x="2928" y="1212"/>
                    </a:lnTo>
                    <a:lnTo>
                      <a:pt x="2928" y="1203"/>
                    </a:lnTo>
                    <a:lnTo>
                      <a:pt x="2902" y="1191"/>
                    </a:lnTo>
                    <a:lnTo>
                      <a:pt x="2880" y="1174"/>
                    </a:lnTo>
                    <a:lnTo>
                      <a:pt x="2871" y="1163"/>
                    </a:lnTo>
                    <a:lnTo>
                      <a:pt x="2844" y="1149"/>
                    </a:lnTo>
                    <a:lnTo>
                      <a:pt x="2792" y="1148"/>
                    </a:lnTo>
                    <a:lnTo>
                      <a:pt x="2777" y="1151"/>
                    </a:lnTo>
                    <a:lnTo>
                      <a:pt x="2763" y="1171"/>
                    </a:lnTo>
                    <a:lnTo>
                      <a:pt x="2741" y="1181"/>
                    </a:lnTo>
                    <a:lnTo>
                      <a:pt x="2737" y="1201"/>
                    </a:lnTo>
                    <a:lnTo>
                      <a:pt x="2764" y="1202"/>
                    </a:lnTo>
                    <a:lnTo>
                      <a:pt x="2778" y="1213"/>
                    </a:lnTo>
                    <a:lnTo>
                      <a:pt x="2773" y="1227"/>
                    </a:lnTo>
                    <a:lnTo>
                      <a:pt x="2763" y="1240"/>
                    </a:lnTo>
                    <a:lnTo>
                      <a:pt x="2743" y="1246"/>
                    </a:lnTo>
                    <a:lnTo>
                      <a:pt x="2729" y="1259"/>
                    </a:lnTo>
                    <a:lnTo>
                      <a:pt x="2708" y="1265"/>
                    </a:lnTo>
                    <a:lnTo>
                      <a:pt x="2708" y="1249"/>
                    </a:lnTo>
                    <a:lnTo>
                      <a:pt x="2692" y="1233"/>
                    </a:lnTo>
                    <a:lnTo>
                      <a:pt x="2683" y="1217"/>
                    </a:lnTo>
                    <a:lnTo>
                      <a:pt x="2672" y="1218"/>
                    </a:lnTo>
                    <a:lnTo>
                      <a:pt x="2662" y="1232"/>
                    </a:lnTo>
                    <a:lnTo>
                      <a:pt x="2668" y="1239"/>
                    </a:lnTo>
                    <a:lnTo>
                      <a:pt x="2673" y="1260"/>
                    </a:lnTo>
                    <a:lnTo>
                      <a:pt x="2678" y="1275"/>
                    </a:lnTo>
                    <a:lnTo>
                      <a:pt x="2681" y="1287"/>
                    </a:lnTo>
                    <a:lnTo>
                      <a:pt x="2687" y="1289"/>
                    </a:lnTo>
                    <a:lnTo>
                      <a:pt x="2709" y="1308"/>
                    </a:lnTo>
                    <a:lnTo>
                      <a:pt x="2724" y="1314"/>
                    </a:lnTo>
                    <a:lnTo>
                      <a:pt x="2732" y="1326"/>
                    </a:lnTo>
                    <a:lnTo>
                      <a:pt x="2741" y="1327"/>
                    </a:lnTo>
                    <a:lnTo>
                      <a:pt x="2747" y="1335"/>
                    </a:lnTo>
                    <a:lnTo>
                      <a:pt x="2757" y="1329"/>
                    </a:lnTo>
                    <a:lnTo>
                      <a:pt x="2767" y="1319"/>
                    </a:lnTo>
                    <a:lnTo>
                      <a:pt x="2764" y="1334"/>
                    </a:lnTo>
                    <a:lnTo>
                      <a:pt x="2769" y="1341"/>
                    </a:lnTo>
                    <a:lnTo>
                      <a:pt x="2780" y="1337"/>
                    </a:lnTo>
                    <a:lnTo>
                      <a:pt x="2781" y="1367"/>
                    </a:lnTo>
                    <a:lnTo>
                      <a:pt x="2795" y="1383"/>
                    </a:lnTo>
                    <a:lnTo>
                      <a:pt x="2795" y="1393"/>
                    </a:lnTo>
                    <a:lnTo>
                      <a:pt x="2779" y="1390"/>
                    </a:lnTo>
                    <a:lnTo>
                      <a:pt x="2769" y="1384"/>
                    </a:lnTo>
                    <a:lnTo>
                      <a:pt x="2762" y="1377"/>
                    </a:lnTo>
                    <a:lnTo>
                      <a:pt x="2758" y="1367"/>
                    </a:lnTo>
                    <a:lnTo>
                      <a:pt x="2748" y="1358"/>
                    </a:lnTo>
                    <a:lnTo>
                      <a:pt x="2713" y="1354"/>
                    </a:lnTo>
                    <a:lnTo>
                      <a:pt x="2702" y="1348"/>
                    </a:lnTo>
                    <a:lnTo>
                      <a:pt x="2668" y="1345"/>
                    </a:lnTo>
                    <a:lnTo>
                      <a:pt x="2636" y="1332"/>
                    </a:lnTo>
                    <a:lnTo>
                      <a:pt x="2627" y="1325"/>
                    </a:lnTo>
                    <a:lnTo>
                      <a:pt x="2617" y="1310"/>
                    </a:lnTo>
                    <a:lnTo>
                      <a:pt x="2619" y="1307"/>
                    </a:lnTo>
                    <a:lnTo>
                      <a:pt x="2633" y="1304"/>
                    </a:lnTo>
                    <a:lnTo>
                      <a:pt x="2634" y="1299"/>
                    </a:lnTo>
                    <a:lnTo>
                      <a:pt x="2633" y="1278"/>
                    </a:lnTo>
                    <a:lnTo>
                      <a:pt x="2622" y="1256"/>
                    </a:lnTo>
                    <a:lnTo>
                      <a:pt x="2621" y="1246"/>
                    </a:lnTo>
                    <a:lnTo>
                      <a:pt x="2627" y="1222"/>
                    </a:lnTo>
                    <a:lnTo>
                      <a:pt x="2618" y="1211"/>
                    </a:lnTo>
                    <a:lnTo>
                      <a:pt x="2627" y="1202"/>
                    </a:lnTo>
                    <a:lnTo>
                      <a:pt x="2641" y="1163"/>
                    </a:lnTo>
                    <a:lnTo>
                      <a:pt x="2634" y="1137"/>
                    </a:lnTo>
                    <a:lnTo>
                      <a:pt x="2632" y="1120"/>
                    </a:lnTo>
                    <a:lnTo>
                      <a:pt x="2640" y="1115"/>
                    </a:lnTo>
                    <a:lnTo>
                      <a:pt x="2630" y="1100"/>
                    </a:lnTo>
                    <a:lnTo>
                      <a:pt x="2628" y="1090"/>
                    </a:lnTo>
                    <a:lnTo>
                      <a:pt x="2629" y="1082"/>
                    </a:lnTo>
                    <a:lnTo>
                      <a:pt x="2613" y="1066"/>
                    </a:lnTo>
                    <a:lnTo>
                      <a:pt x="2608" y="1055"/>
                    </a:lnTo>
                    <a:lnTo>
                      <a:pt x="2593" y="1063"/>
                    </a:lnTo>
                    <a:lnTo>
                      <a:pt x="2595" y="1074"/>
                    </a:lnTo>
                    <a:lnTo>
                      <a:pt x="2602" y="1094"/>
                    </a:lnTo>
                    <a:lnTo>
                      <a:pt x="2607" y="1115"/>
                    </a:lnTo>
                    <a:lnTo>
                      <a:pt x="2607" y="1160"/>
                    </a:lnTo>
                    <a:lnTo>
                      <a:pt x="2598" y="1176"/>
                    </a:lnTo>
                    <a:lnTo>
                      <a:pt x="2566" y="1207"/>
                    </a:lnTo>
                    <a:lnTo>
                      <a:pt x="2546" y="1217"/>
                    </a:lnTo>
                    <a:lnTo>
                      <a:pt x="2516" y="1239"/>
                    </a:lnTo>
                    <a:lnTo>
                      <a:pt x="2517" y="1253"/>
                    </a:lnTo>
                    <a:lnTo>
                      <a:pt x="2517" y="1261"/>
                    </a:lnTo>
                    <a:lnTo>
                      <a:pt x="2514" y="1272"/>
                    </a:lnTo>
                    <a:lnTo>
                      <a:pt x="2498" y="1289"/>
                    </a:lnTo>
                    <a:lnTo>
                      <a:pt x="2498" y="1298"/>
                    </a:lnTo>
                    <a:lnTo>
                      <a:pt x="2519" y="1321"/>
                    </a:lnTo>
                    <a:lnTo>
                      <a:pt x="2532" y="1343"/>
                    </a:lnTo>
                    <a:lnTo>
                      <a:pt x="2541" y="1362"/>
                    </a:lnTo>
                    <a:lnTo>
                      <a:pt x="2547" y="1395"/>
                    </a:lnTo>
                    <a:lnTo>
                      <a:pt x="2560" y="1417"/>
                    </a:lnTo>
                    <a:lnTo>
                      <a:pt x="2569" y="1438"/>
                    </a:lnTo>
                    <a:lnTo>
                      <a:pt x="2569" y="1448"/>
                    </a:lnTo>
                    <a:lnTo>
                      <a:pt x="2565" y="1468"/>
                    </a:lnTo>
                    <a:lnTo>
                      <a:pt x="2557" y="1488"/>
                    </a:lnTo>
                    <a:lnTo>
                      <a:pt x="2555" y="1496"/>
                    </a:lnTo>
                    <a:lnTo>
                      <a:pt x="2541" y="1514"/>
                    </a:lnTo>
                    <a:lnTo>
                      <a:pt x="2538" y="1528"/>
                    </a:lnTo>
                    <a:lnTo>
                      <a:pt x="2539" y="1545"/>
                    </a:lnTo>
                    <a:lnTo>
                      <a:pt x="2532" y="1555"/>
                    </a:lnTo>
                    <a:lnTo>
                      <a:pt x="2530" y="1568"/>
                    </a:lnTo>
                    <a:lnTo>
                      <a:pt x="2527" y="1588"/>
                    </a:lnTo>
                    <a:lnTo>
                      <a:pt x="2541" y="1611"/>
                    </a:lnTo>
                    <a:lnTo>
                      <a:pt x="2548" y="1632"/>
                    </a:lnTo>
                    <a:lnTo>
                      <a:pt x="2546" y="1647"/>
                    </a:lnTo>
                    <a:lnTo>
                      <a:pt x="2539" y="1664"/>
                    </a:lnTo>
                    <a:lnTo>
                      <a:pt x="2538" y="1673"/>
                    </a:lnTo>
                    <a:lnTo>
                      <a:pt x="2547" y="1689"/>
                    </a:lnTo>
                    <a:lnTo>
                      <a:pt x="2559" y="1691"/>
                    </a:lnTo>
                    <a:lnTo>
                      <a:pt x="2575" y="1686"/>
                    </a:lnTo>
                    <a:lnTo>
                      <a:pt x="2586" y="1686"/>
                    </a:lnTo>
                    <a:lnTo>
                      <a:pt x="2600" y="1691"/>
                    </a:lnTo>
                    <a:lnTo>
                      <a:pt x="2616" y="1694"/>
                    </a:lnTo>
                    <a:lnTo>
                      <a:pt x="2618" y="1685"/>
                    </a:lnTo>
                    <a:lnTo>
                      <a:pt x="2641" y="1670"/>
                    </a:lnTo>
                    <a:lnTo>
                      <a:pt x="2665" y="1670"/>
                    </a:lnTo>
                    <a:lnTo>
                      <a:pt x="2698" y="1690"/>
                    </a:lnTo>
                    <a:lnTo>
                      <a:pt x="2708" y="1700"/>
                    </a:lnTo>
                    <a:lnTo>
                      <a:pt x="2734" y="1716"/>
                    </a:lnTo>
                    <a:lnTo>
                      <a:pt x="2753" y="1724"/>
                    </a:lnTo>
                    <a:lnTo>
                      <a:pt x="2758" y="1734"/>
                    </a:lnTo>
                    <a:lnTo>
                      <a:pt x="2758" y="1750"/>
                    </a:lnTo>
                    <a:lnTo>
                      <a:pt x="2757" y="1761"/>
                    </a:lnTo>
                    <a:lnTo>
                      <a:pt x="2775" y="1802"/>
                    </a:lnTo>
                    <a:lnTo>
                      <a:pt x="2779" y="1802"/>
                    </a:lnTo>
                    <a:lnTo>
                      <a:pt x="2780" y="1814"/>
                    </a:lnTo>
                    <a:lnTo>
                      <a:pt x="2774" y="1822"/>
                    </a:lnTo>
                    <a:lnTo>
                      <a:pt x="2761" y="1824"/>
                    </a:lnTo>
                    <a:lnTo>
                      <a:pt x="2750" y="1832"/>
                    </a:lnTo>
                    <a:lnTo>
                      <a:pt x="2746" y="1845"/>
                    </a:lnTo>
                    <a:lnTo>
                      <a:pt x="2745" y="1868"/>
                    </a:lnTo>
                    <a:lnTo>
                      <a:pt x="2747" y="1886"/>
                    </a:lnTo>
                    <a:lnTo>
                      <a:pt x="2751" y="1896"/>
                    </a:lnTo>
                    <a:lnTo>
                      <a:pt x="2763" y="1894"/>
                    </a:lnTo>
                    <a:lnTo>
                      <a:pt x="2781" y="1904"/>
                    </a:lnTo>
                    <a:lnTo>
                      <a:pt x="2800" y="1902"/>
                    </a:lnTo>
                    <a:lnTo>
                      <a:pt x="2820" y="1915"/>
                    </a:lnTo>
                    <a:lnTo>
                      <a:pt x="2817" y="1918"/>
                    </a:lnTo>
                    <a:lnTo>
                      <a:pt x="2792" y="1923"/>
                    </a:lnTo>
                    <a:lnTo>
                      <a:pt x="2779" y="1920"/>
                    </a:lnTo>
                    <a:lnTo>
                      <a:pt x="2754" y="1921"/>
                    </a:lnTo>
                    <a:lnTo>
                      <a:pt x="2752" y="1912"/>
                    </a:lnTo>
                    <a:lnTo>
                      <a:pt x="2748" y="1905"/>
                    </a:lnTo>
                    <a:lnTo>
                      <a:pt x="2727" y="1894"/>
                    </a:lnTo>
                    <a:lnTo>
                      <a:pt x="2726" y="1883"/>
                    </a:lnTo>
                    <a:lnTo>
                      <a:pt x="2730" y="1878"/>
                    </a:lnTo>
                    <a:lnTo>
                      <a:pt x="2732" y="1868"/>
                    </a:lnTo>
                    <a:lnTo>
                      <a:pt x="2731" y="1857"/>
                    </a:lnTo>
                    <a:lnTo>
                      <a:pt x="2732" y="1842"/>
                    </a:lnTo>
                    <a:lnTo>
                      <a:pt x="2740" y="1825"/>
                    </a:lnTo>
                    <a:lnTo>
                      <a:pt x="2736" y="1821"/>
                    </a:lnTo>
                    <a:lnTo>
                      <a:pt x="2730" y="1824"/>
                    </a:lnTo>
                    <a:lnTo>
                      <a:pt x="2729" y="1814"/>
                    </a:lnTo>
                    <a:lnTo>
                      <a:pt x="2732" y="1800"/>
                    </a:lnTo>
                    <a:lnTo>
                      <a:pt x="2734" y="1798"/>
                    </a:lnTo>
                    <a:lnTo>
                      <a:pt x="2732" y="1791"/>
                    </a:lnTo>
                    <a:lnTo>
                      <a:pt x="2735" y="1783"/>
                    </a:lnTo>
                    <a:lnTo>
                      <a:pt x="2732" y="1776"/>
                    </a:lnTo>
                    <a:lnTo>
                      <a:pt x="2726" y="1767"/>
                    </a:lnTo>
                    <a:lnTo>
                      <a:pt x="2718" y="1762"/>
                    </a:lnTo>
                    <a:lnTo>
                      <a:pt x="2713" y="1754"/>
                    </a:lnTo>
                    <a:lnTo>
                      <a:pt x="2703" y="1749"/>
                    </a:lnTo>
                    <a:lnTo>
                      <a:pt x="2699" y="1739"/>
                    </a:lnTo>
                    <a:lnTo>
                      <a:pt x="2700" y="1727"/>
                    </a:lnTo>
                    <a:lnTo>
                      <a:pt x="2694" y="1708"/>
                    </a:lnTo>
                    <a:lnTo>
                      <a:pt x="2667" y="1712"/>
                    </a:lnTo>
                    <a:lnTo>
                      <a:pt x="2652" y="1718"/>
                    </a:lnTo>
                    <a:lnTo>
                      <a:pt x="2621" y="1724"/>
                    </a:lnTo>
                    <a:lnTo>
                      <a:pt x="2602" y="1737"/>
                    </a:lnTo>
                    <a:lnTo>
                      <a:pt x="2582" y="1744"/>
                    </a:lnTo>
                    <a:lnTo>
                      <a:pt x="2574" y="1750"/>
                    </a:lnTo>
                    <a:lnTo>
                      <a:pt x="2574" y="1760"/>
                    </a:lnTo>
                    <a:lnTo>
                      <a:pt x="2576" y="1772"/>
                    </a:lnTo>
                    <a:lnTo>
                      <a:pt x="2573" y="1786"/>
                    </a:lnTo>
                    <a:lnTo>
                      <a:pt x="2566" y="1794"/>
                    </a:lnTo>
                    <a:lnTo>
                      <a:pt x="2570" y="1805"/>
                    </a:lnTo>
                    <a:lnTo>
                      <a:pt x="2575" y="1808"/>
                    </a:lnTo>
                    <a:lnTo>
                      <a:pt x="2579" y="1818"/>
                    </a:lnTo>
                    <a:lnTo>
                      <a:pt x="2585" y="1825"/>
                    </a:lnTo>
                    <a:lnTo>
                      <a:pt x="2584" y="1835"/>
                    </a:lnTo>
                    <a:lnTo>
                      <a:pt x="2590" y="1842"/>
                    </a:lnTo>
                    <a:lnTo>
                      <a:pt x="2593" y="1854"/>
                    </a:lnTo>
                    <a:lnTo>
                      <a:pt x="2595" y="1873"/>
                    </a:lnTo>
                    <a:lnTo>
                      <a:pt x="2590" y="1900"/>
                    </a:lnTo>
                    <a:lnTo>
                      <a:pt x="2576" y="1911"/>
                    </a:lnTo>
                    <a:lnTo>
                      <a:pt x="2547" y="1948"/>
                    </a:lnTo>
                    <a:lnTo>
                      <a:pt x="2544" y="1954"/>
                    </a:lnTo>
                    <a:lnTo>
                      <a:pt x="2544" y="1969"/>
                    </a:lnTo>
                    <a:lnTo>
                      <a:pt x="2541" y="1988"/>
                    </a:lnTo>
                    <a:lnTo>
                      <a:pt x="2525" y="2013"/>
                    </a:lnTo>
                    <a:lnTo>
                      <a:pt x="2515" y="2023"/>
                    </a:lnTo>
                    <a:lnTo>
                      <a:pt x="2499" y="2031"/>
                    </a:lnTo>
                    <a:lnTo>
                      <a:pt x="2490" y="2042"/>
                    </a:lnTo>
                    <a:lnTo>
                      <a:pt x="2462" y="2053"/>
                    </a:lnTo>
                    <a:lnTo>
                      <a:pt x="2457" y="2061"/>
                    </a:lnTo>
                    <a:lnTo>
                      <a:pt x="2465" y="2078"/>
                    </a:lnTo>
                    <a:lnTo>
                      <a:pt x="2458" y="2098"/>
                    </a:lnTo>
                    <a:lnTo>
                      <a:pt x="2445" y="2103"/>
                    </a:lnTo>
                    <a:lnTo>
                      <a:pt x="2407" y="2085"/>
                    </a:lnTo>
                    <a:lnTo>
                      <a:pt x="2387" y="2083"/>
                    </a:lnTo>
                    <a:lnTo>
                      <a:pt x="2374" y="2087"/>
                    </a:lnTo>
                    <a:lnTo>
                      <a:pt x="2363" y="2088"/>
                    </a:lnTo>
                    <a:lnTo>
                      <a:pt x="2338" y="2083"/>
                    </a:lnTo>
                    <a:lnTo>
                      <a:pt x="2334" y="2080"/>
                    </a:lnTo>
                    <a:lnTo>
                      <a:pt x="2334" y="2071"/>
                    </a:lnTo>
                    <a:lnTo>
                      <a:pt x="2337" y="2064"/>
                    </a:lnTo>
                    <a:lnTo>
                      <a:pt x="2334" y="2040"/>
                    </a:lnTo>
                    <a:lnTo>
                      <a:pt x="2321" y="2037"/>
                    </a:lnTo>
                    <a:lnTo>
                      <a:pt x="2318" y="2030"/>
                    </a:lnTo>
                    <a:lnTo>
                      <a:pt x="2321" y="2026"/>
                    </a:lnTo>
                    <a:lnTo>
                      <a:pt x="2332" y="2021"/>
                    </a:lnTo>
                    <a:lnTo>
                      <a:pt x="2343" y="2030"/>
                    </a:lnTo>
                    <a:lnTo>
                      <a:pt x="2347" y="2037"/>
                    </a:lnTo>
                    <a:lnTo>
                      <a:pt x="2360" y="2037"/>
                    </a:lnTo>
                    <a:lnTo>
                      <a:pt x="2366" y="2028"/>
                    </a:lnTo>
                    <a:lnTo>
                      <a:pt x="2375" y="2028"/>
                    </a:lnTo>
                    <a:lnTo>
                      <a:pt x="2385" y="2012"/>
                    </a:lnTo>
                    <a:lnTo>
                      <a:pt x="2393" y="2018"/>
                    </a:lnTo>
                    <a:lnTo>
                      <a:pt x="2407" y="2012"/>
                    </a:lnTo>
                    <a:lnTo>
                      <a:pt x="2409" y="2005"/>
                    </a:lnTo>
                    <a:lnTo>
                      <a:pt x="2415" y="2003"/>
                    </a:lnTo>
                    <a:lnTo>
                      <a:pt x="2424" y="2004"/>
                    </a:lnTo>
                    <a:lnTo>
                      <a:pt x="2439" y="2001"/>
                    </a:lnTo>
                    <a:lnTo>
                      <a:pt x="2445" y="1992"/>
                    </a:lnTo>
                    <a:lnTo>
                      <a:pt x="2439" y="1983"/>
                    </a:lnTo>
                    <a:lnTo>
                      <a:pt x="2422" y="1983"/>
                    </a:lnTo>
                    <a:lnTo>
                      <a:pt x="2415" y="1988"/>
                    </a:lnTo>
                    <a:lnTo>
                      <a:pt x="2407" y="1982"/>
                    </a:lnTo>
                    <a:lnTo>
                      <a:pt x="2408" y="1969"/>
                    </a:lnTo>
                    <a:lnTo>
                      <a:pt x="2428" y="1981"/>
                    </a:lnTo>
                    <a:lnTo>
                      <a:pt x="2449" y="1977"/>
                    </a:lnTo>
                    <a:lnTo>
                      <a:pt x="2451" y="1974"/>
                    </a:lnTo>
                    <a:lnTo>
                      <a:pt x="2452" y="1956"/>
                    </a:lnTo>
                    <a:lnTo>
                      <a:pt x="2461" y="1956"/>
                    </a:lnTo>
                    <a:lnTo>
                      <a:pt x="2468" y="1947"/>
                    </a:lnTo>
                    <a:lnTo>
                      <a:pt x="2469" y="1937"/>
                    </a:lnTo>
                    <a:lnTo>
                      <a:pt x="2474" y="1924"/>
                    </a:lnTo>
                    <a:lnTo>
                      <a:pt x="2477" y="1915"/>
                    </a:lnTo>
                    <a:lnTo>
                      <a:pt x="2494" y="1906"/>
                    </a:lnTo>
                    <a:lnTo>
                      <a:pt x="2503" y="1895"/>
                    </a:lnTo>
                    <a:lnTo>
                      <a:pt x="2499" y="1888"/>
                    </a:lnTo>
                    <a:lnTo>
                      <a:pt x="2504" y="1878"/>
                    </a:lnTo>
                    <a:lnTo>
                      <a:pt x="2501" y="1843"/>
                    </a:lnTo>
                    <a:lnTo>
                      <a:pt x="2501" y="1832"/>
                    </a:lnTo>
                    <a:lnTo>
                      <a:pt x="2506" y="1815"/>
                    </a:lnTo>
                    <a:lnTo>
                      <a:pt x="2521" y="1792"/>
                    </a:lnTo>
                    <a:lnTo>
                      <a:pt x="2520" y="1762"/>
                    </a:lnTo>
                    <a:lnTo>
                      <a:pt x="2490" y="1735"/>
                    </a:lnTo>
                    <a:lnTo>
                      <a:pt x="2468" y="1701"/>
                    </a:lnTo>
                    <a:lnTo>
                      <a:pt x="2468" y="1684"/>
                    </a:lnTo>
                    <a:lnTo>
                      <a:pt x="2472" y="1670"/>
                    </a:lnTo>
                    <a:lnTo>
                      <a:pt x="2473" y="1657"/>
                    </a:lnTo>
                    <a:lnTo>
                      <a:pt x="2471" y="1643"/>
                    </a:lnTo>
                    <a:lnTo>
                      <a:pt x="2478" y="1630"/>
                    </a:lnTo>
                    <a:lnTo>
                      <a:pt x="2473" y="1606"/>
                    </a:lnTo>
                    <a:lnTo>
                      <a:pt x="2479" y="1592"/>
                    </a:lnTo>
                    <a:lnTo>
                      <a:pt x="2479" y="1571"/>
                    </a:lnTo>
                    <a:lnTo>
                      <a:pt x="2476" y="1565"/>
                    </a:lnTo>
                    <a:lnTo>
                      <a:pt x="2476" y="1558"/>
                    </a:lnTo>
                    <a:lnTo>
                      <a:pt x="2473" y="1555"/>
                    </a:lnTo>
                    <a:lnTo>
                      <a:pt x="2472" y="1545"/>
                    </a:lnTo>
                    <a:lnTo>
                      <a:pt x="2474" y="1530"/>
                    </a:lnTo>
                    <a:lnTo>
                      <a:pt x="2473" y="1524"/>
                    </a:lnTo>
                    <a:lnTo>
                      <a:pt x="2467" y="1518"/>
                    </a:lnTo>
                    <a:lnTo>
                      <a:pt x="2465" y="1504"/>
                    </a:lnTo>
                    <a:lnTo>
                      <a:pt x="2469" y="1492"/>
                    </a:lnTo>
                    <a:lnTo>
                      <a:pt x="2482" y="1482"/>
                    </a:lnTo>
                    <a:lnTo>
                      <a:pt x="2483" y="1475"/>
                    </a:lnTo>
                    <a:lnTo>
                      <a:pt x="2480" y="1442"/>
                    </a:lnTo>
                    <a:lnTo>
                      <a:pt x="2485" y="1427"/>
                    </a:lnTo>
                    <a:lnTo>
                      <a:pt x="2485" y="1406"/>
                    </a:lnTo>
                    <a:lnTo>
                      <a:pt x="2471" y="1373"/>
                    </a:lnTo>
                    <a:lnTo>
                      <a:pt x="2473" y="1350"/>
                    </a:lnTo>
                    <a:lnTo>
                      <a:pt x="2453" y="1334"/>
                    </a:lnTo>
                    <a:lnTo>
                      <a:pt x="2442" y="1321"/>
                    </a:lnTo>
                    <a:lnTo>
                      <a:pt x="2429" y="1297"/>
                    </a:lnTo>
                    <a:lnTo>
                      <a:pt x="2430" y="1283"/>
                    </a:lnTo>
                    <a:lnTo>
                      <a:pt x="2431" y="1281"/>
                    </a:lnTo>
                    <a:lnTo>
                      <a:pt x="2447" y="1271"/>
                    </a:lnTo>
                    <a:lnTo>
                      <a:pt x="2450" y="1260"/>
                    </a:lnTo>
                    <a:lnTo>
                      <a:pt x="2457" y="1250"/>
                    </a:lnTo>
                    <a:lnTo>
                      <a:pt x="2457" y="1243"/>
                    </a:lnTo>
                    <a:lnTo>
                      <a:pt x="2456" y="1233"/>
                    </a:lnTo>
                    <a:lnTo>
                      <a:pt x="2465" y="1217"/>
                    </a:lnTo>
                    <a:lnTo>
                      <a:pt x="2472" y="1187"/>
                    </a:lnTo>
                    <a:lnTo>
                      <a:pt x="2478" y="1173"/>
                    </a:lnTo>
                    <a:lnTo>
                      <a:pt x="2480" y="1147"/>
                    </a:lnTo>
                    <a:lnTo>
                      <a:pt x="2477" y="1132"/>
                    </a:lnTo>
                    <a:lnTo>
                      <a:pt x="2476" y="1114"/>
                    </a:lnTo>
                    <a:lnTo>
                      <a:pt x="2477" y="1092"/>
                    </a:lnTo>
                    <a:lnTo>
                      <a:pt x="2473" y="1084"/>
                    </a:lnTo>
                    <a:lnTo>
                      <a:pt x="2477" y="1079"/>
                    </a:lnTo>
                    <a:lnTo>
                      <a:pt x="2476" y="1078"/>
                    </a:lnTo>
                    <a:lnTo>
                      <a:pt x="2434" y="1058"/>
                    </a:lnTo>
                    <a:lnTo>
                      <a:pt x="2419" y="1046"/>
                    </a:lnTo>
                    <a:lnTo>
                      <a:pt x="2376" y="1052"/>
                    </a:lnTo>
                    <a:lnTo>
                      <a:pt x="2359" y="1050"/>
                    </a:lnTo>
                    <a:lnTo>
                      <a:pt x="2331" y="1051"/>
                    </a:lnTo>
                    <a:lnTo>
                      <a:pt x="2318" y="1045"/>
                    </a:lnTo>
                    <a:lnTo>
                      <a:pt x="2326" y="1038"/>
                    </a:lnTo>
                    <a:lnTo>
                      <a:pt x="2297" y="1040"/>
                    </a:lnTo>
                    <a:lnTo>
                      <a:pt x="2293" y="1050"/>
                    </a:lnTo>
                    <a:lnTo>
                      <a:pt x="2293" y="1056"/>
                    </a:lnTo>
                    <a:lnTo>
                      <a:pt x="2288" y="1071"/>
                    </a:lnTo>
                    <a:lnTo>
                      <a:pt x="2279" y="1084"/>
                    </a:lnTo>
                    <a:lnTo>
                      <a:pt x="2273" y="1103"/>
                    </a:lnTo>
                    <a:lnTo>
                      <a:pt x="2265" y="1143"/>
                    </a:lnTo>
                    <a:lnTo>
                      <a:pt x="2261" y="1164"/>
                    </a:lnTo>
                    <a:lnTo>
                      <a:pt x="2254" y="1176"/>
                    </a:lnTo>
                    <a:lnTo>
                      <a:pt x="2248" y="1228"/>
                    </a:lnTo>
                    <a:lnTo>
                      <a:pt x="2243" y="1246"/>
                    </a:lnTo>
                    <a:lnTo>
                      <a:pt x="2225" y="1282"/>
                    </a:lnTo>
                    <a:lnTo>
                      <a:pt x="2204" y="1305"/>
                    </a:lnTo>
                    <a:lnTo>
                      <a:pt x="2186" y="1323"/>
                    </a:lnTo>
                    <a:lnTo>
                      <a:pt x="2159" y="1336"/>
                    </a:lnTo>
                    <a:lnTo>
                      <a:pt x="2152" y="1369"/>
                    </a:lnTo>
                    <a:lnTo>
                      <a:pt x="2152" y="1374"/>
                    </a:lnTo>
                    <a:lnTo>
                      <a:pt x="2156" y="1375"/>
                    </a:lnTo>
                    <a:lnTo>
                      <a:pt x="2167" y="1358"/>
                    </a:lnTo>
                    <a:lnTo>
                      <a:pt x="2171" y="1361"/>
                    </a:lnTo>
                    <a:lnTo>
                      <a:pt x="2171" y="1375"/>
                    </a:lnTo>
                    <a:lnTo>
                      <a:pt x="2166" y="1385"/>
                    </a:lnTo>
                    <a:lnTo>
                      <a:pt x="2148" y="1397"/>
                    </a:lnTo>
                    <a:lnTo>
                      <a:pt x="2143" y="1415"/>
                    </a:lnTo>
                    <a:lnTo>
                      <a:pt x="2149" y="1428"/>
                    </a:lnTo>
                    <a:lnTo>
                      <a:pt x="2162" y="1422"/>
                    </a:lnTo>
                    <a:lnTo>
                      <a:pt x="2171" y="1415"/>
                    </a:lnTo>
                    <a:lnTo>
                      <a:pt x="2186" y="1416"/>
                    </a:lnTo>
                    <a:lnTo>
                      <a:pt x="2192" y="1432"/>
                    </a:lnTo>
                    <a:lnTo>
                      <a:pt x="2187" y="1445"/>
                    </a:lnTo>
                    <a:lnTo>
                      <a:pt x="2187" y="1487"/>
                    </a:lnTo>
                    <a:lnTo>
                      <a:pt x="2178" y="1499"/>
                    </a:lnTo>
                    <a:lnTo>
                      <a:pt x="2181" y="1522"/>
                    </a:lnTo>
                    <a:lnTo>
                      <a:pt x="2187" y="1534"/>
                    </a:lnTo>
                    <a:lnTo>
                      <a:pt x="2181" y="1550"/>
                    </a:lnTo>
                    <a:lnTo>
                      <a:pt x="2170" y="1550"/>
                    </a:lnTo>
                    <a:lnTo>
                      <a:pt x="2164" y="1540"/>
                    </a:lnTo>
                    <a:lnTo>
                      <a:pt x="2161" y="1563"/>
                    </a:lnTo>
                    <a:lnTo>
                      <a:pt x="2161" y="1606"/>
                    </a:lnTo>
                    <a:lnTo>
                      <a:pt x="2168" y="1621"/>
                    </a:lnTo>
                    <a:lnTo>
                      <a:pt x="2168" y="1606"/>
                    </a:lnTo>
                    <a:lnTo>
                      <a:pt x="2182" y="1601"/>
                    </a:lnTo>
                    <a:lnTo>
                      <a:pt x="2205" y="1616"/>
                    </a:lnTo>
                    <a:lnTo>
                      <a:pt x="2218" y="1628"/>
                    </a:lnTo>
                    <a:lnTo>
                      <a:pt x="2225" y="1625"/>
                    </a:lnTo>
                    <a:lnTo>
                      <a:pt x="2230" y="1625"/>
                    </a:lnTo>
                    <a:lnTo>
                      <a:pt x="2227" y="1647"/>
                    </a:lnTo>
                    <a:lnTo>
                      <a:pt x="2236" y="1671"/>
                    </a:lnTo>
                    <a:lnTo>
                      <a:pt x="2243" y="1686"/>
                    </a:lnTo>
                    <a:lnTo>
                      <a:pt x="2251" y="1706"/>
                    </a:lnTo>
                    <a:lnTo>
                      <a:pt x="2267" y="1717"/>
                    </a:lnTo>
                    <a:lnTo>
                      <a:pt x="2279" y="1713"/>
                    </a:lnTo>
                    <a:lnTo>
                      <a:pt x="2279" y="1719"/>
                    </a:lnTo>
                    <a:lnTo>
                      <a:pt x="2285" y="1727"/>
                    </a:lnTo>
                    <a:lnTo>
                      <a:pt x="2274" y="1743"/>
                    </a:lnTo>
                    <a:lnTo>
                      <a:pt x="2264" y="1776"/>
                    </a:lnTo>
                    <a:lnTo>
                      <a:pt x="2256" y="1799"/>
                    </a:lnTo>
                    <a:lnTo>
                      <a:pt x="2253" y="1811"/>
                    </a:lnTo>
                    <a:lnTo>
                      <a:pt x="2238" y="1822"/>
                    </a:lnTo>
                    <a:lnTo>
                      <a:pt x="2234" y="1814"/>
                    </a:lnTo>
                    <a:lnTo>
                      <a:pt x="2235" y="1800"/>
                    </a:lnTo>
                    <a:lnTo>
                      <a:pt x="2225" y="1787"/>
                    </a:lnTo>
                    <a:lnTo>
                      <a:pt x="2207" y="1776"/>
                    </a:lnTo>
                    <a:lnTo>
                      <a:pt x="2172" y="1733"/>
                    </a:lnTo>
                    <a:lnTo>
                      <a:pt x="2161" y="1724"/>
                    </a:lnTo>
                    <a:lnTo>
                      <a:pt x="2144" y="1721"/>
                    </a:lnTo>
                    <a:lnTo>
                      <a:pt x="2119" y="1701"/>
                    </a:lnTo>
                    <a:lnTo>
                      <a:pt x="2092" y="1691"/>
                    </a:lnTo>
                    <a:lnTo>
                      <a:pt x="2094" y="1682"/>
                    </a:lnTo>
                    <a:lnTo>
                      <a:pt x="2101" y="1682"/>
                    </a:lnTo>
                    <a:lnTo>
                      <a:pt x="2097" y="1679"/>
                    </a:lnTo>
                    <a:lnTo>
                      <a:pt x="2079" y="1675"/>
                    </a:lnTo>
                    <a:lnTo>
                      <a:pt x="2057" y="1658"/>
                    </a:lnTo>
                    <a:lnTo>
                      <a:pt x="2043" y="1652"/>
                    </a:lnTo>
                    <a:lnTo>
                      <a:pt x="2011" y="1622"/>
                    </a:lnTo>
                    <a:lnTo>
                      <a:pt x="1993" y="1617"/>
                    </a:lnTo>
                    <a:lnTo>
                      <a:pt x="1965" y="1603"/>
                    </a:lnTo>
                    <a:lnTo>
                      <a:pt x="1956" y="1603"/>
                    </a:lnTo>
                    <a:lnTo>
                      <a:pt x="1936" y="1589"/>
                    </a:lnTo>
                    <a:lnTo>
                      <a:pt x="1922" y="1590"/>
                    </a:lnTo>
                    <a:lnTo>
                      <a:pt x="1869" y="1587"/>
                    </a:lnTo>
                    <a:lnTo>
                      <a:pt x="1865" y="1581"/>
                    </a:lnTo>
                    <a:lnTo>
                      <a:pt x="1848" y="1573"/>
                    </a:lnTo>
                    <a:lnTo>
                      <a:pt x="1834" y="1573"/>
                    </a:lnTo>
                    <a:lnTo>
                      <a:pt x="1829" y="1577"/>
                    </a:lnTo>
                    <a:lnTo>
                      <a:pt x="1828" y="1587"/>
                    </a:lnTo>
                    <a:lnTo>
                      <a:pt x="1823" y="1595"/>
                    </a:lnTo>
                    <a:lnTo>
                      <a:pt x="1802" y="1609"/>
                    </a:lnTo>
                    <a:lnTo>
                      <a:pt x="1804" y="1617"/>
                    </a:lnTo>
                    <a:lnTo>
                      <a:pt x="1810" y="1635"/>
                    </a:lnTo>
                    <a:lnTo>
                      <a:pt x="1823" y="1655"/>
                    </a:lnTo>
                    <a:lnTo>
                      <a:pt x="1833" y="1690"/>
                    </a:lnTo>
                    <a:lnTo>
                      <a:pt x="1832" y="1682"/>
                    </a:lnTo>
                    <a:lnTo>
                      <a:pt x="1837" y="1684"/>
                    </a:lnTo>
                    <a:lnTo>
                      <a:pt x="1832" y="1718"/>
                    </a:lnTo>
                    <a:lnTo>
                      <a:pt x="1829" y="1724"/>
                    </a:lnTo>
                    <a:lnTo>
                      <a:pt x="1810" y="1746"/>
                    </a:lnTo>
                    <a:lnTo>
                      <a:pt x="1779" y="1750"/>
                    </a:lnTo>
                    <a:lnTo>
                      <a:pt x="1778" y="1765"/>
                    </a:lnTo>
                    <a:lnTo>
                      <a:pt x="1783" y="1773"/>
                    </a:lnTo>
                    <a:lnTo>
                      <a:pt x="1784" y="1783"/>
                    </a:lnTo>
                    <a:lnTo>
                      <a:pt x="1773" y="1799"/>
                    </a:lnTo>
                    <a:lnTo>
                      <a:pt x="1761" y="1805"/>
                    </a:lnTo>
                    <a:lnTo>
                      <a:pt x="1747" y="1798"/>
                    </a:lnTo>
                    <a:lnTo>
                      <a:pt x="1736" y="1787"/>
                    </a:lnTo>
                    <a:lnTo>
                      <a:pt x="1736" y="1770"/>
                    </a:lnTo>
                    <a:lnTo>
                      <a:pt x="1741" y="1759"/>
                    </a:lnTo>
                    <a:lnTo>
                      <a:pt x="1747" y="1750"/>
                    </a:lnTo>
                    <a:lnTo>
                      <a:pt x="1754" y="1745"/>
                    </a:lnTo>
                    <a:lnTo>
                      <a:pt x="1732" y="1713"/>
                    </a:lnTo>
                    <a:lnTo>
                      <a:pt x="1735" y="1705"/>
                    </a:lnTo>
                    <a:lnTo>
                      <a:pt x="1724" y="1703"/>
                    </a:lnTo>
                    <a:lnTo>
                      <a:pt x="1684" y="1721"/>
                    </a:lnTo>
                    <a:lnTo>
                      <a:pt x="1675" y="1737"/>
                    </a:lnTo>
                    <a:lnTo>
                      <a:pt x="1660" y="1743"/>
                    </a:lnTo>
                    <a:lnTo>
                      <a:pt x="1640" y="1773"/>
                    </a:lnTo>
                    <a:lnTo>
                      <a:pt x="1628" y="1775"/>
                    </a:lnTo>
                    <a:lnTo>
                      <a:pt x="1622" y="1766"/>
                    </a:lnTo>
                    <a:lnTo>
                      <a:pt x="1606" y="1762"/>
                    </a:lnTo>
                    <a:lnTo>
                      <a:pt x="1587" y="1767"/>
                    </a:lnTo>
                    <a:lnTo>
                      <a:pt x="1570" y="1757"/>
                    </a:lnTo>
                    <a:lnTo>
                      <a:pt x="1547" y="1772"/>
                    </a:lnTo>
                    <a:lnTo>
                      <a:pt x="1536" y="1771"/>
                    </a:lnTo>
                    <a:lnTo>
                      <a:pt x="1512" y="1792"/>
                    </a:lnTo>
                    <a:lnTo>
                      <a:pt x="1508" y="1802"/>
                    </a:lnTo>
                    <a:lnTo>
                      <a:pt x="1506" y="1822"/>
                    </a:lnTo>
                    <a:lnTo>
                      <a:pt x="1504" y="1831"/>
                    </a:lnTo>
                    <a:lnTo>
                      <a:pt x="1495" y="1831"/>
                    </a:lnTo>
                    <a:lnTo>
                      <a:pt x="1487" y="1824"/>
                    </a:lnTo>
                    <a:lnTo>
                      <a:pt x="1478" y="1813"/>
                    </a:lnTo>
                    <a:lnTo>
                      <a:pt x="1474" y="1816"/>
                    </a:lnTo>
                    <a:lnTo>
                      <a:pt x="1467" y="1821"/>
                    </a:lnTo>
                    <a:lnTo>
                      <a:pt x="1456" y="1807"/>
                    </a:lnTo>
                    <a:lnTo>
                      <a:pt x="1456" y="1779"/>
                    </a:lnTo>
                    <a:lnTo>
                      <a:pt x="1450" y="1773"/>
                    </a:lnTo>
                    <a:lnTo>
                      <a:pt x="1450" y="1766"/>
                    </a:lnTo>
                    <a:lnTo>
                      <a:pt x="1457" y="1751"/>
                    </a:lnTo>
                    <a:lnTo>
                      <a:pt x="1458" y="1737"/>
                    </a:lnTo>
                    <a:lnTo>
                      <a:pt x="1452" y="1724"/>
                    </a:lnTo>
                    <a:lnTo>
                      <a:pt x="1447" y="1722"/>
                    </a:lnTo>
                    <a:lnTo>
                      <a:pt x="1446" y="1730"/>
                    </a:lnTo>
                    <a:lnTo>
                      <a:pt x="1442" y="1730"/>
                    </a:lnTo>
                    <a:lnTo>
                      <a:pt x="1444" y="1721"/>
                    </a:lnTo>
                    <a:lnTo>
                      <a:pt x="1451" y="1716"/>
                    </a:lnTo>
                    <a:lnTo>
                      <a:pt x="1477" y="1713"/>
                    </a:lnTo>
                    <a:lnTo>
                      <a:pt x="1488" y="1707"/>
                    </a:lnTo>
                    <a:lnTo>
                      <a:pt x="1490" y="1705"/>
                    </a:lnTo>
                    <a:lnTo>
                      <a:pt x="1484" y="1707"/>
                    </a:lnTo>
                    <a:lnTo>
                      <a:pt x="1467" y="1712"/>
                    </a:lnTo>
                    <a:lnTo>
                      <a:pt x="1460" y="1711"/>
                    </a:lnTo>
                    <a:lnTo>
                      <a:pt x="1445" y="1712"/>
                    </a:lnTo>
                    <a:lnTo>
                      <a:pt x="1423" y="1723"/>
                    </a:lnTo>
                    <a:lnTo>
                      <a:pt x="1424" y="1730"/>
                    </a:lnTo>
                    <a:lnTo>
                      <a:pt x="1415" y="1734"/>
                    </a:lnTo>
                    <a:lnTo>
                      <a:pt x="1413" y="1738"/>
                    </a:lnTo>
                    <a:lnTo>
                      <a:pt x="1417" y="1751"/>
                    </a:lnTo>
                    <a:lnTo>
                      <a:pt x="1417" y="1759"/>
                    </a:lnTo>
                    <a:lnTo>
                      <a:pt x="1406" y="1765"/>
                    </a:lnTo>
                    <a:lnTo>
                      <a:pt x="1397" y="1760"/>
                    </a:lnTo>
                    <a:lnTo>
                      <a:pt x="1393" y="1751"/>
                    </a:lnTo>
                    <a:lnTo>
                      <a:pt x="1398" y="1743"/>
                    </a:lnTo>
                    <a:lnTo>
                      <a:pt x="1391" y="1743"/>
                    </a:lnTo>
                    <a:lnTo>
                      <a:pt x="1369" y="1767"/>
                    </a:lnTo>
                    <a:lnTo>
                      <a:pt x="1377" y="1766"/>
                    </a:lnTo>
                    <a:lnTo>
                      <a:pt x="1381" y="1775"/>
                    </a:lnTo>
                    <a:lnTo>
                      <a:pt x="1381" y="1783"/>
                    </a:lnTo>
                    <a:lnTo>
                      <a:pt x="1380" y="1793"/>
                    </a:lnTo>
                    <a:lnTo>
                      <a:pt x="1371" y="1800"/>
                    </a:lnTo>
                    <a:lnTo>
                      <a:pt x="1366" y="1803"/>
                    </a:lnTo>
                    <a:lnTo>
                      <a:pt x="1361" y="1789"/>
                    </a:lnTo>
                    <a:lnTo>
                      <a:pt x="1354" y="1777"/>
                    </a:lnTo>
                    <a:lnTo>
                      <a:pt x="1326" y="1786"/>
                    </a:lnTo>
                    <a:lnTo>
                      <a:pt x="1328" y="1789"/>
                    </a:lnTo>
                    <a:lnTo>
                      <a:pt x="1291" y="1807"/>
                    </a:lnTo>
                    <a:lnTo>
                      <a:pt x="1288" y="1804"/>
                    </a:lnTo>
                    <a:lnTo>
                      <a:pt x="1282" y="1807"/>
                    </a:lnTo>
                    <a:lnTo>
                      <a:pt x="1254" y="1832"/>
                    </a:lnTo>
                    <a:lnTo>
                      <a:pt x="1181" y="1880"/>
                    </a:lnTo>
                    <a:lnTo>
                      <a:pt x="1172" y="1880"/>
                    </a:lnTo>
                    <a:lnTo>
                      <a:pt x="1171" y="1895"/>
                    </a:lnTo>
                    <a:lnTo>
                      <a:pt x="1175" y="1897"/>
                    </a:lnTo>
                    <a:lnTo>
                      <a:pt x="1166" y="1905"/>
                    </a:lnTo>
                    <a:lnTo>
                      <a:pt x="1144" y="1908"/>
                    </a:lnTo>
                    <a:lnTo>
                      <a:pt x="1135" y="1916"/>
                    </a:lnTo>
                    <a:lnTo>
                      <a:pt x="1129" y="1913"/>
                    </a:lnTo>
                    <a:lnTo>
                      <a:pt x="1123" y="1927"/>
                    </a:lnTo>
                    <a:lnTo>
                      <a:pt x="1114" y="1958"/>
                    </a:lnTo>
                    <a:lnTo>
                      <a:pt x="1111" y="1970"/>
                    </a:lnTo>
                    <a:lnTo>
                      <a:pt x="1113" y="1996"/>
                    </a:lnTo>
                    <a:lnTo>
                      <a:pt x="1106" y="2008"/>
                    </a:lnTo>
                    <a:lnTo>
                      <a:pt x="1090" y="2017"/>
                    </a:lnTo>
                    <a:lnTo>
                      <a:pt x="1079" y="2015"/>
                    </a:lnTo>
                    <a:lnTo>
                      <a:pt x="1058" y="2024"/>
                    </a:lnTo>
                    <a:lnTo>
                      <a:pt x="1053" y="2044"/>
                    </a:lnTo>
                    <a:lnTo>
                      <a:pt x="1048" y="2030"/>
                    </a:lnTo>
                    <a:lnTo>
                      <a:pt x="1047" y="2015"/>
                    </a:lnTo>
                    <a:lnTo>
                      <a:pt x="1033" y="2023"/>
                    </a:lnTo>
                    <a:lnTo>
                      <a:pt x="1024" y="2023"/>
                    </a:lnTo>
                    <a:lnTo>
                      <a:pt x="1015" y="2017"/>
                    </a:lnTo>
                    <a:lnTo>
                      <a:pt x="1004" y="1997"/>
                    </a:lnTo>
                    <a:lnTo>
                      <a:pt x="1000" y="1985"/>
                    </a:lnTo>
                    <a:lnTo>
                      <a:pt x="978" y="1960"/>
                    </a:lnTo>
                    <a:lnTo>
                      <a:pt x="968" y="1950"/>
                    </a:lnTo>
                    <a:lnTo>
                      <a:pt x="963" y="1935"/>
                    </a:lnTo>
                    <a:lnTo>
                      <a:pt x="962" y="1921"/>
                    </a:lnTo>
                    <a:lnTo>
                      <a:pt x="973" y="1920"/>
                    </a:lnTo>
                    <a:lnTo>
                      <a:pt x="981" y="1910"/>
                    </a:lnTo>
                    <a:lnTo>
                      <a:pt x="984" y="1896"/>
                    </a:lnTo>
                    <a:lnTo>
                      <a:pt x="999" y="1891"/>
                    </a:lnTo>
                    <a:lnTo>
                      <a:pt x="1054" y="1880"/>
                    </a:lnTo>
                    <a:lnTo>
                      <a:pt x="1046" y="1863"/>
                    </a:lnTo>
                    <a:lnTo>
                      <a:pt x="1044" y="1845"/>
                    </a:lnTo>
                    <a:lnTo>
                      <a:pt x="1041" y="1826"/>
                    </a:lnTo>
                    <a:lnTo>
                      <a:pt x="1031" y="1832"/>
                    </a:lnTo>
                    <a:lnTo>
                      <a:pt x="1021" y="1814"/>
                    </a:lnTo>
                    <a:lnTo>
                      <a:pt x="1015" y="1809"/>
                    </a:lnTo>
                    <a:lnTo>
                      <a:pt x="1015" y="1792"/>
                    </a:lnTo>
                    <a:lnTo>
                      <a:pt x="1004" y="1783"/>
                    </a:lnTo>
                    <a:lnTo>
                      <a:pt x="978" y="1776"/>
                    </a:lnTo>
                    <a:lnTo>
                      <a:pt x="955" y="1776"/>
                    </a:lnTo>
                    <a:lnTo>
                      <a:pt x="930" y="1773"/>
                    </a:lnTo>
                    <a:lnTo>
                      <a:pt x="919" y="1777"/>
                    </a:lnTo>
                    <a:lnTo>
                      <a:pt x="909" y="1775"/>
                    </a:lnTo>
                    <a:lnTo>
                      <a:pt x="868" y="1754"/>
                    </a:lnTo>
                    <a:lnTo>
                      <a:pt x="870" y="1764"/>
                    </a:lnTo>
                    <a:lnTo>
                      <a:pt x="917" y="1805"/>
                    </a:lnTo>
                    <a:lnTo>
                      <a:pt x="917" y="1838"/>
                    </a:lnTo>
                    <a:lnTo>
                      <a:pt x="919" y="1853"/>
                    </a:lnTo>
                    <a:lnTo>
                      <a:pt x="914" y="1873"/>
                    </a:lnTo>
                    <a:lnTo>
                      <a:pt x="915" y="1890"/>
                    </a:lnTo>
                    <a:lnTo>
                      <a:pt x="901" y="1939"/>
                    </a:lnTo>
                    <a:lnTo>
                      <a:pt x="901" y="1953"/>
                    </a:lnTo>
                    <a:lnTo>
                      <a:pt x="902" y="1970"/>
                    </a:lnTo>
                    <a:lnTo>
                      <a:pt x="907" y="1975"/>
                    </a:lnTo>
                    <a:lnTo>
                      <a:pt x="919" y="1975"/>
                    </a:lnTo>
                    <a:lnTo>
                      <a:pt x="929" y="1982"/>
                    </a:lnTo>
                    <a:lnTo>
                      <a:pt x="938" y="2002"/>
                    </a:lnTo>
                    <a:lnTo>
                      <a:pt x="938" y="2013"/>
                    </a:lnTo>
                    <a:lnTo>
                      <a:pt x="933" y="2026"/>
                    </a:lnTo>
                    <a:lnTo>
                      <a:pt x="936" y="2037"/>
                    </a:lnTo>
                    <a:lnTo>
                      <a:pt x="933" y="2056"/>
                    </a:lnTo>
                    <a:lnTo>
                      <a:pt x="922" y="2072"/>
                    </a:lnTo>
                    <a:lnTo>
                      <a:pt x="915" y="2096"/>
                    </a:lnTo>
                    <a:lnTo>
                      <a:pt x="922" y="2114"/>
                    </a:lnTo>
                    <a:lnTo>
                      <a:pt x="918" y="2149"/>
                    </a:lnTo>
                    <a:lnTo>
                      <a:pt x="908" y="2134"/>
                    </a:lnTo>
                    <a:lnTo>
                      <a:pt x="906" y="2123"/>
                    </a:lnTo>
                    <a:lnTo>
                      <a:pt x="898" y="2114"/>
                    </a:lnTo>
                    <a:lnTo>
                      <a:pt x="890" y="2115"/>
                    </a:lnTo>
                    <a:lnTo>
                      <a:pt x="877" y="2126"/>
                    </a:lnTo>
                    <a:lnTo>
                      <a:pt x="885" y="2111"/>
                    </a:lnTo>
                    <a:lnTo>
                      <a:pt x="886" y="2099"/>
                    </a:lnTo>
                    <a:lnTo>
                      <a:pt x="869" y="2085"/>
                    </a:lnTo>
                    <a:lnTo>
                      <a:pt x="860" y="2080"/>
                    </a:lnTo>
                    <a:lnTo>
                      <a:pt x="837" y="2080"/>
                    </a:lnTo>
                    <a:lnTo>
                      <a:pt x="816" y="2062"/>
                    </a:lnTo>
                    <a:lnTo>
                      <a:pt x="807" y="2072"/>
                    </a:lnTo>
                    <a:lnTo>
                      <a:pt x="804" y="2083"/>
                    </a:lnTo>
                    <a:lnTo>
                      <a:pt x="788" y="2099"/>
                    </a:lnTo>
                    <a:lnTo>
                      <a:pt x="779" y="2114"/>
                    </a:lnTo>
                    <a:lnTo>
                      <a:pt x="768" y="2126"/>
                    </a:lnTo>
                    <a:lnTo>
                      <a:pt x="743" y="2136"/>
                    </a:lnTo>
                    <a:lnTo>
                      <a:pt x="735" y="2136"/>
                    </a:lnTo>
                    <a:lnTo>
                      <a:pt x="723" y="2144"/>
                    </a:lnTo>
                    <a:lnTo>
                      <a:pt x="716" y="2159"/>
                    </a:lnTo>
                    <a:lnTo>
                      <a:pt x="704" y="2170"/>
                    </a:lnTo>
                    <a:lnTo>
                      <a:pt x="693" y="2180"/>
                    </a:lnTo>
                    <a:lnTo>
                      <a:pt x="681" y="2184"/>
                    </a:lnTo>
                    <a:lnTo>
                      <a:pt x="681" y="2197"/>
                    </a:lnTo>
                    <a:lnTo>
                      <a:pt x="683" y="2223"/>
                    </a:lnTo>
                    <a:lnTo>
                      <a:pt x="696" y="2246"/>
                    </a:lnTo>
                    <a:lnTo>
                      <a:pt x="707" y="2261"/>
                    </a:lnTo>
                    <a:lnTo>
                      <a:pt x="714" y="2276"/>
                    </a:lnTo>
                    <a:lnTo>
                      <a:pt x="727" y="2308"/>
                    </a:lnTo>
                    <a:lnTo>
                      <a:pt x="730" y="2316"/>
                    </a:lnTo>
                    <a:lnTo>
                      <a:pt x="739" y="2330"/>
                    </a:lnTo>
                    <a:lnTo>
                      <a:pt x="739" y="2336"/>
                    </a:lnTo>
                    <a:lnTo>
                      <a:pt x="720" y="2324"/>
                    </a:lnTo>
                    <a:lnTo>
                      <a:pt x="714" y="2326"/>
                    </a:lnTo>
                    <a:lnTo>
                      <a:pt x="686" y="2315"/>
                    </a:lnTo>
                    <a:lnTo>
                      <a:pt x="687" y="2321"/>
                    </a:lnTo>
                    <a:lnTo>
                      <a:pt x="684" y="2325"/>
                    </a:lnTo>
                    <a:lnTo>
                      <a:pt x="671" y="2322"/>
                    </a:lnTo>
                    <a:lnTo>
                      <a:pt x="653" y="2314"/>
                    </a:lnTo>
                    <a:lnTo>
                      <a:pt x="634" y="2300"/>
                    </a:lnTo>
                    <a:lnTo>
                      <a:pt x="619" y="2298"/>
                    </a:lnTo>
                    <a:lnTo>
                      <a:pt x="610" y="2290"/>
                    </a:lnTo>
                    <a:lnTo>
                      <a:pt x="595" y="2304"/>
                    </a:lnTo>
                    <a:lnTo>
                      <a:pt x="587" y="2317"/>
                    </a:lnTo>
                    <a:lnTo>
                      <a:pt x="584" y="2297"/>
                    </a:lnTo>
                    <a:lnTo>
                      <a:pt x="599" y="2288"/>
                    </a:lnTo>
                    <a:lnTo>
                      <a:pt x="586" y="2283"/>
                    </a:lnTo>
                    <a:lnTo>
                      <a:pt x="570" y="2279"/>
                    </a:lnTo>
                    <a:lnTo>
                      <a:pt x="567" y="2266"/>
                    </a:lnTo>
                    <a:lnTo>
                      <a:pt x="549" y="2255"/>
                    </a:lnTo>
                    <a:lnTo>
                      <a:pt x="531" y="2246"/>
                    </a:lnTo>
                    <a:lnTo>
                      <a:pt x="520" y="2244"/>
                    </a:lnTo>
                    <a:lnTo>
                      <a:pt x="517" y="2265"/>
                    </a:lnTo>
                    <a:lnTo>
                      <a:pt x="509" y="2276"/>
                    </a:lnTo>
                    <a:lnTo>
                      <a:pt x="499" y="2279"/>
                    </a:lnTo>
                    <a:lnTo>
                      <a:pt x="501" y="2289"/>
                    </a:lnTo>
                    <a:lnTo>
                      <a:pt x="508" y="2304"/>
                    </a:lnTo>
                    <a:lnTo>
                      <a:pt x="516" y="2309"/>
                    </a:lnTo>
                    <a:lnTo>
                      <a:pt x="527" y="2332"/>
                    </a:lnTo>
                    <a:lnTo>
                      <a:pt x="543" y="2349"/>
                    </a:lnTo>
                    <a:lnTo>
                      <a:pt x="574" y="2336"/>
                    </a:lnTo>
                    <a:lnTo>
                      <a:pt x="580" y="2352"/>
                    </a:lnTo>
                    <a:lnTo>
                      <a:pt x="587" y="2399"/>
                    </a:lnTo>
                    <a:lnTo>
                      <a:pt x="592" y="2407"/>
                    </a:lnTo>
                    <a:lnTo>
                      <a:pt x="575" y="2400"/>
                    </a:lnTo>
                    <a:lnTo>
                      <a:pt x="560" y="2410"/>
                    </a:lnTo>
                    <a:lnTo>
                      <a:pt x="557" y="2417"/>
                    </a:lnTo>
                    <a:lnTo>
                      <a:pt x="557" y="2421"/>
                    </a:lnTo>
                    <a:lnTo>
                      <a:pt x="543" y="2413"/>
                    </a:lnTo>
                    <a:lnTo>
                      <a:pt x="533" y="2411"/>
                    </a:lnTo>
                    <a:lnTo>
                      <a:pt x="501" y="2395"/>
                    </a:lnTo>
                    <a:lnTo>
                      <a:pt x="484" y="2390"/>
                    </a:lnTo>
                    <a:lnTo>
                      <a:pt x="482" y="2383"/>
                    </a:lnTo>
                    <a:lnTo>
                      <a:pt x="474" y="2372"/>
                    </a:lnTo>
                    <a:lnTo>
                      <a:pt x="466" y="2364"/>
                    </a:lnTo>
                    <a:lnTo>
                      <a:pt x="460" y="2354"/>
                    </a:lnTo>
                    <a:lnTo>
                      <a:pt x="450" y="2348"/>
                    </a:lnTo>
                    <a:lnTo>
                      <a:pt x="444" y="2354"/>
                    </a:lnTo>
                    <a:lnTo>
                      <a:pt x="433" y="2356"/>
                    </a:lnTo>
                    <a:lnTo>
                      <a:pt x="415" y="2342"/>
                    </a:lnTo>
                    <a:lnTo>
                      <a:pt x="409" y="2330"/>
                    </a:lnTo>
                    <a:lnTo>
                      <a:pt x="396" y="2337"/>
                    </a:lnTo>
                    <a:lnTo>
                      <a:pt x="398" y="2329"/>
                    </a:lnTo>
                    <a:lnTo>
                      <a:pt x="408" y="2319"/>
                    </a:lnTo>
                    <a:lnTo>
                      <a:pt x="406" y="2299"/>
                    </a:lnTo>
                    <a:lnTo>
                      <a:pt x="408" y="2282"/>
                    </a:lnTo>
                    <a:lnTo>
                      <a:pt x="397" y="2272"/>
                    </a:lnTo>
                    <a:lnTo>
                      <a:pt x="398" y="2257"/>
                    </a:lnTo>
                    <a:lnTo>
                      <a:pt x="380" y="2222"/>
                    </a:lnTo>
                    <a:lnTo>
                      <a:pt x="385" y="2213"/>
                    </a:lnTo>
                    <a:lnTo>
                      <a:pt x="398" y="2209"/>
                    </a:lnTo>
                    <a:lnTo>
                      <a:pt x="402" y="2187"/>
                    </a:lnTo>
                    <a:lnTo>
                      <a:pt x="404" y="2161"/>
                    </a:lnTo>
                    <a:lnTo>
                      <a:pt x="402" y="2150"/>
                    </a:lnTo>
                    <a:lnTo>
                      <a:pt x="395" y="2142"/>
                    </a:lnTo>
                    <a:lnTo>
                      <a:pt x="388" y="2122"/>
                    </a:lnTo>
                    <a:lnTo>
                      <a:pt x="384" y="2116"/>
                    </a:lnTo>
                    <a:lnTo>
                      <a:pt x="368" y="2114"/>
                    </a:lnTo>
                    <a:lnTo>
                      <a:pt x="363" y="2101"/>
                    </a:lnTo>
                    <a:lnTo>
                      <a:pt x="353" y="2100"/>
                    </a:lnTo>
                    <a:lnTo>
                      <a:pt x="336" y="2094"/>
                    </a:lnTo>
                    <a:lnTo>
                      <a:pt x="336" y="2087"/>
                    </a:lnTo>
                    <a:lnTo>
                      <a:pt x="338" y="2078"/>
                    </a:lnTo>
                    <a:lnTo>
                      <a:pt x="336" y="2073"/>
                    </a:lnTo>
                    <a:lnTo>
                      <a:pt x="318" y="2071"/>
                    </a:lnTo>
                    <a:lnTo>
                      <a:pt x="285" y="2041"/>
                    </a:lnTo>
                    <a:lnTo>
                      <a:pt x="291" y="2035"/>
                    </a:lnTo>
                    <a:lnTo>
                      <a:pt x="275" y="2020"/>
                    </a:lnTo>
                    <a:lnTo>
                      <a:pt x="272" y="2004"/>
                    </a:lnTo>
                    <a:lnTo>
                      <a:pt x="264" y="1992"/>
                    </a:lnTo>
                    <a:lnTo>
                      <a:pt x="248" y="1987"/>
                    </a:lnTo>
                    <a:lnTo>
                      <a:pt x="256" y="1980"/>
                    </a:lnTo>
                    <a:lnTo>
                      <a:pt x="275" y="1976"/>
                    </a:lnTo>
                    <a:lnTo>
                      <a:pt x="295" y="1987"/>
                    </a:lnTo>
                    <a:lnTo>
                      <a:pt x="296" y="1999"/>
                    </a:lnTo>
                    <a:lnTo>
                      <a:pt x="306" y="2013"/>
                    </a:lnTo>
                    <a:lnTo>
                      <a:pt x="334" y="2033"/>
                    </a:lnTo>
                    <a:lnTo>
                      <a:pt x="338" y="2030"/>
                    </a:lnTo>
                    <a:lnTo>
                      <a:pt x="342" y="2020"/>
                    </a:lnTo>
                    <a:lnTo>
                      <a:pt x="350" y="2035"/>
                    </a:lnTo>
                    <a:lnTo>
                      <a:pt x="359" y="2042"/>
                    </a:lnTo>
                    <a:lnTo>
                      <a:pt x="365" y="2036"/>
                    </a:lnTo>
                    <a:lnTo>
                      <a:pt x="370" y="2039"/>
                    </a:lnTo>
                    <a:lnTo>
                      <a:pt x="375" y="2033"/>
                    </a:lnTo>
                    <a:lnTo>
                      <a:pt x="381" y="2034"/>
                    </a:lnTo>
                    <a:lnTo>
                      <a:pt x="384" y="2047"/>
                    </a:lnTo>
                    <a:lnTo>
                      <a:pt x="387" y="2060"/>
                    </a:lnTo>
                    <a:lnTo>
                      <a:pt x="402" y="2053"/>
                    </a:lnTo>
                    <a:lnTo>
                      <a:pt x="420" y="2058"/>
                    </a:lnTo>
                    <a:lnTo>
                      <a:pt x="427" y="2068"/>
                    </a:lnTo>
                    <a:lnTo>
                      <a:pt x="439" y="2068"/>
                    </a:lnTo>
                    <a:lnTo>
                      <a:pt x="447" y="2078"/>
                    </a:lnTo>
                    <a:lnTo>
                      <a:pt x="479" y="2087"/>
                    </a:lnTo>
                    <a:lnTo>
                      <a:pt x="494" y="2094"/>
                    </a:lnTo>
                    <a:lnTo>
                      <a:pt x="522" y="2096"/>
                    </a:lnTo>
                    <a:lnTo>
                      <a:pt x="548" y="2106"/>
                    </a:lnTo>
                    <a:lnTo>
                      <a:pt x="557" y="2116"/>
                    </a:lnTo>
                    <a:lnTo>
                      <a:pt x="576" y="2120"/>
                    </a:lnTo>
                    <a:lnTo>
                      <a:pt x="624" y="2123"/>
                    </a:lnTo>
                    <a:lnTo>
                      <a:pt x="637" y="2117"/>
                    </a:lnTo>
                    <a:lnTo>
                      <a:pt x="649" y="2115"/>
                    </a:lnTo>
                    <a:lnTo>
                      <a:pt x="693" y="2095"/>
                    </a:lnTo>
                    <a:lnTo>
                      <a:pt x="703" y="2085"/>
                    </a:lnTo>
                    <a:lnTo>
                      <a:pt x="712" y="2079"/>
                    </a:lnTo>
                    <a:lnTo>
                      <a:pt x="731" y="2057"/>
                    </a:lnTo>
                    <a:lnTo>
                      <a:pt x="752" y="2023"/>
                    </a:lnTo>
                    <a:lnTo>
                      <a:pt x="761" y="1998"/>
                    </a:lnTo>
                    <a:lnTo>
                      <a:pt x="764" y="1975"/>
                    </a:lnTo>
                    <a:lnTo>
                      <a:pt x="755" y="1970"/>
                    </a:lnTo>
                    <a:lnTo>
                      <a:pt x="752" y="1966"/>
                    </a:lnTo>
                    <a:lnTo>
                      <a:pt x="751" y="1944"/>
                    </a:lnTo>
                    <a:lnTo>
                      <a:pt x="746" y="1929"/>
                    </a:lnTo>
                    <a:lnTo>
                      <a:pt x="746" y="1907"/>
                    </a:lnTo>
                    <a:lnTo>
                      <a:pt x="735" y="1892"/>
                    </a:lnTo>
                    <a:lnTo>
                      <a:pt x="724" y="1886"/>
                    </a:lnTo>
                    <a:lnTo>
                      <a:pt x="718" y="1890"/>
                    </a:lnTo>
                    <a:lnTo>
                      <a:pt x="709" y="1883"/>
                    </a:lnTo>
                    <a:lnTo>
                      <a:pt x="710" y="1873"/>
                    </a:lnTo>
                    <a:lnTo>
                      <a:pt x="704" y="1869"/>
                    </a:lnTo>
                    <a:lnTo>
                      <a:pt x="693" y="1854"/>
                    </a:lnTo>
                    <a:lnTo>
                      <a:pt x="689" y="1845"/>
                    </a:lnTo>
                    <a:lnTo>
                      <a:pt x="683" y="1841"/>
                    </a:lnTo>
                    <a:lnTo>
                      <a:pt x="676" y="1835"/>
                    </a:lnTo>
                    <a:lnTo>
                      <a:pt x="681" y="1848"/>
                    </a:lnTo>
                    <a:lnTo>
                      <a:pt x="672" y="1851"/>
                    </a:lnTo>
                    <a:lnTo>
                      <a:pt x="650" y="1835"/>
                    </a:lnTo>
                    <a:lnTo>
                      <a:pt x="642" y="1825"/>
                    </a:lnTo>
                    <a:lnTo>
                      <a:pt x="639" y="1834"/>
                    </a:lnTo>
                    <a:lnTo>
                      <a:pt x="635" y="1827"/>
                    </a:lnTo>
                    <a:lnTo>
                      <a:pt x="632" y="1815"/>
                    </a:lnTo>
                    <a:lnTo>
                      <a:pt x="619" y="1800"/>
                    </a:lnTo>
                    <a:lnTo>
                      <a:pt x="627" y="1818"/>
                    </a:lnTo>
                    <a:lnTo>
                      <a:pt x="606" y="1811"/>
                    </a:lnTo>
                    <a:lnTo>
                      <a:pt x="599" y="1800"/>
                    </a:lnTo>
                    <a:lnTo>
                      <a:pt x="596" y="1793"/>
                    </a:lnTo>
                    <a:lnTo>
                      <a:pt x="589" y="1783"/>
                    </a:lnTo>
                    <a:lnTo>
                      <a:pt x="558" y="1751"/>
                    </a:lnTo>
                    <a:lnTo>
                      <a:pt x="542" y="1739"/>
                    </a:lnTo>
                    <a:lnTo>
                      <a:pt x="535" y="1730"/>
                    </a:lnTo>
                    <a:lnTo>
                      <a:pt x="509" y="1712"/>
                    </a:lnTo>
                    <a:lnTo>
                      <a:pt x="500" y="1701"/>
                    </a:lnTo>
                    <a:lnTo>
                      <a:pt x="466" y="1682"/>
                    </a:lnTo>
                    <a:lnTo>
                      <a:pt x="461" y="1678"/>
                    </a:lnTo>
                    <a:lnTo>
                      <a:pt x="427" y="1669"/>
                    </a:lnTo>
                    <a:lnTo>
                      <a:pt x="429" y="1675"/>
                    </a:lnTo>
                    <a:lnTo>
                      <a:pt x="427" y="1679"/>
                    </a:lnTo>
                    <a:lnTo>
                      <a:pt x="420" y="1679"/>
                    </a:lnTo>
                    <a:lnTo>
                      <a:pt x="403" y="1670"/>
                    </a:lnTo>
                    <a:lnTo>
                      <a:pt x="369" y="1662"/>
                    </a:lnTo>
                    <a:lnTo>
                      <a:pt x="354" y="1655"/>
                    </a:lnTo>
                    <a:lnTo>
                      <a:pt x="350" y="1662"/>
                    </a:lnTo>
                    <a:lnTo>
                      <a:pt x="333" y="1664"/>
                    </a:lnTo>
                    <a:lnTo>
                      <a:pt x="326" y="1670"/>
                    </a:lnTo>
                    <a:lnTo>
                      <a:pt x="322" y="1660"/>
                    </a:lnTo>
                    <a:lnTo>
                      <a:pt x="317" y="1657"/>
                    </a:lnTo>
                    <a:lnTo>
                      <a:pt x="320" y="1644"/>
                    </a:lnTo>
                    <a:lnTo>
                      <a:pt x="317" y="1641"/>
                    </a:lnTo>
                    <a:lnTo>
                      <a:pt x="299" y="1657"/>
                    </a:lnTo>
                    <a:lnTo>
                      <a:pt x="302" y="1637"/>
                    </a:lnTo>
                    <a:lnTo>
                      <a:pt x="293" y="1644"/>
                    </a:lnTo>
                    <a:lnTo>
                      <a:pt x="294" y="1633"/>
                    </a:lnTo>
                    <a:lnTo>
                      <a:pt x="291" y="1632"/>
                    </a:lnTo>
                    <a:lnTo>
                      <a:pt x="283" y="1632"/>
                    </a:lnTo>
                    <a:lnTo>
                      <a:pt x="268" y="1638"/>
                    </a:lnTo>
                    <a:lnTo>
                      <a:pt x="271" y="1631"/>
                    </a:lnTo>
                    <a:lnTo>
                      <a:pt x="269" y="1625"/>
                    </a:lnTo>
                    <a:lnTo>
                      <a:pt x="267" y="1617"/>
                    </a:lnTo>
                    <a:lnTo>
                      <a:pt x="251" y="1619"/>
                    </a:lnTo>
                    <a:lnTo>
                      <a:pt x="257" y="1589"/>
                    </a:lnTo>
                    <a:lnTo>
                      <a:pt x="261" y="1603"/>
                    </a:lnTo>
                    <a:lnTo>
                      <a:pt x="267" y="1606"/>
                    </a:lnTo>
                    <a:lnTo>
                      <a:pt x="273" y="1606"/>
                    </a:lnTo>
                    <a:lnTo>
                      <a:pt x="279" y="1614"/>
                    </a:lnTo>
                    <a:lnTo>
                      <a:pt x="290" y="1612"/>
                    </a:lnTo>
                    <a:lnTo>
                      <a:pt x="299" y="1616"/>
                    </a:lnTo>
                    <a:lnTo>
                      <a:pt x="307" y="1600"/>
                    </a:lnTo>
                    <a:lnTo>
                      <a:pt x="309" y="1589"/>
                    </a:lnTo>
                    <a:lnTo>
                      <a:pt x="290" y="1583"/>
                    </a:lnTo>
                    <a:lnTo>
                      <a:pt x="283" y="1585"/>
                    </a:lnTo>
                    <a:lnTo>
                      <a:pt x="275" y="1579"/>
                    </a:lnTo>
                    <a:lnTo>
                      <a:pt x="274" y="1573"/>
                    </a:lnTo>
                    <a:lnTo>
                      <a:pt x="259" y="1565"/>
                    </a:lnTo>
                    <a:lnTo>
                      <a:pt x="242" y="1558"/>
                    </a:lnTo>
                    <a:lnTo>
                      <a:pt x="248" y="1567"/>
                    </a:lnTo>
                    <a:lnTo>
                      <a:pt x="247" y="1582"/>
                    </a:lnTo>
                    <a:lnTo>
                      <a:pt x="239" y="1583"/>
                    </a:lnTo>
                    <a:lnTo>
                      <a:pt x="235" y="1579"/>
                    </a:lnTo>
                    <a:lnTo>
                      <a:pt x="232" y="1587"/>
                    </a:lnTo>
                    <a:lnTo>
                      <a:pt x="235" y="1598"/>
                    </a:lnTo>
                    <a:lnTo>
                      <a:pt x="231" y="1604"/>
                    </a:lnTo>
                    <a:lnTo>
                      <a:pt x="221" y="1604"/>
                    </a:lnTo>
                    <a:lnTo>
                      <a:pt x="210" y="1593"/>
                    </a:lnTo>
                    <a:lnTo>
                      <a:pt x="191" y="1583"/>
                    </a:lnTo>
                    <a:lnTo>
                      <a:pt x="189" y="1584"/>
                    </a:lnTo>
                    <a:lnTo>
                      <a:pt x="192" y="1589"/>
                    </a:lnTo>
                    <a:lnTo>
                      <a:pt x="191" y="1600"/>
                    </a:lnTo>
                    <a:lnTo>
                      <a:pt x="187" y="1612"/>
                    </a:lnTo>
                    <a:lnTo>
                      <a:pt x="185" y="1617"/>
                    </a:lnTo>
                    <a:lnTo>
                      <a:pt x="172" y="1621"/>
                    </a:lnTo>
                    <a:lnTo>
                      <a:pt x="150" y="1606"/>
                    </a:lnTo>
                    <a:lnTo>
                      <a:pt x="144" y="1637"/>
                    </a:lnTo>
                    <a:lnTo>
                      <a:pt x="138" y="1644"/>
                    </a:lnTo>
                    <a:lnTo>
                      <a:pt x="106" y="1664"/>
                    </a:lnTo>
                    <a:lnTo>
                      <a:pt x="103" y="1669"/>
                    </a:lnTo>
                    <a:lnTo>
                      <a:pt x="102" y="1680"/>
                    </a:lnTo>
                    <a:lnTo>
                      <a:pt x="101" y="1684"/>
                    </a:lnTo>
                    <a:lnTo>
                      <a:pt x="92" y="1692"/>
                    </a:lnTo>
                    <a:lnTo>
                      <a:pt x="90" y="1694"/>
                    </a:lnTo>
                    <a:lnTo>
                      <a:pt x="59" y="1721"/>
                    </a:lnTo>
                    <a:lnTo>
                      <a:pt x="69" y="1725"/>
                    </a:lnTo>
                    <a:lnTo>
                      <a:pt x="69" y="1730"/>
                    </a:lnTo>
                    <a:lnTo>
                      <a:pt x="58" y="1759"/>
                    </a:lnTo>
                    <a:lnTo>
                      <a:pt x="57" y="1768"/>
                    </a:lnTo>
                    <a:lnTo>
                      <a:pt x="59" y="1794"/>
                    </a:lnTo>
                    <a:lnTo>
                      <a:pt x="64" y="1814"/>
                    </a:lnTo>
                    <a:lnTo>
                      <a:pt x="69" y="1821"/>
                    </a:lnTo>
                    <a:lnTo>
                      <a:pt x="79" y="1827"/>
                    </a:lnTo>
                    <a:lnTo>
                      <a:pt x="92" y="1830"/>
                    </a:lnTo>
                    <a:lnTo>
                      <a:pt x="107" y="1837"/>
                    </a:lnTo>
                    <a:lnTo>
                      <a:pt x="127" y="1875"/>
                    </a:lnTo>
                    <a:lnTo>
                      <a:pt x="137" y="1890"/>
                    </a:lnTo>
                    <a:lnTo>
                      <a:pt x="140" y="1912"/>
                    </a:lnTo>
                    <a:lnTo>
                      <a:pt x="122" y="1949"/>
                    </a:lnTo>
                    <a:lnTo>
                      <a:pt x="103" y="1992"/>
                    </a:lnTo>
                    <a:lnTo>
                      <a:pt x="97" y="2005"/>
                    </a:lnTo>
                    <a:lnTo>
                      <a:pt x="99" y="2026"/>
                    </a:lnTo>
                    <a:lnTo>
                      <a:pt x="108" y="2046"/>
                    </a:lnTo>
                    <a:lnTo>
                      <a:pt x="116" y="2063"/>
                    </a:lnTo>
                    <a:lnTo>
                      <a:pt x="118" y="2082"/>
                    </a:lnTo>
                    <a:lnTo>
                      <a:pt x="133" y="2109"/>
                    </a:lnTo>
                    <a:lnTo>
                      <a:pt x="144" y="2143"/>
                    </a:lnTo>
                    <a:lnTo>
                      <a:pt x="146" y="2160"/>
                    </a:lnTo>
                    <a:lnTo>
                      <a:pt x="148" y="2175"/>
                    </a:lnTo>
                    <a:lnTo>
                      <a:pt x="134" y="2187"/>
                    </a:lnTo>
                    <a:lnTo>
                      <a:pt x="132" y="2209"/>
                    </a:lnTo>
                    <a:lnTo>
                      <a:pt x="127" y="2225"/>
                    </a:lnTo>
                    <a:lnTo>
                      <a:pt x="130" y="2235"/>
                    </a:lnTo>
                    <a:lnTo>
                      <a:pt x="132" y="2254"/>
                    </a:lnTo>
                    <a:lnTo>
                      <a:pt x="126" y="2265"/>
                    </a:lnTo>
                    <a:lnTo>
                      <a:pt x="127" y="2286"/>
                    </a:lnTo>
                    <a:lnTo>
                      <a:pt x="143" y="2289"/>
                    </a:lnTo>
                    <a:lnTo>
                      <a:pt x="151" y="2306"/>
                    </a:lnTo>
                    <a:lnTo>
                      <a:pt x="149" y="2327"/>
                    </a:lnTo>
                    <a:lnTo>
                      <a:pt x="156" y="2343"/>
                    </a:lnTo>
                    <a:lnTo>
                      <a:pt x="172" y="2358"/>
                    </a:lnTo>
                    <a:lnTo>
                      <a:pt x="173" y="2378"/>
                    </a:lnTo>
                    <a:lnTo>
                      <a:pt x="167" y="2396"/>
                    </a:lnTo>
                    <a:lnTo>
                      <a:pt x="157" y="2411"/>
                    </a:lnTo>
                    <a:lnTo>
                      <a:pt x="153" y="2427"/>
                    </a:lnTo>
                    <a:lnTo>
                      <a:pt x="159" y="2445"/>
                    </a:lnTo>
                    <a:lnTo>
                      <a:pt x="167" y="2458"/>
                    </a:lnTo>
                    <a:lnTo>
                      <a:pt x="197" y="2481"/>
                    </a:lnTo>
                    <a:lnTo>
                      <a:pt x="202" y="2498"/>
                    </a:lnTo>
                    <a:lnTo>
                      <a:pt x="212" y="2515"/>
                    </a:lnTo>
                    <a:lnTo>
                      <a:pt x="216" y="2509"/>
                    </a:lnTo>
                    <a:lnTo>
                      <a:pt x="215" y="2548"/>
                    </a:lnTo>
                    <a:lnTo>
                      <a:pt x="199" y="2586"/>
                    </a:lnTo>
                    <a:lnTo>
                      <a:pt x="186" y="2606"/>
                    </a:lnTo>
                    <a:lnTo>
                      <a:pt x="134" y="2675"/>
                    </a:lnTo>
                    <a:lnTo>
                      <a:pt x="96" y="2718"/>
                    </a:lnTo>
                    <a:lnTo>
                      <a:pt x="46" y="2767"/>
                    </a:lnTo>
                    <a:lnTo>
                      <a:pt x="10" y="2794"/>
                    </a:lnTo>
                    <a:lnTo>
                      <a:pt x="33" y="2798"/>
                    </a:lnTo>
                    <a:lnTo>
                      <a:pt x="44" y="2785"/>
                    </a:lnTo>
                    <a:lnTo>
                      <a:pt x="63" y="2776"/>
                    </a:lnTo>
                    <a:lnTo>
                      <a:pt x="64" y="2783"/>
                    </a:lnTo>
                    <a:lnTo>
                      <a:pt x="63" y="2788"/>
                    </a:lnTo>
                    <a:lnTo>
                      <a:pt x="63" y="2805"/>
                    </a:lnTo>
                    <a:lnTo>
                      <a:pt x="58" y="2798"/>
                    </a:lnTo>
                    <a:lnTo>
                      <a:pt x="54" y="2797"/>
                    </a:lnTo>
                    <a:lnTo>
                      <a:pt x="54" y="2811"/>
                    </a:lnTo>
                    <a:lnTo>
                      <a:pt x="59" y="2820"/>
                    </a:lnTo>
                    <a:lnTo>
                      <a:pt x="64" y="2821"/>
                    </a:lnTo>
                    <a:lnTo>
                      <a:pt x="70" y="2824"/>
                    </a:lnTo>
                    <a:lnTo>
                      <a:pt x="87" y="2838"/>
                    </a:lnTo>
                    <a:lnTo>
                      <a:pt x="99" y="2838"/>
                    </a:lnTo>
                    <a:lnTo>
                      <a:pt x="117" y="2833"/>
                    </a:lnTo>
                    <a:lnTo>
                      <a:pt x="128" y="2837"/>
                    </a:lnTo>
                    <a:lnTo>
                      <a:pt x="137" y="2844"/>
                    </a:lnTo>
                    <a:lnTo>
                      <a:pt x="137" y="2854"/>
                    </a:lnTo>
                    <a:lnTo>
                      <a:pt x="143" y="2858"/>
                    </a:lnTo>
                    <a:lnTo>
                      <a:pt x="150" y="2859"/>
                    </a:lnTo>
                    <a:lnTo>
                      <a:pt x="151" y="2863"/>
                    </a:lnTo>
                    <a:lnTo>
                      <a:pt x="145" y="2868"/>
                    </a:lnTo>
                    <a:lnTo>
                      <a:pt x="137" y="2868"/>
                    </a:lnTo>
                    <a:lnTo>
                      <a:pt x="110" y="2860"/>
                    </a:lnTo>
                    <a:lnTo>
                      <a:pt x="91" y="2859"/>
                    </a:lnTo>
                    <a:lnTo>
                      <a:pt x="85" y="2865"/>
                    </a:lnTo>
                    <a:lnTo>
                      <a:pt x="83" y="2873"/>
                    </a:lnTo>
                    <a:lnTo>
                      <a:pt x="68" y="2881"/>
                    </a:lnTo>
                    <a:lnTo>
                      <a:pt x="60" y="2876"/>
                    </a:lnTo>
                    <a:lnTo>
                      <a:pt x="54" y="2879"/>
                    </a:lnTo>
                    <a:lnTo>
                      <a:pt x="51" y="2889"/>
                    </a:lnTo>
                    <a:lnTo>
                      <a:pt x="44" y="2892"/>
                    </a:lnTo>
                    <a:lnTo>
                      <a:pt x="38" y="2886"/>
                    </a:lnTo>
                    <a:lnTo>
                      <a:pt x="31" y="2883"/>
                    </a:lnTo>
                    <a:lnTo>
                      <a:pt x="27" y="2891"/>
                    </a:lnTo>
                    <a:lnTo>
                      <a:pt x="30" y="2907"/>
                    </a:lnTo>
                    <a:lnTo>
                      <a:pt x="37" y="2908"/>
                    </a:lnTo>
                    <a:lnTo>
                      <a:pt x="42" y="2914"/>
                    </a:lnTo>
                    <a:lnTo>
                      <a:pt x="44" y="2922"/>
                    </a:lnTo>
                    <a:lnTo>
                      <a:pt x="41" y="2930"/>
                    </a:lnTo>
                    <a:lnTo>
                      <a:pt x="30" y="2941"/>
                    </a:lnTo>
                    <a:lnTo>
                      <a:pt x="21" y="2956"/>
                    </a:lnTo>
                    <a:lnTo>
                      <a:pt x="15" y="2970"/>
                    </a:lnTo>
                    <a:lnTo>
                      <a:pt x="19" y="2983"/>
                    </a:lnTo>
                    <a:lnTo>
                      <a:pt x="16" y="3002"/>
                    </a:lnTo>
                    <a:lnTo>
                      <a:pt x="17" y="3008"/>
                    </a:lnTo>
                    <a:lnTo>
                      <a:pt x="20" y="3013"/>
                    </a:lnTo>
                    <a:lnTo>
                      <a:pt x="20" y="3019"/>
                    </a:lnTo>
                    <a:lnTo>
                      <a:pt x="17" y="3026"/>
                    </a:lnTo>
                    <a:lnTo>
                      <a:pt x="9" y="3035"/>
                    </a:lnTo>
                    <a:lnTo>
                      <a:pt x="4" y="3038"/>
                    </a:lnTo>
                    <a:lnTo>
                      <a:pt x="1" y="3046"/>
                    </a:lnTo>
                    <a:lnTo>
                      <a:pt x="5" y="3053"/>
                    </a:lnTo>
                    <a:lnTo>
                      <a:pt x="14" y="3054"/>
                    </a:lnTo>
                    <a:lnTo>
                      <a:pt x="27" y="3053"/>
                    </a:lnTo>
                    <a:lnTo>
                      <a:pt x="38" y="3070"/>
                    </a:lnTo>
                    <a:lnTo>
                      <a:pt x="37" y="3086"/>
                    </a:lnTo>
                    <a:lnTo>
                      <a:pt x="27" y="3086"/>
                    </a:lnTo>
                    <a:lnTo>
                      <a:pt x="19" y="3075"/>
                    </a:lnTo>
                    <a:lnTo>
                      <a:pt x="10" y="3068"/>
                    </a:lnTo>
                    <a:lnTo>
                      <a:pt x="10" y="3083"/>
                    </a:lnTo>
                    <a:lnTo>
                      <a:pt x="6" y="3090"/>
                    </a:lnTo>
                    <a:lnTo>
                      <a:pt x="0" y="3105"/>
                    </a:lnTo>
                    <a:lnTo>
                      <a:pt x="1" y="3112"/>
                    </a:lnTo>
                    <a:lnTo>
                      <a:pt x="6" y="3118"/>
                    </a:lnTo>
                    <a:lnTo>
                      <a:pt x="10" y="3126"/>
                    </a:lnTo>
                    <a:lnTo>
                      <a:pt x="17" y="3129"/>
                    </a:lnTo>
                    <a:lnTo>
                      <a:pt x="21" y="3137"/>
                    </a:lnTo>
                    <a:lnTo>
                      <a:pt x="22" y="3145"/>
                    </a:lnTo>
                    <a:lnTo>
                      <a:pt x="17" y="3169"/>
                    </a:lnTo>
                    <a:lnTo>
                      <a:pt x="14" y="3176"/>
                    </a:lnTo>
                    <a:lnTo>
                      <a:pt x="22" y="3179"/>
                    </a:lnTo>
                    <a:lnTo>
                      <a:pt x="29" y="3183"/>
                    </a:lnTo>
                    <a:lnTo>
                      <a:pt x="29" y="3191"/>
                    </a:lnTo>
                    <a:lnTo>
                      <a:pt x="42" y="3213"/>
                    </a:lnTo>
                    <a:lnTo>
                      <a:pt x="44" y="3222"/>
                    </a:lnTo>
                    <a:lnTo>
                      <a:pt x="48" y="3229"/>
                    </a:lnTo>
                    <a:lnTo>
                      <a:pt x="48" y="3245"/>
                    </a:lnTo>
                    <a:lnTo>
                      <a:pt x="47" y="3252"/>
                    </a:lnTo>
                    <a:lnTo>
                      <a:pt x="49" y="3260"/>
                    </a:lnTo>
                    <a:lnTo>
                      <a:pt x="65" y="3257"/>
                    </a:lnTo>
                    <a:lnTo>
                      <a:pt x="73" y="3261"/>
                    </a:lnTo>
                    <a:lnTo>
                      <a:pt x="76" y="3268"/>
                    </a:lnTo>
                    <a:lnTo>
                      <a:pt x="92" y="3266"/>
                    </a:lnTo>
                    <a:lnTo>
                      <a:pt x="101" y="3267"/>
                    </a:lnTo>
                    <a:lnTo>
                      <a:pt x="113" y="3276"/>
                    </a:lnTo>
                    <a:lnTo>
                      <a:pt x="111" y="3296"/>
                    </a:lnTo>
                    <a:lnTo>
                      <a:pt x="126" y="3288"/>
                    </a:lnTo>
                    <a:lnTo>
                      <a:pt x="133" y="3287"/>
                    </a:lnTo>
                    <a:lnTo>
                      <a:pt x="139" y="3282"/>
                    </a:lnTo>
                    <a:lnTo>
                      <a:pt x="155" y="3280"/>
                    </a:lnTo>
                    <a:lnTo>
                      <a:pt x="162" y="3282"/>
                    </a:lnTo>
                    <a:lnTo>
                      <a:pt x="170" y="3287"/>
                    </a:lnTo>
                    <a:lnTo>
                      <a:pt x="176" y="3292"/>
                    </a:lnTo>
                    <a:lnTo>
                      <a:pt x="185" y="3305"/>
                    </a:lnTo>
                    <a:lnTo>
                      <a:pt x="193" y="3306"/>
                    </a:lnTo>
                    <a:lnTo>
                      <a:pt x="194" y="3317"/>
                    </a:lnTo>
                    <a:lnTo>
                      <a:pt x="192" y="3325"/>
                    </a:lnTo>
                    <a:lnTo>
                      <a:pt x="192" y="3333"/>
                    </a:lnTo>
                    <a:lnTo>
                      <a:pt x="197" y="3341"/>
                    </a:lnTo>
                    <a:lnTo>
                      <a:pt x="199" y="3348"/>
                    </a:lnTo>
                    <a:lnTo>
                      <a:pt x="198" y="3355"/>
                    </a:lnTo>
                    <a:lnTo>
                      <a:pt x="196" y="3363"/>
                    </a:lnTo>
                    <a:lnTo>
                      <a:pt x="189" y="3368"/>
                    </a:lnTo>
                    <a:lnTo>
                      <a:pt x="187" y="3376"/>
                    </a:lnTo>
                    <a:lnTo>
                      <a:pt x="189" y="3384"/>
                    </a:lnTo>
                    <a:lnTo>
                      <a:pt x="202" y="3395"/>
                    </a:lnTo>
                    <a:lnTo>
                      <a:pt x="205" y="3411"/>
                    </a:lnTo>
                    <a:lnTo>
                      <a:pt x="216" y="3433"/>
                    </a:lnTo>
                    <a:lnTo>
                      <a:pt x="221" y="3439"/>
                    </a:lnTo>
                    <a:lnTo>
                      <a:pt x="236" y="3448"/>
                    </a:lnTo>
                    <a:lnTo>
                      <a:pt x="241" y="3454"/>
                    </a:lnTo>
                    <a:lnTo>
                      <a:pt x="242" y="3462"/>
                    </a:lnTo>
                    <a:lnTo>
                      <a:pt x="241" y="3470"/>
                    </a:lnTo>
                    <a:lnTo>
                      <a:pt x="245" y="3477"/>
                    </a:lnTo>
                    <a:lnTo>
                      <a:pt x="268" y="3475"/>
                    </a:lnTo>
                    <a:lnTo>
                      <a:pt x="274" y="3479"/>
                    </a:lnTo>
                    <a:lnTo>
                      <a:pt x="282" y="3482"/>
                    </a:lnTo>
                    <a:lnTo>
                      <a:pt x="279" y="3489"/>
                    </a:lnTo>
                    <a:lnTo>
                      <a:pt x="284" y="3495"/>
                    </a:lnTo>
                    <a:lnTo>
                      <a:pt x="294" y="3497"/>
                    </a:lnTo>
                    <a:lnTo>
                      <a:pt x="295" y="3510"/>
                    </a:lnTo>
                    <a:lnTo>
                      <a:pt x="288" y="3515"/>
                    </a:lnTo>
                    <a:lnTo>
                      <a:pt x="284" y="3522"/>
                    </a:lnTo>
                    <a:lnTo>
                      <a:pt x="272" y="3532"/>
                    </a:lnTo>
                    <a:lnTo>
                      <a:pt x="264" y="3537"/>
                    </a:lnTo>
                    <a:lnTo>
                      <a:pt x="247" y="3535"/>
                    </a:lnTo>
                    <a:lnTo>
                      <a:pt x="235" y="3524"/>
                    </a:lnTo>
                    <a:lnTo>
                      <a:pt x="228" y="3524"/>
                    </a:lnTo>
                    <a:lnTo>
                      <a:pt x="220" y="3527"/>
                    </a:lnTo>
                    <a:lnTo>
                      <a:pt x="219" y="3535"/>
                    </a:lnTo>
                    <a:lnTo>
                      <a:pt x="212" y="3538"/>
                    </a:lnTo>
                    <a:lnTo>
                      <a:pt x="213" y="3546"/>
                    </a:lnTo>
                    <a:lnTo>
                      <a:pt x="224" y="3557"/>
                    </a:lnTo>
                    <a:lnTo>
                      <a:pt x="226" y="3564"/>
                    </a:lnTo>
                    <a:lnTo>
                      <a:pt x="224" y="3573"/>
                    </a:lnTo>
                    <a:lnTo>
                      <a:pt x="229" y="3578"/>
                    </a:lnTo>
                    <a:lnTo>
                      <a:pt x="228" y="3586"/>
                    </a:lnTo>
                    <a:lnTo>
                      <a:pt x="235" y="3590"/>
                    </a:lnTo>
                    <a:lnTo>
                      <a:pt x="237" y="3597"/>
                    </a:lnTo>
                    <a:lnTo>
                      <a:pt x="236" y="3606"/>
                    </a:lnTo>
                    <a:lnTo>
                      <a:pt x="241" y="3627"/>
                    </a:lnTo>
                    <a:lnTo>
                      <a:pt x="241" y="3627"/>
                    </a:lnTo>
                    <a:lnTo>
                      <a:pt x="247" y="3633"/>
                    </a:lnTo>
                    <a:lnTo>
                      <a:pt x="255" y="3635"/>
                    </a:lnTo>
                    <a:lnTo>
                      <a:pt x="262" y="3632"/>
                    </a:lnTo>
                    <a:lnTo>
                      <a:pt x="267" y="3626"/>
                    </a:lnTo>
                    <a:lnTo>
                      <a:pt x="269" y="3617"/>
                    </a:lnTo>
                    <a:lnTo>
                      <a:pt x="277" y="3612"/>
                    </a:lnTo>
                    <a:lnTo>
                      <a:pt x="293" y="3616"/>
                    </a:lnTo>
                    <a:lnTo>
                      <a:pt x="301" y="3616"/>
                    </a:lnTo>
                    <a:lnTo>
                      <a:pt x="317" y="3611"/>
                    </a:lnTo>
                    <a:lnTo>
                      <a:pt x="333" y="3613"/>
                    </a:lnTo>
                    <a:lnTo>
                      <a:pt x="349" y="3610"/>
                    </a:lnTo>
                    <a:lnTo>
                      <a:pt x="361" y="3619"/>
                    </a:lnTo>
                    <a:lnTo>
                      <a:pt x="366" y="3627"/>
                    </a:lnTo>
                    <a:lnTo>
                      <a:pt x="366" y="3635"/>
                    </a:lnTo>
                    <a:lnTo>
                      <a:pt x="379" y="3647"/>
                    </a:lnTo>
                    <a:lnTo>
                      <a:pt x="384" y="3653"/>
                    </a:lnTo>
                    <a:lnTo>
                      <a:pt x="384" y="3662"/>
                    </a:lnTo>
                    <a:lnTo>
                      <a:pt x="375" y="3666"/>
                    </a:lnTo>
                    <a:lnTo>
                      <a:pt x="368" y="3667"/>
                    </a:lnTo>
                    <a:lnTo>
                      <a:pt x="371" y="3675"/>
                    </a:lnTo>
                    <a:lnTo>
                      <a:pt x="371" y="3682"/>
                    </a:lnTo>
                    <a:lnTo>
                      <a:pt x="375" y="3698"/>
                    </a:lnTo>
                    <a:lnTo>
                      <a:pt x="382" y="3703"/>
                    </a:lnTo>
                    <a:lnTo>
                      <a:pt x="390" y="3705"/>
                    </a:lnTo>
                    <a:lnTo>
                      <a:pt x="406" y="3710"/>
                    </a:lnTo>
                    <a:lnTo>
                      <a:pt x="413" y="3707"/>
                    </a:lnTo>
                    <a:lnTo>
                      <a:pt x="422" y="3707"/>
                    </a:lnTo>
                    <a:lnTo>
                      <a:pt x="424" y="3715"/>
                    </a:lnTo>
                    <a:lnTo>
                      <a:pt x="435" y="3726"/>
                    </a:lnTo>
                    <a:lnTo>
                      <a:pt x="442" y="3753"/>
                    </a:lnTo>
                    <a:lnTo>
                      <a:pt x="440" y="3762"/>
                    </a:lnTo>
                    <a:lnTo>
                      <a:pt x="442" y="3769"/>
                    </a:lnTo>
                    <a:lnTo>
                      <a:pt x="449" y="3774"/>
                    </a:lnTo>
                    <a:lnTo>
                      <a:pt x="456" y="3779"/>
                    </a:lnTo>
                    <a:lnTo>
                      <a:pt x="463" y="3775"/>
                    </a:lnTo>
                    <a:lnTo>
                      <a:pt x="471" y="3774"/>
                    </a:lnTo>
                    <a:lnTo>
                      <a:pt x="479" y="3775"/>
                    </a:lnTo>
                    <a:lnTo>
                      <a:pt x="490" y="3787"/>
                    </a:lnTo>
                    <a:lnTo>
                      <a:pt x="499" y="3784"/>
                    </a:lnTo>
                    <a:lnTo>
                      <a:pt x="506" y="3788"/>
                    </a:lnTo>
                    <a:lnTo>
                      <a:pt x="531" y="3780"/>
                    </a:lnTo>
                    <a:lnTo>
                      <a:pt x="546" y="3773"/>
                    </a:lnTo>
                    <a:lnTo>
                      <a:pt x="553" y="3775"/>
                    </a:lnTo>
                    <a:lnTo>
                      <a:pt x="558" y="3782"/>
                    </a:lnTo>
                    <a:lnTo>
                      <a:pt x="569" y="3804"/>
                    </a:lnTo>
                    <a:lnTo>
                      <a:pt x="580" y="3816"/>
                    </a:lnTo>
                    <a:lnTo>
                      <a:pt x="587" y="3816"/>
                    </a:lnTo>
                    <a:lnTo>
                      <a:pt x="591" y="3809"/>
                    </a:lnTo>
                    <a:lnTo>
                      <a:pt x="600" y="3809"/>
                    </a:lnTo>
                    <a:lnTo>
                      <a:pt x="605" y="3815"/>
                    </a:lnTo>
                    <a:lnTo>
                      <a:pt x="612" y="3816"/>
                    </a:lnTo>
                    <a:lnTo>
                      <a:pt x="619" y="3820"/>
                    </a:lnTo>
                    <a:lnTo>
                      <a:pt x="626" y="3826"/>
                    </a:lnTo>
                    <a:lnTo>
                      <a:pt x="642" y="3825"/>
                    </a:lnTo>
                    <a:lnTo>
                      <a:pt x="655" y="3834"/>
                    </a:lnTo>
                    <a:lnTo>
                      <a:pt x="662" y="3833"/>
                    </a:lnTo>
                    <a:lnTo>
                      <a:pt x="675" y="3844"/>
                    </a:lnTo>
                    <a:lnTo>
                      <a:pt x="683" y="3845"/>
                    </a:lnTo>
                    <a:lnTo>
                      <a:pt x="692" y="3845"/>
                    </a:lnTo>
                    <a:lnTo>
                      <a:pt x="698" y="3850"/>
                    </a:lnTo>
                    <a:lnTo>
                      <a:pt x="691" y="3854"/>
                    </a:lnTo>
                    <a:lnTo>
                      <a:pt x="699" y="3877"/>
                    </a:lnTo>
                    <a:lnTo>
                      <a:pt x="691" y="3892"/>
                    </a:lnTo>
                    <a:lnTo>
                      <a:pt x="675" y="3896"/>
                    </a:lnTo>
                    <a:lnTo>
                      <a:pt x="680" y="3902"/>
                    </a:lnTo>
                    <a:lnTo>
                      <a:pt x="688" y="3904"/>
                    </a:lnTo>
                    <a:lnTo>
                      <a:pt x="693" y="3911"/>
                    </a:lnTo>
                    <a:lnTo>
                      <a:pt x="676" y="3916"/>
                    </a:lnTo>
                    <a:lnTo>
                      <a:pt x="673" y="3922"/>
                    </a:lnTo>
                    <a:lnTo>
                      <a:pt x="672" y="3930"/>
                    </a:lnTo>
                    <a:lnTo>
                      <a:pt x="677" y="3936"/>
                    </a:lnTo>
                    <a:lnTo>
                      <a:pt x="680" y="3944"/>
                    </a:lnTo>
                    <a:lnTo>
                      <a:pt x="678" y="3952"/>
                    </a:lnTo>
                    <a:lnTo>
                      <a:pt x="686" y="3956"/>
                    </a:lnTo>
                    <a:lnTo>
                      <a:pt x="682" y="3972"/>
                    </a:lnTo>
                    <a:lnTo>
                      <a:pt x="675" y="3995"/>
                    </a:lnTo>
                    <a:lnTo>
                      <a:pt x="667" y="3999"/>
                    </a:lnTo>
                    <a:lnTo>
                      <a:pt x="653" y="3995"/>
                    </a:lnTo>
                    <a:lnTo>
                      <a:pt x="644" y="3997"/>
                    </a:lnTo>
                    <a:lnTo>
                      <a:pt x="629" y="3989"/>
                    </a:lnTo>
                    <a:lnTo>
                      <a:pt x="623" y="3994"/>
                    </a:lnTo>
                    <a:lnTo>
                      <a:pt x="614" y="4008"/>
                    </a:lnTo>
                    <a:lnTo>
                      <a:pt x="600" y="4014"/>
                    </a:lnTo>
                    <a:lnTo>
                      <a:pt x="592" y="4029"/>
                    </a:lnTo>
                    <a:lnTo>
                      <a:pt x="594" y="4037"/>
                    </a:lnTo>
                    <a:lnTo>
                      <a:pt x="594" y="4052"/>
                    </a:lnTo>
                    <a:lnTo>
                      <a:pt x="607" y="4047"/>
                    </a:lnTo>
                    <a:lnTo>
                      <a:pt x="617" y="4048"/>
                    </a:lnTo>
                    <a:lnTo>
                      <a:pt x="623" y="4043"/>
                    </a:lnTo>
                    <a:lnTo>
                      <a:pt x="638" y="4041"/>
                    </a:lnTo>
                    <a:lnTo>
                      <a:pt x="644" y="4043"/>
                    </a:lnTo>
                    <a:lnTo>
                      <a:pt x="645" y="4049"/>
                    </a:lnTo>
                    <a:lnTo>
                      <a:pt x="653" y="4051"/>
                    </a:lnTo>
                    <a:lnTo>
                      <a:pt x="655" y="4053"/>
                    </a:lnTo>
                    <a:lnTo>
                      <a:pt x="654" y="4058"/>
                    </a:lnTo>
                    <a:lnTo>
                      <a:pt x="644" y="4058"/>
                    </a:lnTo>
                    <a:lnTo>
                      <a:pt x="632" y="4063"/>
                    </a:lnTo>
                    <a:lnTo>
                      <a:pt x="616" y="4073"/>
                    </a:lnTo>
                    <a:lnTo>
                      <a:pt x="605" y="4076"/>
                    </a:lnTo>
                    <a:lnTo>
                      <a:pt x="605" y="4081"/>
                    </a:lnTo>
                    <a:lnTo>
                      <a:pt x="610" y="4086"/>
                    </a:lnTo>
                    <a:lnTo>
                      <a:pt x="605" y="4089"/>
                    </a:lnTo>
                    <a:lnTo>
                      <a:pt x="594" y="4086"/>
                    </a:lnTo>
                    <a:lnTo>
                      <a:pt x="569" y="4090"/>
                    </a:lnTo>
                    <a:lnTo>
                      <a:pt x="567" y="4100"/>
                    </a:lnTo>
                    <a:lnTo>
                      <a:pt x="575" y="4107"/>
                    </a:lnTo>
                    <a:lnTo>
                      <a:pt x="587" y="4112"/>
                    </a:lnTo>
                    <a:lnTo>
                      <a:pt x="597" y="4126"/>
                    </a:lnTo>
                    <a:lnTo>
                      <a:pt x="607" y="4135"/>
                    </a:lnTo>
                    <a:lnTo>
                      <a:pt x="605" y="4137"/>
                    </a:lnTo>
                    <a:lnTo>
                      <a:pt x="591" y="4133"/>
                    </a:lnTo>
                    <a:lnTo>
                      <a:pt x="585" y="4143"/>
                    </a:lnTo>
                    <a:lnTo>
                      <a:pt x="579" y="4143"/>
                    </a:lnTo>
                    <a:lnTo>
                      <a:pt x="567" y="4160"/>
                    </a:lnTo>
                    <a:lnTo>
                      <a:pt x="557" y="4172"/>
                    </a:lnTo>
                    <a:lnTo>
                      <a:pt x="548" y="4191"/>
                    </a:lnTo>
                    <a:lnTo>
                      <a:pt x="535" y="4192"/>
                    </a:lnTo>
                    <a:lnTo>
                      <a:pt x="519" y="4189"/>
                    </a:lnTo>
                    <a:lnTo>
                      <a:pt x="516" y="4194"/>
                    </a:lnTo>
                    <a:lnTo>
                      <a:pt x="516" y="4200"/>
                    </a:lnTo>
                    <a:lnTo>
                      <a:pt x="506" y="4205"/>
                    </a:lnTo>
                    <a:lnTo>
                      <a:pt x="519" y="4210"/>
                    </a:lnTo>
                    <a:lnTo>
                      <a:pt x="531" y="4220"/>
                    </a:lnTo>
                    <a:lnTo>
                      <a:pt x="536" y="4235"/>
                    </a:lnTo>
                    <a:lnTo>
                      <a:pt x="546" y="4246"/>
                    </a:lnTo>
                    <a:lnTo>
                      <a:pt x="556" y="4247"/>
                    </a:lnTo>
                    <a:lnTo>
                      <a:pt x="560" y="4242"/>
                    </a:lnTo>
                    <a:lnTo>
                      <a:pt x="565" y="4250"/>
                    </a:lnTo>
                    <a:lnTo>
                      <a:pt x="580" y="4262"/>
                    </a:lnTo>
                    <a:lnTo>
                      <a:pt x="623" y="4280"/>
                    </a:lnTo>
                    <a:lnTo>
                      <a:pt x="649" y="4301"/>
                    </a:lnTo>
                    <a:lnTo>
                      <a:pt x="656" y="4313"/>
                    </a:lnTo>
                    <a:lnTo>
                      <a:pt x="662" y="4321"/>
                    </a:lnTo>
                    <a:lnTo>
                      <a:pt x="671" y="4323"/>
                    </a:lnTo>
                    <a:lnTo>
                      <a:pt x="683" y="4336"/>
                    </a:lnTo>
                    <a:lnTo>
                      <a:pt x="698" y="4331"/>
                    </a:lnTo>
                    <a:lnTo>
                      <a:pt x="707" y="4329"/>
                    </a:lnTo>
                    <a:lnTo>
                      <a:pt x="714" y="4332"/>
                    </a:lnTo>
                    <a:lnTo>
                      <a:pt x="723" y="4331"/>
                    </a:lnTo>
                    <a:lnTo>
                      <a:pt x="737" y="4336"/>
                    </a:lnTo>
                    <a:lnTo>
                      <a:pt x="743" y="4342"/>
                    </a:lnTo>
                    <a:lnTo>
                      <a:pt x="759" y="4344"/>
                    </a:lnTo>
                    <a:lnTo>
                      <a:pt x="782" y="4354"/>
                    </a:lnTo>
                    <a:lnTo>
                      <a:pt x="791" y="4355"/>
                    </a:lnTo>
                    <a:lnTo>
                      <a:pt x="815" y="4353"/>
                    </a:lnTo>
                    <a:lnTo>
                      <a:pt x="831" y="4358"/>
                    </a:lnTo>
                    <a:lnTo>
                      <a:pt x="847" y="4358"/>
                    </a:lnTo>
                    <a:lnTo>
                      <a:pt x="854" y="4363"/>
                    </a:lnTo>
                    <a:lnTo>
                      <a:pt x="858" y="4368"/>
                    </a:lnTo>
                    <a:lnTo>
                      <a:pt x="896" y="4390"/>
                    </a:lnTo>
                    <a:lnTo>
                      <a:pt x="898" y="4398"/>
                    </a:lnTo>
                    <a:lnTo>
                      <a:pt x="906" y="4402"/>
                    </a:lnTo>
                    <a:lnTo>
                      <a:pt x="914" y="4399"/>
                    </a:lnTo>
                    <a:lnTo>
                      <a:pt x="920" y="4395"/>
                    </a:lnTo>
                    <a:lnTo>
                      <a:pt x="935" y="4388"/>
                    </a:lnTo>
                    <a:lnTo>
                      <a:pt x="944" y="4388"/>
                    </a:lnTo>
                    <a:lnTo>
                      <a:pt x="950" y="4393"/>
                    </a:lnTo>
                    <a:lnTo>
                      <a:pt x="957" y="4392"/>
                    </a:lnTo>
                    <a:lnTo>
                      <a:pt x="973" y="4395"/>
                    </a:lnTo>
                    <a:lnTo>
                      <a:pt x="978" y="4401"/>
                    </a:lnTo>
                    <a:lnTo>
                      <a:pt x="985" y="4404"/>
                    </a:lnTo>
                    <a:lnTo>
                      <a:pt x="993" y="4404"/>
                    </a:lnTo>
                    <a:lnTo>
                      <a:pt x="1000" y="4408"/>
                    </a:lnTo>
                    <a:lnTo>
                      <a:pt x="1004" y="4415"/>
                    </a:lnTo>
                    <a:lnTo>
                      <a:pt x="1000" y="4430"/>
                    </a:lnTo>
                    <a:lnTo>
                      <a:pt x="1012" y="4440"/>
                    </a:lnTo>
                    <a:lnTo>
                      <a:pt x="1028" y="4445"/>
                    </a:lnTo>
                    <a:lnTo>
                      <a:pt x="1035" y="4450"/>
                    </a:lnTo>
                    <a:lnTo>
                      <a:pt x="1040" y="4453"/>
                    </a:lnTo>
                    <a:lnTo>
                      <a:pt x="1048" y="4458"/>
                    </a:lnTo>
                    <a:lnTo>
                      <a:pt x="1055" y="4458"/>
                    </a:lnTo>
                    <a:lnTo>
                      <a:pt x="1067" y="4469"/>
                    </a:lnTo>
                    <a:lnTo>
                      <a:pt x="1071" y="4477"/>
                    </a:lnTo>
                    <a:lnTo>
                      <a:pt x="1079" y="4477"/>
                    </a:lnTo>
                    <a:lnTo>
                      <a:pt x="1084" y="4493"/>
                    </a:lnTo>
                    <a:lnTo>
                      <a:pt x="1087" y="4500"/>
                    </a:lnTo>
                    <a:lnTo>
                      <a:pt x="1095" y="4500"/>
                    </a:lnTo>
                    <a:lnTo>
                      <a:pt x="1111" y="4504"/>
                    </a:lnTo>
                    <a:lnTo>
                      <a:pt x="1119" y="4501"/>
                    </a:lnTo>
                    <a:lnTo>
                      <a:pt x="1124" y="4496"/>
                    </a:lnTo>
                    <a:lnTo>
                      <a:pt x="1130" y="4481"/>
                    </a:lnTo>
                    <a:lnTo>
                      <a:pt x="1138" y="4477"/>
                    </a:lnTo>
                    <a:lnTo>
                      <a:pt x="1145" y="4473"/>
                    </a:lnTo>
                    <a:lnTo>
                      <a:pt x="1148" y="4466"/>
                    </a:lnTo>
                    <a:lnTo>
                      <a:pt x="1154" y="4456"/>
                    </a:lnTo>
                    <a:lnTo>
                      <a:pt x="1144" y="4451"/>
                    </a:lnTo>
                    <a:lnTo>
                      <a:pt x="1132" y="4423"/>
                    </a:lnTo>
                    <a:lnTo>
                      <a:pt x="1113" y="4391"/>
                    </a:lnTo>
                    <a:lnTo>
                      <a:pt x="1105" y="4380"/>
                    </a:lnTo>
                    <a:lnTo>
                      <a:pt x="1101" y="4366"/>
                    </a:lnTo>
                    <a:lnTo>
                      <a:pt x="1101" y="4344"/>
                    </a:lnTo>
                    <a:lnTo>
                      <a:pt x="1108" y="4317"/>
                    </a:lnTo>
                    <a:lnTo>
                      <a:pt x="1106" y="4305"/>
                    </a:lnTo>
                    <a:lnTo>
                      <a:pt x="1097" y="4326"/>
                    </a:lnTo>
                    <a:lnTo>
                      <a:pt x="1094" y="4320"/>
                    </a:lnTo>
                    <a:lnTo>
                      <a:pt x="1091" y="4302"/>
                    </a:lnTo>
                    <a:lnTo>
                      <a:pt x="1081" y="4285"/>
                    </a:lnTo>
                    <a:lnTo>
                      <a:pt x="1069" y="4268"/>
                    </a:lnTo>
                    <a:lnTo>
                      <a:pt x="1059" y="4268"/>
                    </a:lnTo>
                    <a:lnTo>
                      <a:pt x="1054" y="4253"/>
                    </a:lnTo>
                    <a:lnTo>
                      <a:pt x="1063" y="4240"/>
                    </a:lnTo>
                    <a:lnTo>
                      <a:pt x="1064" y="4229"/>
                    </a:lnTo>
                    <a:lnTo>
                      <a:pt x="1071" y="4218"/>
                    </a:lnTo>
                    <a:lnTo>
                      <a:pt x="1075" y="4218"/>
                    </a:lnTo>
                    <a:lnTo>
                      <a:pt x="1076" y="4215"/>
                    </a:lnTo>
                    <a:lnTo>
                      <a:pt x="1079" y="4207"/>
                    </a:lnTo>
                    <a:lnTo>
                      <a:pt x="1089" y="4198"/>
                    </a:lnTo>
                    <a:lnTo>
                      <a:pt x="1095" y="4162"/>
                    </a:lnTo>
                    <a:lnTo>
                      <a:pt x="1102" y="4165"/>
                    </a:lnTo>
                    <a:lnTo>
                      <a:pt x="1106" y="4144"/>
                    </a:lnTo>
                    <a:lnTo>
                      <a:pt x="1107" y="4133"/>
                    </a:lnTo>
                    <a:lnTo>
                      <a:pt x="1098" y="4117"/>
                    </a:lnTo>
                    <a:lnTo>
                      <a:pt x="1110" y="4121"/>
                    </a:lnTo>
                    <a:lnTo>
                      <a:pt x="1121" y="4121"/>
                    </a:lnTo>
                    <a:lnTo>
                      <a:pt x="1119" y="4128"/>
                    </a:lnTo>
                    <a:lnTo>
                      <a:pt x="1126" y="4139"/>
                    </a:lnTo>
                    <a:lnTo>
                      <a:pt x="1130" y="4154"/>
                    </a:lnTo>
                    <a:lnTo>
                      <a:pt x="1138" y="4154"/>
                    </a:lnTo>
                    <a:lnTo>
                      <a:pt x="1143" y="4151"/>
                    </a:lnTo>
                    <a:lnTo>
                      <a:pt x="1148" y="4151"/>
                    </a:lnTo>
                    <a:lnTo>
                      <a:pt x="1160" y="4123"/>
                    </a:lnTo>
                    <a:lnTo>
                      <a:pt x="1166" y="4119"/>
                    </a:lnTo>
                    <a:lnTo>
                      <a:pt x="1159" y="4117"/>
                    </a:lnTo>
                    <a:lnTo>
                      <a:pt x="1155" y="4111"/>
                    </a:lnTo>
                    <a:lnTo>
                      <a:pt x="1149" y="4107"/>
                    </a:lnTo>
                    <a:lnTo>
                      <a:pt x="1140" y="4107"/>
                    </a:lnTo>
                    <a:lnTo>
                      <a:pt x="1133" y="4105"/>
                    </a:lnTo>
                    <a:lnTo>
                      <a:pt x="1130" y="4099"/>
                    </a:lnTo>
                    <a:lnTo>
                      <a:pt x="1137" y="4091"/>
                    </a:lnTo>
                    <a:lnTo>
                      <a:pt x="1138" y="4084"/>
                    </a:lnTo>
                    <a:lnTo>
                      <a:pt x="1145" y="4081"/>
                    </a:lnTo>
                    <a:lnTo>
                      <a:pt x="1154" y="4087"/>
                    </a:lnTo>
                    <a:lnTo>
                      <a:pt x="1166" y="4084"/>
                    </a:lnTo>
                    <a:lnTo>
                      <a:pt x="1157" y="4027"/>
                    </a:lnTo>
                    <a:lnTo>
                      <a:pt x="1150" y="4025"/>
                    </a:lnTo>
                    <a:lnTo>
                      <a:pt x="1145" y="4019"/>
                    </a:lnTo>
                    <a:lnTo>
                      <a:pt x="1143" y="4010"/>
                    </a:lnTo>
                    <a:lnTo>
                      <a:pt x="1139" y="4004"/>
                    </a:lnTo>
                    <a:lnTo>
                      <a:pt x="1133" y="3998"/>
                    </a:lnTo>
                    <a:lnTo>
                      <a:pt x="1126" y="3998"/>
                    </a:lnTo>
                    <a:lnTo>
                      <a:pt x="1108" y="4000"/>
                    </a:lnTo>
                    <a:lnTo>
                      <a:pt x="1095" y="3997"/>
                    </a:lnTo>
                    <a:lnTo>
                      <a:pt x="1094" y="4005"/>
                    </a:lnTo>
                    <a:lnTo>
                      <a:pt x="1081" y="3993"/>
                    </a:lnTo>
                    <a:lnTo>
                      <a:pt x="1081" y="3986"/>
                    </a:lnTo>
                    <a:lnTo>
                      <a:pt x="1076" y="3978"/>
                    </a:lnTo>
                    <a:lnTo>
                      <a:pt x="1081" y="3971"/>
                    </a:lnTo>
                    <a:lnTo>
                      <a:pt x="1076" y="3965"/>
                    </a:lnTo>
                    <a:lnTo>
                      <a:pt x="1076" y="3957"/>
                    </a:lnTo>
                    <a:lnTo>
                      <a:pt x="1047" y="3947"/>
                    </a:lnTo>
                    <a:lnTo>
                      <a:pt x="1058" y="3903"/>
                    </a:lnTo>
                    <a:lnTo>
                      <a:pt x="1071" y="3896"/>
                    </a:lnTo>
                    <a:lnTo>
                      <a:pt x="1076" y="3888"/>
                    </a:lnTo>
                    <a:lnTo>
                      <a:pt x="1074" y="3881"/>
                    </a:lnTo>
                    <a:lnTo>
                      <a:pt x="1063" y="3870"/>
                    </a:lnTo>
                    <a:lnTo>
                      <a:pt x="1073" y="3825"/>
                    </a:lnTo>
                    <a:lnTo>
                      <a:pt x="1086" y="3816"/>
                    </a:lnTo>
                    <a:lnTo>
                      <a:pt x="1091" y="3810"/>
                    </a:lnTo>
                    <a:lnTo>
                      <a:pt x="1090" y="3801"/>
                    </a:lnTo>
                    <a:lnTo>
                      <a:pt x="1092" y="3794"/>
                    </a:lnTo>
                    <a:lnTo>
                      <a:pt x="1092" y="3787"/>
                    </a:lnTo>
                    <a:lnTo>
                      <a:pt x="1096" y="3778"/>
                    </a:lnTo>
                    <a:lnTo>
                      <a:pt x="1101" y="3772"/>
                    </a:lnTo>
                    <a:lnTo>
                      <a:pt x="1107" y="3777"/>
                    </a:lnTo>
                    <a:lnTo>
                      <a:pt x="1111" y="3784"/>
                    </a:lnTo>
                    <a:lnTo>
                      <a:pt x="1123" y="3794"/>
                    </a:lnTo>
                    <a:lnTo>
                      <a:pt x="1140" y="3831"/>
                    </a:lnTo>
                    <a:lnTo>
                      <a:pt x="1149" y="3833"/>
                    </a:lnTo>
                    <a:lnTo>
                      <a:pt x="1175" y="3816"/>
                    </a:lnTo>
                    <a:lnTo>
                      <a:pt x="1172" y="3807"/>
                    </a:lnTo>
                    <a:lnTo>
                      <a:pt x="1169" y="3800"/>
                    </a:lnTo>
                    <a:lnTo>
                      <a:pt x="1165" y="3775"/>
                    </a:lnTo>
                    <a:lnTo>
                      <a:pt x="1157" y="3762"/>
                    </a:lnTo>
                    <a:lnTo>
                      <a:pt x="1166" y="3763"/>
                    </a:lnTo>
                    <a:lnTo>
                      <a:pt x="1173" y="3760"/>
                    </a:lnTo>
                    <a:lnTo>
                      <a:pt x="1193" y="3746"/>
                    </a:lnTo>
                    <a:lnTo>
                      <a:pt x="1200" y="3742"/>
                    </a:lnTo>
                    <a:lnTo>
                      <a:pt x="1205" y="3736"/>
                    </a:lnTo>
                    <a:lnTo>
                      <a:pt x="1205" y="3728"/>
                    </a:lnTo>
                    <a:lnTo>
                      <a:pt x="1205" y="3719"/>
                    </a:lnTo>
                    <a:lnTo>
                      <a:pt x="1213" y="3718"/>
                    </a:lnTo>
                    <a:lnTo>
                      <a:pt x="1221" y="3719"/>
                    </a:lnTo>
                    <a:lnTo>
                      <a:pt x="1229" y="3715"/>
                    </a:lnTo>
                    <a:lnTo>
                      <a:pt x="1234" y="3709"/>
                    </a:lnTo>
                    <a:lnTo>
                      <a:pt x="1241" y="3705"/>
                    </a:lnTo>
                    <a:lnTo>
                      <a:pt x="1248" y="3703"/>
                    </a:lnTo>
                    <a:lnTo>
                      <a:pt x="1253" y="3697"/>
                    </a:lnTo>
                    <a:lnTo>
                      <a:pt x="1261" y="3692"/>
                    </a:lnTo>
                    <a:lnTo>
                      <a:pt x="1266" y="3686"/>
                    </a:lnTo>
                    <a:lnTo>
                      <a:pt x="1267" y="3678"/>
                    </a:lnTo>
                    <a:lnTo>
                      <a:pt x="1274" y="3672"/>
                    </a:lnTo>
                    <a:lnTo>
                      <a:pt x="1289" y="3669"/>
                    </a:lnTo>
                    <a:lnTo>
                      <a:pt x="1305" y="3669"/>
                    </a:lnTo>
                    <a:lnTo>
                      <a:pt x="1306" y="3677"/>
                    </a:lnTo>
                    <a:lnTo>
                      <a:pt x="1310" y="3685"/>
                    </a:lnTo>
                    <a:lnTo>
                      <a:pt x="1326" y="3681"/>
                    </a:lnTo>
                    <a:lnTo>
                      <a:pt x="1331" y="3687"/>
                    </a:lnTo>
                    <a:lnTo>
                      <a:pt x="1336" y="3680"/>
                    </a:lnTo>
                    <a:lnTo>
                      <a:pt x="1338" y="3671"/>
                    </a:lnTo>
                    <a:lnTo>
                      <a:pt x="1343" y="3665"/>
                    </a:lnTo>
                    <a:lnTo>
                      <a:pt x="1350" y="3665"/>
                    </a:lnTo>
                    <a:lnTo>
                      <a:pt x="1358" y="3662"/>
                    </a:lnTo>
                    <a:lnTo>
                      <a:pt x="1366" y="3662"/>
                    </a:lnTo>
                    <a:lnTo>
                      <a:pt x="1371" y="3678"/>
                    </a:lnTo>
                    <a:lnTo>
                      <a:pt x="1376" y="3685"/>
                    </a:lnTo>
                    <a:lnTo>
                      <a:pt x="1385" y="3681"/>
                    </a:lnTo>
                    <a:lnTo>
                      <a:pt x="1392" y="3681"/>
                    </a:lnTo>
                    <a:lnTo>
                      <a:pt x="1399" y="3683"/>
                    </a:lnTo>
                    <a:lnTo>
                      <a:pt x="1415" y="3680"/>
                    </a:lnTo>
                    <a:lnTo>
                      <a:pt x="1423" y="3681"/>
                    </a:lnTo>
                    <a:lnTo>
                      <a:pt x="1430" y="3685"/>
                    </a:lnTo>
                    <a:lnTo>
                      <a:pt x="1436" y="3691"/>
                    </a:lnTo>
                    <a:lnTo>
                      <a:pt x="1442" y="3705"/>
                    </a:lnTo>
                    <a:lnTo>
                      <a:pt x="1463" y="3718"/>
                    </a:lnTo>
                    <a:lnTo>
                      <a:pt x="1468" y="3724"/>
                    </a:lnTo>
                    <a:lnTo>
                      <a:pt x="1471" y="3732"/>
                    </a:lnTo>
                    <a:lnTo>
                      <a:pt x="1482" y="3745"/>
                    </a:lnTo>
                    <a:lnTo>
                      <a:pt x="1481" y="3752"/>
                    </a:lnTo>
                    <a:lnTo>
                      <a:pt x="1482" y="3761"/>
                    </a:lnTo>
                    <a:lnTo>
                      <a:pt x="1487" y="3767"/>
                    </a:lnTo>
                    <a:lnTo>
                      <a:pt x="1494" y="3764"/>
                    </a:lnTo>
                    <a:lnTo>
                      <a:pt x="1494" y="3757"/>
                    </a:lnTo>
                    <a:lnTo>
                      <a:pt x="1493" y="3748"/>
                    </a:lnTo>
                    <a:lnTo>
                      <a:pt x="1494" y="3741"/>
                    </a:lnTo>
                    <a:lnTo>
                      <a:pt x="1489" y="3734"/>
                    </a:lnTo>
                    <a:lnTo>
                      <a:pt x="1494" y="3728"/>
                    </a:lnTo>
                    <a:lnTo>
                      <a:pt x="1503" y="3726"/>
                    </a:lnTo>
                    <a:lnTo>
                      <a:pt x="1505" y="3734"/>
                    </a:lnTo>
                    <a:lnTo>
                      <a:pt x="1511" y="3739"/>
                    </a:lnTo>
                    <a:lnTo>
                      <a:pt x="1514" y="3747"/>
                    </a:lnTo>
                    <a:lnTo>
                      <a:pt x="1520" y="3752"/>
                    </a:lnTo>
                    <a:lnTo>
                      <a:pt x="1536" y="3757"/>
                    </a:lnTo>
                    <a:lnTo>
                      <a:pt x="1549" y="3766"/>
                    </a:lnTo>
                    <a:lnTo>
                      <a:pt x="1558" y="3763"/>
                    </a:lnTo>
                    <a:lnTo>
                      <a:pt x="1578" y="3750"/>
                    </a:lnTo>
                    <a:lnTo>
                      <a:pt x="1578" y="3741"/>
                    </a:lnTo>
                    <a:lnTo>
                      <a:pt x="1584" y="3737"/>
                    </a:lnTo>
                    <a:lnTo>
                      <a:pt x="1590" y="3732"/>
                    </a:lnTo>
                    <a:lnTo>
                      <a:pt x="1598" y="3731"/>
                    </a:lnTo>
                    <a:lnTo>
                      <a:pt x="1606" y="3734"/>
                    </a:lnTo>
                    <a:lnTo>
                      <a:pt x="1606" y="3725"/>
                    </a:lnTo>
                    <a:lnTo>
                      <a:pt x="1614" y="3725"/>
                    </a:lnTo>
                    <a:lnTo>
                      <a:pt x="1622" y="3728"/>
                    </a:lnTo>
                    <a:lnTo>
                      <a:pt x="1629" y="3723"/>
                    </a:lnTo>
                    <a:lnTo>
                      <a:pt x="1637" y="3728"/>
                    </a:lnTo>
                    <a:lnTo>
                      <a:pt x="1648" y="3739"/>
                    </a:lnTo>
                    <a:lnTo>
                      <a:pt x="1662" y="3730"/>
                    </a:lnTo>
                    <a:lnTo>
                      <a:pt x="1666" y="3723"/>
                    </a:lnTo>
                    <a:lnTo>
                      <a:pt x="1682" y="3723"/>
                    </a:lnTo>
                    <a:lnTo>
                      <a:pt x="1689" y="3719"/>
                    </a:lnTo>
                    <a:lnTo>
                      <a:pt x="1704" y="3725"/>
                    </a:lnTo>
                    <a:lnTo>
                      <a:pt x="1709" y="3731"/>
                    </a:lnTo>
                    <a:lnTo>
                      <a:pt x="1710" y="3747"/>
                    </a:lnTo>
                    <a:lnTo>
                      <a:pt x="1716" y="3753"/>
                    </a:lnTo>
                    <a:lnTo>
                      <a:pt x="1721" y="3760"/>
                    </a:lnTo>
                    <a:lnTo>
                      <a:pt x="1737" y="3757"/>
                    </a:lnTo>
                    <a:lnTo>
                      <a:pt x="1752" y="3761"/>
                    </a:lnTo>
                    <a:lnTo>
                      <a:pt x="1752" y="3761"/>
                    </a:lnTo>
                    <a:lnTo>
                      <a:pt x="1754" y="3772"/>
                    </a:lnTo>
                    <a:lnTo>
                      <a:pt x="1772" y="3771"/>
                    </a:lnTo>
                    <a:lnTo>
                      <a:pt x="1778" y="3766"/>
                    </a:lnTo>
                    <a:lnTo>
                      <a:pt x="1785" y="3751"/>
                    </a:lnTo>
                    <a:lnTo>
                      <a:pt x="1790" y="3745"/>
                    </a:lnTo>
                    <a:lnTo>
                      <a:pt x="1796" y="3747"/>
                    </a:lnTo>
                    <a:lnTo>
                      <a:pt x="1807" y="3760"/>
                    </a:lnTo>
                    <a:lnTo>
                      <a:pt x="1824" y="3761"/>
                    </a:lnTo>
                    <a:lnTo>
                      <a:pt x="1839" y="3757"/>
                    </a:lnTo>
                    <a:lnTo>
                      <a:pt x="1847" y="3752"/>
                    </a:lnTo>
                    <a:lnTo>
                      <a:pt x="1863" y="3747"/>
                    </a:lnTo>
                    <a:lnTo>
                      <a:pt x="1874" y="3709"/>
                    </a:lnTo>
                    <a:lnTo>
                      <a:pt x="1877" y="3702"/>
                    </a:lnTo>
                    <a:lnTo>
                      <a:pt x="1872" y="3696"/>
                    </a:lnTo>
                    <a:lnTo>
                      <a:pt x="1870" y="3692"/>
                    </a:lnTo>
                    <a:lnTo>
                      <a:pt x="1856" y="3691"/>
                    </a:lnTo>
                    <a:lnTo>
                      <a:pt x="1840" y="3689"/>
                    </a:lnTo>
                    <a:lnTo>
                      <a:pt x="1834" y="3682"/>
                    </a:lnTo>
                    <a:lnTo>
                      <a:pt x="1831" y="3677"/>
                    </a:lnTo>
                    <a:lnTo>
                      <a:pt x="1813" y="3674"/>
                    </a:lnTo>
                    <a:lnTo>
                      <a:pt x="1806" y="3671"/>
                    </a:lnTo>
                    <a:lnTo>
                      <a:pt x="1807" y="3662"/>
                    </a:lnTo>
                    <a:lnTo>
                      <a:pt x="1802" y="3655"/>
                    </a:lnTo>
                    <a:lnTo>
                      <a:pt x="1786" y="3653"/>
                    </a:lnTo>
                    <a:lnTo>
                      <a:pt x="1788" y="3644"/>
                    </a:lnTo>
                    <a:lnTo>
                      <a:pt x="1795" y="3642"/>
                    </a:lnTo>
                    <a:lnTo>
                      <a:pt x="1807" y="3632"/>
                    </a:lnTo>
                    <a:lnTo>
                      <a:pt x="1823" y="3626"/>
                    </a:lnTo>
                    <a:lnTo>
                      <a:pt x="1837" y="3617"/>
                    </a:lnTo>
                    <a:lnTo>
                      <a:pt x="1840" y="3611"/>
                    </a:lnTo>
                    <a:lnTo>
                      <a:pt x="1842" y="3602"/>
                    </a:lnTo>
                    <a:lnTo>
                      <a:pt x="1823" y="3575"/>
                    </a:lnTo>
                    <a:lnTo>
                      <a:pt x="1831" y="3572"/>
                    </a:lnTo>
                    <a:lnTo>
                      <a:pt x="1838" y="3565"/>
                    </a:lnTo>
                    <a:lnTo>
                      <a:pt x="1839" y="3558"/>
                    </a:lnTo>
                    <a:lnTo>
                      <a:pt x="1845" y="3553"/>
                    </a:lnTo>
                    <a:lnTo>
                      <a:pt x="1854" y="3552"/>
                    </a:lnTo>
                    <a:lnTo>
                      <a:pt x="1863" y="3553"/>
                    </a:lnTo>
                    <a:lnTo>
                      <a:pt x="1870" y="3552"/>
                    </a:lnTo>
                    <a:lnTo>
                      <a:pt x="1877" y="3554"/>
                    </a:lnTo>
                    <a:lnTo>
                      <a:pt x="1893" y="3554"/>
                    </a:lnTo>
                    <a:lnTo>
                      <a:pt x="1902" y="3551"/>
                    </a:lnTo>
                    <a:lnTo>
                      <a:pt x="1904" y="3543"/>
                    </a:lnTo>
                    <a:lnTo>
                      <a:pt x="1901" y="3537"/>
                    </a:lnTo>
                    <a:lnTo>
                      <a:pt x="1886" y="3529"/>
                    </a:lnTo>
                    <a:lnTo>
                      <a:pt x="1854" y="3524"/>
                    </a:lnTo>
                    <a:lnTo>
                      <a:pt x="1850" y="3518"/>
                    </a:lnTo>
                    <a:lnTo>
                      <a:pt x="1852" y="3509"/>
                    </a:lnTo>
                    <a:lnTo>
                      <a:pt x="1859" y="3509"/>
                    </a:lnTo>
                    <a:lnTo>
                      <a:pt x="1866" y="3506"/>
                    </a:lnTo>
                    <a:lnTo>
                      <a:pt x="1871" y="3499"/>
                    </a:lnTo>
                    <a:lnTo>
                      <a:pt x="1865" y="3494"/>
                    </a:lnTo>
                    <a:lnTo>
                      <a:pt x="1858" y="3498"/>
                    </a:lnTo>
                    <a:lnTo>
                      <a:pt x="1842" y="3498"/>
                    </a:lnTo>
                    <a:lnTo>
                      <a:pt x="1842" y="3489"/>
                    </a:lnTo>
                    <a:lnTo>
                      <a:pt x="1844" y="3482"/>
                    </a:lnTo>
                    <a:lnTo>
                      <a:pt x="1849" y="3476"/>
                    </a:lnTo>
                    <a:lnTo>
                      <a:pt x="1838" y="3463"/>
                    </a:lnTo>
                    <a:lnTo>
                      <a:pt x="1854" y="3463"/>
                    </a:lnTo>
                    <a:lnTo>
                      <a:pt x="1859" y="3457"/>
                    </a:lnTo>
                    <a:lnTo>
                      <a:pt x="1867" y="3457"/>
                    </a:lnTo>
                    <a:lnTo>
                      <a:pt x="1872" y="3463"/>
                    </a:lnTo>
                    <a:lnTo>
                      <a:pt x="1880" y="3462"/>
                    </a:lnTo>
                    <a:lnTo>
                      <a:pt x="1888" y="3463"/>
                    </a:lnTo>
                    <a:lnTo>
                      <a:pt x="1896" y="3461"/>
                    </a:lnTo>
                    <a:lnTo>
                      <a:pt x="1920" y="3461"/>
                    </a:lnTo>
                    <a:lnTo>
                      <a:pt x="1925" y="3468"/>
                    </a:lnTo>
                    <a:lnTo>
                      <a:pt x="1935" y="3456"/>
                    </a:lnTo>
                    <a:lnTo>
                      <a:pt x="1942" y="3452"/>
                    </a:lnTo>
                    <a:lnTo>
                      <a:pt x="1958" y="3454"/>
                    </a:lnTo>
                    <a:lnTo>
                      <a:pt x="1966" y="3449"/>
                    </a:lnTo>
                    <a:lnTo>
                      <a:pt x="1973" y="3446"/>
                    </a:lnTo>
                    <a:lnTo>
                      <a:pt x="1987" y="3436"/>
                    </a:lnTo>
                    <a:lnTo>
                      <a:pt x="1994" y="3439"/>
                    </a:lnTo>
                    <a:lnTo>
                      <a:pt x="2000" y="3444"/>
                    </a:lnTo>
                    <a:lnTo>
                      <a:pt x="2008" y="3444"/>
                    </a:lnTo>
                    <a:lnTo>
                      <a:pt x="2010" y="3436"/>
                    </a:lnTo>
                    <a:lnTo>
                      <a:pt x="2027" y="3432"/>
                    </a:lnTo>
                    <a:lnTo>
                      <a:pt x="2033" y="3428"/>
                    </a:lnTo>
                    <a:lnTo>
                      <a:pt x="2042" y="3427"/>
                    </a:lnTo>
                    <a:lnTo>
                      <a:pt x="2049" y="3424"/>
                    </a:lnTo>
                    <a:lnTo>
                      <a:pt x="2057" y="3424"/>
                    </a:lnTo>
                    <a:lnTo>
                      <a:pt x="2064" y="3427"/>
                    </a:lnTo>
                    <a:lnTo>
                      <a:pt x="2069" y="3419"/>
                    </a:lnTo>
                    <a:lnTo>
                      <a:pt x="2070" y="3412"/>
                    </a:lnTo>
                    <a:lnTo>
                      <a:pt x="2074" y="3403"/>
                    </a:lnTo>
                    <a:lnTo>
                      <a:pt x="2081" y="3400"/>
                    </a:lnTo>
                    <a:lnTo>
                      <a:pt x="2089" y="3398"/>
                    </a:lnTo>
                    <a:lnTo>
                      <a:pt x="2096" y="3402"/>
                    </a:lnTo>
                    <a:lnTo>
                      <a:pt x="2114" y="3396"/>
                    </a:lnTo>
                    <a:lnTo>
                      <a:pt x="2114" y="3397"/>
                    </a:lnTo>
                    <a:lnTo>
                      <a:pt x="2151" y="3387"/>
                    </a:lnTo>
                    <a:lnTo>
                      <a:pt x="2183" y="3384"/>
                    </a:lnTo>
                    <a:lnTo>
                      <a:pt x="2211" y="3375"/>
                    </a:lnTo>
                    <a:lnTo>
                      <a:pt x="2218" y="3369"/>
                    </a:lnTo>
                    <a:lnTo>
                      <a:pt x="2226" y="3370"/>
                    </a:lnTo>
                    <a:lnTo>
                      <a:pt x="2234" y="3368"/>
                    </a:lnTo>
                    <a:lnTo>
                      <a:pt x="2238" y="3362"/>
                    </a:lnTo>
                    <a:lnTo>
                      <a:pt x="2238" y="3353"/>
                    </a:lnTo>
                    <a:lnTo>
                      <a:pt x="2238" y="3346"/>
                    </a:lnTo>
                    <a:lnTo>
                      <a:pt x="2247" y="3347"/>
                    </a:lnTo>
                    <a:lnTo>
                      <a:pt x="2254" y="3344"/>
                    </a:lnTo>
                    <a:lnTo>
                      <a:pt x="2259" y="3338"/>
                    </a:lnTo>
                    <a:lnTo>
                      <a:pt x="2265" y="3333"/>
                    </a:lnTo>
                    <a:lnTo>
                      <a:pt x="2274" y="3333"/>
                    </a:lnTo>
                    <a:lnTo>
                      <a:pt x="2279" y="3326"/>
                    </a:lnTo>
                    <a:lnTo>
                      <a:pt x="2286" y="3326"/>
                    </a:lnTo>
                    <a:lnTo>
                      <a:pt x="2293" y="3332"/>
                    </a:lnTo>
                    <a:lnTo>
                      <a:pt x="2300" y="3330"/>
                    </a:lnTo>
                    <a:lnTo>
                      <a:pt x="2307" y="3333"/>
                    </a:lnTo>
                    <a:lnTo>
                      <a:pt x="2316" y="3331"/>
                    </a:lnTo>
                    <a:lnTo>
                      <a:pt x="2323" y="3335"/>
                    </a:lnTo>
                    <a:lnTo>
                      <a:pt x="2328" y="3341"/>
                    </a:lnTo>
                    <a:lnTo>
                      <a:pt x="2342" y="3349"/>
                    </a:lnTo>
                    <a:lnTo>
                      <a:pt x="2349" y="3346"/>
                    </a:lnTo>
                    <a:lnTo>
                      <a:pt x="2355" y="3341"/>
                    </a:lnTo>
                    <a:lnTo>
                      <a:pt x="2371" y="3338"/>
                    </a:lnTo>
                    <a:lnTo>
                      <a:pt x="2379" y="3341"/>
                    </a:lnTo>
                    <a:lnTo>
                      <a:pt x="2385" y="3347"/>
                    </a:lnTo>
                    <a:lnTo>
                      <a:pt x="2388" y="3354"/>
                    </a:lnTo>
                    <a:lnTo>
                      <a:pt x="2390" y="3370"/>
                    </a:lnTo>
                    <a:lnTo>
                      <a:pt x="2388" y="3379"/>
                    </a:lnTo>
                    <a:lnTo>
                      <a:pt x="2391" y="3386"/>
                    </a:lnTo>
                    <a:lnTo>
                      <a:pt x="2403" y="3397"/>
                    </a:lnTo>
                    <a:lnTo>
                      <a:pt x="2399" y="3403"/>
                    </a:lnTo>
                    <a:lnTo>
                      <a:pt x="2401" y="3420"/>
                    </a:lnTo>
                    <a:lnTo>
                      <a:pt x="2396" y="3427"/>
                    </a:lnTo>
                    <a:lnTo>
                      <a:pt x="2391" y="3433"/>
                    </a:lnTo>
                    <a:lnTo>
                      <a:pt x="2394" y="3440"/>
                    </a:lnTo>
                    <a:lnTo>
                      <a:pt x="2397" y="3448"/>
                    </a:lnTo>
                    <a:lnTo>
                      <a:pt x="2413" y="3444"/>
                    </a:lnTo>
                    <a:lnTo>
                      <a:pt x="2420" y="3449"/>
                    </a:lnTo>
                    <a:lnTo>
                      <a:pt x="2428" y="3448"/>
                    </a:lnTo>
                    <a:lnTo>
                      <a:pt x="2431" y="3439"/>
                    </a:lnTo>
                    <a:lnTo>
                      <a:pt x="2439" y="3439"/>
                    </a:lnTo>
                    <a:lnTo>
                      <a:pt x="2446" y="3441"/>
                    </a:lnTo>
                    <a:lnTo>
                      <a:pt x="2449" y="3433"/>
                    </a:lnTo>
                    <a:lnTo>
                      <a:pt x="2449" y="3425"/>
                    </a:lnTo>
                    <a:lnTo>
                      <a:pt x="2456" y="3427"/>
                    </a:lnTo>
                    <a:lnTo>
                      <a:pt x="2460" y="3434"/>
                    </a:lnTo>
                    <a:lnTo>
                      <a:pt x="2462" y="3443"/>
                    </a:lnTo>
                    <a:lnTo>
                      <a:pt x="2467" y="3448"/>
                    </a:lnTo>
                    <a:lnTo>
                      <a:pt x="2465" y="3455"/>
                    </a:lnTo>
                    <a:lnTo>
                      <a:pt x="2463" y="3463"/>
                    </a:lnTo>
                    <a:lnTo>
                      <a:pt x="2479" y="3465"/>
                    </a:lnTo>
                    <a:lnTo>
                      <a:pt x="2477" y="3457"/>
                    </a:lnTo>
                    <a:lnTo>
                      <a:pt x="2472" y="3451"/>
                    </a:lnTo>
                    <a:lnTo>
                      <a:pt x="2479" y="3448"/>
                    </a:lnTo>
                    <a:lnTo>
                      <a:pt x="2495" y="3451"/>
                    </a:lnTo>
                    <a:lnTo>
                      <a:pt x="2503" y="3456"/>
                    </a:lnTo>
                    <a:lnTo>
                      <a:pt x="2508" y="3462"/>
                    </a:lnTo>
                    <a:lnTo>
                      <a:pt x="2516" y="3466"/>
                    </a:lnTo>
                    <a:lnTo>
                      <a:pt x="2523" y="3466"/>
                    </a:lnTo>
                    <a:lnTo>
                      <a:pt x="2527" y="3459"/>
                    </a:lnTo>
                    <a:lnTo>
                      <a:pt x="2535" y="3455"/>
                    </a:lnTo>
                    <a:lnTo>
                      <a:pt x="2537" y="3463"/>
                    </a:lnTo>
                    <a:lnTo>
                      <a:pt x="2537" y="3471"/>
                    </a:lnTo>
                    <a:lnTo>
                      <a:pt x="2528" y="3473"/>
                    </a:lnTo>
                    <a:lnTo>
                      <a:pt x="2522" y="3478"/>
                    </a:lnTo>
                    <a:lnTo>
                      <a:pt x="2517" y="3486"/>
                    </a:lnTo>
                    <a:lnTo>
                      <a:pt x="2515" y="3493"/>
                    </a:lnTo>
                    <a:lnTo>
                      <a:pt x="2516" y="3502"/>
                    </a:lnTo>
                    <a:lnTo>
                      <a:pt x="2521" y="3508"/>
                    </a:lnTo>
                    <a:lnTo>
                      <a:pt x="2528" y="3508"/>
                    </a:lnTo>
                    <a:lnTo>
                      <a:pt x="2533" y="3502"/>
                    </a:lnTo>
                    <a:lnTo>
                      <a:pt x="2548" y="3495"/>
                    </a:lnTo>
                    <a:lnTo>
                      <a:pt x="2555" y="3498"/>
                    </a:lnTo>
                    <a:lnTo>
                      <a:pt x="2564" y="3498"/>
                    </a:lnTo>
                    <a:lnTo>
                      <a:pt x="2570" y="3503"/>
                    </a:lnTo>
                    <a:lnTo>
                      <a:pt x="2578" y="3503"/>
                    </a:lnTo>
                    <a:lnTo>
                      <a:pt x="2575" y="3495"/>
                    </a:lnTo>
                    <a:lnTo>
                      <a:pt x="2580" y="3489"/>
                    </a:lnTo>
                    <a:lnTo>
                      <a:pt x="2589" y="3488"/>
                    </a:lnTo>
                    <a:lnTo>
                      <a:pt x="2598" y="3477"/>
                    </a:lnTo>
                    <a:lnTo>
                      <a:pt x="2614" y="3475"/>
                    </a:lnTo>
                    <a:lnTo>
                      <a:pt x="2627" y="3463"/>
                    </a:lnTo>
                    <a:lnTo>
                      <a:pt x="2633" y="3449"/>
                    </a:lnTo>
                    <a:lnTo>
                      <a:pt x="2639" y="3444"/>
                    </a:lnTo>
                    <a:lnTo>
                      <a:pt x="2648" y="3445"/>
                    </a:lnTo>
                    <a:lnTo>
                      <a:pt x="2664" y="3441"/>
                    </a:lnTo>
                    <a:lnTo>
                      <a:pt x="2671" y="3439"/>
                    </a:lnTo>
                    <a:lnTo>
                      <a:pt x="2675" y="3432"/>
                    </a:lnTo>
                    <a:lnTo>
                      <a:pt x="2691" y="3430"/>
                    </a:lnTo>
                    <a:lnTo>
                      <a:pt x="2704" y="3422"/>
                    </a:lnTo>
                    <a:lnTo>
                      <a:pt x="2708" y="3429"/>
                    </a:lnTo>
                    <a:lnTo>
                      <a:pt x="2709" y="3436"/>
                    </a:lnTo>
                    <a:lnTo>
                      <a:pt x="2704" y="3444"/>
                    </a:lnTo>
                    <a:lnTo>
                      <a:pt x="2697" y="3446"/>
                    </a:lnTo>
                    <a:lnTo>
                      <a:pt x="2689" y="3446"/>
                    </a:lnTo>
                    <a:lnTo>
                      <a:pt x="2688" y="345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28" name="Freeform 133"/>
              <p:cNvSpPr>
                <a:spLocks noChangeAspect="1"/>
              </p:cNvSpPr>
              <p:nvPr/>
            </p:nvSpPr>
            <p:spPr bwMode="gray">
              <a:xfrm>
                <a:off x="2730" y="1750"/>
                <a:ext cx="36" cy="27"/>
              </a:xfrm>
              <a:custGeom>
                <a:avLst/>
                <a:gdLst/>
                <a:ahLst/>
                <a:cxnLst>
                  <a:cxn ang="0">
                    <a:pos x="0" y="118"/>
                  </a:cxn>
                  <a:cxn ang="0">
                    <a:pos x="2" y="114"/>
                  </a:cxn>
                  <a:cxn ang="0">
                    <a:pos x="12" y="107"/>
                  </a:cxn>
                  <a:cxn ang="0">
                    <a:pos x="14" y="102"/>
                  </a:cxn>
                  <a:cxn ang="0">
                    <a:pos x="19" y="87"/>
                  </a:cxn>
                  <a:cxn ang="0">
                    <a:pos x="21" y="76"/>
                  </a:cxn>
                  <a:cxn ang="0">
                    <a:pos x="25" y="70"/>
                  </a:cxn>
                  <a:cxn ang="0">
                    <a:pos x="46" y="69"/>
                  </a:cxn>
                  <a:cxn ang="0">
                    <a:pos x="55" y="63"/>
                  </a:cxn>
                  <a:cxn ang="0">
                    <a:pos x="67" y="48"/>
                  </a:cxn>
                  <a:cxn ang="0">
                    <a:pos x="77" y="32"/>
                  </a:cxn>
                  <a:cxn ang="0">
                    <a:pos x="82" y="15"/>
                  </a:cxn>
                  <a:cxn ang="0">
                    <a:pos x="83" y="0"/>
                  </a:cxn>
                  <a:cxn ang="0">
                    <a:pos x="79" y="27"/>
                  </a:cxn>
                  <a:cxn ang="0">
                    <a:pos x="71" y="46"/>
                  </a:cxn>
                  <a:cxn ang="0">
                    <a:pos x="65" y="55"/>
                  </a:cxn>
                  <a:cxn ang="0">
                    <a:pos x="57" y="64"/>
                  </a:cxn>
                  <a:cxn ang="0">
                    <a:pos x="61" y="71"/>
                  </a:cxn>
                  <a:cxn ang="0">
                    <a:pos x="67" y="70"/>
                  </a:cxn>
                  <a:cxn ang="0">
                    <a:pos x="76" y="75"/>
                  </a:cxn>
                  <a:cxn ang="0">
                    <a:pos x="87" y="75"/>
                  </a:cxn>
                  <a:cxn ang="0">
                    <a:pos x="89" y="66"/>
                  </a:cxn>
                  <a:cxn ang="0">
                    <a:pos x="89" y="49"/>
                  </a:cxn>
                  <a:cxn ang="0">
                    <a:pos x="93" y="44"/>
                  </a:cxn>
                  <a:cxn ang="0">
                    <a:pos x="93" y="41"/>
                  </a:cxn>
                  <a:cxn ang="0">
                    <a:pos x="103" y="38"/>
                  </a:cxn>
                  <a:cxn ang="0">
                    <a:pos x="109" y="43"/>
                  </a:cxn>
                  <a:cxn ang="0">
                    <a:pos x="116" y="46"/>
                  </a:cxn>
                  <a:cxn ang="0">
                    <a:pos x="122" y="50"/>
                  </a:cxn>
                  <a:cxn ang="0">
                    <a:pos x="130" y="54"/>
                  </a:cxn>
                  <a:cxn ang="0">
                    <a:pos x="147" y="57"/>
                  </a:cxn>
                  <a:cxn ang="0">
                    <a:pos x="163" y="55"/>
                  </a:cxn>
                  <a:cxn ang="0">
                    <a:pos x="169" y="59"/>
                  </a:cxn>
                  <a:cxn ang="0">
                    <a:pos x="180" y="82"/>
                  </a:cxn>
                  <a:cxn ang="0">
                    <a:pos x="174" y="97"/>
                  </a:cxn>
                  <a:cxn ang="0">
                    <a:pos x="174" y="114"/>
                  </a:cxn>
                  <a:cxn ang="0">
                    <a:pos x="177" y="124"/>
                  </a:cxn>
                  <a:cxn ang="0">
                    <a:pos x="153" y="127"/>
                  </a:cxn>
                  <a:cxn ang="0">
                    <a:pos x="126" y="133"/>
                  </a:cxn>
                  <a:cxn ang="0">
                    <a:pos x="78" y="134"/>
                  </a:cxn>
                  <a:cxn ang="0">
                    <a:pos x="14" y="123"/>
                  </a:cxn>
                  <a:cxn ang="0">
                    <a:pos x="0" y="118"/>
                  </a:cxn>
                </a:cxnLst>
                <a:rect l="0" t="0" r="r" b="b"/>
                <a:pathLst>
                  <a:path w="180" h="134">
                    <a:moveTo>
                      <a:pt x="0" y="118"/>
                    </a:moveTo>
                    <a:lnTo>
                      <a:pt x="2" y="114"/>
                    </a:lnTo>
                    <a:lnTo>
                      <a:pt x="12" y="107"/>
                    </a:lnTo>
                    <a:lnTo>
                      <a:pt x="14" y="102"/>
                    </a:lnTo>
                    <a:lnTo>
                      <a:pt x="19" y="87"/>
                    </a:lnTo>
                    <a:lnTo>
                      <a:pt x="21" y="76"/>
                    </a:lnTo>
                    <a:lnTo>
                      <a:pt x="25" y="70"/>
                    </a:lnTo>
                    <a:lnTo>
                      <a:pt x="46" y="69"/>
                    </a:lnTo>
                    <a:lnTo>
                      <a:pt x="55" y="63"/>
                    </a:lnTo>
                    <a:lnTo>
                      <a:pt x="67" y="48"/>
                    </a:lnTo>
                    <a:lnTo>
                      <a:pt x="77" y="32"/>
                    </a:lnTo>
                    <a:lnTo>
                      <a:pt x="82" y="15"/>
                    </a:lnTo>
                    <a:lnTo>
                      <a:pt x="83" y="0"/>
                    </a:lnTo>
                    <a:lnTo>
                      <a:pt x="79" y="27"/>
                    </a:lnTo>
                    <a:lnTo>
                      <a:pt x="71" y="46"/>
                    </a:lnTo>
                    <a:lnTo>
                      <a:pt x="65" y="55"/>
                    </a:lnTo>
                    <a:lnTo>
                      <a:pt x="57" y="64"/>
                    </a:lnTo>
                    <a:lnTo>
                      <a:pt x="61" y="71"/>
                    </a:lnTo>
                    <a:lnTo>
                      <a:pt x="67" y="70"/>
                    </a:lnTo>
                    <a:lnTo>
                      <a:pt x="76" y="75"/>
                    </a:lnTo>
                    <a:lnTo>
                      <a:pt x="87" y="75"/>
                    </a:lnTo>
                    <a:lnTo>
                      <a:pt x="89" y="66"/>
                    </a:lnTo>
                    <a:lnTo>
                      <a:pt x="89" y="49"/>
                    </a:lnTo>
                    <a:lnTo>
                      <a:pt x="93" y="44"/>
                    </a:lnTo>
                    <a:lnTo>
                      <a:pt x="93" y="41"/>
                    </a:lnTo>
                    <a:lnTo>
                      <a:pt x="103" y="38"/>
                    </a:lnTo>
                    <a:lnTo>
                      <a:pt x="109" y="43"/>
                    </a:lnTo>
                    <a:lnTo>
                      <a:pt x="116" y="46"/>
                    </a:lnTo>
                    <a:lnTo>
                      <a:pt x="122" y="50"/>
                    </a:lnTo>
                    <a:lnTo>
                      <a:pt x="130" y="54"/>
                    </a:lnTo>
                    <a:lnTo>
                      <a:pt x="147" y="57"/>
                    </a:lnTo>
                    <a:lnTo>
                      <a:pt x="163" y="55"/>
                    </a:lnTo>
                    <a:lnTo>
                      <a:pt x="169" y="59"/>
                    </a:lnTo>
                    <a:lnTo>
                      <a:pt x="180" y="82"/>
                    </a:lnTo>
                    <a:lnTo>
                      <a:pt x="174" y="97"/>
                    </a:lnTo>
                    <a:lnTo>
                      <a:pt x="174" y="114"/>
                    </a:lnTo>
                    <a:lnTo>
                      <a:pt x="177" y="124"/>
                    </a:lnTo>
                    <a:lnTo>
                      <a:pt x="153" y="127"/>
                    </a:lnTo>
                    <a:lnTo>
                      <a:pt x="126" y="133"/>
                    </a:lnTo>
                    <a:lnTo>
                      <a:pt x="78" y="134"/>
                    </a:lnTo>
                    <a:lnTo>
                      <a:pt x="14" y="123"/>
                    </a:lnTo>
                    <a:lnTo>
                      <a:pt x="0" y="11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</p:grpSp>
        <p:grpSp>
          <p:nvGrpSpPr>
            <p:cNvPr id="51" name="Group 135"/>
            <p:cNvGrpSpPr>
              <a:grpSpLocks noChangeAspect="1"/>
            </p:cNvGrpSpPr>
            <p:nvPr/>
          </p:nvGrpSpPr>
          <p:grpSpPr>
            <a:xfrm>
              <a:off x="6352012" y="3373319"/>
              <a:ext cx="648777" cy="644324"/>
              <a:chOff x="2802" y="1979"/>
              <a:chExt cx="408" cy="369"/>
            </a:xfrm>
            <a:grpFill/>
          </p:grpSpPr>
          <p:sp>
            <p:nvSpPr>
              <p:cNvPr id="296" name="Freeform 136"/>
              <p:cNvSpPr>
                <a:spLocks noChangeAspect="1"/>
              </p:cNvSpPr>
              <p:nvPr/>
            </p:nvSpPr>
            <p:spPr bwMode="gray">
              <a:xfrm>
                <a:off x="2899" y="2082"/>
                <a:ext cx="19" cy="23"/>
              </a:xfrm>
              <a:custGeom>
                <a:avLst/>
                <a:gdLst/>
                <a:ahLst/>
                <a:cxnLst>
                  <a:cxn ang="0">
                    <a:pos x="39" y="96"/>
                  </a:cxn>
                  <a:cxn ang="0">
                    <a:pos x="45" y="93"/>
                  </a:cxn>
                  <a:cxn ang="0">
                    <a:pos x="55" y="83"/>
                  </a:cxn>
                  <a:cxn ang="0">
                    <a:pos x="58" y="78"/>
                  </a:cxn>
                  <a:cxn ang="0">
                    <a:pos x="53" y="75"/>
                  </a:cxn>
                  <a:cxn ang="0">
                    <a:pos x="58" y="68"/>
                  </a:cxn>
                  <a:cxn ang="0">
                    <a:pos x="72" y="62"/>
                  </a:cxn>
                  <a:cxn ang="0">
                    <a:pos x="79" y="62"/>
                  </a:cxn>
                  <a:cxn ang="0">
                    <a:pos x="77" y="59"/>
                  </a:cxn>
                  <a:cxn ang="0">
                    <a:pos x="74" y="53"/>
                  </a:cxn>
                  <a:cxn ang="0">
                    <a:pos x="77" y="48"/>
                  </a:cxn>
                  <a:cxn ang="0">
                    <a:pos x="87" y="42"/>
                  </a:cxn>
                  <a:cxn ang="0">
                    <a:pos x="91" y="38"/>
                  </a:cxn>
                  <a:cxn ang="0">
                    <a:pos x="91" y="34"/>
                  </a:cxn>
                  <a:cxn ang="0">
                    <a:pos x="88" y="25"/>
                  </a:cxn>
                  <a:cxn ang="0">
                    <a:pos x="85" y="19"/>
                  </a:cxn>
                  <a:cxn ang="0">
                    <a:pos x="77" y="15"/>
                  </a:cxn>
                  <a:cxn ang="0">
                    <a:pos x="81" y="10"/>
                  </a:cxn>
                  <a:cxn ang="0">
                    <a:pos x="85" y="9"/>
                  </a:cxn>
                  <a:cxn ang="0">
                    <a:pos x="84" y="4"/>
                  </a:cxn>
                  <a:cxn ang="0">
                    <a:pos x="77" y="0"/>
                  </a:cxn>
                  <a:cxn ang="0">
                    <a:pos x="72" y="4"/>
                  </a:cxn>
                  <a:cxn ang="0">
                    <a:pos x="58" y="14"/>
                  </a:cxn>
                  <a:cxn ang="0">
                    <a:pos x="41" y="29"/>
                  </a:cxn>
                  <a:cxn ang="0">
                    <a:pos x="27" y="54"/>
                  </a:cxn>
                  <a:cxn ang="0">
                    <a:pos x="25" y="58"/>
                  </a:cxn>
                  <a:cxn ang="0">
                    <a:pos x="17" y="73"/>
                  </a:cxn>
                  <a:cxn ang="0">
                    <a:pos x="11" y="85"/>
                  </a:cxn>
                  <a:cxn ang="0">
                    <a:pos x="1" y="106"/>
                  </a:cxn>
                  <a:cxn ang="0">
                    <a:pos x="2" y="113"/>
                  </a:cxn>
                  <a:cxn ang="0">
                    <a:pos x="16" y="116"/>
                  </a:cxn>
                  <a:cxn ang="0">
                    <a:pos x="21" y="113"/>
                  </a:cxn>
                  <a:cxn ang="0">
                    <a:pos x="27" y="101"/>
                  </a:cxn>
                  <a:cxn ang="0">
                    <a:pos x="31" y="100"/>
                  </a:cxn>
                </a:cxnLst>
                <a:rect l="0" t="0" r="r" b="b"/>
                <a:pathLst>
                  <a:path w="95" h="115">
                    <a:moveTo>
                      <a:pt x="32" y="102"/>
                    </a:moveTo>
                    <a:lnTo>
                      <a:pt x="39" y="96"/>
                    </a:lnTo>
                    <a:lnTo>
                      <a:pt x="44" y="95"/>
                    </a:lnTo>
                    <a:lnTo>
                      <a:pt x="45" y="93"/>
                    </a:lnTo>
                    <a:lnTo>
                      <a:pt x="52" y="88"/>
                    </a:lnTo>
                    <a:lnTo>
                      <a:pt x="55" y="83"/>
                    </a:lnTo>
                    <a:lnTo>
                      <a:pt x="58" y="83"/>
                    </a:lnTo>
                    <a:lnTo>
                      <a:pt x="58" y="78"/>
                    </a:lnTo>
                    <a:lnTo>
                      <a:pt x="53" y="75"/>
                    </a:lnTo>
                    <a:lnTo>
                      <a:pt x="53" y="75"/>
                    </a:lnTo>
                    <a:lnTo>
                      <a:pt x="55" y="69"/>
                    </a:lnTo>
                    <a:lnTo>
                      <a:pt x="58" y="68"/>
                    </a:lnTo>
                    <a:lnTo>
                      <a:pt x="59" y="63"/>
                    </a:lnTo>
                    <a:lnTo>
                      <a:pt x="72" y="62"/>
                    </a:lnTo>
                    <a:lnTo>
                      <a:pt x="77" y="63"/>
                    </a:lnTo>
                    <a:lnTo>
                      <a:pt x="79" y="62"/>
                    </a:lnTo>
                    <a:lnTo>
                      <a:pt x="80" y="62"/>
                    </a:lnTo>
                    <a:lnTo>
                      <a:pt x="77" y="59"/>
                    </a:lnTo>
                    <a:lnTo>
                      <a:pt x="72" y="56"/>
                    </a:lnTo>
                    <a:lnTo>
                      <a:pt x="74" y="53"/>
                    </a:lnTo>
                    <a:lnTo>
                      <a:pt x="77" y="52"/>
                    </a:lnTo>
                    <a:lnTo>
                      <a:pt x="77" y="48"/>
                    </a:lnTo>
                    <a:lnTo>
                      <a:pt x="82" y="47"/>
                    </a:lnTo>
                    <a:lnTo>
                      <a:pt x="87" y="42"/>
                    </a:lnTo>
                    <a:lnTo>
                      <a:pt x="90" y="42"/>
                    </a:lnTo>
                    <a:lnTo>
                      <a:pt x="91" y="38"/>
                    </a:lnTo>
                    <a:lnTo>
                      <a:pt x="95" y="36"/>
                    </a:lnTo>
                    <a:lnTo>
                      <a:pt x="91" y="34"/>
                    </a:lnTo>
                    <a:lnTo>
                      <a:pt x="92" y="30"/>
                    </a:lnTo>
                    <a:lnTo>
                      <a:pt x="88" y="25"/>
                    </a:lnTo>
                    <a:lnTo>
                      <a:pt x="90" y="21"/>
                    </a:lnTo>
                    <a:lnTo>
                      <a:pt x="85" y="19"/>
                    </a:lnTo>
                    <a:lnTo>
                      <a:pt x="84" y="15"/>
                    </a:lnTo>
                    <a:lnTo>
                      <a:pt x="77" y="15"/>
                    </a:lnTo>
                    <a:lnTo>
                      <a:pt x="77" y="13"/>
                    </a:lnTo>
                    <a:lnTo>
                      <a:pt x="81" y="10"/>
                    </a:lnTo>
                    <a:lnTo>
                      <a:pt x="81" y="9"/>
                    </a:lnTo>
                    <a:lnTo>
                      <a:pt x="85" y="9"/>
                    </a:lnTo>
                    <a:lnTo>
                      <a:pt x="85" y="7"/>
                    </a:lnTo>
                    <a:lnTo>
                      <a:pt x="84" y="4"/>
                    </a:lnTo>
                    <a:lnTo>
                      <a:pt x="79" y="4"/>
                    </a:lnTo>
                    <a:lnTo>
                      <a:pt x="77" y="0"/>
                    </a:lnTo>
                    <a:lnTo>
                      <a:pt x="75" y="0"/>
                    </a:lnTo>
                    <a:lnTo>
                      <a:pt x="72" y="4"/>
                    </a:lnTo>
                    <a:lnTo>
                      <a:pt x="55" y="4"/>
                    </a:lnTo>
                    <a:lnTo>
                      <a:pt x="58" y="14"/>
                    </a:lnTo>
                    <a:lnTo>
                      <a:pt x="48" y="21"/>
                    </a:lnTo>
                    <a:lnTo>
                      <a:pt x="41" y="29"/>
                    </a:lnTo>
                    <a:lnTo>
                      <a:pt x="33" y="53"/>
                    </a:lnTo>
                    <a:lnTo>
                      <a:pt x="27" y="54"/>
                    </a:lnTo>
                    <a:lnTo>
                      <a:pt x="27" y="58"/>
                    </a:lnTo>
                    <a:lnTo>
                      <a:pt x="25" y="58"/>
                    </a:lnTo>
                    <a:lnTo>
                      <a:pt x="22" y="63"/>
                    </a:lnTo>
                    <a:lnTo>
                      <a:pt x="17" y="73"/>
                    </a:lnTo>
                    <a:lnTo>
                      <a:pt x="16" y="77"/>
                    </a:lnTo>
                    <a:lnTo>
                      <a:pt x="11" y="85"/>
                    </a:lnTo>
                    <a:lnTo>
                      <a:pt x="6" y="99"/>
                    </a:lnTo>
                    <a:lnTo>
                      <a:pt x="1" y="106"/>
                    </a:lnTo>
                    <a:lnTo>
                      <a:pt x="0" y="111"/>
                    </a:lnTo>
                    <a:lnTo>
                      <a:pt x="2" y="113"/>
                    </a:lnTo>
                    <a:lnTo>
                      <a:pt x="14" y="112"/>
                    </a:lnTo>
                    <a:lnTo>
                      <a:pt x="16" y="116"/>
                    </a:lnTo>
                    <a:lnTo>
                      <a:pt x="18" y="116"/>
                    </a:lnTo>
                    <a:lnTo>
                      <a:pt x="21" y="113"/>
                    </a:lnTo>
                    <a:lnTo>
                      <a:pt x="26" y="115"/>
                    </a:lnTo>
                    <a:lnTo>
                      <a:pt x="27" y="101"/>
                    </a:lnTo>
                    <a:lnTo>
                      <a:pt x="29" y="99"/>
                    </a:lnTo>
                    <a:lnTo>
                      <a:pt x="31" y="100"/>
                    </a:lnTo>
                    <a:lnTo>
                      <a:pt x="32" y="10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grpSp>
            <p:nvGrpSpPr>
              <p:cNvPr id="297" name="Group 137"/>
              <p:cNvGrpSpPr>
                <a:grpSpLocks noChangeAspect="1"/>
              </p:cNvGrpSpPr>
              <p:nvPr/>
            </p:nvGrpSpPr>
            <p:grpSpPr>
              <a:xfrm>
                <a:off x="2889" y="2101"/>
                <a:ext cx="17" cy="51"/>
                <a:chOff x="2889" y="2101"/>
                <a:chExt cx="17" cy="51"/>
              </a:xfrm>
              <a:grpFill/>
            </p:grpSpPr>
            <p:sp>
              <p:nvSpPr>
                <p:cNvPr id="322" name="Freeform 138"/>
                <p:cNvSpPr>
                  <a:spLocks noChangeAspect="1"/>
                </p:cNvSpPr>
                <p:nvPr/>
              </p:nvSpPr>
              <p:spPr bwMode="gray">
                <a:xfrm>
                  <a:off x="2897" y="2111"/>
                  <a:ext cx="8" cy="16"/>
                </a:xfrm>
                <a:custGeom>
                  <a:avLst/>
                  <a:gdLst/>
                  <a:ahLst/>
                  <a:cxnLst>
                    <a:cxn ang="0">
                      <a:pos x="30" y="66"/>
                    </a:cxn>
                    <a:cxn ang="0">
                      <a:pos x="32" y="64"/>
                    </a:cxn>
                    <a:cxn ang="0">
                      <a:pos x="33" y="55"/>
                    </a:cxn>
                    <a:cxn ang="0">
                      <a:pos x="36" y="49"/>
                    </a:cxn>
                    <a:cxn ang="0">
                      <a:pos x="33" y="40"/>
                    </a:cxn>
                    <a:cxn ang="0">
                      <a:pos x="35" y="29"/>
                    </a:cxn>
                    <a:cxn ang="0">
                      <a:pos x="36" y="21"/>
                    </a:cxn>
                    <a:cxn ang="0">
                      <a:pos x="37" y="12"/>
                    </a:cxn>
                    <a:cxn ang="0">
                      <a:pos x="37" y="10"/>
                    </a:cxn>
                    <a:cxn ang="0">
                      <a:pos x="37" y="10"/>
                    </a:cxn>
                    <a:cxn ang="0">
                      <a:pos x="33" y="10"/>
                    </a:cxn>
                    <a:cxn ang="0">
                      <a:pos x="30" y="7"/>
                    </a:cxn>
                    <a:cxn ang="0">
                      <a:pos x="28" y="0"/>
                    </a:cxn>
                    <a:cxn ang="0">
                      <a:pos x="24" y="1"/>
                    </a:cxn>
                    <a:cxn ang="0">
                      <a:pos x="16" y="0"/>
                    </a:cxn>
                    <a:cxn ang="0">
                      <a:pos x="12" y="1"/>
                    </a:cxn>
                    <a:cxn ang="0">
                      <a:pos x="10" y="3"/>
                    </a:cxn>
                    <a:cxn ang="0">
                      <a:pos x="10" y="13"/>
                    </a:cxn>
                    <a:cxn ang="0">
                      <a:pos x="4" y="19"/>
                    </a:cxn>
                    <a:cxn ang="0">
                      <a:pos x="4" y="34"/>
                    </a:cxn>
                    <a:cxn ang="0">
                      <a:pos x="6" y="39"/>
                    </a:cxn>
                    <a:cxn ang="0">
                      <a:pos x="5" y="45"/>
                    </a:cxn>
                    <a:cxn ang="0">
                      <a:pos x="15" y="44"/>
                    </a:cxn>
                    <a:cxn ang="0">
                      <a:pos x="19" y="45"/>
                    </a:cxn>
                    <a:cxn ang="0">
                      <a:pos x="19" y="48"/>
                    </a:cxn>
                    <a:cxn ang="0">
                      <a:pos x="17" y="49"/>
                    </a:cxn>
                    <a:cxn ang="0">
                      <a:pos x="11" y="50"/>
                    </a:cxn>
                    <a:cxn ang="0">
                      <a:pos x="8" y="53"/>
                    </a:cxn>
                    <a:cxn ang="0">
                      <a:pos x="6" y="56"/>
                    </a:cxn>
                    <a:cxn ang="0">
                      <a:pos x="4" y="65"/>
                    </a:cxn>
                    <a:cxn ang="0">
                      <a:pos x="0" y="69"/>
                    </a:cxn>
                    <a:cxn ang="0">
                      <a:pos x="0" y="75"/>
                    </a:cxn>
                    <a:cxn ang="0">
                      <a:pos x="4" y="80"/>
                    </a:cxn>
                    <a:cxn ang="0">
                      <a:pos x="4" y="76"/>
                    </a:cxn>
                    <a:cxn ang="0">
                      <a:pos x="16" y="75"/>
                    </a:cxn>
                    <a:cxn ang="0">
                      <a:pos x="26" y="66"/>
                    </a:cxn>
                    <a:cxn ang="0">
                      <a:pos x="30" y="66"/>
                    </a:cxn>
                  </a:cxnLst>
                  <a:rect l="0" t="0" r="r" b="b"/>
                  <a:pathLst>
                    <a:path w="37" h="80">
                      <a:moveTo>
                        <a:pt x="30" y="66"/>
                      </a:moveTo>
                      <a:lnTo>
                        <a:pt x="32" y="64"/>
                      </a:lnTo>
                      <a:lnTo>
                        <a:pt x="33" y="55"/>
                      </a:lnTo>
                      <a:lnTo>
                        <a:pt x="36" y="49"/>
                      </a:lnTo>
                      <a:lnTo>
                        <a:pt x="33" y="40"/>
                      </a:lnTo>
                      <a:lnTo>
                        <a:pt x="35" y="29"/>
                      </a:lnTo>
                      <a:lnTo>
                        <a:pt x="36" y="21"/>
                      </a:lnTo>
                      <a:lnTo>
                        <a:pt x="37" y="12"/>
                      </a:lnTo>
                      <a:lnTo>
                        <a:pt x="37" y="10"/>
                      </a:lnTo>
                      <a:lnTo>
                        <a:pt x="37" y="10"/>
                      </a:lnTo>
                      <a:lnTo>
                        <a:pt x="33" y="10"/>
                      </a:lnTo>
                      <a:lnTo>
                        <a:pt x="30" y="7"/>
                      </a:lnTo>
                      <a:lnTo>
                        <a:pt x="28" y="0"/>
                      </a:lnTo>
                      <a:lnTo>
                        <a:pt x="24" y="1"/>
                      </a:lnTo>
                      <a:lnTo>
                        <a:pt x="16" y="0"/>
                      </a:lnTo>
                      <a:lnTo>
                        <a:pt x="12" y="1"/>
                      </a:lnTo>
                      <a:lnTo>
                        <a:pt x="10" y="3"/>
                      </a:lnTo>
                      <a:lnTo>
                        <a:pt x="10" y="13"/>
                      </a:lnTo>
                      <a:lnTo>
                        <a:pt x="4" y="19"/>
                      </a:lnTo>
                      <a:lnTo>
                        <a:pt x="4" y="34"/>
                      </a:lnTo>
                      <a:lnTo>
                        <a:pt x="6" y="39"/>
                      </a:lnTo>
                      <a:lnTo>
                        <a:pt x="5" y="45"/>
                      </a:lnTo>
                      <a:lnTo>
                        <a:pt x="15" y="44"/>
                      </a:lnTo>
                      <a:lnTo>
                        <a:pt x="19" y="45"/>
                      </a:lnTo>
                      <a:lnTo>
                        <a:pt x="19" y="48"/>
                      </a:lnTo>
                      <a:lnTo>
                        <a:pt x="17" y="49"/>
                      </a:lnTo>
                      <a:lnTo>
                        <a:pt x="11" y="50"/>
                      </a:lnTo>
                      <a:lnTo>
                        <a:pt x="8" y="53"/>
                      </a:lnTo>
                      <a:lnTo>
                        <a:pt x="6" y="56"/>
                      </a:lnTo>
                      <a:lnTo>
                        <a:pt x="4" y="65"/>
                      </a:lnTo>
                      <a:lnTo>
                        <a:pt x="0" y="69"/>
                      </a:lnTo>
                      <a:lnTo>
                        <a:pt x="0" y="75"/>
                      </a:lnTo>
                      <a:lnTo>
                        <a:pt x="4" y="80"/>
                      </a:lnTo>
                      <a:lnTo>
                        <a:pt x="4" y="76"/>
                      </a:lnTo>
                      <a:lnTo>
                        <a:pt x="16" y="75"/>
                      </a:lnTo>
                      <a:lnTo>
                        <a:pt x="26" y="66"/>
                      </a:lnTo>
                      <a:lnTo>
                        <a:pt x="30" y="6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323" name="Freeform 139"/>
                <p:cNvSpPr>
                  <a:spLocks noChangeAspect="1"/>
                </p:cNvSpPr>
                <p:nvPr/>
              </p:nvSpPr>
              <p:spPr bwMode="gray">
                <a:xfrm>
                  <a:off x="2889" y="2124"/>
                  <a:ext cx="4" cy="5"/>
                </a:xfrm>
                <a:custGeom>
                  <a:avLst/>
                  <a:gdLst/>
                  <a:ahLst/>
                  <a:cxnLst>
                    <a:cxn ang="0">
                      <a:pos x="1" y="24"/>
                    </a:cxn>
                    <a:cxn ang="0">
                      <a:pos x="8" y="21"/>
                    </a:cxn>
                    <a:cxn ang="0">
                      <a:pos x="7" y="16"/>
                    </a:cxn>
                    <a:cxn ang="0">
                      <a:pos x="18" y="5"/>
                    </a:cxn>
                    <a:cxn ang="0">
                      <a:pos x="14" y="0"/>
                    </a:cxn>
                    <a:cxn ang="0">
                      <a:pos x="0" y="14"/>
                    </a:cxn>
                    <a:cxn ang="0">
                      <a:pos x="1" y="24"/>
                    </a:cxn>
                  </a:cxnLst>
                  <a:rect l="0" t="0" r="r" b="b"/>
                  <a:pathLst>
                    <a:path w="18" h="24">
                      <a:moveTo>
                        <a:pt x="1" y="24"/>
                      </a:moveTo>
                      <a:lnTo>
                        <a:pt x="8" y="21"/>
                      </a:lnTo>
                      <a:lnTo>
                        <a:pt x="7" y="16"/>
                      </a:lnTo>
                      <a:lnTo>
                        <a:pt x="18" y="5"/>
                      </a:lnTo>
                      <a:lnTo>
                        <a:pt x="14" y="0"/>
                      </a:lnTo>
                      <a:lnTo>
                        <a:pt x="0" y="14"/>
                      </a:lnTo>
                      <a:lnTo>
                        <a:pt x="1" y="24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324" name="Freeform 140"/>
                <p:cNvSpPr>
                  <a:spLocks noChangeAspect="1"/>
                </p:cNvSpPr>
                <p:nvPr/>
              </p:nvSpPr>
              <p:spPr bwMode="gray">
                <a:xfrm>
                  <a:off x="2890" y="2101"/>
                  <a:ext cx="16" cy="51"/>
                </a:xfrm>
                <a:custGeom>
                  <a:avLst/>
                  <a:gdLst/>
                  <a:ahLst/>
                  <a:cxnLst>
                    <a:cxn ang="0">
                      <a:pos x="45" y="242"/>
                    </a:cxn>
                    <a:cxn ang="0">
                      <a:pos x="55" y="178"/>
                    </a:cxn>
                    <a:cxn ang="0">
                      <a:pos x="70" y="140"/>
                    </a:cxn>
                    <a:cxn ang="0">
                      <a:pos x="71" y="119"/>
                    </a:cxn>
                    <a:cxn ang="0">
                      <a:pos x="65" y="115"/>
                    </a:cxn>
                    <a:cxn ang="0">
                      <a:pos x="43" y="125"/>
                    </a:cxn>
                    <a:cxn ang="0">
                      <a:pos x="39" y="124"/>
                    </a:cxn>
                    <a:cxn ang="0">
                      <a:pos x="43" y="114"/>
                    </a:cxn>
                    <a:cxn ang="0">
                      <a:pos x="47" y="102"/>
                    </a:cxn>
                    <a:cxn ang="0">
                      <a:pos x="56" y="98"/>
                    </a:cxn>
                    <a:cxn ang="0">
                      <a:pos x="58" y="94"/>
                    </a:cxn>
                    <a:cxn ang="0">
                      <a:pos x="44" y="94"/>
                    </a:cxn>
                    <a:cxn ang="0">
                      <a:pos x="43" y="83"/>
                    </a:cxn>
                    <a:cxn ang="0">
                      <a:pos x="49" y="62"/>
                    </a:cxn>
                    <a:cxn ang="0">
                      <a:pos x="51" y="50"/>
                    </a:cxn>
                    <a:cxn ang="0">
                      <a:pos x="63" y="50"/>
                    </a:cxn>
                    <a:cxn ang="0">
                      <a:pos x="69" y="56"/>
                    </a:cxn>
                    <a:cxn ang="0">
                      <a:pos x="76" y="59"/>
                    </a:cxn>
                    <a:cxn ang="0">
                      <a:pos x="81" y="33"/>
                    </a:cxn>
                    <a:cxn ang="0">
                      <a:pos x="80" y="22"/>
                    </a:cxn>
                    <a:cxn ang="0">
                      <a:pos x="81" y="13"/>
                    </a:cxn>
                    <a:cxn ang="0">
                      <a:pos x="80" y="1"/>
                    </a:cxn>
                    <a:cxn ang="0">
                      <a:pos x="76" y="2"/>
                    </a:cxn>
                    <a:cxn ang="0">
                      <a:pos x="70" y="14"/>
                    </a:cxn>
                    <a:cxn ang="0">
                      <a:pos x="65" y="17"/>
                    </a:cxn>
                    <a:cxn ang="0">
                      <a:pos x="51" y="14"/>
                    </a:cxn>
                    <a:cxn ang="0">
                      <a:pos x="47" y="17"/>
                    </a:cxn>
                    <a:cxn ang="0">
                      <a:pos x="39" y="41"/>
                    </a:cxn>
                    <a:cxn ang="0">
                      <a:pos x="29" y="80"/>
                    </a:cxn>
                    <a:cxn ang="0">
                      <a:pos x="13" y="113"/>
                    </a:cxn>
                    <a:cxn ang="0">
                      <a:pos x="6" y="129"/>
                    </a:cxn>
                    <a:cxn ang="0">
                      <a:pos x="0" y="137"/>
                    </a:cxn>
                    <a:cxn ang="0">
                      <a:pos x="4" y="148"/>
                    </a:cxn>
                    <a:cxn ang="0">
                      <a:pos x="39" y="251"/>
                    </a:cxn>
                  </a:cxnLst>
                  <a:rect l="0" t="0" r="r" b="b"/>
                  <a:pathLst>
                    <a:path w="81" h="251">
                      <a:moveTo>
                        <a:pt x="44" y="248"/>
                      </a:moveTo>
                      <a:lnTo>
                        <a:pt x="45" y="242"/>
                      </a:lnTo>
                      <a:lnTo>
                        <a:pt x="49" y="232"/>
                      </a:lnTo>
                      <a:lnTo>
                        <a:pt x="55" y="178"/>
                      </a:lnTo>
                      <a:lnTo>
                        <a:pt x="61" y="158"/>
                      </a:lnTo>
                      <a:lnTo>
                        <a:pt x="70" y="140"/>
                      </a:lnTo>
                      <a:lnTo>
                        <a:pt x="67" y="132"/>
                      </a:lnTo>
                      <a:lnTo>
                        <a:pt x="71" y="119"/>
                      </a:lnTo>
                      <a:lnTo>
                        <a:pt x="69" y="115"/>
                      </a:lnTo>
                      <a:lnTo>
                        <a:pt x="65" y="115"/>
                      </a:lnTo>
                      <a:lnTo>
                        <a:pt x="55" y="124"/>
                      </a:lnTo>
                      <a:lnTo>
                        <a:pt x="43" y="125"/>
                      </a:lnTo>
                      <a:lnTo>
                        <a:pt x="43" y="129"/>
                      </a:lnTo>
                      <a:lnTo>
                        <a:pt x="39" y="124"/>
                      </a:lnTo>
                      <a:lnTo>
                        <a:pt x="39" y="118"/>
                      </a:lnTo>
                      <a:lnTo>
                        <a:pt x="43" y="114"/>
                      </a:lnTo>
                      <a:lnTo>
                        <a:pt x="45" y="105"/>
                      </a:lnTo>
                      <a:lnTo>
                        <a:pt x="47" y="102"/>
                      </a:lnTo>
                      <a:lnTo>
                        <a:pt x="50" y="99"/>
                      </a:lnTo>
                      <a:lnTo>
                        <a:pt x="56" y="98"/>
                      </a:lnTo>
                      <a:lnTo>
                        <a:pt x="58" y="97"/>
                      </a:lnTo>
                      <a:lnTo>
                        <a:pt x="58" y="94"/>
                      </a:lnTo>
                      <a:lnTo>
                        <a:pt x="54" y="93"/>
                      </a:lnTo>
                      <a:lnTo>
                        <a:pt x="44" y="94"/>
                      </a:lnTo>
                      <a:lnTo>
                        <a:pt x="45" y="88"/>
                      </a:lnTo>
                      <a:lnTo>
                        <a:pt x="43" y="83"/>
                      </a:lnTo>
                      <a:lnTo>
                        <a:pt x="43" y="68"/>
                      </a:lnTo>
                      <a:lnTo>
                        <a:pt x="49" y="62"/>
                      </a:lnTo>
                      <a:lnTo>
                        <a:pt x="49" y="52"/>
                      </a:lnTo>
                      <a:lnTo>
                        <a:pt x="51" y="50"/>
                      </a:lnTo>
                      <a:lnTo>
                        <a:pt x="55" y="49"/>
                      </a:lnTo>
                      <a:lnTo>
                        <a:pt x="63" y="50"/>
                      </a:lnTo>
                      <a:lnTo>
                        <a:pt x="67" y="49"/>
                      </a:lnTo>
                      <a:lnTo>
                        <a:pt x="69" y="56"/>
                      </a:lnTo>
                      <a:lnTo>
                        <a:pt x="72" y="59"/>
                      </a:lnTo>
                      <a:lnTo>
                        <a:pt x="76" y="59"/>
                      </a:lnTo>
                      <a:lnTo>
                        <a:pt x="76" y="39"/>
                      </a:lnTo>
                      <a:lnTo>
                        <a:pt x="81" y="33"/>
                      </a:lnTo>
                      <a:lnTo>
                        <a:pt x="78" y="27"/>
                      </a:lnTo>
                      <a:lnTo>
                        <a:pt x="80" y="22"/>
                      </a:lnTo>
                      <a:lnTo>
                        <a:pt x="78" y="17"/>
                      </a:lnTo>
                      <a:lnTo>
                        <a:pt x="81" y="13"/>
                      </a:lnTo>
                      <a:lnTo>
                        <a:pt x="81" y="3"/>
                      </a:lnTo>
                      <a:lnTo>
                        <a:pt x="80" y="1"/>
                      </a:lnTo>
                      <a:lnTo>
                        <a:pt x="78" y="0"/>
                      </a:lnTo>
                      <a:lnTo>
                        <a:pt x="76" y="2"/>
                      </a:lnTo>
                      <a:lnTo>
                        <a:pt x="75" y="16"/>
                      </a:lnTo>
                      <a:lnTo>
                        <a:pt x="70" y="14"/>
                      </a:lnTo>
                      <a:lnTo>
                        <a:pt x="67" y="17"/>
                      </a:lnTo>
                      <a:lnTo>
                        <a:pt x="65" y="17"/>
                      </a:lnTo>
                      <a:lnTo>
                        <a:pt x="63" y="13"/>
                      </a:lnTo>
                      <a:lnTo>
                        <a:pt x="51" y="14"/>
                      </a:lnTo>
                      <a:lnTo>
                        <a:pt x="49" y="12"/>
                      </a:lnTo>
                      <a:lnTo>
                        <a:pt x="47" y="17"/>
                      </a:lnTo>
                      <a:lnTo>
                        <a:pt x="47" y="27"/>
                      </a:lnTo>
                      <a:lnTo>
                        <a:pt x="39" y="41"/>
                      </a:lnTo>
                      <a:lnTo>
                        <a:pt x="38" y="49"/>
                      </a:lnTo>
                      <a:lnTo>
                        <a:pt x="29" y="80"/>
                      </a:lnTo>
                      <a:lnTo>
                        <a:pt x="22" y="104"/>
                      </a:lnTo>
                      <a:lnTo>
                        <a:pt x="13" y="113"/>
                      </a:lnTo>
                      <a:lnTo>
                        <a:pt x="17" y="118"/>
                      </a:lnTo>
                      <a:lnTo>
                        <a:pt x="6" y="129"/>
                      </a:lnTo>
                      <a:lnTo>
                        <a:pt x="7" y="134"/>
                      </a:lnTo>
                      <a:lnTo>
                        <a:pt x="0" y="137"/>
                      </a:lnTo>
                      <a:lnTo>
                        <a:pt x="1" y="142"/>
                      </a:lnTo>
                      <a:lnTo>
                        <a:pt x="4" y="148"/>
                      </a:lnTo>
                      <a:lnTo>
                        <a:pt x="23" y="206"/>
                      </a:lnTo>
                      <a:lnTo>
                        <a:pt x="39" y="251"/>
                      </a:lnTo>
                      <a:lnTo>
                        <a:pt x="44" y="248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</p:grpSp>
          <p:sp>
            <p:nvSpPr>
              <p:cNvPr id="298" name="Freeform 141"/>
              <p:cNvSpPr>
                <a:spLocks noChangeAspect="1"/>
              </p:cNvSpPr>
              <p:nvPr/>
            </p:nvSpPr>
            <p:spPr bwMode="gray">
              <a:xfrm>
                <a:off x="3027" y="2143"/>
                <a:ext cx="19" cy="19"/>
              </a:xfrm>
              <a:custGeom>
                <a:avLst/>
                <a:gdLst/>
                <a:ahLst/>
                <a:cxnLst>
                  <a:cxn ang="0">
                    <a:pos x="96" y="95"/>
                  </a:cxn>
                  <a:cxn ang="0">
                    <a:pos x="94" y="84"/>
                  </a:cxn>
                  <a:cxn ang="0">
                    <a:pos x="90" y="81"/>
                  </a:cxn>
                  <a:cxn ang="0">
                    <a:pos x="86" y="73"/>
                  </a:cxn>
                  <a:cxn ang="0">
                    <a:pos x="81" y="52"/>
                  </a:cxn>
                  <a:cxn ang="0">
                    <a:pos x="73" y="48"/>
                  </a:cxn>
                  <a:cxn ang="0">
                    <a:pos x="62" y="47"/>
                  </a:cxn>
                  <a:cxn ang="0">
                    <a:pos x="64" y="42"/>
                  </a:cxn>
                  <a:cxn ang="0">
                    <a:pos x="67" y="39"/>
                  </a:cxn>
                  <a:cxn ang="0">
                    <a:pos x="73" y="36"/>
                  </a:cxn>
                  <a:cxn ang="0">
                    <a:pos x="85" y="33"/>
                  </a:cxn>
                  <a:cxn ang="0">
                    <a:pos x="92" y="26"/>
                  </a:cxn>
                  <a:cxn ang="0">
                    <a:pos x="92" y="22"/>
                  </a:cxn>
                  <a:cxn ang="0">
                    <a:pos x="90" y="18"/>
                  </a:cxn>
                  <a:cxn ang="0">
                    <a:pos x="79" y="11"/>
                  </a:cxn>
                  <a:cxn ang="0">
                    <a:pos x="78" y="6"/>
                  </a:cxn>
                  <a:cxn ang="0">
                    <a:pos x="79" y="5"/>
                  </a:cxn>
                  <a:cxn ang="0">
                    <a:pos x="67" y="1"/>
                  </a:cxn>
                  <a:cxn ang="0">
                    <a:pos x="53" y="0"/>
                  </a:cxn>
                  <a:cxn ang="0">
                    <a:pos x="38" y="6"/>
                  </a:cxn>
                  <a:cxn ang="0">
                    <a:pos x="26" y="23"/>
                  </a:cxn>
                  <a:cxn ang="0">
                    <a:pos x="16" y="43"/>
                  </a:cxn>
                  <a:cxn ang="0">
                    <a:pos x="0" y="59"/>
                  </a:cxn>
                  <a:cxn ang="0">
                    <a:pos x="4" y="61"/>
                  </a:cxn>
                  <a:cxn ang="0">
                    <a:pos x="26" y="65"/>
                  </a:cxn>
                  <a:cxn ang="0">
                    <a:pos x="46" y="73"/>
                  </a:cxn>
                  <a:cxn ang="0">
                    <a:pos x="53" y="80"/>
                  </a:cxn>
                  <a:cxn ang="0">
                    <a:pos x="63" y="95"/>
                  </a:cxn>
                  <a:cxn ang="0">
                    <a:pos x="96" y="95"/>
                  </a:cxn>
                </a:cxnLst>
                <a:rect l="0" t="0" r="r" b="b"/>
                <a:pathLst>
                  <a:path w="96" h="95">
                    <a:moveTo>
                      <a:pt x="96" y="95"/>
                    </a:moveTo>
                    <a:lnTo>
                      <a:pt x="94" y="84"/>
                    </a:lnTo>
                    <a:lnTo>
                      <a:pt x="90" y="81"/>
                    </a:lnTo>
                    <a:lnTo>
                      <a:pt x="86" y="73"/>
                    </a:lnTo>
                    <a:lnTo>
                      <a:pt x="81" y="52"/>
                    </a:lnTo>
                    <a:lnTo>
                      <a:pt x="73" y="48"/>
                    </a:lnTo>
                    <a:lnTo>
                      <a:pt x="62" y="47"/>
                    </a:lnTo>
                    <a:lnTo>
                      <a:pt x="64" y="42"/>
                    </a:lnTo>
                    <a:lnTo>
                      <a:pt x="67" y="39"/>
                    </a:lnTo>
                    <a:lnTo>
                      <a:pt x="73" y="36"/>
                    </a:lnTo>
                    <a:lnTo>
                      <a:pt x="85" y="33"/>
                    </a:lnTo>
                    <a:lnTo>
                      <a:pt x="92" y="26"/>
                    </a:lnTo>
                    <a:lnTo>
                      <a:pt x="92" y="22"/>
                    </a:lnTo>
                    <a:lnTo>
                      <a:pt x="90" y="18"/>
                    </a:lnTo>
                    <a:lnTo>
                      <a:pt x="79" y="11"/>
                    </a:lnTo>
                    <a:lnTo>
                      <a:pt x="78" y="6"/>
                    </a:lnTo>
                    <a:lnTo>
                      <a:pt x="79" y="5"/>
                    </a:lnTo>
                    <a:lnTo>
                      <a:pt x="67" y="1"/>
                    </a:lnTo>
                    <a:lnTo>
                      <a:pt x="53" y="0"/>
                    </a:lnTo>
                    <a:lnTo>
                      <a:pt x="38" y="6"/>
                    </a:lnTo>
                    <a:lnTo>
                      <a:pt x="26" y="23"/>
                    </a:lnTo>
                    <a:lnTo>
                      <a:pt x="16" y="43"/>
                    </a:lnTo>
                    <a:lnTo>
                      <a:pt x="0" y="59"/>
                    </a:lnTo>
                    <a:lnTo>
                      <a:pt x="4" y="61"/>
                    </a:lnTo>
                    <a:lnTo>
                      <a:pt x="26" y="65"/>
                    </a:lnTo>
                    <a:lnTo>
                      <a:pt x="46" y="73"/>
                    </a:lnTo>
                    <a:lnTo>
                      <a:pt x="53" y="80"/>
                    </a:lnTo>
                    <a:lnTo>
                      <a:pt x="63" y="95"/>
                    </a:lnTo>
                    <a:lnTo>
                      <a:pt x="96" y="9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grpSp>
            <p:nvGrpSpPr>
              <p:cNvPr id="299" name="Group 142"/>
              <p:cNvGrpSpPr>
                <a:grpSpLocks noChangeAspect="1"/>
              </p:cNvGrpSpPr>
              <p:nvPr/>
            </p:nvGrpSpPr>
            <p:grpSpPr>
              <a:xfrm>
                <a:off x="2896" y="2116"/>
                <a:ext cx="231" cy="189"/>
                <a:chOff x="2896" y="2116"/>
                <a:chExt cx="231" cy="189"/>
              </a:xfrm>
              <a:grpFill/>
            </p:grpSpPr>
            <p:sp>
              <p:nvSpPr>
                <p:cNvPr id="320" name="Freeform 143"/>
                <p:cNvSpPr>
                  <a:spLocks noChangeAspect="1"/>
                </p:cNvSpPr>
                <p:nvPr/>
              </p:nvSpPr>
              <p:spPr bwMode="gray">
                <a:xfrm>
                  <a:off x="2896" y="2116"/>
                  <a:ext cx="231" cy="189"/>
                </a:xfrm>
                <a:custGeom>
                  <a:avLst/>
                  <a:gdLst/>
                  <a:ahLst/>
                  <a:cxnLst>
                    <a:cxn ang="0">
                      <a:pos x="9706" y="2910"/>
                    </a:cxn>
                    <a:cxn ang="0">
                      <a:pos x="10455" y="3296"/>
                    </a:cxn>
                    <a:cxn ang="0">
                      <a:pos x="10697" y="3824"/>
                    </a:cxn>
                    <a:cxn ang="0">
                      <a:pos x="11100" y="4189"/>
                    </a:cxn>
                    <a:cxn ang="0">
                      <a:pos x="11258" y="4460"/>
                    </a:cxn>
                    <a:cxn ang="0">
                      <a:pos x="11663" y="4798"/>
                    </a:cxn>
                    <a:cxn ang="0">
                      <a:pos x="11788" y="5234"/>
                    </a:cxn>
                    <a:cxn ang="0">
                      <a:pos x="11824" y="5695"/>
                    </a:cxn>
                    <a:cxn ang="0">
                      <a:pos x="12147" y="6336"/>
                    </a:cxn>
                    <a:cxn ang="0">
                      <a:pos x="12348" y="6619"/>
                    </a:cxn>
                    <a:cxn ang="0">
                      <a:pos x="13158" y="7915"/>
                    </a:cxn>
                    <a:cxn ang="0">
                      <a:pos x="15424" y="10363"/>
                    </a:cxn>
                    <a:cxn ang="0">
                      <a:pos x="10244" y="11935"/>
                    </a:cxn>
                    <a:cxn ang="0">
                      <a:pos x="9104" y="12745"/>
                    </a:cxn>
                    <a:cxn ang="0">
                      <a:pos x="7168" y="12457"/>
                    </a:cxn>
                    <a:cxn ang="0">
                      <a:pos x="6570" y="12466"/>
                    </a:cxn>
                    <a:cxn ang="0">
                      <a:pos x="6524" y="12554"/>
                    </a:cxn>
                    <a:cxn ang="0">
                      <a:pos x="6474" y="12661"/>
                    </a:cxn>
                    <a:cxn ang="0">
                      <a:pos x="6461" y="12671"/>
                    </a:cxn>
                    <a:cxn ang="0">
                      <a:pos x="6442" y="12664"/>
                    </a:cxn>
                    <a:cxn ang="0">
                      <a:pos x="6434" y="12672"/>
                    </a:cxn>
                    <a:cxn ang="0">
                      <a:pos x="6449" y="12718"/>
                    </a:cxn>
                    <a:cxn ang="0">
                      <a:pos x="6493" y="12822"/>
                    </a:cxn>
                    <a:cxn ang="0">
                      <a:pos x="6493" y="12849"/>
                    </a:cxn>
                    <a:cxn ang="0">
                      <a:pos x="6127" y="13229"/>
                    </a:cxn>
                    <a:cxn ang="0">
                      <a:pos x="5877" y="12675"/>
                    </a:cxn>
                    <a:cxn ang="0">
                      <a:pos x="5396" y="12043"/>
                    </a:cxn>
                    <a:cxn ang="0">
                      <a:pos x="4967" y="11398"/>
                    </a:cxn>
                    <a:cxn ang="0">
                      <a:pos x="4842" y="10911"/>
                    </a:cxn>
                    <a:cxn ang="0">
                      <a:pos x="4559" y="10532"/>
                    </a:cxn>
                    <a:cxn ang="0">
                      <a:pos x="4050" y="10087"/>
                    </a:cxn>
                    <a:cxn ang="0">
                      <a:pos x="3642" y="9870"/>
                    </a:cxn>
                    <a:cxn ang="0">
                      <a:pos x="3359" y="8893"/>
                    </a:cxn>
                    <a:cxn ang="0">
                      <a:pos x="3366" y="8593"/>
                    </a:cxn>
                    <a:cxn ang="0">
                      <a:pos x="3225" y="8044"/>
                    </a:cxn>
                    <a:cxn ang="0">
                      <a:pos x="3034" y="7550"/>
                    </a:cxn>
                    <a:cxn ang="0">
                      <a:pos x="2492" y="6909"/>
                    </a:cxn>
                    <a:cxn ang="0">
                      <a:pos x="2243" y="6803"/>
                    </a:cxn>
                    <a:cxn ang="0">
                      <a:pos x="2042" y="6580"/>
                    </a:cxn>
                    <a:cxn ang="0">
                      <a:pos x="1833" y="5901"/>
                    </a:cxn>
                    <a:cxn ang="0">
                      <a:pos x="1507" y="5504"/>
                    </a:cxn>
                    <a:cxn ang="0">
                      <a:pos x="1117" y="4757"/>
                    </a:cxn>
                    <a:cxn ang="0">
                      <a:pos x="724" y="4245"/>
                    </a:cxn>
                    <a:cxn ang="0">
                      <a:pos x="242" y="3599"/>
                    </a:cxn>
                    <a:cxn ang="0">
                      <a:pos x="0" y="3649"/>
                    </a:cxn>
                    <a:cxn ang="0">
                      <a:pos x="249" y="2682"/>
                    </a:cxn>
                    <a:cxn ang="0">
                      <a:pos x="1352" y="2467"/>
                    </a:cxn>
                    <a:cxn ang="0">
                      <a:pos x="2171" y="1850"/>
                    </a:cxn>
                    <a:cxn ang="0">
                      <a:pos x="1840" y="685"/>
                    </a:cxn>
                    <a:cxn ang="0">
                      <a:pos x="3424" y="0"/>
                    </a:cxn>
                    <a:cxn ang="0">
                      <a:pos x="6284" y="1324"/>
                    </a:cxn>
                    <a:cxn ang="0">
                      <a:pos x="6826" y="2203"/>
                    </a:cxn>
                  </a:cxnLst>
                  <a:rect l="0" t="0" r="r" b="b"/>
                  <a:pathLst>
                    <a:path w="15957" h="13229">
                      <a:moveTo>
                        <a:pt x="9071" y="2723"/>
                      </a:moveTo>
                      <a:lnTo>
                        <a:pt x="9131" y="2757"/>
                      </a:lnTo>
                      <a:lnTo>
                        <a:pt x="9432" y="2810"/>
                      </a:lnTo>
                      <a:lnTo>
                        <a:pt x="9706" y="2910"/>
                      </a:lnTo>
                      <a:lnTo>
                        <a:pt x="9809" y="2999"/>
                      </a:lnTo>
                      <a:lnTo>
                        <a:pt x="9934" y="3216"/>
                      </a:lnTo>
                      <a:lnTo>
                        <a:pt x="10393" y="3219"/>
                      </a:lnTo>
                      <a:lnTo>
                        <a:pt x="10455" y="3296"/>
                      </a:lnTo>
                      <a:lnTo>
                        <a:pt x="10504" y="3434"/>
                      </a:lnTo>
                      <a:lnTo>
                        <a:pt x="10545" y="3497"/>
                      </a:lnTo>
                      <a:lnTo>
                        <a:pt x="10573" y="3599"/>
                      </a:lnTo>
                      <a:lnTo>
                        <a:pt x="10697" y="3824"/>
                      </a:lnTo>
                      <a:lnTo>
                        <a:pt x="10817" y="3869"/>
                      </a:lnTo>
                      <a:lnTo>
                        <a:pt x="10903" y="4039"/>
                      </a:lnTo>
                      <a:lnTo>
                        <a:pt x="11097" y="4175"/>
                      </a:lnTo>
                      <a:lnTo>
                        <a:pt x="11100" y="4189"/>
                      </a:lnTo>
                      <a:lnTo>
                        <a:pt x="11062" y="4232"/>
                      </a:lnTo>
                      <a:lnTo>
                        <a:pt x="11097" y="4290"/>
                      </a:lnTo>
                      <a:lnTo>
                        <a:pt x="11134" y="4426"/>
                      </a:lnTo>
                      <a:lnTo>
                        <a:pt x="11258" y="4460"/>
                      </a:lnTo>
                      <a:lnTo>
                        <a:pt x="11313" y="4512"/>
                      </a:lnTo>
                      <a:lnTo>
                        <a:pt x="11537" y="4658"/>
                      </a:lnTo>
                      <a:lnTo>
                        <a:pt x="11613" y="4723"/>
                      </a:lnTo>
                      <a:lnTo>
                        <a:pt x="11663" y="4798"/>
                      </a:lnTo>
                      <a:lnTo>
                        <a:pt x="11680" y="4839"/>
                      </a:lnTo>
                      <a:lnTo>
                        <a:pt x="11658" y="4977"/>
                      </a:lnTo>
                      <a:lnTo>
                        <a:pt x="11764" y="5127"/>
                      </a:lnTo>
                      <a:lnTo>
                        <a:pt x="11788" y="5234"/>
                      </a:lnTo>
                      <a:lnTo>
                        <a:pt x="11781" y="5294"/>
                      </a:lnTo>
                      <a:lnTo>
                        <a:pt x="11711" y="5381"/>
                      </a:lnTo>
                      <a:lnTo>
                        <a:pt x="11715" y="5546"/>
                      </a:lnTo>
                      <a:lnTo>
                        <a:pt x="11824" y="5695"/>
                      </a:lnTo>
                      <a:lnTo>
                        <a:pt x="12016" y="5908"/>
                      </a:lnTo>
                      <a:lnTo>
                        <a:pt x="12063" y="6177"/>
                      </a:lnTo>
                      <a:lnTo>
                        <a:pt x="12135" y="6264"/>
                      </a:lnTo>
                      <a:lnTo>
                        <a:pt x="12147" y="6336"/>
                      </a:lnTo>
                      <a:lnTo>
                        <a:pt x="12184" y="6371"/>
                      </a:lnTo>
                      <a:lnTo>
                        <a:pt x="12207" y="6448"/>
                      </a:lnTo>
                      <a:lnTo>
                        <a:pt x="12243" y="6448"/>
                      </a:lnTo>
                      <a:lnTo>
                        <a:pt x="12348" y="6619"/>
                      </a:lnTo>
                      <a:lnTo>
                        <a:pt x="12423" y="6638"/>
                      </a:lnTo>
                      <a:lnTo>
                        <a:pt x="12480" y="6842"/>
                      </a:lnTo>
                      <a:lnTo>
                        <a:pt x="12935" y="7241"/>
                      </a:lnTo>
                      <a:lnTo>
                        <a:pt x="13158" y="7915"/>
                      </a:lnTo>
                      <a:lnTo>
                        <a:pt x="15429" y="8331"/>
                      </a:lnTo>
                      <a:lnTo>
                        <a:pt x="15576" y="8167"/>
                      </a:lnTo>
                      <a:lnTo>
                        <a:pt x="15957" y="8740"/>
                      </a:lnTo>
                      <a:lnTo>
                        <a:pt x="15424" y="10363"/>
                      </a:lnTo>
                      <a:lnTo>
                        <a:pt x="13158" y="11166"/>
                      </a:lnTo>
                      <a:lnTo>
                        <a:pt x="11049" y="11512"/>
                      </a:lnTo>
                      <a:lnTo>
                        <a:pt x="10746" y="11729"/>
                      </a:lnTo>
                      <a:lnTo>
                        <a:pt x="10244" y="11935"/>
                      </a:lnTo>
                      <a:lnTo>
                        <a:pt x="9691" y="12918"/>
                      </a:lnTo>
                      <a:lnTo>
                        <a:pt x="9503" y="13060"/>
                      </a:lnTo>
                      <a:lnTo>
                        <a:pt x="9370" y="13076"/>
                      </a:lnTo>
                      <a:lnTo>
                        <a:pt x="9104" y="12745"/>
                      </a:lnTo>
                      <a:lnTo>
                        <a:pt x="8174" y="12657"/>
                      </a:lnTo>
                      <a:lnTo>
                        <a:pt x="8036" y="12551"/>
                      </a:lnTo>
                      <a:lnTo>
                        <a:pt x="7547" y="12502"/>
                      </a:lnTo>
                      <a:lnTo>
                        <a:pt x="7168" y="12457"/>
                      </a:lnTo>
                      <a:lnTo>
                        <a:pt x="6859" y="12543"/>
                      </a:lnTo>
                      <a:lnTo>
                        <a:pt x="6711" y="12286"/>
                      </a:lnTo>
                      <a:lnTo>
                        <a:pt x="6580" y="12452"/>
                      </a:lnTo>
                      <a:lnTo>
                        <a:pt x="6570" y="12466"/>
                      </a:lnTo>
                      <a:lnTo>
                        <a:pt x="6560" y="12481"/>
                      </a:lnTo>
                      <a:lnTo>
                        <a:pt x="6551" y="12499"/>
                      </a:lnTo>
                      <a:lnTo>
                        <a:pt x="6542" y="12517"/>
                      </a:lnTo>
                      <a:lnTo>
                        <a:pt x="6524" y="12554"/>
                      </a:lnTo>
                      <a:lnTo>
                        <a:pt x="6507" y="12592"/>
                      </a:lnTo>
                      <a:lnTo>
                        <a:pt x="6492" y="12625"/>
                      </a:lnTo>
                      <a:lnTo>
                        <a:pt x="6480" y="12652"/>
                      </a:lnTo>
                      <a:lnTo>
                        <a:pt x="6474" y="12661"/>
                      </a:lnTo>
                      <a:lnTo>
                        <a:pt x="6468" y="12668"/>
                      </a:lnTo>
                      <a:lnTo>
                        <a:pt x="6466" y="12670"/>
                      </a:lnTo>
                      <a:lnTo>
                        <a:pt x="6464" y="12671"/>
                      </a:lnTo>
                      <a:lnTo>
                        <a:pt x="6461" y="12671"/>
                      </a:lnTo>
                      <a:lnTo>
                        <a:pt x="6460" y="12670"/>
                      </a:lnTo>
                      <a:lnTo>
                        <a:pt x="6452" y="12667"/>
                      </a:lnTo>
                      <a:lnTo>
                        <a:pt x="6447" y="12665"/>
                      </a:lnTo>
                      <a:lnTo>
                        <a:pt x="6442" y="12664"/>
                      </a:lnTo>
                      <a:lnTo>
                        <a:pt x="6439" y="12665"/>
                      </a:lnTo>
                      <a:lnTo>
                        <a:pt x="6436" y="12666"/>
                      </a:lnTo>
                      <a:lnTo>
                        <a:pt x="6435" y="12669"/>
                      </a:lnTo>
                      <a:lnTo>
                        <a:pt x="6434" y="12672"/>
                      </a:lnTo>
                      <a:lnTo>
                        <a:pt x="6434" y="12676"/>
                      </a:lnTo>
                      <a:lnTo>
                        <a:pt x="6437" y="12688"/>
                      </a:lnTo>
                      <a:lnTo>
                        <a:pt x="6442" y="12702"/>
                      </a:lnTo>
                      <a:lnTo>
                        <a:pt x="6449" y="12718"/>
                      </a:lnTo>
                      <a:lnTo>
                        <a:pt x="6457" y="12735"/>
                      </a:lnTo>
                      <a:lnTo>
                        <a:pt x="6474" y="12773"/>
                      </a:lnTo>
                      <a:lnTo>
                        <a:pt x="6488" y="12807"/>
                      </a:lnTo>
                      <a:lnTo>
                        <a:pt x="6493" y="12822"/>
                      </a:lnTo>
                      <a:lnTo>
                        <a:pt x="6495" y="12835"/>
                      </a:lnTo>
                      <a:lnTo>
                        <a:pt x="6495" y="12841"/>
                      </a:lnTo>
                      <a:lnTo>
                        <a:pt x="6495" y="12845"/>
                      </a:lnTo>
                      <a:lnTo>
                        <a:pt x="6493" y="12849"/>
                      </a:lnTo>
                      <a:lnTo>
                        <a:pt x="6490" y="12851"/>
                      </a:lnTo>
                      <a:lnTo>
                        <a:pt x="6442" y="13138"/>
                      </a:lnTo>
                      <a:lnTo>
                        <a:pt x="6289" y="13180"/>
                      </a:lnTo>
                      <a:lnTo>
                        <a:pt x="6127" y="13229"/>
                      </a:lnTo>
                      <a:lnTo>
                        <a:pt x="6092" y="13137"/>
                      </a:lnTo>
                      <a:lnTo>
                        <a:pt x="6092" y="13002"/>
                      </a:lnTo>
                      <a:lnTo>
                        <a:pt x="5928" y="12707"/>
                      </a:lnTo>
                      <a:lnTo>
                        <a:pt x="5877" y="12675"/>
                      </a:lnTo>
                      <a:lnTo>
                        <a:pt x="5820" y="12590"/>
                      </a:lnTo>
                      <a:lnTo>
                        <a:pt x="5760" y="12346"/>
                      </a:lnTo>
                      <a:lnTo>
                        <a:pt x="5511" y="12104"/>
                      </a:lnTo>
                      <a:lnTo>
                        <a:pt x="5396" y="12043"/>
                      </a:lnTo>
                      <a:lnTo>
                        <a:pt x="5329" y="11966"/>
                      </a:lnTo>
                      <a:lnTo>
                        <a:pt x="5175" y="11749"/>
                      </a:lnTo>
                      <a:lnTo>
                        <a:pt x="5026" y="11439"/>
                      </a:lnTo>
                      <a:lnTo>
                        <a:pt x="4967" y="11398"/>
                      </a:lnTo>
                      <a:lnTo>
                        <a:pt x="4943" y="11357"/>
                      </a:lnTo>
                      <a:lnTo>
                        <a:pt x="4900" y="11197"/>
                      </a:lnTo>
                      <a:lnTo>
                        <a:pt x="4893" y="11035"/>
                      </a:lnTo>
                      <a:lnTo>
                        <a:pt x="4842" y="10911"/>
                      </a:lnTo>
                      <a:lnTo>
                        <a:pt x="4758" y="10766"/>
                      </a:lnTo>
                      <a:lnTo>
                        <a:pt x="4661" y="10672"/>
                      </a:lnTo>
                      <a:lnTo>
                        <a:pt x="4617" y="10581"/>
                      </a:lnTo>
                      <a:lnTo>
                        <a:pt x="4559" y="10532"/>
                      </a:lnTo>
                      <a:lnTo>
                        <a:pt x="4443" y="10363"/>
                      </a:lnTo>
                      <a:lnTo>
                        <a:pt x="4361" y="10288"/>
                      </a:lnTo>
                      <a:lnTo>
                        <a:pt x="4157" y="10146"/>
                      </a:lnTo>
                      <a:lnTo>
                        <a:pt x="4050" y="10087"/>
                      </a:lnTo>
                      <a:lnTo>
                        <a:pt x="4015" y="10102"/>
                      </a:lnTo>
                      <a:lnTo>
                        <a:pt x="3932" y="10071"/>
                      </a:lnTo>
                      <a:lnTo>
                        <a:pt x="3740" y="9952"/>
                      </a:lnTo>
                      <a:lnTo>
                        <a:pt x="3642" y="9870"/>
                      </a:lnTo>
                      <a:lnTo>
                        <a:pt x="3582" y="9793"/>
                      </a:lnTo>
                      <a:lnTo>
                        <a:pt x="3491" y="9608"/>
                      </a:lnTo>
                      <a:lnTo>
                        <a:pt x="3451" y="9466"/>
                      </a:lnTo>
                      <a:lnTo>
                        <a:pt x="3359" y="8893"/>
                      </a:lnTo>
                      <a:lnTo>
                        <a:pt x="3309" y="8803"/>
                      </a:lnTo>
                      <a:lnTo>
                        <a:pt x="3299" y="8728"/>
                      </a:lnTo>
                      <a:lnTo>
                        <a:pt x="3333" y="8694"/>
                      </a:lnTo>
                      <a:lnTo>
                        <a:pt x="3366" y="8593"/>
                      </a:lnTo>
                      <a:lnTo>
                        <a:pt x="3383" y="8406"/>
                      </a:lnTo>
                      <a:lnTo>
                        <a:pt x="3326" y="8203"/>
                      </a:lnTo>
                      <a:lnTo>
                        <a:pt x="3283" y="8114"/>
                      </a:lnTo>
                      <a:lnTo>
                        <a:pt x="3225" y="8044"/>
                      </a:lnTo>
                      <a:lnTo>
                        <a:pt x="3174" y="7927"/>
                      </a:lnTo>
                      <a:lnTo>
                        <a:pt x="3141" y="7785"/>
                      </a:lnTo>
                      <a:lnTo>
                        <a:pt x="3091" y="7700"/>
                      </a:lnTo>
                      <a:lnTo>
                        <a:pt x="3034" y="7550"/>
                      </a:lnTo>
                      <a:lnTo>
                        <a:pt x="2859" y="7241"/>
                      </a:lnTo>
                      <a:lnTo>
                        <a:pt x="2650" y="7038"/>
                      </a:lnTo>
                      <a:lnTo>
                        <a:pt x="2518" y="6946"/>
                      </a:lnTo>
                      <a:lnTo>
                        <a:pt x="2492" y="6909"/>
                      </a:lnTo>
                      <a:lnTo>
                        <a:pt x="2451" y="6902"/>
                      </a:lnTo>
                      <a:lnTo>
                        <a:pt x="2435" y="6861"/>
                      </a:lnTo>
                      <a:lnTo>
                        <a:pt x="2326" y="6803"/>
                      </a:lnTo>
                      <a:lnTo>
                        <a:pt x="2243" y="6803"/>
                      </a:lnTo>
                      <a:lnTo>
                        <a:pt x="2193" y="6818"/>
                      </a:lnTo>
                      <a:lnTo>
                        <a:pt x="2135" y="6791"/>
                      </a:lnTo>
                      <a:lnTo>
                        <a:pt x="2108" y="6692"/>
                      </a:lnTo>
                      <a:lnTo>
                        <a:pt x="2042" y="6580"/>
                      </a:lnTo>
                      <a:lnTo>
                        <a:pt x="1949" y="6472"/>
                      </a:lnTo>
                      <a:lnTo>
                        <a:pt x="1949" y="6336"/>
                      </a:lnTo>
                      <a:lnTo>
                        <a:pt x="1965" y="6312"/>
                      </a:lnTo>
                      <a:lnTo>
                        <a:pt x="1833" y="5901"/>
                      </a:lnTo>
                      <a:lnTo>
                        <a:pt x="1757" y="5789"/>
                      </a:lnTo>
                      <a:lnTo>
                        <a:pt x="1665" y="5616"/>
                      </a:lnTo>
                      <a:lnTo>
                        <a:pt x="1549" y="5562"/>
                      </a:lnTo>
                      <a:lnTo>
                        <a:pt x="1507" y="5504"/>
                      </a:lnTo>
                      <a:lnTo>
                        <a:pt x="1483" y="5405"/>
                      </a:lnTo>
                      <a:lnTo>
                        <a:pt x="1326" y="5202"/>
                      </a:lnTo>
                      <a:lnTo>
                        <a:pt x="1198" y="4866"/>
                      </a:lnTo>
                      <a:lnTo>
                        <a:pt x="1117" y="4757"/>
                      </a:lnTo>
                      <a:lnTo>
                        <a:pt x="1016" y="4682"/>
                      </a:lnTo>
                      <a:lnTo>
                        <a:pt x="841" y="4447"/>
                      </a:lnTo>
                      <a:lnTo>
                        <a:pt x="824" y="4372"/>
                      </a:lnTo>
                      <a:lnTo>
                        <a:pt x="724" y="4245"/>
                      </a:lnTo>
                      <a:lnTo>
                        <a:pt x="625" y="4019"/>
                      </a:lnTo>
                      <a:lnTo>
                        <a:pt x="434" y="3656"/>
                      </a:lnTo>
                      <a:lnTo>
                        <a:pt x="357" y="3599"/>
                      </a:lnTo>
                      <a:lnTo>
                        <a:pt x="242" y="3599"/>
                      </a:lnTo>
                      <a:lnTo>
                        <a:pt x="125" y="3581"/>
                      </a:lnTo>
                      <a:lnTo>
                        <a:pt x="101" y="3565"/>
                      </a:lnTo>
                      <a:lnTo>
                        <a:pt x="34" y="3581"/>
                      </a:lnTo>
                      <a:lnTo>
                        <a:pt x="0" y="3649"/>
                      </a:lnTo>
                      <a:lnTo>
                        <a:pt x="159" y="3246"/>
                      </a:lnTo>
                      <a:lnTo>
                        <a:pt x="168" y="2943"/>
                      </a:lnTo>
                      <a:lnTo>
                        <a:pt x="192" y="2825"/>
                      </a:lnTo>
                      <a:lnTo>
                        <a:pt x="249" y="2682"/>
                      </a:lnTo>
                      <a:lnTo>
                        <a:pt x="242" y="2477"/>
                      </a:lnTo>
                      <a:lnTo>
                        <a:pt x="276" y="2595"/>
                      </a:lnTo>
                      <a:lnTo>
                        <a:pt x="1117" y="2702"/>
                      </a:lnTo>
                      <a:lnTo>
                        <a:pt x="1352" y="2467"/>
                      </a:lnTo>
                      <a:lnTo>
                        <a:pt x="1366" y="2419"/>
                      </a:lnTo>
                      <a:lnTo>
                        <a:pt x="1567" y="2061"/>
                      </a:lnTo>
                      <a:lnTo>
                        <a:pt x="2145" y="1974"/>
                      </a:lnTo>
                      <a:lnTo>
                        <a:pt x="2171" y="1850"/>
                      </a:lnTo>
                      <a:lnTo>
                        <a:pt x="2255" y="1618"/>
                      </a:lnTo>
                      <a:lnTo>
                        <a:pt x="2560" y="1448"/>
                      </a:lnTo>
                      <a:lnTo>
                        <a:pt x="2569" y="1429"/>
                      </a:lnTo>
                      <a:lnTo>
                        <a:pt x="1840" y="685"/>
                      </a:lnTo>
                      <a:lnTo>
                        <a:pt x="1731" y="590"/>
                      </a:lnTo>
                      <a:lnTo>
                        <a:pt x="2281" y="464"/>
                      </a:lnTo>
                      <a:lnTo>
                        <a:pt x="3197" y="281"/>
                      </a:lnTo>
                      <a:lnTo>
                        <a:pt x="3424" y="0"/>
                      </a:lnTo>
                      <a:lnTo>
                        <a:pt x="4576" y="321"/>
                      </a:lnTo>
                      <a:lnTo>
                        <a:pt x="5434" y="970"/>
                      </a:lnTo>
                      <a:lnTo>
                        <a:pt x="6203" y="1265"/>
                      </a:lnTo>
                      <a:lnTo>
                        <a:pt x="6284" y="1324"/>
                      </a:lnTo>
                      <a:lnTo>
                        <a:pt x="6395" y="1591"/>
                      </a:lnTo>
                      <a:lnTo>
                        <a:pt x="6793" y="1625"/>
                      </a:lnTo>
                      <a:lnTo>
                        <a:pt x="6826" y="1659"/>
                      </a:lnTo>
                      <a:lnTo>
                        <a:pt x="6826" y="2203"/>
                      </a:lnTo>
                      <a:lnTo>
                        <a:pt x="6859" y="2247"/>
                      </a:lnTo>
                      <a:lnTo>
                        <a:pt x="7719" y="2641"/>
                      </a:lnTo>
                      <a:lnTo>
                        <a:pt x="9071" y="2723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321" name="Freeform 144"/>
                <p:cNvSpPr>
                  <a:spLocks noChangeAspect="1"/>
                </p:cNvSpPr>
                <p:nvPr/>
              </p:nvSpPr>
              <p:spPr bwMode="gray">
                <a:xfrm>
                  <a:off x="2896" y="2116"/>
                  <a:ext cx="231" cy="189"/>
                </a:xfrm>
                <a:custGeom>
                  <a:avLst/>
                  <a:gdLst/>
                  <a:ahLst/>
                  <a:cxnLst>
                    <a:cxn ang="0">
                      <a:pos x="9706" y="2910"/>
                    </a:cxn>
                    <a:cxn ang="0">
                      <a:pos x="10455" y="3296"/>
                    </a:cxn>
                    <a:cxn ang="0">
                      <a:pos x="10697" y="3824"/>
                    </a:cxn>
                    <a:cxn ang="0">
                      <a:pos x="11100" y="4189"/>
                    </a:cxn>
                    <a:cxn ang="0">
                      <a:pos x="11258" y="4460"/>
                    </a:cxn>
                    <a:cxn ang="0">
                      <a:pos x="11663" y="4798"/>
                    </a:cxn>
                    <a:cxn ang="0">
                      <a:pos x="11788" y="5234"/>
                    </a:cxn>
                    <a:cxn ang="0">
                      <a:pos x="11824" y="5695"/>
                    </a:cxn>
                    <a:cxn ang="0">
                      <a:pos x="12147" y="6336"/>
                    </a:cxn>
                    <a:cxn ang="0">
                      <a:pos x="12348" y="6619"/>
                    </a:cxn>
                    <a:cxn ang="0">
                      <a:pos x="13158" y="7915"/>
                    </a:cxn>
                    <a:cxn ang="0">
                      <a:pos x="15424" y="10363"/>
                    </a:cxn>
                    <a:cxn ang="0">
                      <a:pos x="10244" y="11935"/>
                    </a:cxn>
                    <a:cxn ang="0">
                      <a:pos x="9104" y="12745"/>
                    </a:cxn>
                    <a:cxn ang="0">
                      <a:pos x="7168" y="12457"/>
                    </a:cxn>
                    <a:cxn ang="0">
                      <a:pos x="6570" y="12466"/>
                    </a:cxn>
                    <a:cxn ang="0">
                      <a:pos x="6524" y="12554"/>
                    </a:cxn>
                    <a:cxn ang="0">
                      <a:pos x="6474" y="12661"/>
                    </a:cxn>
                    <a:cxn ang="0">
                      <a:pos x="6461" y="12671"/>
                    </a:cxn>
                    <a:cxn ang="0">
                      <a:pos x="6442" y="12664"/>
                    </a:cxn>
                    <a:cxn ang="0">
                      <a:pos x="6434" y="12672"/>
                    </a:cxn>
                    <a:cxn ang="0">
                      <a:pos x="6449" y="12718"/>
                    </a:cxn>
                    <a:cxn ang="0">
                      <a:pos x="6493" y="12822"/>
                    </a:cxn>
                    <a:cxn ang="0">
                      <a:pos x="6493" y="12849"/>
                    </a:cxn>
                    <a:cxn ang="0">
                      <a:pos x="6127" y="13229"/>
                    </a:cxn>
                    <a:cxn ang="0">
                      <a:pos x="5877" y="12675"/>
                    </a:cxn>
                    <a:cxn ang="0">
                      <a:pos x="5396" y="12043"/>
                    </a:cxn>
                    <a:cxn ang="0">
                      <a:pos x="4967" y="11398"/>
                    </a:cxn>
                    <a:cxn ang="0">
                      <a:pos x="4842" y="10911"/>
                    </a:cxn>
                    <a:cxn ang="0">
                      <a:pos x="4559" y="10532"/>
                    </a:cxn>
                    <a:cxn ang="0">
                      <a:pos x="4050" y="10087"/>
                    </a:cxn>
                    <a:cxn ang="0">
                      <a:pos x="3642" y="9870"/>
                    </a:cxn>
                    <a:cxn ang="0">
                      <a:pos x="3359" y="8893"/>
                    </a:cxn>
                    <a:cxn ang="0">
                      <a:pos x="3366" y="8593"/>
                    </a:cxn>
                    <a:cxn ang="0">
                      <a:pos x="3225" y="8044"/>
                    </a:cxn>
                    <a:cxn ang="0">
                      <a:pos x="3034" y="7550"/>
                    </a:cxn>
                    <a:cxn ang="0">
                      <a:pos x="2492" y="6909"/>
                    </a:cxn>
                    <a:cxn ang="0">
                      <a:pos x="2243" y="6803"/>
                    </a:cxn>
                    <a:cxn ang="0">
                      <a:pos x="2042" y="6580"/>
                    </a:cxn>
                    <a:cxn ang="0">
                      <a:pos x="1833" y="5901"/>
                    </a:cxn>
                    <a:cxn ang="0">
                      <a:pos x="1507" y="5504"/>
                    </a:cxn>
                    <a:cxn ang="0">
                      <a:pos x="1117" y="4757"/>
                    </a:cxn>
                    <a:cxn ang="0">
                      <a:pos x="724" y="4245"/>
                    </a:cxn>
                    <a:cxn ang="0">
                      <a:pos x="242" y="3599"/>
                    </a:cxn>
                    <a:cxn ang="0">
                      <a:pos x="0" y="3649"/>
                    </a:cxn>
                    <a:cxn ang="0">
                      <a:pos x="249" y="2682"/>
                    </a:cxn>
                    <a:cxn ang="0">
                      <a:pos x="1352" y="2467"/>
                    </a:cxn>
                    <a:cxn ang="0">
                      <a:pos x="2171" y="1850"/>
                    </a:cxn>
                    <a:cxn ang="0">
                      <a:pos x="1840" y="685"/>
                    </a:cxn>
                    <a:cxn ang="0">
                      <a:pos x="3424" y="0"/>
                    </a:cxn>
                    <a:cxn ang="0">
                      <a:pos x="6284" y="1324"/>
                    </a:cxn>
                    <a:cxn ang="0">
                      <a:pos x="6826" y="2203"/>
                    </a:cxn>
                  </a:cxnLst>
                  <a:rect l="0" t="0" r="r" b="b"/>
                  <a:pathLst>
                    <a:path w="15957" h="13229">
                      <a:moveTo>
                        <a:pt x="9071" y="2723"/>
                      </a:moveTo>
                      <a:lnTo>
                        <a:pt x="9131" y="2757"/>
                      </a:lnTo>
                      <a:lnTo>
                        <a:pt x="9432" y="2810"/>
                      </a:lnTo>
                      <a:lnTo>
                        <a:pt x="9706" y="2910"/>
                      </a:lnTo>
                      <a:lnTo>
                        <a:pt x="9809" y="2999"/>
                      </a:lnTo>
                      <a:lnTo>
                        <a:pt x="9934" y="3216"/>
                      </a:lnTo>
                      <a:lnTo>
                        <a:pt x="10393" y="3219"/>
                      </a:lnTo>
                      <a:lnTo>
                        <a:pt x="10455" y="3296"/>
                      </a:lnTo>
                      <a:lnTo>
                        <a:pt x="10504" y="3434"/>
                      </a:lnTo>
                      <a:lnTo>
                        <a:pt x="10545" y="3497"/>
                      </a:lnTo>
                      <a:lnTo>
                        <a:pt x="10573" y="3599"/>
                      </a:lnTo>
                      <a:lnTo>
                        <a:pt x="10697" y="3824"/>
                      </a:lnTo>
                      <a:lnTo>
                        <a:pt x="10817" y="3869"/>
                      </a:lnTo>
                      <a:lnTo>
                        <a:pt x="10903" y="4039"/>
                      </a:lnTo>
                      <a:lnTo>
                        <a:pt x="11097" y="4175"/>
                      </a:lnTo>
                      <a:lnTo>
                        <a:pt x="11100" y="4189"/>
                      </a:lnTo>
                      <a:lnTo>
                        <a:pt x="11062" y="4232"/>
                      </a:lnTo>
                      <a:lnTo>
                        <a:pt x="11097" y="4290"/>
                      </a:lnTo>
                      <a:lnTo>
                        <a:pt x="11134" y="4426"/>
                      </a:lnTo>
                      <a:lnTo>
                        <a:pt x="11258" y="4460"/>
                      </a:lnTo>
                      <a:lnTo>
                        <a:pt x="11313" y="4512"/>
                      </a:lnTo>
                      <a:lnTo>
                        <a:pt x="11537" y="4658"/>
                      </a:lnTo>
                      <a:lnTo>
                        <a:pt x="11613" y="4723"/>
                      </a:lnTo>
                      <a:lnTo>
                        <a:pt x="11663" y="4798"/>
                      </a:lnTo>
                      <a:lnTo>
                        <a:pt x="11680" y="4839"/>
                      </a:lnTo>
                      <a:lnTo>
                        <a:pt x="11658" y="4977"/>
                      </a:lnTo>
                      <a:lnTo>
                        <a:pt x="11764" y="5127"/>
                      </a:lnTo>
                      <a:lnTo>
                        <a:pt x="11788" y="5234"/>
                      </a:lnTo>
                      <a:lnTo>
                        <a:pt x="11781" y="5294"/>
                      </a:lnTo>
                      <a:lnTo>
                        <a:pt x="11711" y="5381"/>
                      </a:lnTo>
                      <a:lnTo>
                        <a:pt x="11715" y="5546"/>
                      </a:lnTo>
                      <a:lnTo>
                        <a:pt x="11824" y="5695"/>
                      </a:lnTo>
                      <a:lnTo>
                        <a:pt x="12016" y="5908"/>
                      </a:lnTo>
                      <a:lnTo>
                        <a:pt x="12063" y="6177"/>
                      </a:lnTo>
                      <a:lnTo>
                        <a:pt x="12135" y="6264"/>
                      </a:lnTo>
                      <a:lnTo>
                        <a:pt x="12147" y="6336"/>
                      </a:lnTo>
                      <a:lnTo>
                        <a:pt x="12184" y="6371"/>
                      </a:lnTo>
                      <a:lnTo>
                        <a:pt x="12207" y="6448"/>
                      </a:lnTo>
                      <a:lnTo>
                        <a:pt x="12243" y="6448"/>
                      </a:lnTo>
                      <a:lnTo>
                        <a:pt x="12348" y="6619"/>
                      </a:lnTo>
                      <a:lnTo>
                        <a:pt x="12423" y="6638"/>
                      </a:lnTo>
                      <a:lnTo>
                        <a:pt x="12480" y="6842"/>
                      </a:lnTo>
                      <a:lnTo>
                        <a:pt x="12935" y="7241"/>
                      </a:lnTo>
                      <a:lnTo>
                        <a:pt x="13158" y="7915"/>
                      </a:lnTo>
                      <a:lnTo>
                        <a:pt x="15429" y="8331"/>
                      </a:lnTo>
                      <a:lnTo>
                        <a:pt x="15576" y="8167"/>
                      </a:lnTo>
                      <a:lnTo>
                        <a:pt x="15957" y="8740"/>
                      </a:lnTo>
                      <a:lnTo>
                        <a:pt x="15424" y="10363"/>
                      </a:lnTo>
                      <a:lnTo>
                        <a:pt x="13158" y="11166"/>
                      </a:lnTo>
                      <a:lnTo>
                        <a:pt x="11049" y="11512"/>
                      </a:lnTo>
                      <a:lnTo>
                        <a:pt x="10746" y="11729"/>
                      </a:lnTo>
                      <a:lnTo>
                        <a:pt x="10244" y="11935"/>
                      </a:lnTo>
                      <a:lnTo>
                        <a:pt x="9691" y="12918"/>
                      </a:lnTo>
                      <a:lnTo>
                        <a:pt x="9503" y="13060"/>
                      </a:lnTo>
                      <a:lnTo>
                        <a:pt x="9370" y="13076"/>
                      </a:lnTo>
                      <a:lnTo>
                        <a:pt x="9104" y="12745"/>
                      </a:lnTo>
                      <a:lnTo>
                        <a:pt x="8174" y="12657"/>
                      </a:lnTo>
                      <a:lnTo>
                        <a:pt x="8036" y="12551"/>
                      </a:lnTo>
                      <a:lnTo>
                        <a:pt x="7547" y="12502"/>
                      </a:lnTo>
                      <a:lnTo>
                        <a:pt x="7168" y="12457"/>
                      </a:lnTo>
                      <a:lnTo>
                        <a:pt x="6859" y="12543"/>
                      </a:lnTo>
                      <a:lnTo>
                        <a:pt x="6711" y="12286"/>
                      </a:lnTo>
                      <a:lnTo>
                        <a:pt x="6580" y="12452"/>
                      </a:lnTo>
                      <a:lnTo>
                        <a:pt x="6570" y="12466"/>
                      </a:lnTo>
                      <a:lnTo>
                        <a:pt x="6560" y="12481"/>
                      </a:lnTo>
                      <a:lnTo>
                        <a:pt x="6551" y="12499"/>
                      </a:lnTo>
                      <a:lnTo>
                        <a:pt x="6542" y="12517"/>
                      </a:lnTo>
                      <a:lnTo>
                        <a:pt x="6524" y="12554"/>
                      </a:lnTo>
                      <a:lnTo>
                        <a:pt x="6507" y="12592"/>
                      </a:lnTo>
                      <a:lnTo>
                        <a:pt x="6492" y="12625"/>
                      </a:lnTo>
                      <a:lnTo>
                        <a:pt x="6480" y="12652"/>
                      </a:lnTo>
                      <a:lnTo>
                        <a:pt x="6474" y="12661"/>
                      </a:lnTo>
                      <a:lnTo>
                        <a:pt x="6468" y="12668"/>
                      </a:lnTo>
                      <a:lnTo>
                        <a:pt x="6466" y="12670"/>
                      </a:lnTo>
                      <a:lnTo>
                        <a:pt x="6464" y="12671"/>
                      </a:lnTo>
                      <a:lnTo>
                        <a:pt x="6461" y="12671"/>
                      </a:lnTo>
                      <a:lnTo>
                        <a:pt x="6460" y="12670"/>
                      </a:lnTo>
                      <a:lnTo>
                        <a:pt x="6452" y="12667"/>
                      </a:lnTo>
                      <a:lnTo>
                        <a:pt x="6447" y="12665"/>
                      </a:lnTo>
                      <a:lnTo>
                        <a:pt x="6442" y="12664"/>
                      </a:lnTo>
                      <a:lnTo>
                        <a:pt x="6439" y="12665"/>
                      </a:lnTo>
                      <a:lnTo>
                        <a:pt x="6436" y="12666"/>
                      </a:lnTo>
                      <a:lnTo>
                        <a:pt x="6435" y="12669"/>
                      </a:lnTo>
                      <a:lnTo>
                        <a:pt x="6434" y="12672"/>
                      </a:lnTo>
                      <a:lnTo>
                        <a:pt x="6434" y="12676"/>
                      </a:lnTo>
                      <a:lnTo>
                        <a:pt x="6437" y="12688"/>
                      </a:lnTo>
                      <a:lnTo>
                        <a:pt x="6442" y="12702"/>
                      </a:lnTo>
                      <a:lnTo>
                        <a:pt x="6449" y="12718"/>
                      </a:lnTo>
                      <a:lnTo>
                        <a:pt x="6457" y="12735"/>
                      </a:lnTo>
                      <a:lnTo>
                        <a:pt x="6474" y="12773"/>
                      </a:lnTo>
                      <a:lnTo>
                        <a:pt x="6488" y="12807"/>
                      </a:lnTo>
                      <a:lnTo>
                        <a:pt x="6493" y="12822"/>
                      </a:lnTo>
                      <a:lnTo>
                        <a:pt x="6495" y="12835"/>
                      </a:lnTo>
                      <a:lnTo>
                        <a:pt x="6495" y="12841"/>
                      </a:lnTo>
                      <a:lnTo>
                        <a:pt x="6495" y="12845"/>
                      </a:lnTo>
                      <a:lnTo>
                        <a:pt x="6493" y="12849"/>
                      </a:lnTo>
                      <a:lnTo>
                        <a:pt x="6490" y="12851"/>
                      </a:lnTo>
                      <a:lnTo>
                        <a:pt x="6442" y="13138"/>
                      </a:lnTo>
                      <a:lnTo>
                        <a:pt x="6289" y="13180"/>
                      </a:lnTo>
                      <a:lnTo>
                        <a:pt x="6127" y="13229"/>
                      </a:lnTo>
                      <a:lnTo>
                        <a:pt x="6092" y="13137"/>
                      </a:lnTo>
                      <a:lnTo>
                        <a:pt x="6092" y="13002"/>
                      </a:lnTo>
                      <a:lnTo>
                        <a:pt x="5928" y="12707"/>
                      </a:lnTo>
                      <a:lnTo>
                        <a:pt x="5877" y="12675"/>
                      </a:lnTo>
                      <a:lnTo>
                        <a:pt x="5820" y="12590"/>
                      </a:lnTo>
                      <a:lnTo>
                        <a:pt x="5760" y="12346"/>
                      </a:lnTo>
                      <a:lnTo>
                        <a:pt x="5511" y="12104"/>
                      </a:lnTo>
                      <a:lnTo>
                        <a:pt x="5396" y="12043"/>
                      </a:lnTo>
                      <a:lnTo>
                        <a:pt x="5329" y="11966"/>
                      </a:lnTo>
                      <a:lnTo>
                        <a:pt x="5175" y="11749"/>
                      </a:lnTo>
                      <a:lnTo>
                        <a:pt x="5026" y="11439"/>
                      </a:lnTo>
                      <a:lnTo>
                        <a:pt x="4967" y="11398"/>
                      </a:lnTo>
                      <a:lnTo>
                        <a:pt x="4943" y="11357"/>
                      </a:lnTo>
                      <a:lnTo>
                        <a:pt x="4900" y="11197"/>
                      </a:lnTo>
                      <a:lnTo>
                        <a:pt x="4893" y="11035"/>
                      </a:lnTo>
                      <a:lnTo>
                        <a:pt x="4842" y="10911"/>
                      </a:lnTo>
                      <a:lnTo>
                        <a:pt x="4758" y="10766"/>
                      </a:lnTo>
                      <a:lnTo>
                        <a:pt x="4661" y="10672"/>
                      </a:lnTo>
                      <a:lnTo>
                        <a:pt x="4617" y="10581"/>
                      </a:lnTo>
                      <a:lnTo>
                        <a:pt x="4559" y="10532"/>
                      </a:lnTo>
                      <a:lnTo>
                        <a:pt x="4443" y="10363"/>
                      </a:lnTo>
                      <a:lnTo>
                        <a:pt x="4361" y="10288"/>
                      </a:lnTo>
                      <a:lnTo>
                        <a:pt x="4157" y="10146"/>
                      </a:lnTo>
                      <a:lnTo>
                        <a:pt x="4050" y="10087"/>
                      </a:lnTo>
                      <a:lnTo>
                        <a:pt x="4015" y="10102"/>
                      </a:lnTo>
                      <a:lnTo>
                        <a:pt x="3932" y="10071"/>
                      </a:lnTo>
                      <a:lnTo>
                        <a:pt x="3740" y="9952"/>
                      </a:lnTo>
                      <a:lnTo>
                        <a:pt x="3642" y="9870"/>
                      </a:lnTo>
                      <a:lnTo>
                        <a:pt x="3582" y="9793"/>
                      </a:lnTo>
                      <a:lnTo>
                        <a:pt x="3491" y="9608"/>
                      </a:lnTo>
                      <a:lnTo>
                        <a:pt x="3451" y="9466"/>
                      </a:lnTo>
                      <a:lnTo>
                        <a:pt x="3359" y="8893"/>
                      </a:lnTo>
                      <a:lnTo>
                        <a:pt x="3309" y="8803"/>
                      </a:lnTo>
                      <a:lnTo>
                        <a:pt x="3299" y="8728"/>
                      </a:lnTo>
                      <a:lnTo>
                        <a:pt x="3333" y="8694"/>
                      </a:lnTo>
                      <a:lnTo>
                        <a:pt x="3366" y="8593"/>
                      </a:lnTo>
                      <a:lnTo>
                        <a:pt x="3383" y="8406"/>
                      </a:lnTo>
                      <a:lnTo>
                        <a:pt x="3326" y="8203"/>
                      </a:lnTo>
                      <a:lnTo>
                        <a:pt x="3283" y="8114"/>
                      </a:lnTo>
                      <a:lnTo>
                        <a:pt x="3225" y="8044"/>
                      </a:lnTo>
                      <a:lnTo>
                        <a:pt x="3174" y="7927"/>
                      </a:lnTo>
                      <a:lnTo>
                        <a:pt x="3141" y="7785"/>
                      </a:lnTo>
                      <a:lnTo>
                        <a:pt x="3091" y="7700"/>
                      </a:lnTo>
                      <a:lnTo>
                        <a:pt x="3034" y="7550"/>
                      </a:lnTo>
                      <a:lnTo>
                        <a:pt x="2859" y="7241"/>
                      </a:lnTo>
                      <a:lnTo>
                        <a:pt x="2650" y="7038"/>
                      </a:lnTo>
                      <a:lnTo>
                        <a:pt x="2518" y="6946"/>
                      </a:lnTo>
                      <a:lnTo>
                        <a:pt x="2492" y="6909"/>
                      </a:lnTo>
                      <a:lnTo>
                        <a:pt x="2451" y="6902"/>
                      </a:lnTo>
                      <a:lnTo>
                        <a:pt x="2435" y="6861"/>
                      </a:lnTo>
                      <a:lnTo>
                        <a:pt x="2326" y="6803"/>
                      </a:lnTo>
                      <a:lnTo>
                        <a:pt x="2243" y="6803"/>
                      </a:lnTo>
                      <a:lnTo>
                        <a:pt x="2193" y="6818"/>
                      </a:lnTo>
                      <a:lnTo>
                        <a:pt x="2135" y="6791"/>
                      </a:lnTo>
                      <a:lnTo>
                        <a:pt x="2108" y="6692"/>
                      </a:lnTo>
                      <a:lnTo>
                        <a:pt x="2042" y="6580"/>
                      </a:lnTo>
                      <a:lnTo>
                        <a:pt x="1949" y="6472"/>
                      </a:lnTo>
                      <a:lnTo>
                        <a:pt x="1949" y="6336"/>
                      </a:lnTo>
                      <a:lnTo>
                        <a:pt x="1965" y="6312"/>
                      </a:lnTo>
                      <a:lnTo>
                        <a:pt x="1833" y="5901"/>
                      </a:lnTo>
                      <a:lnTo>
                        <a:pt x="1757" y="5789"/>
                      </a:lnTo>
                      <a:lnTo>
                        <a:pt x="1665" y="5616"/>
                      </a:lnTo>
                      <a:lnTo>
                        <a:pt x="1549" y="5562"/>
                      </a:lnTo>
                      <a:lnTo>
                        <a:pt x="1507" y="5504"/>
                      </a:lnTo>
                      <a:lnTo>
                        <a:pt x="1483" y="5405"/>
                      </a:lnTo>
                      <a:lnTo>
                        <a:pt x="1326" y="5202"/>
                      </a:lnTo>
                      <a:lnTo>
                        <a:pt x="1198" y="4866"/>
                      </a:lnTo>
                      <a:lnTo>
                        <a:pt x="1117" y="4757"/>
                      </a:lnTo>
                      <a:lnTo>
                        <a:pt x="1016" y="4682"/>
                      </a:lnTo>
                      <a:lnTo>
                        <a:pt x="841" y="4447"/>
                      </a:lnTo>
                      <a:lnTo>
                        <a:pt x="824" y="4372"/>
                      </a:lnTo>
                      <a:lnTo>
                        <a:pt x="724" y="4245"/>
                      </a:lnTo>
                      <a:lnTo>
                        <a:pt x="625" y="4019"/>
                      </a:lnTo>
                      <a:lnTo>
                        <a:pt x="434" y="3656"/>
                      </a:lnTo>
                      <a:lnTo>
                        <a:pt x="357" y="3599"/>
                      </a:lnTo>
                      <a:lnTo>
                        <a:pt x="242" y="3599"/>
                      </a:lnTo>
                      <a:lnTo>
                        <a:pt x="125" y="3581"/>
                      </a:lnTo>
                      <a:lnTo>
                        <a:pt x="101" y="3565"/>
                      </a:lnTo>
                      <a:lnTo>
                        <a:pt x="34" y="3581"/>
                      </a:lnTo>
                      <a:lnTo>
                        <a:pt x="0" y="3649"/>
                      </a:lnTo>
                      <a:lnTo>
                        <a:pt x="159" y="3246"/>
                      </a:lnTo>
                      <a:lnTo>
                        <a:pt x="168" y="2943"/>
                      </a:lnTo>
                      <a:lnTo>
                        <a:pt x="192" y="2825"/>
                      </a:lnTo>
                      <a:lnTo>
                        <a:pt x="249" y="2682"/>
                      </a:lnTo>
                      <a:lnTo>
                        <a:pt x="242" y="2477"/>
                      </a:lnTo>
                      <a:lnTo>
                        <a:pt x="276" y="2595"/>
                      </a:lnTo>
                      <a:lnTo>
                        <a:pt x="1117" y="2702"/>
                      </a:lnTo>
                      <a:lnTo>
                        <a:pt x="1352" y="2467"/>
                      </a:lnTo>
                      <a:lnTo>
                        <a:pt x="1366" y="2419"/>
                      </a:lnTo>
                      <a:lnTo>
                        <a:pt x="1567" y="2061"/>
                      </a:lnTo>
                      <a:lnTo>
                        <a:pt x="2145" y="1974"/>
                      </a:lnTo>
                      <a:lnTo>
                        <a:pt x="2171" y="1850"/>
                      </a:lnTo>
                      <a:lnTo>
                        <a:pt x="2255" y="1618"/>
                      </a:lnTo>
                      <a:lnTo>
                        <a:pt x="2560" y="1448"/>
                      </a:lnTo>
                      <a:lnTo>
                        <a:pt x="2569" y="1429"/>
                      </a:lnTo>
                      <a:lnTo>
                        <a:pt x="1840" y="685"/>
                      </a:lnTo>
                      <a:lnTo>
                        <a:pt x="1731" y="590"/>
                      </a:lnTo>
                      <a:lnTo>
                        <a:pt x="2281" y="464"/>
                      </a:lnTo>
                      <a:lnTo>
                        <a:pt x="3197" y="281"/>
                      </a:lnTo>
                      <a:lnTo>
                        <a:pt x="3424" y="0"/>
                      </a:lnTo>
                      <a:lnTo>
                        <a:pt x="4576" y="321"/>
                      </a:lnTo>
                      <a:lnTo>
                        <a:pt x="5434" y="970"/>
                      </a:lnTo>
                      <a:lnTo>
                        <a:pt x="6203" y="1265"/>
                      </a:lnTo>
                      <a:lnTo>
                        <a:pt x="6284" y="1324"/>
                      </a:lnTo>
                      <a:lnTo>
                        <a:pt x="6395" y="1591"/>
                      </a:lnTo>
                      <a:lnTo>
                        <a:pt x="6793" y="1625"/>
                      </a:lnTo>
                      <a:lnTo>
                        <a:pt x="6826" y="1659"/>
                      </a:lnTo>
                      <a:lnTo>
                        <a:pt x="6826" y="2203"/>
                      </a:lnTo>
                      <a:lnTo>
                        <a:pt x="6859" y="2247"/>
                      </a:lnTo>
                      <a:lnTo>
                        <a:pt x="7719" y="2641"/>
                      </a:lnTo>
                      <a:lnTo>
                        <a:pt x="9071" y="2723"/>
                      </a:lnTo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</p:grpSp>
          <p:grpSp>
            <p:nvGrpSpPr>
              <p:cNvPr id="300" name="Group 145"/>
              <p:cNvGrpSpPr>
                <a:grpSpLocks noChangeAspect="1"/>
              </p:cNvGrpSpPr>
              <p:nvPr/>
            </p:nvGrpSpPr>
            <p:grpSpPr>
              <a:xfrm>
                <a:off x="2984" y="2276"/>
                <a:ext cx="114" cy="72"/>
                <a:chOff x="2984" y="2276"/>
                <a:chExt cx="114" cy="72"/>
              </a:xfrm>
              <a:grpFill/>
            </p:grpSpPr>
            <p:sp>
              <p:nvSpPr>
                <p:cNvPr id="318" name="Freeform 146"/>
                <p:cNvSpPr>
                  <a:spLocks noChangeAspect="1"/>
                </p:cNvSpPr>
                <p:nvPr/>
              </p:nvSpPr>
              <p:spPr bwMode="gray">
                <a:xfrm>
                  <a:off x="2984" y="2276"/>
                  <a:ext cx="114" cy="72"/>
                </a:xfrm>
                <a:custGeom>
                  <a:avLst/>
                  <a:gdLst/>
                  <a:ahLst/>
                  <a:cxnLst>
                    <a:cxn ang="0">
                      <a:pos x="14868" y="4199"/>
                    </a:cxn>
                    <a:cxn ang="0">
                      <a:pos x="14514" y="5031"/>
                    </a:cxn>
                    <a:cxn ang="0">
                      <a:pos x="14466" y="5374"/>
                    </a:cxn>
                    <a:cxn ang="0">
                      <a:pos x="14027" y="5466"/>
                    </a:cxn>
                    <a:cxn ang="0">
                      <a:pos x="13073" y="5967"/>
                    </a:cxn>
                    <a:cxn ang="0">
                      <a:pos x="12036" y="6264"/>
                    </a:cxn>
                    <a:cxn ang="0">
                      <a:pos x="10929" y="6593"/>
                    </a:cxn>
                    <a:cxn ang="0">
                      <a:pos x="9740" y="7051"/>
                    </a:cxn>
                    <a:cxn ang="0">
                      <a:pos x="9205" y="7739"/>
                    </a:cxn>
                    <a:cxn ang="0">
                      <a:pos x="8905" y="7936"/>
                    </a:cxn>
                    <a:cxn ang="0">
                      <a:pos x="7539" y="8146"/>
                    </a:cxn>
                    <a:cxn ang="0">
                      <a:pos x="6784" y="8623"/>
                    </a:cxn>
                    <a:cxn ang="0">
                      <a:pos x="5672" y="8733"/>
                    </a:cxn>
                    <a:cxn ang="0">
                      <a:pos x="4779" y="8801"/>
                    </a:cxn>
                    <a:cxn ang="0">
                      <a:pos x="3686" y="9598"/>
                    </a:cxn>
                    <a:cxn ang="0">
                      <a:pos x="2368" y="9909"/>
                    </a:cxn>
                    <a:cxn ang="0">
                      <a:pos x="1652" y="9818"/>
                    </a:cxn>
                    <a:cxn ang="0">
                      <a:pos x="898" y="9087"/>
                    </a:cxn>
                    <a:cxn ang="0">
                      <a:pos x="716" y="7955"/>
                    </a:cxn>
                    <a:cxn ang="0">
                      <a:pos x="482" y="6794"/>
                    </a:cxn>
                    <a:cxn ang="0">
                      <a:pos x="320" y="6215"/>
                    </a:cxn>
                    <a:cxn ang="0">
                      <a:pos x="67" y="5752"/>
                    </a:cxn>
                    <a:cxn ang="0">
                      <a:pos x="86" y="5552"/>
                    </a:cxn>
                    <a:cxn ang="0">
                      <a:pos x="201" y="5007"/>
                    </a:cxn>
                    <a:cxn ang="0">
                      <a:pos x="153" y="4142"/>
                    </a:cxn>
                    <a:cxn ang="0">
                      <a:pos x="850" y="3308"/>
                    </a:cxn>
                    <a:cxn ang="0">
                      <a:pos x="854" y="3271"/>
                    </a:cxn>
                    <a:cxn ang="0">
                      <a:pos x="847" y="3234"/>
                    </a:cxn>
                    <a:cxn ang="0">
                      <a:pos x="825" y="3184"/>
                    </a:cxn>
                    <a:cxn ang="0">
                      <a:pos x="777" y="3110"/>
                    </a:cxn>
                    <a:cxn ang="0">
                      <a:pos x="741" y="3050"/>
                    </a:cxn>
                    <a:cxn ang="0">
                      <a:pos x="727" y="3014"/>
                    </a:cxn>
                    <a:cxn ang="0">
                      <a:pos x="722" y="2979"/>
                    </a:cxn>
                    <a:cxn ang="0">
                      <a:pos x="730" y="2945"/>
                    </a:cxn>
                    <a:cxn ang="0">
                      <a:pos x="1266" y="2241"/>
                    </a:cxn>
                    <a:cxn ang="0">
                      <a:pos x="3858" y="2689"/>
                    </a:cxn>
                    <a:cxn ang="0">
                      <a:pos x="6615" y="3737"/>
                    </a:cxn>
                    <a:cxn ang="0">
                      <a:pos x="6718" y="3700"/>
                    </a:cxn>
                    <a:cxn ang="0">
                      <a:pos x="6894" y="3652"/>
                    </a:cxn>
                    <a:cxn ang="0">
                      <a:pos x="6943" y="3637"/>
                    </a:cxn>
                    <a:cxn ang="0">
                      <a:pos x="6990" y="3616"/>
                    </a:cxn>
                    <a:cxn ang="0">
                      <a:pos x="7033" y="3591"/>
                    </a:cxn>
                    <a:cxn ang="0">
                      <a:pos x="7072" y="3559"/>
                    </a:cxn>
                    <a:cxn ang="0">
                      <a:pos x="7105" y="3519"/>
                    </a:cxn>
                    <a:cxn ang="0">
                      <a:pos x="9312" y="1068"/>
                    </a:cxn>
                    <a:cxn ang="0">
                      <a:pos x="10014" y="620"/>
                    </a:cxn>
                    <a:cxn ang="0">
                      <a:pos x="10264" y="564"/>
                    </a:cxn>
                    <a:cxn ang="0">
                      <a:pos x="10633" y="503"/>
                    </a:cxn>
                    <a:cxn ang="0">
                      <a:pos x="11090" y="440"/>
                    </a:cxn>
                    <a:cxn ang="0">
                      <a:pos x="11961" y="328"/>
                    </a:cxn>
                    <a:cxn ang="0">
                      <a:pos x="12844" y="217"/>
                    </a:cxn>
                    <a:cxn ang="0">
                      <a:pos x="13320" y="152"/>
                    </a:cxn>
                    <a:cxn ang="0">
                      <a:pos x="13716" y="91"/>
                    </a:cxn>
                    <a:cxn ang="0">
                      <a:pos x="14003" y="35"/>
                    </a:cxn>
                    <a:cxn ang="0">
                      <a:pos x="15675" y="3780"/>
                    </a:cxn>
                  </a:cxnLst>
                  <a:rect l="0" t="0" r="r" b="b"/>
                  <a:pathLst>
                    <a:path w="15675" h="9942">
                      <a:moveTo>
                        <a:pt x="15675" y="3780"/>
                      </a:moveTo>
                      <a:lnTo>
                        <a:pt x="15169" y="3985"/>
                      </a:lnTo>
                      <a:lnTo>
                        <a:pt x="14868" y="4199"/>
                      </a:lnTo>
                      <a:lnTo>
                        <a:pt x="14648" y="4443"/>
                      </a:lnTo>
                      <a:lnTo>
                        <a:pt x="14447" y="4864"/>
                      </a:lnTo>
                      <a:lnTo>
                        <a:pt x="14514" y="5031"/>
                      </a:lnTo>
                      <a:lnTo>
                        <a:pt x="14543" y="5260"/>
                      </a:lnTo>
                      <a:lnTo>
                        <a:pt x="14538" y="5308"/>
                      </a:lnTo>
                      <a:lnTo>
                        <a:pt x="14466" y="5374"/>
                      </a:lnTo>
                      <a:lnTo>
                        <a:pt x="14385" y="5418"/>
                      </a:lnTo>
                      <a:lnTo>
                        <a:pt x="14190" y="5385"/>
                      </a:lnTo>
                      <a:lnTo>
                        <a:pt x="14027" y="5466"/>
                      </a:lnTo>
                      <a:lnTo>
                        <a:pt x="13627" y="5576"/>
                      </a:lnTo>
                      <a:lnTo>
                        <a:pt x="13364" y="5843"/>
                      </a:lnTo>
                      <a:lnTo>
                        <a:pt x="13073" y="5967"/>
                      </a:lnTo>
                      <a:lnTo>
                        <a:pt x="12652" y="6020"/>
                      </a:lnTo>
                      <a:lnTo>
                        <a:pt x="12404" y="6082"/>
                      </a:lnTo>
                      <a:lnTo>
                        <a:pt x="12036" y="6264"/>
                      </a:lnTo>
                      <a:lnTo>
                        <a:pt x="11764" y="6336"/>
                      </a:lnTo>
                      <a:lnTo>
                        <a:pt x="11211" y="6574"/>
                      </a:lnTo>
                      <a:lnTo>
                        <a:pt x="10929" y="6593"/>
                      </a:lnTo>
                      <a:lnTo>
                        <a:pt x="10470" y="6679"/>
                      </a:lnTo>
                      <a:lnTo>
                        <a:pt x="9988" y="6908"/>
                      </a:lnTo>
                      <a:lnTo>
                        <a:pt x="9740" y="7051"/>
                      </a:lnTo>
                      <a:lnTo>
                        <a:pt x="9645" y="7262"/>
                      </a:lnTo>
                      <a:lnTo>
                        <a:pt x="9521" y="7448"/>
                      </a:lnTo>
                      <a:lnTo>
                        <a:pt x="9205" y="7739"/>
                      </a:lnTo>
                      <a:lnTo>
                        <a:pt x="9072" y="7825"/>
                      </a:lnTo>
                      <a:lnTo>
                        <a:pt x="9020" y="7897"/>
                      </a:lnTo>
                      <a:lnTo>
                        <a:pt x="8905" y="7936"/>
                      </a:lnTo>
                      <a:lnTo>
                        <a:pt x="8198" y="7906"/>
                      </a:lnTo>
                      <a:lnTo>
                        <a:pt x="7845" y="7951"/>
                      </a:lnTo>
                      <a:lnTo>
                        <a:pt x="7539" y="8146"/>
                      </a:lnTo>
                      <a:lnTo>
                        <a:pt x="7391" y="8347"/>
                      </a:lnTo>
                      <a:lnTo>
                        <a:pt x="6962" y="8585"/>
                      </a:lnTo>
                      <a:lnTo>
                        <a:pt x="6784" y="8623"/>
                      </a:lnTo>
                      <a:lnTo>
                        <a:pt x="6259" y="8776"/>
                      </a:lnTo>
                      <a:lnTo>
                        <a:pt x="5978" y="8801"/>
                      </a:lnTo>
                      <a:lnTo>
                        <a:pt x="5672" y="8733"/>
                      </a:lnTo>
                      <a:lnTo>
                        <a:pt x="5353" y="8786"/>
                      </a:lnTo>
                      <a:lnTo>
                        <a:pt x="5109" y="8762"/>
                      </a:lnTo>
                      <a:lnTo>
                        <a:pt x="4779" y="8801"/>
                      </a:lnTo>
                      <a:lnTo>
                        <a:pt x="4497" y="8977"/>
                      </a:lnTo>
                      <a:lnTo>
                        <a:pt x="4292" y="9321"/>
                      </a:lnTo>
                      <a:lnTo>
                        <a:pt x="3686" y="9598"/>
                      </a:lnTo>
                      <a:lnTo>
                        <a:pt x="3405" y="9771"/>
                      </a:lnTo>
                      <a:lnTo>
                        <a:pt x="2769" y="9785"/>
                      </a:lnTo>
                      <a:lnTo>
                        <a:pt x="2368" y="9909"/>
                      </a:lnTo>
                      <a:lnTo>
                        <a:pt x="2149" y="9890"/>
                      </a:lnTo>
                      <a:lnTo>
                        <a:pt x="1934" y="9942"/>
                      </a:lnTo>
                      <a:lnTo>
                        <a:pt x="1652" y="9818"/>
                      </a:lnTo>
                      <a:lnTo>
                        <a:pt x="1309" y="9832"/>
                      </a:lnTo>
                      <a:lnTo>
                        <a:pt x="1180" y="9435"/>
                      </a:lnTo>
                      <a:lnTo>
                        <a:pt x="898" y="9087"/>
                      </a:lnTo>
                      <a:lnTo>
                        <a:pt x="898" y="8356"/>
                      </a:lnTo>
                      <a:lnTo>
                        <a:pt x="865" y="8108"/>
                      </a:lnTo>
                      <a:lnTo>
                        <a:pt x="716" y="7955"/>
                      </a:lnTo>
                      <a:lnTo>
                        <a:pt x="635" y="7758"/>
                      </a:lnTo>
                      <a:lnTo>
                        <a:pt x="535" y="7310"/>
                      </a:lnTo>
                      <a:lnTo>
                        <a:pt x="482" y="6794"/>
                      </a:lnTo>
                      <a:lnTo>
                        <a:pt x="401" y="6584"/>
                      </a:lnTo>
                      <a:lnTo>
                        <a:pt x="320" y="6450"/>
                      </a:lnTo>
                      <a:lnTo>
                        <a:pt x="320" y="6215"/>
                      </a:lnTo>
                      <a:lnTo>
                        <a:pt x="86" y="5886"/>
                      </a:lnTo>
                      <a:lnTo>
                        <a:pt x="0" y="5814"/>
                      </a:lnTo>
                      <a:lnTo>
                        <a:pt x="67" y="5752"/>
                      </a:lnTo>
                      <a:lnTo>
                        <a:pt x="134" y="5767"/>
                      </a:lnTo>
                      <a:lnTo>
                        <a:pt x="134" y="5666"/>
                      </a:lnTo>
                      <a:lnTo>
                        <a:pt x="86" y="5552"/>
                      </a:lnTo>
                      <a:lnTo>
                        <a:pt x="86" y="5303"/>
                      </a:lnTo>
                      <a:lnTo>
                        <a:pt x="34" y="5155"/>
                      </a:lnTo>
                      <a:lnTo>
                        <a:pt x="201" y="5007"/>
                      </a:lnTo>
                      <a:lnTo>
                        <a:pt x="234" y="4888"/>
                      </a:lnTo>
                      <a:lnTo>
                        <a:pt x="201" y="4438"/>
                      </a:lnTo>
                      <a:lnTo>
                        <a:pt x="153" y="4142"/>
                      </a:lnTo>
                      <a:lnTo>
                        <a:pt x="101" y="4075"/>
                      </a:lnTo>
                      <a:lnTo>
                        <a:pt x="710" y="3760"/>
                      </a:lnTo>
                      <a:lnTo>
                        <a:pt x="850" y="3308"/>
                      </a:lnTo>
                      <a:lnTo>
                        <a:pt x="853" y="3295"/>
                      </a:lnTo>
                      <a:lnTo>
                        <a:pt x="854" y="3283"/>
                      </a:lnTo>
                      <a:lnTo>
                        <a:pt x="854" y="3271"/>
                      </a:lnTo>
                      <a:lnTo>
                        <a:pt x="853" y="3258"/>
                      </a:lnTo>
                      <a:lnTo>
                        <a:pt x="850" y="3246"/>
                      </a:lnTo>
                      <a:lnTo>
                        <a:pt x="847" y="3234"/>
                      </a:lnTo>
                      <a:lnTo>
                        <a:pt x="843" y="3222"/>
                      </a:lnTo>
                      <a:lnTo>
                        <a:pt x="838" y="3209"/>
                      </a:lnTo>
                      <a:lnTo>
                        <a:pt x="825" y="3184"/>
                      </a:lnTo>
                      <a:lnTo>
                        <a:pt x="809" y="3159"/>
                      </a:lnTo>
                      <a:lnTo>
                        <a:pt x="793" y="3135"/>
                      </a:lnTo>
                      <a:lnTo>
                        <a:pt x="777" y="3110"/>
                      </a:lnTo>
                      <a:lnTo>
                        <a:pt x="761" y="3086"/>
                      </a:lnTo>
                      <a:lnTo>
                        <a:pt x="747" y="3061"/>
                      </a:lnTo>
                      <a:lnTo>
                        <a:pt x="741" y="3050"/>
                      </a:lnTo>
                      <a:lnTo>
                        <a:pt x="736" y="3038"/>
                      </a:lnTo>
                      <a:lnTo>
                        <a:pt x="731" y="3026"/>
                      </a:lnTo>
                      <a:lnTo>
                        <a:pt x="727" y="3014"/>
                      </a:lnTo>
                      <a:lnTo>
                        <a:pt x="724" y="3002"/>
                      </a:lnTo>
                      <a:lnTo>
                        <a:pt x="722" y="2991"/>
                      </a:lnTo>
                      <a:lnTo>
                        <a:pt x="722" y="2979"/>
                      </a:lnTo>
                      <a:lnTo>
                        <a:pt x="723" y="2967"/>
                      </a:lnTo>
                      <a:lnTo>
                        <a:pt x="725" y="2956"/>
                      </a:lnTo>
                      <a:lnTo>
                        <a:pt x="730" y="2945"/>
                      </a:lnTo>
                      <a:lnTo>
                        <a:pt x="735" y="2934"/>
                      </a:lnTo>
                      <a:lnTo>
                        <a:pt x="743" y="2922"/>
                      </a:lnTo>
                      <a:lnTo>
                        <a:pt x="1266" y="2241"/>
                      </a:lnTo>
                      <a:lnTo>
                        <a:pt x="1614" y="2657"/>
                      </a:lnTo>
                      <a:lnTo>
                        <a:pt x="2120" y="2602"/>
                      </a:lnTo>
                      <a:lnTo>
                        <a:pt x="3858" y="2689"/>
                      </a:lnTo>
                      <a:lnTo>
                        <a:pt x="4187" y="2967"/>
                      </a:lnTo>
                      <a:lnTo>
                        <a:pt x="6020" y="3083"/>
                      </a:lnTo>
                      <a:lnTo>
                        <a:pt x="6615" y="3737"/>
                      </a:lnTo>
                      <a:lnTo>
                        <a:pt x="6648" y="3723"/>
                      </a:lnTo>
                      <a:lnTo>
                        <a:pt x="6683" y="3710"/>
                      </a:lnTo>
                      <a:lnTo>
                        <a:pt x="6718" y="3700"/>
                      </a:lnTo>
                      <a:lnTo>
                        <a:pt x="6754" y="3690"/>
                      </a:lnTo>
                      <a:lnTo>
                        <a:pt x="6825" y="3671"/>
                      </a:lnTo>
                      <a:lnTo>
                        <a:pt x="6894" y="3652"/>
                      </a:lnTo>
                      <a:lnTo>
                        <a:pt x="6910" y="3648"/>
                      </a:lnTo>
                      <a:lnTo>
                        <a:pt x="6927" y="3642"/>
                      </a:lnTo>
                      <a:lnTo>
                        <a:pt x="6943" y="3637"/>
                      </a:lnTo>
                      <a:lnTo>
                        <a:pt x="6959" y="3630"/>
                      </a:lnTo>
                      <a:lnTo>
                        <a:pt x="6974" y="3624"/>
                      </a:lnTo>
                      <a:lnTo>
                        <a:pt x="6990" y="3616"/>
                      </a:lnTo>
                      <a:lnTo>
                        <a:pt x="7005" y="3609"/>
                      </a:lnTo>
                      <a:lnTo>
                        <a:pt x="7019" y="3600"/>
                      </a:lnTo>
                      <a:lnTo>
                        <a:pt x="7033" y="3591"/>
                      </a:lnTo>
                      <a:lnTo>
                        <a:pt x="7047" y="3582"/>
                      </a:lnTo>
                      <a:lnTo>
                        <a:pt x="7059" y="3571"/>
                      </a:lnTo>
                      <a:lnTo>
                        <a:pt x="7072" y="3559"/>
                      </a:lnTo>
                      <a:lnTo>
                        <a:pt x="7084" y="3547"/>
                      </a:lnTo>
                      <a:lnTo>
                        <a:pt x="7095" y="3534"/>
                      </a:lnTo>
                      <a:lnTo>
                        <a:pt x="7105" y="3519"/>
                      </a:lnTo>
                      <a:lnTo>
                        <a:pt x="7116" y="3504"/>
                      </a:lnTo>
                      <a:lnTo>
                        <a:pt x="8300" y="1543"/>
                      </a:lnTo>
                      <a:lnTo>
                        <a:pt x="9312" y="1068"/>
                      </a:lnTo>
                      <a:lnTo>
                        <a:pt x="9929" y="654"/>
                      </a:lnTo>
                      <a:lnTo>
                        <a:pt x="9962" y="638"/>
                      </a:lnTo>
                      <a:lnTo>
                        <a:pt x="10014" y="620"/>
                      </a:lnTo>
                      <a:lnTo>
                        <a:pt x="10082" y="602"/>
                      </a:lnTo>
                      <a:lnTo>
                        <a:pt x="10166" y="583"/>
                      </a:lnTo>
                      <a:lnTo>
                        <a:pt x="10264" y="564"/>
                      </a:lnTo>
                      <a:lnTo>
                        <a:pt x="10375" y="544"/>
                      </a:lnTo>
                      <a:lnTo>
                        <a:pt x="10498" y="524"/>
                      </a:lnTo>
                      <a:lnTo>
                        <a:pt x="10633" y="503"/>
                      </a:lnTo>
                      <a:lnTo>
                        <a:pt x="10777" y="483"/>
                      </a:lnTo>
                      <a:lnTo>
                        <a:pt x="10930" y="461"/>
                      </a:lnTo>
                      <a:lnTo>
                        <a:pt x="11090" y="440"/>
                      </a:lnTo>
                      <a:lnTo>
                        <a:pt x="11257" y="417"/>
                      </a:lnTo>
                      <a:lnTo>
                        <a:pt x="11603" y="373"/>
                      </a:lnTo>
                      <a:lnTo>
                        <a:pt x="11961" y="328"/>
                      </a:lnTo>
                      <a:lnTo>
                        <a:pt x="12321" y="284"/>
                      </a:lnTo>
                      <a:lnTo>
                        <a:pt x="12673" y="238"/>
                      </a:lnTo>
                      <a:lnTo>
                        <a:pt x="12844" y="217"/>
                      </a:lnTo>
                      <a:lnTo>
                        <a:pt x="13010" y="195"/>
                      </a:lnTo>
                      <a:lnTo>
                        <a:pt x="13168" y="174"/>
                      </a:lnTo>
                      <a:lnTo>
                        <a:pt x="13320" y="152"/>
                      </a:lnTo>
                      <a:lnTo>
                        <a:pt x="13462" y="131"/>
                      </a:lnTo>
                      <a:lnTo>
                        <a:pt x="13595" y="111"/>
                      </a:lnTo>
                      <a:lnTo>
                        <a:pt x="13716" y="91"/>
                      </a:lnTo>
                      <a:lnTo>
                        <a:pt x="13826" y="72"/>
                      </a:lnTo>
                      <a:lnTo>
                        <a:pt x="13921" y="53"/>
                      </a:lnTo>
                      <a:lnTo>
                        <a:pt x="14003" y="35"/>
                      </a:lnTo>
                      <a:lnTo>
                        <a:pt x="14069" y="17"/>
                      </a:lnTo>
                      <a:lnTo>
                        <a:pt x="14118" y="0"/>
                      </a:lnTo>
                      <a:lnTo>
                        <a:pt x="15675" y="378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319" name="Freeform 147"/>
                <p:cNvSpPr>
                  <a:spLocks noChangeAspect="1"/>
                </p:cNvSpPr>
                <p:nvPr/>
              </p:nvSpPr>
              <p:spPr bwMode="gray">
                <a:xfrm>
                  <a:off x="2984" y="2276"/>
                  <a:ext cx="114" cy="72"/>
                </a:xfrm>
                <a:custGeom>
                  <a:avLst/>
                  <a:gdLst/>
                  <a:ahLst/>
                  <a:cxnLst>
                    <a:cxn ang="0">
                      <a:pos x="14868" y="4199"/>
                    </a:cxn>
                    <a:cxn ang="0">
                      <a:pos x="14514" y="5031"/>
                    </a:cxn>
                    <a:cxn ang="0">
                      <a:pos x="14466" y="5374"/>
                    </a:cxn>
                    <a:cxn ang="0">
                      <a:pos x="14027" y="5466"/>
                    </a:cxn>
                    <a:cxn ang="0">
                      <a:pos x="13073" y="5967"/>
                    </a:cxn>
                    <a:cxn ang="0">
                      <a:pos x="12036" y="6264"/>
                    </a:cxn>
                    <a:cxn ang="0">
                      <a:pos x="10929" y="6593"/>
                    </a:cxn>
                    <a:cxn ang="0">
                      <a:pos x="9740" y="7051"/>
                    </a:cxn>
                    <a:cxn ang="0">
                      <a:pos x="9205" y="7739"/>
                    </a:cxn>
                    <a:cxn ang="0">
                      <a:pos x="8905" y="7936"/>
                    </a:cxn>
                    <a:cxn ang="0">
                      <a:pos x="7539" y="8146"/>
                    </a:cxn>
                    <a:cxn ang="0">
                      <a:pos x="6784" y="8623"/>
                    </a:cxn>
                    <a:cxn ang="0">
                      <a:pos x="5672" y="8733"/>
                    </a:cxn>
                    <a:cxn ang="0">
                      <a:pos x="4779" y="8801"/>
                    </a:cxn>
                    <a:cxn ang="0">
                      <a:pos x="3686" y="9598"/>
                    </a:cxn>
                    <a:cxn ang="0">
                      <a:pos x="2368" y="9909"/>
                    </a:cxn>
                    <a:cxn ang="0">
                      <a:pos x="1652" y="9818"/>
                    </a:cxn>
                    <a:cxn ang="0">
                      <a:pos x="898" y="9087"/>
                    </a:cxn>
                    <a:cxn ang="0">
                      <a:pos x="716" y="7955"/>
                    </a:cxn>
                    <a:cxn ang="0">
                      <a:pos x="482" y="6794"/>
                    </a:cxn>
                    <a:cxn ang="0">
                      <a:pos x="320" y="6215"/>
                    </a:cxn>
                    <a:cxn ang="0">
                      <a:pos x="67" y="5752"/>
                    </a:cxn>
                    <a:cxn ang="0">
                      <a:pos x="86" y="5552"/>
                    </a:cxn>
                    <a:cxn ang="0">
                      <a:pos x="201" y="5007"/>
                    </a:cxn>
                    <a:cxn ang="0">
                      <a:pos x="153" y="4142"/>
                    </a:cxn>
                    <a:cxn ang="0">
                      <a:pos x="850" y="3308"/>
                    </a:cxn>
                    <a:cxn ang="0">
                      <a:pos x="854" y="3271"/>
                    </a:cxn>
                    <a:cxn ang="0">
                      <a:pos x="847" y="3234"/>
                    </a:cxn>
                    <a:cxn ang="0">
                      <a:pos x="825" y="3184"/>
                    </a:cxn>
                    <a:cxn ang="0">
                      <a:pos x="777" y="3110"/>
                    </a:cxn>
                    <a:cxn ang="0">
                      <a:pos x="741" y="3050"/>
                    </a:cxn>
                    <a:cxn ang="0">
                      <a:pos x="727" y="3014"/>
                    </a:cxn>
                    <a:cxn ang="0">
                      <a:pos x="722" y="2979"/>
                    </a:cxn>
                    <a:cxn ang="0">
                      <a:pos x="730" y="2945"/>
                    </a:cxn>
                    <a:cxn ang="0">
                      <a:pos x="1266" y="2241"/>
                    </a:cxn>
                    <a:cxn ang="0">
                      <a:pos x="3858" y="2689"/>
                    </a:cxn>
                    <a:cxn ang="0">
                      <a:pos x="6615" y="3737"/>
                    </a:cxn>
                    <a:cxn ang="0">
                      <a:pos x="6718" y="3700"/>
                    </a:cxn>
                    <a:cxn ang="0">
                      <a:pos x="6894" y="3652"/>
                    </a:cxn>
                    <a:cxn ang="0">
                      <a:pos x="6943" y="3637"/>
                    </a:cxn>
                    <a:cxn ang="0">
                      <a:pos x="6990" y="3616"/>
                    </a:cxn>
                    <a:cxn ang="0">
                      <a:pos x="7033" y="3591"/>
                    </a:cxn>
                    <a:cxn ang="0">
                      <a:pos x="7072" y="3559"/>
                    </a:cxn>
                    <a:cxn ang="0">
                      <a:pos x="7105" y="3519"/>
                    </a:cxn>
                    <a:cxn ang="0">
                      <a:pos x="9312" y="1068"/>
                    </a:cxn>
                    <a:cxn ang="0">
                      <a:pos x="10014" y="620"/>
                    </a:cxn>
                    <a:cxn ang="0">
                      <a:pos x="10264" y="564"/>
                    </a:cxn>
                    <a:cxn ang="0">
                      <a:pos x="10633" y="503"/>
                    </a:cxn>
                    <a:cxn ang="0">
                      <a:pos x="11090" y="440"/>
                    </a:cxn>
                    <a:cxn ang="0">
                      <a:pos x="11961" y="328"/>
                    </a:cxn>
                    <a:cxn ang="0">
                      <a:pos x="12844" y="217"/>
                    </a:cxn>
                    <a:cxn ang="0">
                      <a:pos x="13320" y="152"/>
                    </a:cxn>
                    <a:cxn ang="0">
                      <a:pos x="13716" y="91"/>
                    </a:cxn>
                    <a:cxn ang="0">
                      <a:pos x="14003" y="35"/>
                    </a:cxn>
                    <a:cxn ang="0">
                      <a:pos x="15675" y="3780"/>
                    </a:cxn>
                  </a:cxnLst>
                  <a:rect l="0" t="0" r="r" b="b"/>
                  <a:pathLst>
                    <a:path w="15675" h="9942">
                      <a:moveTo>
                        <a:pt x="15675" y="3780"/>
                      </a:moveTo>
                      <a:lnTo>
                        <a:pt x="15169" y="3985"/>
                      </a:lnTo>
                      <a:lnTo>
                        <a:pt x="14868" y="4199"/>
                      </a:lnTo>
                      <a:lnTo>
                        <a:pt x="14648" y="4443"/>
                      </a:lnTo>
                      <a:lnTo>
                        <a:pt x="14447" y="4864"/>
                      </a:lnTo>
                      <a:lnTo>
                        <a:pt x="14514" y="5031"/>
                      </a:lnTo>
                      <a:lnTo>
                        <a:pt x="14543" y="5260"/>
                      </a:lnTo>
                      <a:lnTo>
                        <a:pt x="14538" y="5308"/>
                      </a:lnTo>
                      <a:lnTo>
                        <a:pt x="14466" y="5374"/>
                      </a:lnTo>
                      <a:lnTo>
                        <a:pt x="14385" y="5418"/>
                      </a:lnTo>
                      <a:lnTo>
                        <a:pt x="14190" y="5385"/>
                      </a:lnTo>
                      <a:lnTo>
                        <a:pt x="14027" y="5466"/>
                      </a:lnTo>
                      <a:lnTo>
                        <a:pt x="13627" y="5576"/>
                      </a:lnTo>
                      <a:lnTo>
                        <a:pt x="13364" y="5843"/>
                      </a:lnTo>
                      <a:lnTo>
                        <a:pt x="13073" y="5967"/>
                      </a:lnTo>
                      <a:lnTo>
                        <a:pt x="12652" y="6020"/>
                      </a:lnTo>
                      <a:lnTo>
                        <a:pt x="12404" y="6082"/>
                      </a:lnTo>
                      <a:lnTo>
                        <a:pt x="12036" y="6264"/>
                      </a:lnTo>
                      <a:lnTo>
                        <a:pt x="11764" y="6336"/>
                      </a:lnTo>
                      <a:lnTo>
                        <a:pt x="11211" y="6574"/>
                      </a:lnTo>
                      <a:lnTo>
                        <a:pt x="10929" y="6593"/>
                      </a:lnTo>
                      <a:lnTo>
                        <a:pt x="10470" y="6679"/>
                      </a:lnTo>
                      <a:lnTo>
                        <a:pt x="9988" y="6908"/>
                      </a:lnTo>
                      <a:lnTo>
                        <a:pt x="9740" y="7051"/>
                      </a:lnTo>
                      <a:lnTo>
                        <a:pt x="9645" y="7262"/>
                      </a:lnTo>
                      <a:lnTo>
                        <a:pt x="9521" y="7448"/>
                      </a:lnTo>
                      <a:lnTo>
                        <a:pt x="9205" y="7739"/>
                      </a:lnTo>
                      <a:lnTo>
                        <a:pt x="9072" y="7825"/>
                      </a:lnTo>
                      <a:lnTo>
                        <a:pt x="9020" y="7897"/>
                      </a:lnTo>
                      <a:lnTo>
                        <a:pt x="8905" y="7936"/>
                      </a:lnTo>
                      <a:lnTo>
                        <a:pt x="8198" y="7906"/>
                      </a:lnTo>
                      <a:lnTo>
                        <a:pt x="7845" y="7951"/>
                      </a:lnTo>
                      <a:lnTo>
                        <a:pt x="7539" y="8146"/>
                      </a:lnTo>
                      <a:lnTo>
                        <a:pt x="7391" y="8347"/>
                      </a:lnTo>
                      <a:lnTo>
                        <a:pt x="6962" y="8585"/>
                      </a:lnTo>
                      <a:lnTo>
                        <a:pt x="6784" y="8623"/>
                      </a:lnTo>
                      <a:lnTo>
                        <a:pt x="6259" y="8776"/>
                      </a:lnTo>
                      <a:lnTo>
                        <a:pt x="5978" y="8801"/>
                      </a:lnTo>
                      <a:lnTo>
                        <a:pt x="5672" y="8733"/>
                      </a:lnTo>
                      <a:lnTo>
                        <a:pt x="5353" y="8786"/>
                      </a:lnTo>
                      <a:lnTo>
                        <a:pt x="5109" y="8762"/>
                      </a:lnTo>
                      <a:lnTo>
                        <a:pt x="4779" y="8801"/>
                      </a:lnTo>
                      <a:lnTo>
                        <a:pt x="4497" y="8977"/>
                      </a:lnTo>
                      <a:lnTo>
                        <a:pt x="4292" y="9321"/>
                      </a:lnTo>
                      <a:lnTo>
                        <a:pt x="3686" y="9598"/>
                      </a:lnTo>
                      <a:lnTo>
                        <a:pt x="3405" y="9771"/>
                      </a:lnTo>
                      <a:lnTo>
                        <a:pt x="2769" y="9785"/>
                      </a:lnTo>
                      <a:lnTo>
                        <a:pt x="2368" y="9909"/>
                      </a:lnTo>
                      <a:lnTo>
                        <a:pt x="2149" y="9890"/>
                      </a:lnTo>
                      <a:lnTo>
                        <a:pt x="1934" y="9942"/>
                      </a:lnTo>
                      <a:lnTo>
                        <a:pt x="1652" y="9818"/>
                      </a:lnTo>
                      <a:lnTo>
                        <a:pt x="1309" y="9832"/>
                      </a:lnTo>
                      <a:lnTo>
                        <a:pt x="1180" y="9435"/>
                      </a:lnTo>
                      <a:lnTo>
                        <a:pt x="898" y="9087"/>
                      </a:lnTo>
                      <a:lnTo>
                        <a:pt x="898" y="8356"/>
                      </a:lnTo>
                      <a:lnTo>
                        <a:pt x="865" y="8108"/>
                      </a:lnTo>
                      <a:lnTo>
                        <a:pt x="716" y="7955"/>
                      </a:lnTo>
                      <a:lnTo>
                        <a:pt x="635" y="7758"/>
                      </a:lnTo>
                      <a:lnTo>
                        <a:pt x="535" y="7310"/>
                      </a:lnTo>
                      <a:lnTo>
                        <a:pt x="482" y="6794"/>
                      </a:lnTo>
                      <a:lnTo>
                        <a:pt x="401" y="6584"/>
                      </a:lnTo>
                      <a:lnTo>
                        <a:pt x="320" y="6450"/>
                      </a:lnTo>
                      <a:lnTo>
                        <a:pt x="320" y="6215"/>
                      </a:lnTo>
                      <a:lnTo>
                        <a:pt x="86" y="5886"/>
                      </a:lnTo>
                      <a:lnTo>
                        <a:pt x="0" y="5814"/>
                      </a:lnTo>
                      <a:lnTo>
                        <a:pt x="67" y="5752"/>
                      </a:lnTo>
                      <a:lnTo>
                        <a:pt x="134" y="5767"/>
                      </a:lnTo>
                      <a:lnTo>
                        <a:pt x="134" y="5666"/>
                      </a:lnTo>
                      <a:lnTo>
                        <a:pt x="86" y="5552"/>
                      </a:lnTo>
                      <a:lnTo>
                        <a:pt x="86" y="5303"/>
                      </a:lnTo>
                      <a:lnTo>
                        <a:pt x="34" y="5155"/>
                      </a:lnTo>
                      <a:lnTo>
                        <a:pt x="201" y="5007"/>
                      </a:lnTo>
                      <a:lnTo>
                        <a:pt x="234" y="4888"/>
                      </a:lnTo>
                      <a:lnTo>
                        <a:pt x="201" y="4438"/>
                      </a:lnTo>
                      <a:lnTo>
                        <a:pt x="153" y="4142"/>
                      </a:lnTo>
                      <a:lnTo>
                        <a:pt x="101" y="4075"/>
                      </a:lnTo>
                      <a:lnTo>
                        <a:pt x="710" y="3760"/>
                      </a:lnTo>
                      <a:lnTo>
                        <a:pt x="850" y="3308"/>
                      </a:lnTo>
                      <a:lnTo>
                        <a:pt x="853" y="3295"/>
                      </a:lnTo>
                      <a:lnTo>
                        <a:pt x="854" y="3283"/>
                      </a:lnTo>
                      <a:lnTo>
                        <a:pt x="854" y="3271"/>
                      </a:lnTo>
                      <a:lnTo>
                        <a:pt x="853" y="3258"/>
                      </a:lnTo>
                      <a:lnTo>
                        <a:pt x="850" y="3246"/>
                      </a:lnTo>
                      <a:lnTo>
                        <a:pt x="847" y="3234"/>
                      </a:lnTo>
                      <a:lnTo>
                        <a:pt x="843" y="3222"/>
                      </a:lnTo>
                      <a:lnTo>
                        <a:pt x="838" y="3209"/>
                      </a:lnTo>
                      <a:lnTo>
                        <a:pt x="825" y="3184"/>
                      </a:lnTo>
                      <a:lnTo>
                        <a:pt x="809" y="3159"/>
                      </a:lnTo>
                      <a:lnTo>
                        <a:pt x="793" y="3135"/>
                      </a:lnTo>
                      <a:lnTo>
                        <a:pt x="777" y="3110"/>
                      </a:lnTo>
                      <a:lnTo>
                        <a:pt x="761" y="3086"/>
                      </a:lnTo>
                      <a:lnTo>
                        <a:pt x="747" y="3061"/>
                      </a:lnTo>
                      <a:lnTo>
                        <a:pt x="741" y="3050"/>
                      </a:lnTo>
                      <a:lnTo>
                        <a:pt x="736" y="3038"/>
                      </a:lnTo>
                      <a:lnTo>
                        <a:pt x="731" y="3026"/>
                      </a:lnTo>
                      <a:lnTo>
                        <a:pt x="727" y="3014"/>
                      </a:lnTo>
                      <a:lnTo>
                        <a:pt x="724" y="3002"/>
                      </a:lnTo>
                      <a:lnTo>
                        <a:pt x="722" y="2991"/>
                      </a:lnTo>
                      <a:lnTo>
                        <a:pt x="722" y="2979"/>
                      </a:lnTo>
                      <a:lnTo>
                        <a:pt x="723" y="2967"/>
                      </a:lnTo>
                      <a:lnTo>
                        <a:pt x="725" y="2956"/>
                      </a:lnTo>
                      <a:lnTo>
                        <a:pt x="730" y="2945"/>
                      </a:lnTo>
                      <a:lnTo>
                        <a:pt x="735" y="2934"/>
                      </a:lnTo>
                      <a:lnTo>
                        <a:pt x="743" y="2922"/>
                      </a:lnTo>
                      <a:lnTo>
                        <a:pt x="1266" y="2241"/>
                      </a:lnTo>
                      <a:lnTo>
                        <a:pt x="1614" y="2657"/>
                      </a:lnTo>
                      <a:lnTo>
                        <a:pt x="2120" y="2602"/>
                      </a:lnTo>
                      <a:lnTo>
                        <a:pt x="3858" y="2689"/>
                      </a:lnTo>
                      <a:lnTo>
                        <a:pt x="4187" y="2967"/>
                      </a:lnTo>
                      <a:lnTo>
                        <a:pt x="6020" y="3083"/>
                      </a:lnTo>
                      <a:lnTo>
                        <a:pt x="6615" y="3737"/>
                      </a:lnTo>
                      <a:lnTo>
                        <a:pt x="6648" y="3723"/>
                      </a:lnTo>
                      <a:lnTo>
                        <a:pt x="6683" y="3710"/>
                      </a:lnTo>
                      <a:lnTo>
                        <a:pt x="6718" y="3700"/>
                      </a:lnTo>
                      <a:lnTo>
                        <a:pt x="6754" y="3690"/>
                      </a:lnTo>
                      <a:lnTo>
                        <a:pt x="6825" y="3671"/>
                      </a:lnTo>
                      <a:lnTo>
                        <a:pt x="6894" y="3652"/>
                      </a:lnTo>
                      <a:lnTo>
                        <a:pt x="6910" y="3648"/>
                      </a:lnTo>
                      <a:lnTo>
                        <a:pt x="6927" y="3642"/>
                      </a:lnTo>
                      <a:lnTo>
                        <a:pt x="6943" y="3637"/>
                      </a:lnTo>
                      <a:lnTo>
                        <a:pt x="6959" y="3630"/>
                      </a:lnTo>
                      <a:lnTo>
                        <a:pt x="6974" y="3624"/>
                      </a:lnTo>
                      <a:lnTo>
                        <a:pt x="6990" y="3616"/>
                      </a:lnTo>
                      <a:lnTo>
                        <a:pt x="7005" y="3609"/>
                      </a:lnTo>
                      <a:lnTo>
                        <a:pt x="7019" y="3600"/>
                      </a:lnTo>
                      <a:lnTo>
                        <a:pt x="7033" y="3591"/>
                      </a:lnTo>
                      <a:lnTo>
                        <a:pt x="7047" y="3582"/>
                      </a:lnTo>
                      <a:lnTo>
                        <a:pt x="7059" y="3571"/>
                      </a:lnTo>
                      <a:lnTo>
                        <a:pt x="7072" y="3559"/>
                      </a:lnTo>
                      <a:lnTo>
                        <a:pt x="7084" y="3547"/>
                      </a:lnTo>
                      <a:lnTo>
                        <a:pt x="7095" y="3534"/>
                      </a:lnTo>
                      <a:lnTo>
                        <a:pt x="7105" y="3519"/>
                      </a:lnTo>
                      <a:lnTo>
                        <a:pt x="7116" y="3504"/>
                      </a:lnTo>
                      <a:lnTo>
                        <a:pt x="8300" y="1543"/>
                      </a:lnTo>
                      <a:lnTo>
                        <a:pt x="9312" y="1068"/>
                      </a:lnTo>
                      <a:lnTo>
                        <a:pt x="9929" y="654"/>
                      </a:lnTo>
                      <a:lnTo>
                        <a:pt x="9962" y="638"/>
                      </a:lnTo>
                      <a:lnTo>
                        <a:pt x="10014" y="620"/>
                      </a:lnTo>
                      <a:lnTo>
                        <a:pt x="10082" y="602"/>
                      </a:lnTo>
                      <a:lnTo>
                        <a:pt x="10166" y="583"/>
                      </a:lnTo>
                      <a:lnTo>
                        <a:pt x="10264" y="564"/>
                      </a:lnTo>
                      <a:lnTo>
                        <a:pt x="10375" y="544"/>
                      </a:lnTo>
                      <a:lnTo>
                        <a:pt x="10498" y="524"/>
                      </a:lnTo>
                      <a:lnTo>
                        <a:pt x="10633" y="503"/>
                      </a:lnTo>
                      <a:lnTo>
                        <a:pt x="10777" y="483"/>
                      </a:lnTo>
                      <a:lnTo>
                        <a:pt x="10930" y="461"/>
                      </a:lnTo>
                      <a:lnTo>
                        <a:pt x="11090" y="440"/>
                      </a:lnTo>
                      <a:lnTo>
                        <a:pt x="11257" y="417"/>
                      </a:lnTo>
                      <a:lnTo>
                        <a:pt x="11603" y="373"/>
                      </a:lnTo>
                      <a:lnTo>
                        <a:pt x="11961" y="328"/>
                      </a:lnTo>
                      <a:lnTo>
                        <a:pt x="12321" y="284"/>
                      </a:lnTo>
                      <a:lnTo>
                        <a:pt x="12673" y="238"/>
                      </a:lnTo>
                      <a:lnTo>
                        <a:pt x="12844" y="217"/>
                      </a:lnTo>
                      <a:lnTo>
                        <a:pt x="13010" y="195"/>
                      </a:lnTo>
                      <a:lnTo>
                        <a:pt x="13168" y="174"/>
                      </a:lnTo>
                      <a:lnTo>
                        <a:pt x="13320" y="152"/>
                      </a:lnTo>
                      <a:lnTo>
                        <a:pt x="13462" y="131"/>
                      </a:lnTo>
                      <a:lnTo>
                        <a:pt x="13595" y="111"/>
                      </a:lnTo>
                      <a:lnTo>
                        <a:pt x="13716" y="91"/>
                      </a:lnTo>
                      <a:lnTo>
                        <a:pt x="13826" y="72"/>
                      </a:lnTo>
                      <a:lnTo>
                        <a:pt x="13921" y="53"/>
                      </a:lnTo>
                      <a:lnTo>
                        <a:pt x="14003" y="35"/>
                      </a:lnTo>
                      <a:lnTo>
                        <a:pt x="14069" y="17"/>
                      </a:lnTo>
                      <a:lnTo>
                        <a:pt x="14118" y="0"/>
                      </a:lnTo>
                      <a:lnTo>
                        <a:pt x="15675" y="3780"/>
                      </a:lnTo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</p:grpSp>
          <p:sp>
            <p:nvSpPr>
              <p:cNvPr id="301" name="Freeform 148"/>
              <p:cNvSpPr>
                <a:spLocks noChangeAspect="1"/>
              </p:cNvSpPr>
              <p:nvPr/>
            </p:nvSpPr>
            <p:spPr bwMode="gray">
              <a:xfrm>
                <a:off x="3104" y="2214"/>
                <a:ext cx="3" cy="2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7" y="9"/>
                  </a:cxn>
                  <a:cxn ang="0">
                    <a:pos x="10" y="6"/>
                  </a:cxn>
                  <a:cxn ang="0">
                    <a:pos x="12" y="9"/>
                  </a:cxn>
                  <a:cxn ang="0">
                    <a:pos x="16" y="5"/>
                  </a:cxn>
                  <a:cxn ang="0">
                    <a:pos x="14" y="4"/>
                  </a:cxn>
                  <a:cxn ang="0">
                    <a:pos x="11" y="4"/>
                  </a:cxn>
                  <a:cxn ang="0">
                    <a:pos x="10" y="1"/>
                  </a:cxn>
                  <a:cxn ang="0">
                    <a:pos x="7" y="0"/>
                  </a:cxn>
                  <a:cxn ang="0">
                    <a:pos x="3" y="1"/>
                  </a:cxn>
                  <a:cxn ang="0">
                    <a:pos x="0" y="8"/>
                  </a:cxn>
                </a:cxnLst>
                <a:rect l="0" t="0" r="r" b="b"/>
                <a:pathLst>
                  <a:path w="16" h="9">
                    <a:moveTo>
                      <a:pt x="0" y="8"/>
                    </a:moveTo>
                    <a:lnTo>
                      <a:pt x="7" y="9"/>
                    </a:lnTo>
                    <a:lnTo>
                      <a:pt x="10" y="6"/>
                    </a:lnTo>
                    <a:lnTo>
                      <a:pt x="12" y="9"/>
                    </a:lnTo>
                    <a:lnTo>
                      <a:pt x="16" y="5"/>
                    </a:lnTo>
                    <a:lnTo>
                      <a:pt x="14" y="4"/>
                    </a:lnTo>
                    <a:lnTo>
                      <a:pt x="11" y="4"/>
                    </a:lnTo>
                    <a:lnTo>
                      <a:pt x="10" y="1"/>
                    </a:lnTo>
                    <a:lnTo>
                      <a:pt x="7" y="0"/>
                    </a:lnTo>
                    <a:lnTo>
                      <a:pt x="3" y="1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grpSp>
            <p:nvGrpSpPr>
              <p:cNvPr id="302" name="Group 149"/>
              <p:cNvGrpSpPr>
                <a:grpSpLocks noChangeAspect="1"/>
              </p:cNvGrpSpPr>
              <p:nvPr/>
            </p:nvGrpSpPr>
            <p:grpSpPr>
              <a:xfrm>
                <a:off x="3086" y="2189"/>
                <a:ext cx="85" cy="114"/>
                <a:chOff x="3086" y="2189"/>
                <a:chExt cx="85" cy="114"/>
              </a:xfrm>
              <a:grpFill/>
            </p:grpSpPr>
            <p:sp>
              <p:nvSpPr>
                <p:cNvPr id="316" name="Freeform 150"/>
                <p:cNvSpPr>
                  <a:spLocks noChangeAspect="1"/>
                </p:cNvSpPr>
                <p:nvPr/>
              </p:nvSpPr>
              <p:spPr bwMode="gray">
                <a:xfrm>
                  <a:off x="3130" y="2189"/>
                  <a:ext cx="4" cy="8"/>
                </a:xfrm>
                <a:custGeom>
                  <a:avLst/>
                  <a:gdLst/>
                  <a:ahLst/>
                  <a:cxnLst>
                    <a:cxn ang="0">
                      <a:pos x="0" y="15"/>
                    </a:cxn>
                    <a:cxn ang="0">
                      <a:pos x="1" y="19"/>
                    </a:cxn>
                    <a:cxn ang="0">
                      <a:pos x="3" y="25"/>
                    </a:cxn>
                    <a:cxn ang="0">
                      <a:pos x="2" y="27"/>
                    </a:cxn>
                    <a:cxn ang="0">
                      <a:pos x="3" y="31"/>
                    </a:cxn>
                    <a:cxn ang="0">
                      <a:pos x="1" y="36"/>
                    </a:cxn>
                    <a:cxn ang="0">
                      <a:pos x="3" y="37"/>
                    </a:cxn>
                    <a:cxn ang="0">
                      <a:pos x="11" y="40"/>
                    </a:cxn>
                    <a:cxn ang="0">
                      <a:pos x="12" y="36"/>
                    </a:cxn>
                    <a:cxn ang="0">
                      <a:pos x="17" y="27"/>
                    </a:cxn>
                    <a:cxn ang="0">
                      <a:pos x="17" y="18"/>
                    </a:cxn>
                    <a:cxn ang="0">
                      <a:pos x="15" y="15"/>
                    </a:cxn>
                    <a:cxn ang="0">
                      <a:pos x="15" y="11"/>
                    </a:cxn>
                    <a:cxn ang="0">
                      <a:pos x="18" y="9"/>
                    </a:cxn>
                    <a:cxn ang="0">
                      <a:pos x="19" y="4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7" y="4"/>
                    </a:cxn>
                    <a:cxn ang="0">
                      <a:pos x="0" y="15"/>
                    </a:cxn>
                  </a:cxnLst>
                  <a:rect l="0" t="0" r="r" b="b"/>
                  <a:pathLst>
                    <a:path w="19" h="40">
                      <a:moveTo>
                        <a:pt x="0" y="15"/>
                      </a:moveTo>
                      <a:lnTo>
                        <a:pt x="1" y="19"/>
                      </a:lnTo>
                      <a:lnTo>
                        <a:pt x="3" y="25"/>
                      </a:lnTo>
                      <a:lnTo>
                        <a:pt x="2" y="27"/>
                      </a:lnTo>
                      <a:lnTo>
                        <a:pt x="3" y="31"/>
                      </a:lnTo>
                      <a:lnTo>
                        <a:pt x="1" y="36"/>
                      </a:lnTo>
                      <a:lnTo>
                        <a:pt x="3" y="37"/>
                      </a:lnTo>
                      <a:lnTo>
                        <a:pt x="11" y="40"/>
                      </a:lnTo>
                      <a:lnTo>
                        <a:pt x="12" y="36"/>
                      </a:lnTo>
                      <a:lnTo>
                        <a:pt x="17" y="27"/>
                      </a:lnTo>
                      <a:lnTo>
                        <a:pt x="17" y="18"/>
                      </a:lnTo>
                      <a:lnTo>
                        <a:pt x="15" y="15"/>
                      </a:lnTo>
                      <a:lnTo>
                        <a:pt x="15" y="11"/>
                      </a:lnTo>
                      <a:lnTo>
                        <a:pt x="18" y="9"/>
                      </a:lnTo>
                      <a:lnTo>
                        <a:pt x="19" y="4"/>
                      </a:lnTo>
                      <a:lnTo>
                        <a:pt x="15" y="0"/>
                      </a:lnTo>
                      <a:lnTo>
                        <a:pt x="9" y="4"/>
                      </a:lnTo>
                      <a:lnTo>
                        <a:pt x="7" y="4"/>
                      </a:lnTo>
                      <a:lnTo>
                        <a:pt x="0" y="15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317" name="Freeform 151"/>
                <p:cNvSpPr>
                  <a:spLocks noChangeAspect="1"/>
                </p:cNvSpPr>
                <p:nvPr/>
              </p:nvSpPr>
              <p:spPr bwMode="gray">
                <a:xfrm>
                  <a:off x="3086" y="2207"/>
                  <a:ext cx="85" cy="96"/>
                </a:xfrm>
                <a:custGeom>
                  <a:avLst/>
                  <a:gdLst/>
                  <a:ahLst/>
                  <a:cxnLst>
                    <a:cxn ang="0">
                      <a:pos x="203" y="0"/>
                    </a:cxn>
                    <a:cxn ang="0">
                      <a:pos x="187" y="59"/>
                    </a:cxn>
                    <a:cxn ang="0">
                      <a:pos x="203" y="170"/>
                    </a:cxn>
                    <a:cxn ang="0">
                      <a:pos x="0" y="345"/>
                    </a:cxn>
                    <a:cxn ang="0">
                      <a:pos x="83" y="474"/>
                    </a:cxn>
                    <a:cxn ang="0">
                      <a:pos x="107" y="466"/>
                    </a:cxn>
                    <a:cxn ang="0">
                      <a:pos x="137" y="459"/>
                    </a:cxn>
                    <a:cxn ang="0">
                      <a:pos x="154" y="464"/>
                    </a:cxn>
                    <a:cxn ang="0">
                      <a:pos x="165" y="460"/>
                    </a:cxn>
                    <a:cxn ang="0">
                      <a:pos x="179" y="447"/>
                    </a:cxn>
                    <a:cxn ang="0">
                      <a:pos x="180" y="436"/>
                    </a:cxn>
                    <a:cxn ang="0">
                      <a:pos x="186" y="425"/>
                    </a:cxn>
                    <a:cxn ang="0">
                      <a:pos x="224" y="407"/>
                    </a:cxn>
                    <a:cxn ang="0">
                      <a:pos x="241" y="404"/>
                    </a:cxn>
                    <a:cxn ang="0">
                      <a:pos x="253" y="382"/>
                    </a:cxn>
                    <a:cxn ang="0">
                      <a:pos x="262" y="361"/>
                    </a:cxn>
                    <a:cxn ang="0">
                      <a:pos x="278" y="352"/>
                    </a:cxn>
                    <a:cxn ang="0">
                      <a:pos x="289" y="348"/>
                    </a:cxn>
                    <a:cxn ang="0">
                      <a:pos x="309" y="346"/>
                    </a:cxn>
                    <a:cxn ang="0">
                      <a:pos x="319" y="337"/>
                    </a:cxn>
                    <a:cxn ang="0">
                      <a:pos x="314" y="325"/>
                    </a:cxn>
                    <a:cxn ang="0">
                      <a:pos x="312" y="303"/>
                    </a:cxn>
                    <a:cxn ang="0">
                      <a:pos x="314" y="285"/>
                    </a:cxn>
                    <a:cxn ang="0">
                      <a:pos x="335" y="256"/>
                    </a:cxn>
                    <a:cxn ang="0">
                      <a:pos x="342" y="255"/>
                    </a:cxn>
                    <a:cxn ang="0">
                      <a:pos x="347" y="262"/>
                    </a:cxn>
                    <a:cxn ang="0">
                      <a:pos x="355" y="261"/>
                    </a:cxn>
                    <a:cxn ang="0">
                      <a:pos x="369" y="239"/>
                    </a:cxn>
                    <a:cxn ang="0">
                      <a:pos x="382" y="216"/>
                    </a:cxn>
                    <a:cxn ang="0">
                      <a:pos x="416" y="178"/>
                    </a:cxn>
                    <a:cxn ang="0">
                      <a:pos x="422" y="161"/>
                    </a:cxn>
                    <a:cxn ang="0">
                      <a:pos x="427" y="143"/>
                    </a:cxn>
                    <a:cxn ang="0">
                      <a:pos x="419" y="137"/>
                    </a:cxn>
                    <a:cxn ang="0">
                      <a:pos x="406" y="131"/>
                    </a:cxn>
                    <a:cxn ang="0">
                      <a:pos x="391" y="111"/>
                    </a:cxn>
                    <a:cxn ang="0">
                      <a:pos x="382" y="103"/>
                    </a:cxn>
                    <a:cxn ang="0">
                      <a:pos x="375" y="92"/>
                    </a:cxn>
                    <a:cxn ang="0">
                      <a:pos x="366" y="79"/>
                    </a:cxn>
                    <a:cxn ang="0">
                      <a:pos x="347" y="73"/>
                    </a:cxn>
                    <a:cxn ang="0">
                      <a:pos x="315" y="63"/>
                    </a:cxn>
                    <a:cxn ang="0">
                      <a:pos x="285" y="51"/>
                    </a:cxn>
                    <a:cxn ang="0">
                      <a:pos x="266" y="40"/>
                    </a:cxn>
                    <a:cxn ang="0">
                      <a:pos x="252" y="23"/>
                    </a:cxn>
                    <a:cxn ang="0">
                      <a:pos x="241" y="12"/>
                    </a:cxn>
                  </a:cxnLst>
                  <a:rect l="0" t="0" r="r" b="b"/>
                  <a:pathLst>
                    <a:path w="427" h="482">
                      <a:moveTo>
                        <a:pt x="236" y="0"/>
                      </a:moveTo>
                      <a:lnTo>
                        <a:pt x="203" y="0"/>
                      </a:lnTo>
                      <a:lnTo>
                        <a:pt x="220" y="46"/>
                      </a:lnTo>
                      <a:lnTo>
                        <a:pt x="187" y="59"/>
                      </a:lnTo>
                      <a:lnTo>
                        <a:pt x="176" y="130"/>
                      </a:lnTo>
                      <a:lnTo>
                        <a:pt x="203" y="170"/>
                      </a:lnTo>
                      <a:lnTo>
                        <a:pt x="165" y="287"/>
                      </a:lnTo>
                      <a:lnTo>
                        <a:pt x="0" y="345"/>
                      </a:lnTo>
                      <a:lnTo>
                        <a:pt x="57" y="482"/>
                      </a:lnTo>
                      <a:lnTo>
                        <a:pt x="83" y="474"/>
                      </a:lnTo>
                      <a:lnTo>
                        <a:pt x="94" y="473"/>
                      </a:lnTo>
                      <a:lnTo>
                        <a:pt x="107" y="466"/>
                      </a:lnTo>
                      <a:lnTo>
                        <a:pt x="117" y="460"/>
                      </a:lnTo>
                      <a:lnTo>
                        <a:pt x="137" y="459"/>
                      </a:lnTo>
                      <a:lnTo>
                        <a:pt x="150" y="461"/>
                      </a:lnTo>
                      <a:lnTo>
                        <a:pt x="154" y="464"/>
                      </a:lnTo>
                      <a:lnTo>
                        <a:pt x="161" y="464"/>
                      </a:lnTo>
                      <a:lnTo>
                        <a:pt x="165" y="460"/>
                      </a:lnTo>
                      <a:lnTo>
                        <a:pt x="172" y="455"/>
                      </a:lnTo>
                      <a:lnTo>
                        <a:pt x="179" y="447"/>
                      </a:lnTo>
                      <a:lnTo>
                        <a:pt x="180" y="443"/>
                      </a:lnTo>
                      <a:lnTo>
                        <a:pt x="180" y="436"/>
                      </a:lnTo>
                      <a:lnTo>
                        <a:pt x="180" y="430"/>
                      </a:lnTo>
                      <a:lnTo>
                        <a:pt x="186" y="425"/>
                      </a:lnTo>
                      <a:lnTo>
                        <a:pt x="194" y="414"/>
                      </a:lnTo>
                      <a:lnTo>
                        <a:pt x="224" y="407"/>
                      </a:lnTo>
                      <a:lnTo>
                        <a:pt x="234" y="407"/>
                      </a:lnTo>
                      <a:lnTo>
                        <a:pt x="241" y="404"/>
                      </a:lnTo>
                      <a:lnTo>
                        <a:pt x="250" y="394"/>
                      </a:lnTo>
                      <a:lnTo>
                        <a:pt x="253" y="382"/>
                      </a:lnTo>
                      <a:lnTo>
                        <a:pt x="256" y="371"/>
                      </a:lnTo>
                      <a:lnTo>
                        <a:pt x="262" y="361"/>
                      </a:lnTo>
                      <a:lnTo>
                        <a:pt x="269" y="355"/>
                      </a:lnTo>
                      <a:lnTo>
                        <a:pt x="278" y="352"/>
                      </a:lnTo>
                      <a:lnTo>
                        <a:pt x="282" y="347"/>
                      </a:lnTo>
                      <a:lnTo>
                        <a:pt x="289" y="348"/>
                      </a:lnTo>
                      <a:lnTo>
                        <a:pt x="301" y="346"/>
                      </a:lnTo>
                      <a:lnTo>
                        <a:pt x="309" y="346"/>
                      </a:lnTo>
                      <a:lnTo>
                        <a:pt x="316" y="342"/>
                      </a:lnTo>
                      <a:lnTo>
                        <a:pt x="319" y="337"/>
                      </a:lnTo>
                      <a:lnTo>
                        <a:pt x="316" y="328"/>
                      </a:lnTo>
                      <a:lnTo>
                        <a:pt x="314" y="325"/>
                      </a:lnTo>
                      <a:lnTo>
                        <a:pt x="312" y="312"/>
                      </a:lnTo>
                      <a:lnTo>
                        <a:pt x="312" y="303"/>
                      </a:lnTo>
                      <a:lnTo>
                        <a:pt x="315" y="293"/>
                      </a:lnTo>
                      <a:lnTo>
                        <a:pt x="314" y="285"/>
                      </a:lnTo>
                      <a:lnTo>
                        <a:pt x="327" y="265"/>
                      </a:lnTo>
                      <a:lnTo>
                        <a:pt x="335" y="256"/>
                      </a:lnTo>
                      <a:lnTo>
                        <a:pt x="339" y="253"/>
                      </a:lnTo>
                      <a:lnTo>
                        <a:pt x="342" y="255"/>
                      </a:lnTo>
                      <a:lnTo>
                        <a:pt x="344" y="260"/>
                      </a:lnTo>
                      <a:lnTo>
                        <a:pt x="347" y="262"/>
                      </a:lnTo>
                      <a:lnTo>
                        <a:pt x="353" y="264"/>
                      </a:lnTo>
                      <a:lnTo>
                        <a:pt x="355" y="261"/>
                      </a:lnTo>
                      <a:lnTo>
                        <a:pt x="365" y="244"/>
                      </a:lnTo>
                      <a:lnTo>
                        <a:pt x="369" y="239"/>
                      </a:lnTo>
                      <a:lnTo>
                        <a:pt x="376" y="224"/>
                      </a:lnTo>
                      <a:lnTo>
                        <a:pt x="382" y="216"/>
                      </a:lnTo>
                      <a:lnTo>
                        <a:pt x="396" y="206"/>
                      </a:lnTo>
                      <a:lnTo>
                        <a:pt x="416" y="178"/>
                      </a:lnTo>
                      <a:lnTo>
                        <a:pt x="421" y="167"/>
                      </a:lnTo>
                      <a:lnTo>
                        <a:pt x="422" y="161"/>
                      </a:lnTo>
                      <a:lnTo>
                        <a:pt x="427" y="147"/>
                      </a:lnTo>
                      <a:lnTo>
                        <a:pt x="427" y="143"/>
                      </a:lnTo>
                      <a:lnTo>
                        <a:pt x="423" y="140"/>
                      </a:lnTo>
                      <a:lnTo>
                        <a:pt x="419" y="137"/>
                      </a:lnTo>
                      <a:lnTo>
                        <a:pt x="418" y="134"/>
                      </a:lnTo>
                      <a:lnTo>
                        <a:pt x="406" y="131"/>
                      </a:lnTo>
                      <a:lnTo>
                        <a:pt x="396" y="124"/>
                      </a:lnTo>
                      <a:lnTo>
                        <a:pt x="391" y="111"/>
                      </a:lnTo>
                      <a:lnTo>
                        <a:pt x="386" y="108"/>
                      </a:lnTo>
                      <a:lnTo>
                        <a:pt x="382" y="103"/>
                      </a:lnTo>
                      <a:lnTo>
                        <a:pt x="381" y="98"/>
                      </a:lnTo>
                      <a:lnTo>
                        <a:pt x="375" y="92"/>
                      </a:lnTo>
                      <a:lnTo>
                        <a:pt x="373" y="88"/>
                      </a:lnTo>
                      <a:lnTo>
                        <a:pt x="366" y="79"/>
                      </a:lnTo>
                      <a:lnTo>
                        <a:pt x="354" y="73"/>
                      </a:lnTo>
                      <a:lnTo>
                        <a:pt x="347" y="73"/>
                      </a:lnTo>
                      <a:lnTo>
                        <a:pt x="332" y="66"/>
                      </a:lnTo>
                      <a:lnTo>
                        <a:pt x="315" y="63"/>
                      </a:lnTo>
                      <a:lnTo>
                        <a:pt x="309" y="61"/>
                      </a:lnTo>
                      <a:lnTo>
                        <a:pt x="285" y="51"/>
                      </a:lnTo>
                      <a:lnTo>
                        <a:pt x="274" y="43"/>
                      </a:lnTo>
                      <a:lnTo>
                        <a:pt x="266" y="40"/>
                      </a:lnTo>
                      <a:lnTo>
                        <a:pt x="260" y="30"/>
                      </a:lnTo>
                      <a:lnTo>
                        <a:pt x="252" y="23"/>
                      </a:lnTo>
                      <a:lnTo>
                        <a:pt x="250" y="19"/>
                      </a:lnTo>
                      <a:lnTo>
                        <a:pt x="241" y="12"/>
                      </a:lnTo>
                      <a:lnTo>
                        <a:pt x="236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</p:grpSp>
          <p:sp>
            <p:nvSpPr>
              <p:cNvPr id="303" name="Freeform 152"/>
              <p:cNvSpPr>
                <a:spLocks noChangeAspect="1"/>
              </p:cNvSpPr>
              <p:nvPr/>
            </p:nvSpPr>
            <p:spPr bwMode="gray">
              <a:xfrm>
                <a:off x="3069" y="2190"/>
                <a:ext cx="1" cy="3"/>
              </a:xfrm>
              <a:custGeom>
                <a:avLst/>
                <a:gdLst/>
                <a:ahLst/>
                <a:cxnLst>
                  <a:cxn ang="0">
                    <a:pos x="8" y="3"/>
                  </a:cxn>
                  <a:cxn ang="0">
                    <a:pos x="0" y="0"/>
                  </a:cxn>
                  <a:cxn ang="0">
                    <a:pos x="0" y="11"/>
                  </a:cxn>
                  <a:cxn ang="0">
                    <a:pos x="3" y="19"/>
                  </a:cxn>
                  <a:cxn ang="0">
                    <a:pos x="8" y="17"/>
                  </a:cxn>
                  <a:cxn ang="0">
                    <a:pos x="8" y="3"/>
                  </a:cxn>
                </a:cxnLst>
                <a:rect l="0" t="0" r="r" b="b"/>
                <a:pathLst>
                  <a:path w="8" h="19">
                    <a:moveTo>
                      <a:pt x="8" y="3"/>
                    </a:moveTo>
                    <a:lnTo>
                      <a:pt x="0" y="0"/>
                    </a:lnTo>
                    <a:lnTo>
                      <a:pt x="0" y="11"/>
                    </a:lnTo>
                    <a:lnTo>
                      <a:pt x="3" y="19"/>
                    </a:lnTo>
                    <a:lnTo>
                      <a:pt x="8" y="17"/>
                    </a:lnTo>
                    <a:lnTo>
                      <a:pt x="8" y="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grpSp>
            <p:nvGrpSpPr>
              <p:cNvPr id="304" name="Group 153"/>
              <p:cNvGrpSpPr>
                <a:grpSpLocks noChangeAspect="1"/>
              </p:cNvGrpSpPr>
              <p:nvPr/>
            </p:nvGrpSpPr>
            <p:grpSpPr>
              <a:xfrm>
                <a:off x="3000" y="2012"/>
                <a:ext cx="210" cy="192"/>
                <a:chOff x="3000" y="2012"/>
                <a:chExt cx="210" cy="192"/>
              </a:xfrm>
              <a:grpFill/>
            </p:grpSpPr>
            <p:sp>
              <p:nvSpPr>
                <p:cNvPr id="314" name="Freeform 154"/>
                <p:cNvSpPr>
                  <a:spLocks noChangeAspect="1"/>
                </p:cNvSpPr>
                <p:nvPr/>
              </p:nvSpPr>
              <p:spPr bwMode="gray">
                <a:xfrm>
                  <a:off x="3122" y="2182"/>
                  <a:ext cx="10" cy="5"/>
                </a:xfrm>
                <a:custGeom>
                  <a:avLst/>
                  <a:gdLst/>
                  <a:ahLst/>
                  <a:cxnLst>
                    <a:cxn ang="0">
                      <a:pos x="50" y="2"/>
                    </a:cxn>
                    <a:cxn ang="0">
                      <a:pos x="45" y="0"/>
                    </a:cxn>
                    <a:cxn ang="0">
                      <a:pos x="27" y="2"/>
                    </a:cxn>
                    <a:cxn ang="0">
                      <a:pos x="23" y="10"/>
                    </a:cxn>
                    <a:cxn ang="0">
                      <a:pos x="12" y="18"/>
                    </a:cxn>
                    <a:cxn ang="0">
                      <a:pos x="0" y="22"/>
                    </a:cxn>
                    <a:cxn ang="0">
                      <a:pos x="1" y="26"/>
                    </a:cxn>
                    <a:cxn ang="0">
                      <a:pos x="27" y="19"/>
                    </a:cxn>
                    <a:cxn ang="0">
                      <a:pos x="50" y="2"/>
                    </a:cxn>
                  </a:cxnLst>
                  <a:rect l="0" t="0" r="r" b="b"/>
                  <a:pathLst>
                    <a:path w="50" h="26">
                      <a:moveTo>
                        <a:pt x="50" y="2"/>
                      </a:moveTo>
                      <a:lnTo>
                        <a:pt x="45" y="0"/>
                      </a:lnTo>
                      <a:lnTo>
                        <a:pt x="27" y="2"/>
                      </a:lnTo>
                      <a:lnTo>
                        <a:pt x="23" y="10"/>
                      </a:lnTo>
                      <a:lnTo>
                        <a:pt x="12" y="18"/>
                      </a:lnTo>
                      <a:lnTo>
                        <a:pt x="0" y="22"/>
                      </a:lnTo>
                      <a:lnTo>
                        <a:pt x="1" y="26"/>
                      </a:lnTo>
                      <a:lnTo>
                        <a:pt x="27" y="19"/>
                      </a:lnTo>
                      <a:lnTo>
                        <a:pt x="50" y="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315" name="Freeform 155"/>
                <p:cNvSpPr>
                  <a:spLocks noChangeAspect="1"/>
                </p:cNvSpPr>
                <p:nvPr/>
              </p:nvSpPr>
              <p:spPr bwMode="gray">
                <a:xfrm>
                  <a:off x="3000" y="2012"/>
                  <a:ext cx="210" cy="192"/>
                </a:xfrm>
                <a:custGeom>
                  <a:avLst/>
                  <a:gdLst/>
                  <a:ahLst/>
                  <a:cxnLst>
                    <a:cxn ang="0">
                      <a:pos x="920" y="957"/>
                    </a:cxn>
                    <a:cxn ang="0">
                      <a:pos x="836" y="944"/>
                    </a:cxn>
                    <a:cxn ang="0">
                      <a:pos x="792" y="933"/>
                    </a:cxn>
                    <a:cxn ang="0">
                      <a:pos x="717" y="912"/>
                    </a:cxn>
                    <a:cxn ang="0">
                      <a:pos x="673" y="839"/>
                    </a:cxn>
                    <a:cxn ang="0">
                      <a:pos x="610" y="865"/>
                    </a:cxn>
                    <a:cxn ang="0">
                      <a:pos x="551" y="868"/>
                    </a:cxn>
                    <a:cxn ang="0">
                      <a:pos x="511" y="859"/>
                    </a:cxn>
                    <a:cxn ang="0">
                      <a:pos x="462" y="822"/>
                    </a:cxn>
                    <a:cxn ang="0">
                      <a:pos x="400" y="794"/>
                    </a:cxn>
                    <a:cxn ang="0">
                      <a:pos x="351" y="713"/>
                    </a:cxn>
                    <a:cxn ang="0">
                      <a:pos x="323" y="661"/>
                    </a:cxn>
                    <a:cxn ang="0">
                      <a:pos x="292" y="661"/>
                    </a:cxn>
                    <a:cxn ang="0">
                      <a:pos x="270" y="632"/>
                    </a:cxn>
                    <a:cxn ang="0">
                      <a:pos x="252" y="640"/>
                    </a:cxn>
                    <a:cxn ang="0">
                      <a:pos x="237" y="653"/>
                    </a:cxn>
                    <a:cxn ang="0">
                      <a:pos x="188" y="595"/>
                    </a:cxn>
                    <a:cxn ang="0">
                      <a:pos x="172" y="506"/>
                    </a:cxn>
                    <a:cxn ang="0">
                      <a:pos x="111" y="466"/>
                    </a:cxn>
                    <a:cxn ang="0">
                      <a:pos x="82" y="422"/>
                    </a:cxn>
                    <a:cxn ang="0">
                      <a:pos x="72" y="393"/>
                    </a:cxn>
                    <a:cxn ang="0">
                      <a:pos x="100" y="328"/>
                    </a:cxn>
                    <a:cxn ang="0">
                      <a:pos x="102" y="278"/>
                    </a:cxn>
                    <a:cxn ang="0">
                      <a:pos x="40" y="213"/>
                    </a:cxn>
                    <a:cxn ang="0">
                      <a:pos x="12" y="118"/>
                    </a:cxn>
                    <a:cxn ang="0">
                      <a:pos x="0" y="34"/>
                    </a:cxn>
                    <a:cxn ang="0">
                      <a:pos x="38" y="16"/>
                    </a:cxn>
                    <a:cxn ang="0">
                      <a:pos x="121" y="68"/>
                    </a:cxn>
                    <a:cxn ang="0">
                      <a:pos x="166" y="27"/>
                    </a:cxn>
                    <a:cxn ang="0">
                      <a:pos x="227" y="57"/>
                    </a:cxn>
                    <a:cxn ang="0">
                      <a:pos x="232" y="85"/>
                    </a:cxn>
                    <a:cxn ang="0">
                      <a:pos x="260" y="123"/>
                    </a:cxn>
                    <a:cxn ang="0">
                      <a:pos x="303" y="171"/>
                    </a:cxn>
                    <a:cxn ang="0">
                      <a:pos x="357" y="203"/>
                    </a:cxn>
                    <a:cxn ang="0">
                      <a:pos x="497" y="207"/>
                    </a:cxn>
                    <a:cxn ang="0">
                      <a:pos x="543" y="207"/>
                    </a:cxn>
                    <a:cxn ang="0">
                      <a:pos x="600" y="135"/>
                    </a:cxn>
                    <a:cxn ang="0">
                      <a:pos x="664" y="121"/>
                    </a:cxn>
                    <a:cxn ang="0">
                      <a:pos x="722" y="119"/>
                    </a:cxn>
                    <a:cxn ang="0">
                      <a:pos x="804" y="150"/>
                    </a:cxn>
                    <a:cxn ang="0">
                      <a:pos x="851" y="187"/>
                    </a:cxn>
                    <a:cxn ang="0">
                      <a:pos x="936" y="230"/>
                    </a:cxn>
                    <a:cxn ang="0">
                      <a:pos x="935" y="321"/>
                    </a:cxn>
                    <a:cxn ang="0">
                      <a:pos x="895" y="398"/>
                    </a:cxn>
                    <a:cxn ang="0">
                      <a:pos x="899" y="470"/>
                    </a:cxn>
                    <a:cxn ang="0">
                      <a:pos x="909" y="546"/>
                    </a:cxn>
                    <a:cxn ang="0">
                      <a:pos x="960" y="586"/>
                    </a:cxn>
                    <a:cxn ang="0">
                      <a:pos x="915" y="676"/>
                    </a:cxn>
                    <a:cxn ang="0">
                      <a:pos x="986" y="759"/>
                    </a:cxn>
                    <a:cxn ang="0">
                      <a:pos x="1023" y="829"/>
                    </a:cxn>
                    <a:cxn ang="0">
                      <a:pos x="1033" y="866"/>
                    </a:cxn>
                    <a:cxn ang="0">
                      <a:pos x="970" y="902"/>
                    </a:cxn>
                  </a:cxnLst>
                  <a:rect l="0" t="0" r="r" b="b"/>
                  <a:pathLst>
                    <a:path w="1049" h="961">
                      <a:moveTo>
                        <a:pt x="957" y="958"/>
                      </a:moveTo>
                      <a:lnTo>
                        <a:pt x="954" y="957"/>
                      </a:lnTo>
                      <a:lnTo>
                        <a:pt x="947" y="961"/>
                      </a:lnTo>
                      <a:lnTo>
                        <a:pt x="932" y="960"/>
                      </a:lnTo>
                      <a:lnTo>
                        <a:pt x="920" y="957"/>
                      </a:lnTo>
                      <a:lnTo>
                        <a:pt x="903" y="951"/>
                      </a:lnTo>
                      <a:lnTo>
                        <a:pt x="895" y="944"/>
                      </a:lnTo>
                      <a:lnTo>
                        <a:pt x="889" y="949"/>
                      </a:lnTo>
                      <a:lnTo>
                        <a:pt x="855" y="947"/>
                      </a:lnTo>
                      <a:lnTo>
                        <a:pt x="836" y="944"/>
                      </a:lnTo>
                      <a:lnTo>
                        <a:pt x="825" y="939"/>
                      </a:lnTo>
                      <a:lnTo>
                        <a:pt x="820" y="941"/>
                      </a:lnTo>
                      <a:lnTo>
                        <a:pt x="818" y="945"/>
                      </a:lnTo>
                      <a:lnTo>
                        <a:pt x="806" y="938"/>
                      </a:lnTo>
                      <a:lnTo>
                        <a:pt x="792" y="933"/>
                      </a:lnTo>
                      <a:lnTo>
                        <a:pt x="775" y="933"/>
                      </a:lnTo>
                      <a:lnTo>
                        <a:pt x="755" y="930"/>
                      </a:lnTo>
                      <a:lnTo>
                        <a:pt x="744" y="926"/>
                      </a:lnTo>
                      <a:lnTo>
                        <a:pt x="726" y="925"/>
                      </a:lnTo>
                      <a:lnTo>
                        <a:pt x="717" y="912"/>
                      </a:lnTo>
                      <a:lnTo>
                        <a:pt x="710" y="893"/>
                      </a:lnTo>
                      <a:lnTo>
                        <a:pt x="705" y="869"/>
                      </a:lnTo>
                      <a:lnTo>
                        <a:pt x="697" y="852"/>
                      </a:lnTo>
                      <a:lnTo>
                        <a:pt x="683" y="843"/>
                      </a:lnTo>
                      <a:lnTo>
                        <a:pt x="673" y="839"/>
                      </a:lnTo>
                      <a:lnTo>
                        <a:pt x="665" y="838"/>
                      </a:lnTo>
                      <a:lnTo>
                        <a:pt x="645" y="847"/>
                      </a:lnTo>
                      <a:lnTo>
                        <a:pt x="625" y="853"/>
                      </a:lnTo>
                      <a:lnTo>
                        <a:pt x="619" y="860"/>
                      </a:lnTo>
                      <a:lnTo>
                        <a:pt x="610" y="865"/>
                      </a:lnTo>
                      <a:lnTo>
                        <a:pt x="600" y="865"/>
                      </a:lnTo>
                      <a:lnTo>
                        <a:pt x="584" y="875"/>
                      </a:lnTo>
                      <a:lnTo>
                        <a:pt x="573" y="877"/>
                      </a:lnTo>
                      <a:lnTo>
                        <a:pt x="559" y="874"/>
                      </a:lnTo>
                      <a:lnTo>
                        <a:pt x="551" y="868"/>
                      </a:lnTo>
                      <a:lnTo>
                        <a:pt x="537" y="865"/>
                      </a:lnTo>
                      <a:lnTo>
                        <a:pt x="523" y="868"/>
                      </a:lnTo>
                      <a:lnTo>
                        <a:pt x="516" y="868"/>
                      </a:lnTo>
                      <a:lnTo>
                        <a:pt x="507" y="856"/>
                      </a:lnTo>
                      <a:lnTo>
                        <a:pt x="511" y="859"/>
                      </a:lnTo>
                      <a:lnTo>
                        <a:pt x="509" y="854"/>
                      </a:lnTo>
                      <a:lnTo>
                        <a:pt x="502" y="849"/>
                      </a:lnTo>
                      <a:lnTo>
                        <a:pt x="470" y="838"/>
                      </a:lnTo>
                      <a:lnTo>
                        <a:pt x="462" y="826"/>
                      </a:lnTo>
                      <a:lnTo>
                        <a:pt x="462" y="822"/>
                      </a:lnTo>
                      <a:lnTo>
                        <a:pt x="453" y="812"/>
                      </a:lnTo>
                      <a:lnTo>
                        <a:pt x="438" y="805"/>
                      </a:lnTo>
                      <a:lnTo>
                        <a:pt x="425" y="800"/>
                      </a:lnTo>
                      <a:lnTo>
                        <a:pt x="409" y="799"/>
                      </a:lnTo>
                      <a:lnTo>
                        <a:pt x="400" y="794"/>
                      </a:lnTo>
                      <a:lnTo>
                        <a:pt x="392" y="785"/>
                      </a:lnTo>
                      <a:lnTo>
                        <a:pt x="384" y="762"/>
                      </a:lnTo>
                      <a:lnTo>
                        <a:pt x="374" y="745"/>
                      </a:lnTo>
                      <a:lnTo>
                        <a:pt x="371" y="730"/>
                      </a:lnTo>
                      <a:lnTo>
                        <a:pt x="351" y="713"/>
                      </a:lnTo>
                      <a:lnTo>
                        <a:pt x="347" y="699"/>
                      </a:lnTo>
                      <a:lnTo>
                        <a:pt x="342" y="689"/>
                      </a:lnTo>
                      <a:lnTo>
                        <a:pt x="334" y="685"/>
                      </a:lnTo>
                      <a:lnTo>
                        <a:pt x="324" y="669"/>
                      </a:lnTo>
                      <a:lnTo>
                        <a:pt x="323" y="661"/>
                      </a:lnTo>
                      <a:lnTo>
                        <a:pt x="319" y="655"/>
                      </a:lnTo>
                      <a:lnTo>
                        <a:pt x="313" y="651"/>
                      </a:lnTo>
                      <a:lnTo>
                        <a:pt x="301" y="656"/>
                      </a:lnTo>
                      <a:lnTo>
                        <a:pt x="293" y="664"/>
                      </a:lnTo>
                      <a:lnTo>
                        <a:pt x="292" y="661"/>
                      </a:lnTo>
                      <a:lnTo>
                        <a:pt x="286" y="659"/>
                      </a:lnTo>
                      <a:lnTo>
                        <a:pt x="283" y="654"/>
                      </a:lnTo>
                      <a:lnTo>
                        <a:pt x="276" y="649"/>
                      </a:lnTo>
                      <a:lnTo>
                        <a:pt x="271" y="642"/>
                      </a:lnTo>
                      <a:lnTo>
                        <a:pt x="270" y="632"/>
                      </a:lnTo>
                      <a:lnTo>
                        <a:pt x="265" y="627"/>
                      </a:lnTo>
                      <a:lnTo>
                        <a:pt x="256" y="624"/>
                      </a:lnTo>
                      <a:lnTo>
                        <a:pt x="252" y="628"/>
                      </a:lnTo>
                      <a:lnTo>
                        <a:pt x="254" y="634"/>
                      </a:lnTo>
                      <a:lnTo>
                        <a:pt x="252" y="640"/>
                      </a:lnTo>
                      <a:lnTo>
                        <a:pt x="253" y="646"/>
                      </a:lnTo>
                      <a:lnTo>
                        <a:pt x="244" y="646"/>
                      </a:lnTo>
                      <a:lnTo>
                        <a:pt x="243" y="656"/>
                      </a:lnTo>
                      <a:lnTo>
                        <a:pt x="240" y="655"/>
                      </a:lnTo>
                      <a:lnTo>
                        <a:pt x="237" y="653"/>
                      </a:lnTo>
                      <a:lnTo>
                        <a:pt x="217" y="638"/>
                      </a:lnTo>
                      <a:lnTo>
                        <a:pt x="210" y="630"/>
                      </a:lnTo>
                      <a:lnTo>
                        <a:pt x="205" y="622"/>
                      </a:lnTo>
                      <a:lnTo>
                        <a:pt x="201" y="602"/>
                      </a:lnTo>
                      <a:lnTo>
                        <a:pt x="188" y="595"/>
                      </a:lnTo>
                      <a:lnTo>
                        <a:pt x="189" y="574"/>
                      </a:lnTo>
                      <a:lnTo>
                        <a:pt x="193" y="547"/>
                      </a:lnTo>
                      <a:lnTo>
                        <a:pt x="186" y="533"/>
                      </a:lnTo>
                      <a:lnTo>
                        <a:pt x="179" y="521"/>
                      </a:lnTo>
                      <a:lnTo>
                        <a:pt x="172" y="506"/>
                      </a:lnTo>
                      <a:lnTo>
                        <a:pt x="163" y="497"/>
                      </a:lnTo>
                      <a:lnTo>
                        <a:pt x="150" y="493"/>
                      </a:lnTo>
                      <a:lnTo>
                        <a:pt x="140" y="488"/>
                      </a:lnTo>
                      <a:lnTo>
                        <a:pt x="126" y="477"/>
                      </a:lnTo>
                      <a:lnTo>
                        <a:pt x="111" y="466"/>
                      </a:lnTo>
                      <a:lnTo>
                        <a:pt x="99" y="460"/>
                      </a:lnTo>
                      <a:lnTo>
                        <a:pt x="99" y="449"/>
                      </a:lnTo>
                      <a:lnTo>
                        <a:pt x="93" y="435"/>
                      </a:lnTo>
                      <a:lnTo>
                        <a:pt x="86" y="429"/>
                      </a:lnTo>
                      <a:lnTo>
                        <a:pt x="82" y="422"/>
                      </a:lnTo>
                      <a:lnTo>
                        <a:pt x="73" y="422"/>
                      </a:lnTo>
                      <a:lnTo>
                        <a:pt x="67" y="417"/>
                      </a:lnTo>
                      <a:lnTo>
                        <a:pt x="65" y="401"/>
                      </a:lnTo>
                      <a:lnTo>
                        <a:pt x="68" y="400"/>
                      </a:lnTo>
                      <a:lnTo>
                        <a:pt x="72" y="393"/>
                      </a:lnTo>
                      <a:lnTo>
                        <a:pt x="76" y="368"/>
                      </a:lnTo>
                      <a:lnTo>
                        <a:pt x="80" y="360"/>
                      </a:lnTo>
                      <a:lnTo>
                        <a:pt x="88" y="358"/>
                      </a:lnTo>
                      <a:lnTo>
                        <a:pt x="87" y="349"/>
                      </a:lnTo>
                      <a:lnTo>
                        <a:pt x="100" y="328"/>
                      </a:lnTo>
                      <a:lnTo>
                        <a:pt x="109" y="317"/>
                      </a:lnTo>
                      <a:lnTo>
                        <a:pt x="104" y="299"/>
                      </a:lnTo>
                      <a:lnTo>
                        <a:pt x="110" y="285"/>
                      </a:lnTo>
                      <a:lnTo>
                        <a:pt x="116" y="278"/>
                      </a:lnTo>
                      <a:lnTo>
                        <a:pt x="102" y="278"/>
                      </a:lnTo>
                      <a:lnTo>
                        <a:pt x="80" y="273"/>
                      </a:lnTo>
                      <a:lnTo>
                        <a:pt x="68" y="262"/>
                      </a:lnTo>
                      <a:lnTo>
                        <a:pt x="62" y="240"/>
                      </a:lnTo>
                      <a:lnTo>
                        <a:pt x="50" y="230"/>
                      </a:lnTo>
                      <a:lnTo>
                        <a:pt x="40" y="213"/>
                      </a:lnTo>
                      <a:lnTo>
                        <a:pt x="35" y="180"/>
                      </a:lnTo>
                      <a:lnTo>
                        <a:pt x="34" y="164"/>
                      </a:lnTo>
                      <a:lnTo>
                        <a:pt x="22" y="147"/>
                      </a:lnTo>
                      <a:lnTo>
                        <a:pt x="8" y="139"/>
                      </a:lnTo>
                      <a:lnTo>
                        <a:pt x="12" y="118"/>
                      </a:lnTo>
                      <a:lnTo>
                        <a:pt x="10" y="102"/>
                      </a:lnTo>
                      <a:lnTo>
                        <a:pt x="10" y="85"/>
                      </a:lnTo>
                      <a:lnTo>
                        <a:pt x="8" y="58"/>
                      </a:lnTo>
                      <a:lnTo>
                        <a:pt x="1" y="41"/>
                      </a:lnTo>
                      <a:lnTo>
                        <a:pt x="0" y="34"/>
                      </a:lnTo>
                      <a:lnTo>
                        <a:pt x="14" y="25"/>
                      </a:lnTo>
                      <a:lnTo>
                        <a:pt x="16" y="18"/>
                      </a:lnTo>
                      <a:lnTo>
                        <a:pt x="25" y="0"/>
                      </a:lnTo>
                      <a:lnTo>
                        <a:pt x="34" y="11"/>
                      </a:lnTo>
                      <a:lnTo>
                        <a:pt x="38" y="16"/>
                      </a:lnTo>
                      <a:lnTo>
                        <a:pt x="70" y="62"/>
                      </a:lnTo>
                      <a:lnTo>
                        <a:pt x="86" y="65"/>
                      </a:lnTo>
                      <a:lnTo>
                        <a:pt x="99" y="68"/>
                      </a:lnTo>
                      <a:lnTo>
                        <a:pt x="104" y="68"/>
                      </a:lnTo>
                      <a:lnTo>
                        <a:pt x="121" y="68"/>
                      </a:lnTo>
                      <a:lnTo>
                        <a:pt x="127" y="68"/>
                      </a:lnTo>
                      <a:lnTo>
                        <a:pt x="138" y="65"/>
                      </a:lnTo>
                      <a:lnTo>
                        <a:pt x="150" y="53"/>
                      </a:lnTo>
                      <a:lnTo>
                        <a:pt x="156" y="37"/>
                      </a:lnTo>
                      <a:lnTo>
                        <a:pt x="166" y="27"/>
                      </a:lnTo>
                      <a:lnTo>
                        <a:pt x="178" y="19"/>
                      </a:lnTo>
                      <a:lnTo>
                        <a:pt x="204" y="13"/>
                      </a:lnTo>
                      <a:lnTo>
                        <a:pt x="221" y="22"/>
                      </a:lnTo>
                      <a:lnTo>
                        <a:pt x="220" y="36"/>
                      </a:lnTo>
                      <a:lnTo>
                        <a:pt x="227" y="57"/>
                      </a:lnTo>
                      <a:lnTo>
                        <a:pt x="212" y="65"/>
                      </a:lnTo>
                      <a:lnTo>
                        <a:pt x="209" y="70"/>
                      </a:lnTo>
                      <a:lnTo>
                        <a:pt x="220" y="77"/>
                      </a:lnTo>
                      <a:lnTo>
                        <a:pt x="224" y="81"/>
                      </a:lnTo>
                      <a:lnTo>
                        <a:pt x="232" y="85"/>
                      </a:lnTo>
                      <a:lnTo>
                        <a:pt x="240" y="92"/>
                      </a:lnTo>
                      <a:lnTo>
                        <a:pt x="247" y="95"/>
                      </a:lnTo>
                      <a:lnTo>
                        <a:pt x="254" y="95"/>
                      </a:lnTo>
                      <a:lnTo>
                        <a:pt x="258" y="94"/>
                      </a:lnTo>
                      <a:lnTo>
                        <a:pt x="260" y="123"/>
                      </a:lnTo>
                      <a:lnTo>
                        <a:pt x="265" y="142"/>
                      </a:lnTo>
                      <a:lnTo>
                        <a:pt x="270" y="155"/>
                      </a:lnTo>
                      <a:lnTo>
                        <a:pt x="282" y="165"/>
                      </a:lnTo>
                      <a:lnTo>
                        <a:pt x="293" y="167"/>
                      </a:lnTo>
                      <a:lnTo>
                        <a:pt x="303" y="171"/>
                      </a:lnTo>
                      <a:lnTo>
                        <a:pt x="318" y="170"/>
                      </a:lnTo>
                      <a:lnTo>
                        <a:pt x="329" y="171"/>
                      </a:lnTo>
                      <a:lnTo>
                        <a:pt x="336" y="176"/>
                      </a:lnTo>
                      <a:lnTo>
                        <a:pt x="344" y="192"/>
                      </a:lnTo>
                      <a:lnTo>
                        <a:pt x="357" y="203"/>
                      </a:lnTo>
                      <a:lnTo>
                        <a:pt x="377" y="214"/>
                      </a:lnTo>
                      <a:lnTo>
                        <a:pt x="411" y="225"/>
                      </a:lnTo>
                      <a:lnTo>
                        <a:pt x="423" y="226"/>
                      </a:lnTo>
                      <a:lnTo>
                        <a:pt x="479" y="209"/>
                      </a:lnTo>
                      <a:lnTo>
                        <a:pt x="497" y="207"/>
                      </a:lnTo>
                      <a:lnTo>
                        <a:pt x="519" y="202"/>
                      </a:lnTo>
                      <a:lnTo>
                        <a:pt x="516" y="205"/>
                      </a:lnTo>
                      <a:lnTo>
                        <a:pt x="502" y="208"/>
                      </a:lnTo>
                      <a:lnTo>
                        <a:pt x="519" y="210"/>
                      </a:lnTo>
                      <a:lnTo>
                        <a:pt x="543" y="207"/>
                      </a:lnTo>
                      <a:lnTo>
                        <a:pt x="543" y="187"/>
                      </a:lnTo>
                      <a:lnTo>
                        <a:pt x="534" y="166"/>
                      </a:lnTo>
                      <a:lnTo>
                        <a:pt x="548" y="166"/>
                      </a:lnTo>
                      <a:lnTo>
                        <a:pt x="566" y="162"/>
                      </a:lnTo>
                      <a:lnTo>
                        <a:pt x="600" y="135"/>
                      </a:lnTo>
                      <a:lnTo>
                        <a:pt x="615" y="121"/>
                      </a:lnTo>
                      <a:lnTo>
                        <a:pt x="631" y="117"/>
                      </a:lnTo>
                      <a:lnTo>
                        <a:pt x="642" y="117"/>
                      </a:lnTo>
                      <a:lnTo>
                        <a:pt x="653" y="121"/>
                      </a:lnTo>
                      <a:lnTo>
                        <a:pt x="664" y="121"/>
                      </a:lnTo>
                      <a:lnTo>
                        <a:pt x="669" y="116"/>
                      </a:lnTo>
                      <a:lnTo>
                        <a:pt x="672" y="107"/>
                      </a:lnTo>
                      <a:lnTo>
                        <a:pt x="686" y="105"/>
                      </a:lnTo>
                      <a:lnTo>
                        <a:pt x="707" y="107"/>
                      </a:lnTo>
                      <a:lnTo>
                        <a:pt x="722" y="119"/>
                      </a:lnTo>
                      <a:lnTo>
                        <a:pt x="731" y="131"/>
                      </a:lnTo>
                      <a:lnTo>
                        <a:pt x="769" y="143"/>
                      </a:lnTo>
                      <a:lnTo>
                        <a:pt x="782" y="150"/>
                      </a:lnTo>
                      <a:lnTo>
                        <a:pt x="793" y="153"/>
                      </a:lnTo>
                      <a:lnTo>
                        <a:pt x="804" y="150"/>
                      </a:lnTo>
                      <a:lnTo>
                        <a:pt x="819" y="153"/>
                      </a:lnTo>
                      <a:lnTo>
                        <a:pt x="828" y="158"/>
                      </a:lnTo>
                      <a:lnTo>
                        <a:pt x="837" y="171"/>
                      </a:lnTo>
                      <a:lnTo>
                        <a:pt x="841" y="183"/>
                      </a:lnTo>
                      <a:lnTo>
                        <a:pt x="851" y="187"/>
                      </a:lnTo>
                      <a:lnTo>
                        <a:pt x="867" y="197"/>
                      </a:lnTo>
                      <a:lnTo>
                        <a:pt x="889" y="215"/>
                      </a:lnTo>
                      <a:lnTo>
                        <a:pt x="905" y="225"/>
                      </a:lnTo>
                      <a:lnTo>
                        <a:pt x="931" y="225"/>
                      </a:lnTo>
                      <a:lnTo>
                        <a:pt x="936" y="230"/>
                      </a:lnTo>
                      <a:lnTo>
                        <a:pt x="936" y="267"/>
                      </a:lnTo>
                      <a:lnTo>
                        <a:pt x="939" y="278"/>
                      </a:lnTo>
                      <a:lnTo>
                        <a:pt x="937" y="291"/>
                      </a:lnTo>
                      <a:lnTo>
                        <a:pt x="935" y="305"/>
                      </a:lnTo>
                      <a:lnTo>
                        <a:pt x="935" y="321"/>
                      </a:lnTo>
                      <a:lnTo>
                        <a:pt x="930" y="343"/>
                      </a:lnTo>
                      <a:lnTo>
                        <a:pt x="916" y="365"/>
                      </a:lnTo>
                      <a:lnTo>
                        <a:pt x="916" y="380"/>
                      </a:lnTo>
                      <a:lnTo>
                        <a:pt x="895" y="388"/>
                      </a:lnTo>
                      <a:lnTo>
                        <a:pt x="895" y="398"/>
                      </a:lnTo>
                      <a:lnTo>
                        <a:pt x="895" y="418"/>
                      </a:lnTo>
                      <a:lnTo>
                        <a:pt x="909" y="423"/>
                      </a:lnTo>
                      <a:lnTo>
                        <a:pt x="910" y="434"/>
                      </a:lnTo>
                      <a:lnTo>
                        <a:pt x="903" y="452"/>
                      </a:lnTo>
                      <a:lnTo>
                        <a:pt x="899" y="470"/>
                      </a:lnTo>
                      <a:lnTo>
                        <a:pt x="901" y="482"/>
                      </a:lnTo>
                      <a:lnTo>
                        <a:pt x="907" y="498"/>
                      </a:lnTo>
                      <a:lnTo>
                        <a:pt x="910" y="516"/>
                      </a:lnTo>
                      <a:lnTo>
                        <a:pt x="907" y="533"/>
                      </a:lnTo>
                      <a:lnTo>
                        <a:pt x="909" y="546"/>
                      </a:lnTo>
                      <a:lnTo>
                        <a:pt x="919" y="557"/>
                      </a:lnTo>
                      <a:lnTo>
                        <a:pt x="931" y="560"/>
                      </a:lnTo>
                      <a:lnTo>
                        <a:pt x="943" y="560"/>
                      </a:lnTo>
                      <a:lnTo>
                        <a:pt x="954" y="570"/>
                      </a:lnTo>
                      <a:lnTo>
                        <a:pt x="960" y="586"/>
                      </a:lnTo>
                      <a:lnTo>
                        <a:pt x="960" y="601"/>
                      </a:lnTo>
                      <a:lnTo>
                        <a:pt x="954" y="618"/>
                      </a:lnTo>
                      <a:lnTo>
                        <a:pt x="931" y="646"/>
                      </a:lnTo>
                      <a:lnTo>
                        <a:pt x="919" y="671"/>
                      </a:lnTo>
                      <a:lnTo>
                        <a:pt x="915" y="676"/>
                      </a:lnTo>
                      <a:lnTo>
                        <a:pt x="923" y="686"/>
                      </a:lnTo>
                      <a:lnTo>
                        <a:pt x="937" y="698"/>
                      </a:lnTo>
                      <a:lnTo>
                        <a:pt x="958" y="741"/>
                      </a:lnTo>
                      <a:lnTo>
                        <a:pt x="970" y="751"/>
                      </a:lnTo>
                      <a:lnTo>
                        <a:pt x="986" y="759"/>
                      </a:lnTo>
                      <a:lnTo>
                        <a:pt x="1013" y="768"/>
                      </a:lnTo>
                      <a:lnTo>
                        <a:pt x="1018" y="774"/>
                      </a:lnTo>
                      <a:lnTo>
                        <a:pt x="1023" y="800"/>
                      </a:lnTo>
                      <a:lnTo>
                        <a:pt x="1024" y="815"/>
                      </a:lnTo>
                      <a:lnTo>
                        <a:pt x="1023" y="829"/>
                      </a:lnTo>
                      <a:lnTo>
                        <a:pt x="1043" y="833"/>
                      </a:lnTo>
                      <a:lnTo>
                        <a:pt x="1048" y="838"/>
                      </a:lnTo>
                      <a:lnTo>
                        <a:pt x="1049" y="848"/>
                      </a:lnTo>
                      <a:lnTo>
                        <a:pt x="1046" y="854"/>
                      </a:lnTo>
                      <a:lnTo>
                        <a:pt x="1033" y="866"/>
                      </a:lnTo>
                      <a:lnTo>
                        <a:pt x="1021" y="869"/>
                      </a:lnTo>
                      <a:lnTo>
                        <a:pt x="1006" y="875"/>
                      </a:lnTo>
                      <a:lnTo>
                        <a:pt x="992" y="880"/>
                      </a:lnTo>
                      <a:lnTo>
                        <a:pt x="979" y="890"/>
                      </a:lnTo>
                      <a:lnTo>
                        <a:pt x="970" y="902"/>
                      </a:lnTo>
                      <a:lnTo>
                        <a:pt x="959" y="931"/>
                      </a:lnTo>
                      <a:lnTo>
                        <a:pt x="957" y="944"/>
                      </a:lnTo>
                      <a:lnTo>
                        <a:pt x="957" y="958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</p:grpSp>
          <p:sp>
            <p:nvSpPr>
              <p:cNvPr id="305" name="Freeform 156"/>
              <p:cNvSpPr>
                <a:spLocks noChangeAspect="1"/>
              </p:cNvSpPr>
              <p:nvPr/>
            </p:nvSpPr>
            <p:spPr bwMode="gray">
              <a:xfrm>
                <a:off x="2941" y="2045"/>
                <a:ext cx="107" cy="109"/>
              </a:xfrm>
              <a:custGeom>
                <a:avLst/>
                <a:gdLst/>
                <a:ahLst/>
                <a:cxnLst>
                  <a:cxn ang="0">
                    <a:pos x="527" y="500"/>
                  </a:cxn>
                  <a:cxn ang="0">
                    <a:pos x="510" y="490"/>
                  </a:cxn>
                  <a:cxn ang="0">
                    <a:pos x="505" y="494"/>
                  </a:cxn>
                  <a:cxn ang="0">
                    <a:pos x="479" y="489"/>
                  </a:cxn>
                  <a:cxn ang="0">
                    <a:pos x="452" y="512"/>
                  </a:cxn>
                  <a:cxn ang="0">
                    <a:pos x="426" y="548"/>
                  </a:cxn>
                  <a:cxn ang="0">
                    <a:pos x="265" y="515"/>
                  </a:cxn>
                  <a:cxn ang="0">
                    <a:pos x="263" y="472"/>
                  </a:cxn>
                  <a:cxn ang="0">
                    <a:pos x="232" y="467"/>
                  </a:cxn>
                  <a:cxn ang="0">
                    <a:pos x="218" y="444"/>
                  </a:cxn>
                  <a:cxn ang="0">
                    <a:pos x="100" y="376"/>
                  </a:cxn>
                  <a:cxn ang="0">
                    <a:pos x="0" y="278"/>
                  </a:cxn>
                  <a:cxn ang="0">
                    <a:pos x="58" y="237"/>
                  </a:cxn>
                  <a:cxn ang="0">
                    <a:pos x="95" y="220"/>
                  </a:cxn>
                  <a:cxn ang="0">
                    <a:pos x="111" y="209"/>
                  </a:cxn>
                  <a:cxn ang="0">
                    <a:pos x="133" y="180"/>
                  </a:cxn>
                  <a:cxn ang="0">
                    <a:pos x="140" y="73"/>
                  </a:cxn>
                  <a:cxn ang="0">
                    <a:pos x="189" y="31"/>
                  </a:cxn>
                  <a:cxn ang="0">
                    <a:pos x="229" y="0"/>
                  </a:cxn>
                  <a:cxn ang="0">
                    <a:pos x="279" y="10"/>
                  </a:cxn>
                  <a:cxn ang="0">
                    <a:pos x="306" y="20"/>
                  </a:cxn>
                  <a:cxn ang="0">
                    <a:pos x="329" y="14"/>
                  </a:cxn>
                  <a:cxn ang="0">
                    <a:pos x="344" y="64"/>
                  </a:cxn>
                  <a:cxn ang="0">
                    <a:pos x="362" y="96"/>
                  </a:cxn>
                  <a:cxn ang="0">
                    <a:pos x="396" y="112"/>
                  </a:cxn>
                  <a:cxn ang="0">
                    <a:pos x="404" y="119"/>
                  </a:cxn>
                  <a:cxn ang="0">
                    <a:pos x="403" y="152"/>
                  </a:cxn>
                  <a:cxn ang="0">
                    <a:pos x="381" y="184"/>
                  </a:cxn>
                  <a:cxn ang="0">
                    <a:pos x="374" y="195"/>
                  </a:cxn>
                  <a:cxn ang="0">
                    <a:pos x="366" y="227"/>
                  </a:cxn>
                  <a:cxn ang="0">
                    <a:pos x="359" y="236"/>
                  </a:cxn>
                  <a:cxn ang="0">
                    <a:pos x="367" y="256"/>
                  </a:cxn>
                  <a:cxn ang="0">
                    <a:pos x="380" y="264"/>
                  </a:cxn>
                  <a:cxn ang="0">
                    <a:pos x="393" y="283"/>
                  </a:cxn>
                  <a:cxn ang="0">
                    <a:pos x="405" y="301"/>
                  </a:cxn>
                  <a:cxn ang="0">
                    <a:pos x="432" y="322"/>
                  </a:cxn>
                  <a:cxn ang="0">
                    <a:pos x="457" y="331"/>
                  </a:cxn>
                  <a:cxn ang="0">
                    <a:pos x="473" y="355"/>
                  </a:cxn>
                  <a:cxn ang="0">
                    <a:pos x="487" y="381"/>
                  </a:cxn>
                  <a:cxn ang="0">
                    <a:pos x="482" y="429"/>
                  </a:cxn>
                  <a:cxn ang="0">
                    <a:pos x="499" y="456"/>
                  </a:cxn>
                  <a:cxn ang="0">
                    <a:pos x="511" y="472"/>
                  </a:cxn>
                  <a:cxn ang="0">
                    <a:pos x="534" y="489"/>
                  </a:cxn>
                </a:cxnLst>
                <a:rect l="0" t="0" r="r" b="b"/>
                <a:pathLst>
                  <a:path w="534" h="548">
                    <a:moveTo>
                      <a:pt x="534" y="489"/>
                    </a:moveTo>
                    <a:lnTo>
                      <a:pt x="527" y="500"/>
                    </a:lnTo>
                    <a:lnTo>
                      <a:pt x="520" y="495"/>
                    </a:lnTo>
                    <a:lnTo>
                      <a:pt x="510" y="490"/>
                    </a:lnTo>
                    <a:lnTo>
                      <a:pt x="507" y="491"/>
                    </a:lnTo>
                    <a:lnTo>
                      <a:pt x="505" y="494"/>
                    </a:lnTo>
                    <a:lnTo>
                      <a:pt x="493" y="490"/>
                    </a:lnTo>
                    <a:lnTo>
                      <a:pt x="479" y="489"/>
                    </a:lnTo>
                    <a:lnTo>
                      <a:pt x="463" y="495"/>
                    </a:lnTo>
                    <a:lnTo>
                      <a:pt x="452" y="512"/>
                    </a:lnTo>
                    <a:lnTo>
                      <a:pt x="442" y="532"/>
                    </a:lnTo>
                    <a:lnTo>
                      <a:pt x="426" y="548"/>
                    </a:lnTo>
                    <a:lnTo>
                      <a:pt x="328" y="543"/>
                    </a:lnTo>
                    <a:lnTo>
                      <a:pt x="265" y="515"/>
                    </a:lnTo>
                    <a:lnTo>
                      <a:pt x="263" y="511"/>
                    </a:lnTo>
                    <a:lnTo>
                      <a:pt x="263" y="472"/>
                    </a:lnTo>
                    <a:lnTo>
                      <a:pt x="261" y="469"/>
                    </a:lnTo>
                    <a:lnTo>
                      <a:pt x="232" y="467"/>
                    </a:lnTo>
                    <a:lnTo>
                      <a:pt x="224" y="449"/>
                    </a:lnTo>
                    <a:lnTo>
                      <a:pt x="218" y="444"/>
                    </a:lnTo>
                    <a:lnTo>
                      <a:pt x="162" y="423"/>
                    </a:lnTo>
                    <a:lnTo>
                      <a:pt x="100" y="376"/>
                    </a:lnTo>
                    <a:lnTo>
                      <a:pt x="16" y="353"/>
                    </a:lnTo>
                    <a:lnTo>
                      <a:pt x="0" y="278"/>
                    </a:lnTo>
                    <a:lnTo>
                      <a:pt x="43" y="248"/>
                    </a:lnTo>
                    <a:lnTo>
                      <a:pt x="58" y="237"/>
                    </a:lnTo>
                    <a:lnTo>
                      <a:pt x="73" y="232"/>
                    </a:lnTo>
                    <a:lnTo>
                      <a:pt x="95" y="220"/>
                    </a:lnTo>
                    <a:lnTo>
                      <a:pt x="107" y="213"/>
                    </a:lnTo>
                    <a:lnTo>
                      <a:pt x="111" y="209"/>
                    </a:lnTo>
                    <a:lnTo>
                      <a:pt x="123" y="204"/>
                    </a:lnTo>
                    <a:lnTo>
                      <a:pt x="133" y="180"/>
                    </a:lnTo>
                    <a:lnTo>
                      <a:pt x="136" y="143"/>
                    </a:lnTo>
                    <a:lnTo>
                      <a:pt x="140" y="73"/>
                    </a:lnTo>
                    <a:lnTo>
                      <a:pt x="171" y="60"/>
                    </a:lnTo>
                    <a:lnTo>
                      <a:pt x="189" y="31"/>
                    </a:lnTo>
                    <a:lnTo>
                      <a:pt x="204" y="22"/>
                    </a:lnTo>
                    <a:lnTo>
                      <a:pt x="229" y="0"/>
                    </a:lnTo>
                    <a:lnTo>
                      <a:pt x="249" y="9"/>
                    </a:lnTo>
                    <a:lnTo>
                      <a:pt x="279" y="10"/>
                    </a:lnTo>
                    <a:lnTo>
                      <a:pt x="297" y="9"/>
                    </a:lnTo>
                    <a:lnTo>
                      <a:pt x="306" y="20"/>
                    </a:lnTo>
                    <a:lnTo>
                      <a:pt x="322" y="22"/>
                    </a:lnTo>
                    <a:lnTo>
                      <a:pt x="329" y="14"/>
                    </a:lnTo>
                    <a:lnTo>
                      <a:pt x="334" y="47"/>
                    </a:lnTo>
                    <a:lnTo>
                      <a:pt x="344" y="64"/>
                    </a:lnTo>
                    <a:lnTo>
                      <a:pt x="356" y="74"/>
                    </a:lnTo>
                    <a:lnTo>
                      <a:pt x="362" y="96"/>
                    </a:lnTo>
                    <a:lnTo>
                      <a:pt x="374" y="107"/>
                    </a:lnTo>
                    <a:lnTo>
                      <a:pt x="396" y="112"/>
                    </a:lnTo>
                    <a:lnTo>
                      <a:pt x="410" y="112"/>
                    </a:lnTo>
                    <a:lnTo>
                      <a:pt x="404" y="119"/>
                    </a:lnTo>
                    <a:lnTo>
                      <a:pt x="398" y="133"/>
                    </a:lnTo>
                    <a:lnTo>
                      <a:pt x="403" y="152"/>
                    </a:lnTo>
                    <a:lnTo>
                      <a:pt x="394" y="162"/>
                    </a:lnTo>
                    <a:lnTo>
                      <a:pt x="381" y="184"/>
                    </a:lnTo>
                    <a:lnTo>
                      <a:pt x="382" y="192"/>
                    </a:lnTo>
                    <a:lnTo>
                      <a:pt x="374" y="195"/>
                    </a:lnTo>
                    <a:lnTo>
                      <a:pt x="370" y="202"/>
                    </a:lnTo>
                    <a:lnTo>
                      <a:pt x="366" y="227"/>
                    </a:lnTo>
                    <a:lnTo>
                      <a:pt x="362" y="234"/>
                    </a:lnTo>
                    <a:lnTo>
                      <a:pt x="359" y="236"/>
                    </a:lnTo>
                    <a:lnTo>
                      <a:pt x="361" y="251"/>
                    </a:lnTo>
                    <a:lnTo>
                      <a:pt x="367" y="256"/>
                    </a:lnTo>
                    <a:lnTo>
                      <a:pt x="376" y="256"/>
                    </a:lnTo>
                    <a:lnTo>
                      <a:pt x="380" y="264"/>
                    </a:lnTo>
                    <a:lnTo>
                      <a:pt x="387" y="269"/>
                    </a:lnTo>
                    <a:lnTo>
                      <a:pt x="393" y="283"/>
                    </a:lnTo>
                    <a:lnTo>
                      <a:pt x="393" y="294"/>
                    </a:lnTo>
                    <a:lnTo>
                      <a:pt x="405" y="301"/>
                    </a:lnTo>
                    <a:lnTo>
                      <a:pt x="420" y="311"/>
                    </a:lnTo>
                    <a:lnTo>
                      <a:pt x="432" y="322"/>
                    </a:lnTo>
                    <a:lnTo>
                      <a:pt x="444" y="327"/>
                    </a:lnTo>
                    <a:lnTo>
                      <a:pt x="457" y="331"/>
                    </a:lnTo>
                    <a:lnTo>
                      <a:pt x="466" y="340"/>
                    </a:lnTo>
                    <a:lnTo>
                      <a:pt x="473" y="355"/>
                    </a:lnTo>
                    <a:lnTo>
                      <a:pt x="480" y="367"/>
                    </a:lnTo>
                    <a:lnTo>
                      <a:pt x="487" y="381"/>
                    </a:lnTo>
                    <a:lnTo>
                      <a:pt x="483" y="408"/>
                    </a:lnTo>
                    <a:lnTo>
                      <a:pt x="482" y="429"/>
                    </a:lnTo>
                    <a:lnTo>
                      <a:pt x="495" y="436"/>
                    </a:lnTo>
                    <a:lnTo>
                      <a:pt x="499" y="456"/>
                    </a:lnTo>
                    <a:lnTo>
                      <a:pt x="504" y="464"/>
                    </a:lnTo>
                    <a:lnTo>
                      <a:pt x="511" y="472"/>
                    </a:lnTo>
                    <a:lnTo>
                      <a:pt x="531" y="487"/>
                    </a:lnTo>
                    <a:lnTo>
                      <a:pt x="534" y="48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06" name="Freeform 157"/>
              <p:cNvSpPr>
                <a:spLocks noChangeAspect="1"/>
              </p:cNvSpPr>
              <p:nvPr/>
            </p:nvSpPr>
            <p:spPr bwMode="gray">
              <a:xfrm>
                <a:off x="3072" y="2191"/>
                <a:ext cx="9" cy="20"/>
              </a:xfrm>
              <a:custGeom>
                <a:avLst/>
                <a:gdLst/>
                <a:ahLst/>
                <a:cxnLst>
                  <a:cxn ang="0">
                    <a:pos x="16" y="98"/>
                  </a:cxn>
                  <a:cxn ang="0">
                    <a:pos x="35" y="90"/>
                  </a:cxn>
                  <a:cxn ang="0">
                    <a:pos x="38" y="87"/>
                  </a:cxn>
                  <a:cxn ang="0">
                    <a:pos x="39" y="81"/>
                  </a:cxn>
                  <a:cxn ang="0">
                    <a:pos x="43" y="74"/>
                  </a:cxn>
                  <a:cxn ang="0">
                    <a:pos x="44" y="70"/>
                  </a:cxn>
                  <a:cxn ang="0">
                    <a:pos x="44" y="55"/>
                  </a:cxn>
                  <a:cxn ang="0">
                    <a:pos x="40" y="50"/>
                  </a:cxn>
                  <a:cxn ang="0">
                    <a:pos x="40" y="42"/>
                  </a:cxn>
                  <a:cxn ang="0">
                    <a:pos x="40" y="33"/>
                  </a:cxn>
                  <a:cxn ang="0">
                    <a:pos x="43" y="32"/>
                  </a:cxn>
                  <a:cxn ang="0">
                    <a:pos x="41" y="29"/>
                  </a:cxn>
                  <a:cxn ang="0">
                    <a:pos x="44" y="25"/>
                  </a:cxn>
                  <a:cxn ang="0">
                    <a:pos x="44" y="21"/>
                  </a:cxn>
                  <a:cxn ang="0">
                    <a:pos x="45" y="16"/>
                  </a:cxn>
                  <a:cxn ang="0">
                    <a:pos x="43" y="15"/>
                  </a:cxn>
                  <a:cxn ang="0">
                    <a:pos x="36" y="12"/>
                  </a:cxn>
                  <a:cxn ang="0">
                    <a:pos x="34" y="10"/>
                  </a:cxn>
                  <a:cxn ang="0">
                    <a:pos x="34" y="6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4"/>
                  </a:cxn>
                  <a:cxn ang="0">
                    <a:pos x="13" y="12"/>
                  </a:cxn>
                  <a:cxn ang="0">
                    <a:pos x="11" y="26"/>
                  </a:cxn>
                  <a:cxn ang="0">
                    <a:pos x="7" y="36"/>
                  </a:cxn>
                  <a:cxn ang="0">
                    <a:pos x="1" y="43"/>
                  </a:cxn>
                  <a:cxn ang="0">
                    <a:pos x="1" y="50"/>
                  </a:cxn>
                  <a:cxn ang="0">
                    <a:pos x="0" y="55"/>
                  </a:cxn>
                  <a:cxn ang="0">
                    <a:pos x="2" y="58"/>
                  </a:cxn>
                  <a:cxn ang="0">
                    <a:pos x="0" y="63"/>
                  </a:cxn>
                  <a:cxn ang="0">
                    <a:pos x="1" y="66"/>
                  </a:cxn>
                  <a:cxn ang="0">
                    <a:pos x="5" y="74"/>
                  </a:cxn>
                  <a:cxn ang="0">
                    <a:pos x="2" y="77"/>
                  </a:cxn>
                  <a:cxn ang="0">
                    <a:pos x="5" y="80"/>
                  </a:cxn>
                  <a:cxn ang="0">
                    <a:pos x="3" y="84"/>
                  </a:cxn>
                  <a:cxn ang="0">
                    <a:pos x="2" y="85"/>
                  </a:cxn>
                  <a:cxn ang="0">
                    <a:pos x="9" y="97"/>
                  </a:cxn>
                  <a:cxn ang="0">
                    <a:pos x="16" y="98"/>
                  </a:cxn>
                </a:cxnLst>
                <a:rect l="0" t="0" r="r" b="b"/>
                <a:pathLst>
                  <a:path w="45" h="98">
                    <a:moveTo>
                      <a:pt x="16" y="98"/>
                    </a:moveTo>
                    <a:lnTo>
                      <a:pt x="35" y="90"/>
                    </a:lnTo>
                    <a:lnTo>
                      <a:pt x="38" y="87"/>
                    </a:lnTo>
                    <a:lnTo>
                      <a:pt x="39" y="81"/>
                    </a:lnTo>
                    <a:lnTo>
                      <a:pt x="43" y="74"/>
                    </a:lnTo>
                    <a:lnTo>
                      <a:pt x="44" y="70"/>
                    </a:lnTo>
                    <a:lnTo>
                      <a:pt x="44" y="55"/>
                    </a:lnTo>
                    <a:lnTo>
                      <a:pt x="40" y="50"/>
                    </a:lnTo>
                    <a:lnTo>
                      <a:pt x="40" y="42"/>
                    </a:lnTo>
                    <a:lnTo>
                      <a:pt x="40" y="33"/>
                    </a:lnTo>
                    <a:lnTo>
                      <a:pt x="43" y="32"/>
                    </a:lnTo>
                    <a:lnTo>
                      <a:pt x="41" y="29"/>
                    </a:lnTo>
                    <a:lnTo>
                      <a:pt x="44" y="25"/>
                    </a:lnTo>
                    <a:lnTo>
                      <a:pt x="44" y="21"/>
                    </a:lnTo>
                    <a:lnTo>
                      <a:pt x="45" y="16"/>
                    </a:lnTo>
                    <a:lnTo>
                      <a:pt x="43" y="15"/>
                    </a:lnTo>
                    <a:lnTo>
                      <a:pt x="36" y="12"/>
                    </a:lnTo>
                    <a:lnTo>
                      <a:pt x="34" y="10"/>
                    </a:lnTo>
                    <a:lnTo>
                      <a:pt x="34" y="6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4"/>
                    </a:lnTo>
                    <a:lnTo>
                      <a:pt x="13" y="12"/>
                    </a:lnTo>
                    <a:lnTo>
                      <a:pt x="11" y="26"/>
                    </a:lnTo>
                    <a:lnTo>
                      <a:pt x="7" y="36"/>
                    </a:lnTo>
                    <a:lnTo>
                      <a:pt x="1" y="43"/>
                    </a:lnTo>
                    <a:lnTo>
                      <a:pt x="1" y="50"/>
                    </a:lnTo>
                    <a:lnTo>
                      <a:pt x="0" y="55"/>
                    </a:lnTo>
                    <a:lnTo>
                      <a:pt x="2" y="58"/>
                    </a:lnTo>
                    <a:lnTo>
                      <a:pt x="0" y="63"/>
                    </a:lnTo>
                    <a:lnTo>
                      <a:pt x="1" y="66"/>
                    </a:lnTo>
                    <a:lnTo>
                      <a:pt x="5" y="74"/>
                    </a:lnTo>
                    <a:lnTo>
                      <a:pt x="2" y="77"/>
                    </a:lnTo>
                    <a:lnTo>
                      <a:pt x="5" y="80"/>
                    </a:lnTo>
                    <a:lnTo>
                      <a:pt x="3" y="84"/>
                    </a:lnTo>
                    <a:lnTo>
                      <a:pt x="2" y="85"/>
                    </a:lnTo>
                    <a:lnTo>
                      <a:pt x="9" y="97"/>
                    </a:lnTo>
                    <a:lnTo>
                      <a:pt x="16" y="9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07" name="Freeform 158"/>
              <p:cNvSpPr>
                <a:spLocks noChangeAspect="1"/>
              </p:cNvSpPr>
              <p:nvPr/>
            </p:nvSpPr>
            <p:spPr bwMode="gray">
              <a:xfrm>
                <a:off x="3075" y="2192"/>
                <a:ext cx="58" cy="43"/>
              </a:xfrm>
              <a:custGeom>
                <a:avLst/>
                <a:gdLst/>
                <a:ahLst/>
                <a:cxnLst>
                  <a:cxn ang="0">
                    <a:pos x="217" y="215"/>
                  </a:cxn>
                  <a:cxn ang="0">
                    <a:pos x="36" y="136"/>
                  </a:cxn>
                  <a:cxn ang="0">
                    <a:pos x="0" y="92"/>
                  </a:cxn>
                  <a:cxn ang="0">
                    <a:pos x="17" y="89"/>
                  </a:cxn>
                  <a:cxn ang="0">
                    <a:pos x="20" y="95"/>
                  </a:cxn>
                  <a:cxn ang="0">
                    <a:pos x="17" y="107"/>
                  </a:cxn>
                  <a:cxn ang="0">
                    <a:pos x="30" y="109"/>
                  </a:cxn>
                  <a:cxn ang="0">
                    <a:pos x="35" y="107"/>
                  </a:cxn>
                  <a:cxn ang="0">
                    <a:pos x="41" y="122"/>
                  </a:cxn>
                  <a:cxn ang="0">
                    <a:pos x="70" y="124"/>
                  </a:cxn>
                  <a:cxn ang="0">
                    <a:pos x="79" y="118"/>
                  </a:cxn>
                  <a:cxn ang="0">
                    <a:pos x="110" y="114"/>
                  </a:cxn>
                  <a:cxn ang="0">
                    <a:pos x="125" y="118"/>
                  </a:cxn>
                  <a:cxn ang="0">
                    <a:pos x="159" y="119"/>
                  </a:cxn>
                  <a:cxn ang="0">
                    <a:pos x="169" y="109"/>
                  </a:cxn>
                  <a:cxn ang="0">
                    <a:pos x="180" y="106"/>
                  </a:cxn>
                  <a:cxn ang="0">
                    <a:pos x="186" y="102"/>
                  </a:cxn>
                  <a:cxn ang="0">
                    <a:pos x="184" y="97"/>
                  </a:cxn>
                  <a:cxn ang="0">
                    <a:pos x="192" y="95"/>
                  </a:cxn>
                  <a:cxn ang="0">
                    <a:pos x="195" y="91"/>
                  </a:cxn>
                  <a:cxn ang="0">
                    <a:pos x="197" y="84"/>
                  </a:cxn>
                  <a:cxn ang="0">
                    <a:pos x="201" y="76"/>
                  </a:cxn>
                  <a:cxn ang="0">
                    <a:pos x="213" y="65"/>
                  </a:cxn>
                  <a:cxn ang="0">
                    <a:pos x="219" y="59"/>
                  </a:cxn>
                  <a:cxn ang="0">
                    <a:pos x="233" y="48"/>
                  </a:cxn>
                  <a:cxn ang="0">
                    <a:pos x="238" y="43"/>
                  </a:cxn>
                  <a:cxn ang="0">
                    <a:pos x="240" y="39"/>
                  </a:cxn>
                  <a:cxn ang="0">
                    <a:pos x="245" y="32"/>
                  </a:cxn>
                  <a:cxn ang="0">
                    <a:pos x="249" y="27"/>
                  </a:cxn>
                  <a:cxn ang="0">
                    <a:pos x="270" y="10"/>
                  </a:cxn>
                  <a:cxn ang="0">
                    <a:pos x="275" y="4"/>
                  </a:cxn>
                  <a:cxn ang="0">
                    <a:pos x="276" y="12"/>
                  </a:cxn>
                  <a:cxn ang="0">
                    <a:pos x="275" y="21"/>
                  </a:cxn>
                  <a:cxn ang="0">
                    <a:pos x="285" y="25"/>
                  </a:cxn>
                  <a:cxn ang="0">
                    <a:pos x="287" y="64"/>
                  </a:cxn>
                  <a:cxn ang="0">
                    <a:pos x="255" y="73"/>
                  </a:cxn>
                  <a:cxn ang="0">
                    <a:pos x="239" y="132"/>
                  </a:cxn>
                </a:cxnLst>
                <a:rect l="0" t="0" r="r" b="b"/>
                <a:pathLst>
                  <a:path w="288" h="215">
                    <a:moveTo>
                      <a:pt x="228" y="203"/>
                    </a:moveTo>
                    <a:lnTo>
                      <a:pt x="217" y="215"/>
                    </a:lnTo>
                    <a:lnTo>
                      <a:pt x="52" y="184"/>
                    </a:lnTo>
                    <a:lnTo>
                      <a:pt x="36" y="136"/>
                    </a:lnTo>
                    <a:lnTo>
                      <a:pt x="3" y="107"/>
                    </a:lnTo>
                    <a:lnTo>
                      <a:pt x="0" y="92"/>
                    </a:lnTo>
                    <a:lnTo>
                      <a:pt x="19" y="84"/>
                    </a:lnTo>
                    <a:lnTo>
                      <a:pt x="17" y="89"/>
                    </a:lnTo>
                    <a:lnTo>
                      <a:pt x="17" y="92"/>
                    </a:lnTo>
                    <a:lnTo>
                      <a:pt x="20" y="95"/>
                    </a:lnTo>
                    <a:lnTo>
                      <a:pt x="17" y="100"/>
                    </a:lnTo>
                    <a:lnTo>
                      <a:pt x="17" y="107"/>
                    </a:lnTo>
                    <a:lnTo>
                      <a:pt x="24" y="107"/>
                    </a:lnTo>
                    <a:lnTo>
                      <a:pt x="30" y="109"/>
                    </a:lnTo>
                    <a:lnTo>
                      <a:pt x="34" y="107"/>
                    </a:lnTo>
                    <a:lnTo>
                      <a:pt x="35" y="107"/>
                    </a:lnTo>
                    <a:lnTo>
                      <a:pt x="36" y="118"/>
                    </a:lnTo>
                    <a:lnTo>
                      <a:pt x="41" y="122"/>
                    </a:lnTo>
                    <a:lnTo>
                      <a:pt x="55" y="124"/>
                    </a:lnTo>
                    <a:lnTo>
                      <a:pt x="70" y="124"/>
                    </a:lnTo>
                    <a:lnTo>
                      <a:pt x="73" y="123"/>
                    </a:lnTo>
                    <a:lnTo>
                      <a:pt x="79" y="118"/>
                    </a:lnTo>
                    <a:lnTo>
                      <a:pt x="88" y="112"/>
                    </a:lnTo>
                    <a:lnTo>
                      <a:pt x="110" y="114"/>
                    </a:lnTo>
                    <a:lnTo>
                      <a:pt x="119" y="118"/>
                    </a:lnTo>
                    <a:lnTo>
                      <a:pt x="125" y="118"/>
                    </a:lnTo>
                    <a:lnTo>
                      <a:pt x="135" y="121"/>
                    </a:lnTo>
                    <a:lnTo>
                      <a:pt x="159" y="119"/>
                    </a:lnTo>
                    <a:lnTo>
                      <a:pt x="164" y="116"/>
                    </a:lnTo>
                    <a:lnTo>
                      <a:pt x="169" y="109"/>
                    </a:lnTo>
                    <a:lnTo>
                      <a:pt x="178" y="107"/>
                    </a:lnTo>
                    <a:lnTo>
                      <a:pt x="180" y="106"/>
                    </a:lnTo>
                    <a:lnTo>
                      <a:pt x="185" y="103"/>
                    </a:lnTo>
                    <a:lnTo>
                      <a:pt x="186" y="102"/>
                    </a:lnTo>
                    <a:lnTo>
                      <a:pt x="184" y="98"/>
                    </a:lnTo>
                    <a:lnTo>
                      <a:pt x="184" y="97"/>
                    </a:lnTo>
                    <a:lnTo>
                      <a:pt x="184" y="96"/>
                    </a:lnTo>
                    <a:lnTo>
                      <a:pt x="192" y="95"/>
                    </a:lnTo>
                    <a:lnTo>
                      <a:pt x="191" y="92"/>
                    </a:lnTo>
                    <a:lnTo>
                      <a:pt x="195" y="91"/>
                    </a:lnTo>
                    <a:lnTo>
                      <a:pt x="194" y="87"/>
                    </a:lnTo>
                    <a:lnTo>
                      <a:pt x="197" y="84"/>
                    </a:lnTo>
                    <a:lnTo>
                      <a:pt x="197" y="80"/>
                    </a:lnTo>
                    <a:lnTo>
                      <a:pt x="201" y="76"/>
                    </a:lnTo>
                    <a:lnTo>
                      <a:pt x="211" y="73"/>
                    </a:lnTo>
                    <a:lnTo>
                      <a:pt x="213" y="65"/>
                    </a:lnTo>
                    <a:lnTo>
                      <a:pt x="217" y="63"/>
                    </a:lnTo>
                    <a:lnTo>
                      <a:pt x="219" y="59"/>
                    </a:lnTo>
                    <a:lnTo>
                      <a:pt x="228" y="53"/>
                    </a:lnTo>
                    <a:lnTo>
                      <a:pt x="233" y="48"/>
                    </a:lnTo>
                    <a:lnTo>
                      <a:pt x="237" y="46"/>
                    </a:lnTo>
                    <a:lnTo>
                      <a:pt x="238" y="43"/>
                    </a:lnTo>
                    <a:lnTo>
                      <a:pt x="239" y="42"/>
                    </a:lnTo>
                    <a:lnTo>
                      <a:pt x="240" y="39"/>
                    </a:lnTo>
                    <a:lnTo>
                      <a:pt x="245" y="35"/>
                    </a:lnTo>
                    <a:lnTo>
                      <a:pt x="245" y="32"/>
                    </a:lnTo>
                    <a:lnTo>
                      <a:pt x="248" y="31"/>
                    </a:lnTo>
                    <a:lnTo>
                      <a:pt x="249" y="27"/>
                    </a:lnTo>
                    <a:lnTo>
                      <a:pt x="259" y="21"/>
                    </a:lnTo>
                    <a:lnTo>
                      <a:pt x="270" y="10"/>
                    </a:lnTo>
                    <a:lnTo>
                      <a:pt x="274" y="0"/>
                    </a:lnTo>
                    <a:lnTo>
                      <a:pt x="275" y="4"/>
                    </a:lnTo>
                    <a:lnTo>
                      <a:pt x="277" y="10"/>
                    </a:lnTo>
                    <a:lnTo>
                      <a:pt x="276" y="12"/>
                    </a:lnTo>
                    <a:lnTo>
                      <a:pt x="277" y="16"/>
                    </a:lnTo>
                    <a:lnTo>
                      <a:pt x="275" y="21"/>
                    </a:lnTo>
                    <a:lnTo>
                      <a:pt x="277" y="22"/>
                    </a:lnTo>
                    <a:lnTo>
                      <a:pt x="285" y="25"/>
                    </a:lnTo>
                    <a:lnTo>
                      <a:pt x="288" y="31"/>
                    </a:lnTo>
                    <a:lnTo>
                      <a:pt x="287" y="64"/>
                    </a:lnTo>
                    <a:lnTo>
                      <a:pt x="288" y="73"/>
                    </a:lnTo>
                    <a:lnTo>
                      <a:pt x="255" y="73"/>
                    </a:lnTo>
                    <a:lnTo>
                      <a:pt x="272" y="119"/>
                    </a:lnTo>
                    <a:lnTo>
                      <a:pt x="239" y="132"/>
                    </a:lnTo>
                    <a:lnTo>
                      <a:pt x="228" y="20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grpSp>
            <p:nvGrpSpPr>
              <p:cNvPr id="308" name="Group 159"/>
              <p:cNvGrpSpPr>
                <a:grpSpLocks noChangeAspect="1"/>
              </p:cNvGrpSpPr>
              <p:nvPr/>
            </p:nvGrpSpPr>
            <p:grpSpPr>
              <a:xfrm>
                <a:off x="2802" y="1979"/>
                <a:ext cx="205" cy="88"/>
                <a:chOff x="2802" y="1979"/>
                <a:chExt cx="205" cy="88"/>
              </a:xfrm>
              <a:grpFill/>
            </p:grpSpPr>
            <p:sp>
              <p:nvSpPr>
                <p:cNvPr id="312" name="Freeform 160"/>
                <p:cNvSpPr>
                  <a:spLocks noChangeAspect="1"/>
                </p:cNvSpPr>
                <p:nvPr/>
              </p:nvSpPr>
              <p:spPr bwMode="gray">
                <a:xfrm>
                  <a:off x="2803" y="1979"/>
                  <a:ext cx="204" cy="88"/>
                </a:xfrm>
                <a:custGeom>
                  <a:avLst/>
                  <a:gdLst/>
                  <a:ahLst/>
                  <a:cxnLst>
                    <a:cxn ang="0">
                      <a:pos x="552" y="379"/>
                    </a:cxn>
                    <a:cxn ang="0">
                      <a:pos x="503" y="390"/>
                    </a:cxn>
                    <a:cxn ang="0">
                      <a:pos x="460" y="379"/>
                    </a:cxn>
                    <a:cxn ang="0">
                      <a:pos x="408" y="418"/>
                    </a:cxn>
                    <a:cxn ang="0">
                      <a:pos x="341" y="409"/>
                    </a:cxn>
                    <a:cxn ang="0">
                      <a:pos x="283" y="370"/>
                    </a:cxn>
                    <a:cxn ang="0">
                      <a:pos x="245" y="391"/>
                    </a:cxn>
                    <a:cxn ang="0">
                      <a:pos x="196" y="417"/>
                    </a:cxn>
                    <a:cxn ang="0">
                      <a:pos x="164" y="381"/>
                    </a:cxn>
                    <a:cxn ang="0">
                      <a:pos x="143" y="380"/>
                    </a:cxn>
                    <a:cxn ang="0">
                      <a:pos x="107" y="386"/>
                    </a:cxn>
                    <a:cxn ang="0">
                      <a:pos x="79" y="378"/>
                    </a:cxn>
                    <a:cxn ang="0">
                      <a:pos x="118" y="362"/>
                    </a:cxn>
                    <a:cxn ang="0">
                      <a:pos x="67" y="355"/>
                    </a:cxn>
                    <a:cxn ang="0">
                      <a:pos x="64" y="325"/>
                    </a:cxn>
                    <a:cxn ang="0">
                      <a:pos x="52" y="312"/>
                    </a:cxn>
                    <a:cxn ang="0">
                      <a:pos x="37" y="283"/>
                    </a:cxn>
                    <a:cxn ang="0">
                      <a:pos x="10" y="268"/>
                    </a:cxn>
                    <a:cxn ang="0">
                      <a:pos x="22" y="246"/>
                    </a:cxn>
                    <a:cxn ang="0">
                      <a:pos x="52" y="260"/>
                    </a:cxn>
                    <a:cxn ang="0">
                      <a:pos x="44" y="226"/>
                    </a:cxn>
                    <a:cxn ang="0">
                      <a:pos x="43" y="186"/>
                    </a:cxn>
                    <a:cxn ang="0">
                      <a:pos x="3" y="160"/>
                    </a:cxn>
                    <a:cxn ang="0">
                      <a:pos x="35" y="122"/>
                    </a:cxn>
                    <a:cxn ang="0">
                      <a:pos x="91" y="126"/>
                    </a:cxn>
                    <a:cxn ang="0">
                      <a:pos x="108" y="123"/>
                    </a:cxn>
                    <a:cxn ang="0">
                      <a:pos x="151" y="111"/>
                    </a:cxn>
                    <a:cxn ang="0">
                      <a:pos x="196" y="94"/>
                    </a:cxn>
                    <a:cxn ang="0">
                      <a:pos x="167" y="83"/>
                    </a:cxn>
                    <a:cxn ang="0">
                      <a:pos x="180" y="66"/>
                    </a:cxn>
                    <a:cxn ang="0">
                      <a:pos x="253" y="74"/>
                    </a:cxn>
                    <a:cxn ang="0">
                      <a:pos x="318" y="41"/>
                    </a:cxn>
                    <a:cxn ang="0">
                      <a:pos x="398" y="7"/>
                    </a:cxn>
                    <a:cxn ang="0">
                      <a:pos x="493" y="0"/>
                    </a:cxn>
                    <a:cxn ang="0">
                      <a:pos x="533" y="35"/>
                    </a:cxn>
                    <a:cxn ang="0">
                      <a:pos x="623" y="80"/>
                    </a:cxn>
                    <a:cxn ang="0">
                      <a:pos x="693" y="77"/>
                    </a:cxn>
                    <a:cxn ang="0">
                      <a:pos x="838" y="40"/>
                    </a:cxn>
                    <a:cxn ang="0">
                      <a:pos x="887" y="43"/>
                    </a:cxn>
                    <a:cxn ang="0">
                      <a:pos x="919" y="42"/>
                    </a:cxn>
                    <a:cxn ang="0">
                      <a:pos x="958" y="89"/>
                    </a:cxn>
                    <a:cxn ang="0">
                      <a:pos x="990" y="143"/>
                    </a:cxn>
                    <a:cxn ang="0">
                      <a:pos x="1001" y="186"/>
                    </a:cxn>
                    <a:cxn ang="0">
                      <a:pos x="997" y="263"/>
                    </a:cxn>
                    <a:cxn ang="0">
                      <a:pos x="1022" y="341"/>
                    </a:cxn>
                    <a:cxn ang="0">
                      <a:pos x="942" y="336"/>
                    </a:cxn>
                    <a:cxn ang="0">
                      <a:pos x="887" y="342"/>
                    </a:cxn>
                    <a:cxn ang="0">
                      <a:pos x="820" y="354"/>
                    </a:cxn>
                    <a:cxn ang="0">
                      <a:pos x="767" y="368"/>
                    </a:cxn>
                    <a:cxn ang="0">
                      <a:pos x="678" y="366"/>
                    </a:cxn>
                    <a:cxn ang="0">
                      <a:pos x="626" y="380"/>
                    </a:cxn>
                    <a:cxn ang="0">
                      <a:pos x="597" y="379"/>
                    </a:cxn>
                    <a:cxn ang="0">
                      <a:pos x="578" y="370"/>
                    </a:cxn>
                    <a:cxn ang="0">
                      <a:pos x="579" y="408"/>
                    </a:cxn>
                    <a:cxn ang="0">
                      <a:pos x="560" y="418"/>
                    </a:cxn>
                    <a:cxn ang="0">
                      <a:pos x="542" y="435"/>
                    </a:cxn>
                  </a:cxnLst>
                  <a:rect l="0" t="0" r="r" b="b"/>
                  <a:pathLst>
                    <a:path w="1022" h="439">
                      <a:moveTo>
                        <a:pt x="538" y="424"/>
                      </a:moveTo>
                      <a:lnTo>
                        <a:pt x="535" y="411"/>
                      </a:lnTo>
                      <a:lnTo>
                        <a:pt x="538" y="395"/>
                      </a:lnTo>
                      <a:lnTo>
                        <a:pt x="548" y="389"/>
                      </a:lnTo>
                      <a:lnTo>
                        <a:pt x="552" y="379"/>
                      </a:lnTo>
                      <a:lnTo>
                        <a:pt x="543" y="370"/>
                      </a:lnTo>
                      <a:lnTo>
                        <a:pt x="526" y="378"/>
                      </a:lnTo>
                      <a:lnTo>
                        <a:pt x="524" y="389"/>
                      </a:lnTo>
                      <a:lnTo>
                        <a:pt x="516" y="391"/>
                      </a:lnTo>
                      <a:lnTo>
                        <a:pt x="503" y="390"/>
                      </a:lnTo>
                      <a:lnTo>
                        <a:pt x="493" y="381"/>
                      </a:lnTo>
                      <a:lnTo>
                        <a:pt x="484" y="376"/>
                      </a:lnTo>
                      <a:lnTo>
                        <a:pt x="477" y="374"/>
                      </a:lnTo>
                      <a:lnTo>
                        <a:pt x="471" y="374"/>
                      </a:lnTo>
                      <a:lnTo>
                        <a:pt x="460" y="379"/>
                      </a:lnTo>
                      <a:lnTo>
                        <a:pt x="441" y="397"/>
                      </a:lnTo>
                      <a:lnTo>
                        <a:pt x="436" y="406"/>
                      </a:lnTo>
                      <a:lnTo>
                        <a:pt x="427" y="407"/>
                      </a:lnTo>
                      <a:lnTo>
                        <a:pt x="419" y="414"/>
                      </a:lnTo>
                      <a:lnTo>
                        <a:pt x="408" y="418"/>
                      </a:lnTo>
                      <a:lnTo>
                        <a:pt x="397" y="417"/>
                      </a:lnTo>
                      <a:lnTo>
                        <a:pt x="379" y="422"/>
                      </a:lnTo>
                      <a:lnTo>
                        <a:pt x="369" y="427"/>
                      </a:lnTo>
                      <a:lnTo>
                        <a:pt x="350" y="421"/>
                      </a:lnTo>
                      <a:lnTo>
                        <a:pt x="341" y="409"/>
                      </a:lnTo>
                      <a:lnTo>
                        <a:pt x="337" y="402"/>
                      </a:lnTo>
                      <a:lnTo>
                        <a:pt x="331" y="397"/>
                      </a:lnTo>
                      <a:lnTo>
                        <a:pt x="321" y="391"/>
                      </a:lnTo>
                      <a:lnTo>
                        <a:pt x="295" y="379"/>
                      </a:lnTo>
                      <a:lnTo>
                        <a:pt x="283" y="370"/>
                      </a:lnTo>
                      <a:lnTo>
                        <a:pt x="267" y="368"/>
                      </a:lnTo>
                      <a:lnTo>
                        <a:pt x="257" y="370"/>
                      </a:lnTo>
                      <a:lnTo>
                        <a:pt x="248" y="370"/>
                      </a:lnTo>
                      <a:lnTo>
                        <a:pt x="245" y="379"/>
                      </a:lnTo>
                      <a:lnTo>
                        <a:pt x="245" y="391"/>
                      </a:lnTo>
                      <a:lnTo>
                        <a:pt x="242" y="396"/>
                      </a:lnTo>
                      <a:lnTo>
                        <a:pt x="240" y="407"/>
                      </a:lnTo>
                      <a:lnTo>
                        <a:pt x="220" y="412"/>
                      </a:lnTo>
                      <a:lnTo>
                        <a:pt x="207" y="417"/>
                      </a:lnTo>
                      <a:lnTo>
                        <a:pt x="196" y="417"/>
                      </a:lnTo>
                      <a:lnTo>
                        <a:pt x="186" y="414"/>
                      </a:lnTo>
                      <a:lnTo>
                        <a:pt x="176" y="409"/>
                      </a:lnTo>
                      <a:lnTo>
                        <a:pt x="167" y="401"/>
                      </a:lnTo>
                      <a:lnTo>
                        <a:pt x="164" y="386"/>
                      </a:lnTo>
                      <a:lnTo>
                        <a:pt x="164" y="381"/>
                      </a:lnTo>
                      <a:lnTo>
                        <a:pt x="156" y="378"/>
                      </a:lnTo>
                      <a:lnTo>
                        <a:pt x="154" y="382"/>
                      </a:lnTo>
                      <a:lnTo>
                        <a:pt x="155" y="386"/>
                      </a:lnTo>
                      <a:lnTo>
                        <a:pt x="151" y="386"/>
                      </a:lnTo>
                      <a:lnTo>
                        <a:pt x="143" y="380"/>
                      </a:lnTo>
                      <a:lnTo>
                        <a:pt x="137" y="374"/>
                      </a:lnTo>
                      <a:lnTo>
                        <a:pt x="134" y="373"/>
                      </a:lnTo>
                      <a:lnTo>
                        <a:pt x="119" y="374"/>
                      </a:lnTo>
                      <a:lnTo>
                        <a:pt x="117" y="380"/>
                      </a:lnTo>
                      <a:lnTo>
                        <a:pt x="107" y="386"/>
                      </a:lnTo>
                      <a:lnTo>
                        <a:pt x="105" y="386"/>
                      </a:lnTo>
                      <a:lnTo>
                        <a:pt x="108" y="379"/>
                      </a:lnTo>
                      <a:lnTo>
                        <a:pt x="107" y="375"/>
                      </a:lnTo>
                      <a:lnTo>
                        <a:pt x="73" y="385"/>
                      </a:lnTo>
                      <a:lnTo>
                        <a:pt x="79" y="378"/>
                      </a:lnTo>
                      <a:lnTo>
                        <a:pt x="87" y="371"/>
                      </a:lnTo>
                      <a:lnTo>
                        <a:pt x="101" y="371"/>
                      </a:lnTo>
                      <a:lnTo>
                        <a:pt x="108" y="368"/>
                      </a:lnTo>
                      <a:lnTo>
                        <a:pt x="110" y="366"/>
                      </a:lnTo>
                      <a:lnTo>
                        <a:pt x="118" y="362"/>
                      </a:lnTo>
                      <a:lnTo>
                        <a:pt x="122" y="357"/>
                      </a:lnTo>
                      <a:lnTo>
                        <a:pt x="113" y="355"/>
                      </a:lnTo>
                      <a:lnTo>
                        <a:pt x="92" y="360"/>
                      </a:lnTo>
                      <a:lnTo>
                        <a:pt x="69" y="360"/>
                      </a:lnTo>
                      <a:lnTo>
                        <a:pt x="67" y="355"/>
                      </a:lnTo>
                      <a:lnTo>
                        <a:pt x="79" y="344"/>
                      </a:lnTo>
                      <a:lnTo>
                        <a:pt x="71" y="336"/>
                      </a:lnTo>
                      <a:lnTo>
                        <a:pt x="68" y="333"/>
                      </a:lnTo>
                      <a:lnTo>
                        <a:pt x="63" y="333"/>
                      </a:lnTo>
                      <a:lnTo>
                        <a:pt x="64" y="325"/>
                      </a:lnTo>
                      <a:lnTo>
                        <a:pt x="69" y="321"/>
                      </a:lnTo>
                      <a:lnTo>
                        <a:pt x="71" y="316"/>
                      </a:lnTo>
                      <a:lnTo>
                        <a:pt x="64" y="317"/>
                      </a:lnTo>
                      <a:lnTo>
                        <a:pt x="57" y="320"/>
                      </a:lnTo>
                      <a:lnTo>
                        <a:pt x="52" y="312"/>
                      </a:lnTo>
                      <a:lnTo>
                        <a:pt x="59" y="309"/>
                      </a:lnTo>
                      <a:lnTo>
                        <a:pt x="60" y="300"/>
                      </a:lnTo>
                      <a:lnTo>
                        <a:pt x="56" y="290"/>
                      </a:lnTo>
                      <a:lnTo>
                        <a:pt x="51" y="287"/>
                      </a:lnTo>
                      <a:lnTo>
                        <a:pt x="37" y="283"/>
                      </a:lnTo>
                      <a:lnTo>
                        <a:pt x="30" y="277"/>
                      </a:lnTo>
                      <a:lnTo>
                        <a:pt x="20" y="279"/>
                      </a:lnTo>
                      <a:lnTo>
                        <a:pt x="16" y="277"/>
                      </a:lnTo>
                      <a:lnTo>
                        <a:pt x="10" y="271"/>
                      </a:lnTo>
                      <a:lnTo>
                        <a:pt x="10" y="268"/>
                      </a:lnTo>
                      <a:lnTo>
                        <a:pt x="16" y="266"/>
                      </a:lnTo>
                      <a:lnTo>
                        <a:pt x="17" y="256"/>
                      </a:lnTo>
                      <a:lnTo>
                        <a:pt x="16" y="251"/>
                      </a:lnTo>
                      <a:lnTo>
                        <a:pt x="19" y="245"/>
                      </a:lnTo>
                      <a:lnTo>
                        <a:pt x="22" y="246"/>
                      </a:lnTo>
                      <a:lnTo>
                        <a:pt x="28" y="262"/>
                      </a:lnTo>
                      <a:lnTo>
                        <a:pt x="35" y="263"/>
                      </a:lnTo>
                      <a:lnTo>
                        <a:pt x="43" y="262"/>
                      </a:lnTo>
                      <a:lnTo>
                        <a:pt x="54" y="262"/>
                      </a:lnTo>
                      <a:lnTo>
                        <a:pt x="52" y="260"/>
                      </a:lnTo>
                      <a:lnTo>
                        <a:pt x="42" y="255"/>
                      </a:lnTo>
                      <a:lnTo>
                        <a:pt x="37" y="246"/>
                      </a:lnTo>
                      <a:lnTo>
                        <a:pt x="38" y="239"/>
                      </a:lnTo>
                      <a:lnTo>
                        <a:pt x="47" y="231"/>
                      </a:lnTo>
                      <a:lnTo>
                        <a:pt x="44" y="226"/>
                      </a:lnTo>
                      <a:lnTo>
                        <a:pt x="38" y="220"/>
                      </a:lnTo>
                      <a:lnTo>
                        <a:pt x="38" y="214"/>
                      </a:lnTo>
                      <a:lnTo>
                        <a:pt x="32" y="206"/>
                      </a:lnTo>
                      <a:lnTo>
                        <a:pt x="33" y="195"/>
                      </a:lnTo>
                      <a:lnTo>
                        <a:pt x="43" y="186"/>
                      </a:lnTo>
                      <a:lnTo>
                        <a:pt x="41" y="182"/>
                      </a:lnTo>
                      <a:lnTo>
                        <a:pt x="25" y="186"/>
                      </a:lnTo>
                      <a:lnTo>
                        <a:pt x="0" y="186"/>
                      </a:lnTo>
                      <a:lnTo>
                        <a:pt x="0" y="181"/>
                      </a:lnTo>
                      <a:lnTo>
                        <a:pt x="3" y="160"/>
                      </a:lnTo>
                      <a:lnTo>
                        <a:pt x="8" y="150"/>
                      </a:lnTo>
                      <a:lnTo>
                        <a:pt x="14" y="149"/>
                      </a:lnTo>
                      <a:lnTo>
                        <a:pt x="20" y="138"/>
                      </a:lnTo>
                      <a:lnTo>
                        <a:pt x="27" y="132"/>
                      </a:lnTo>
                      <a:lnTo>
                        <a:pt x="35" y="122"/>
                      </a:lnTo>
                      <a:lnTo>
                        <a:pt x="48" y="123"/>
                      </a:lnTo>
                      <a:lnTo>
                        <a:pt x="63" y="118"/>
                      </a:lnTo>
                      <a:lnTo>
                        <a:pt x="68" y="123"/>
                      </a:lnTo>
                      <a:lnTo>
                        <a:pt x="80" y="127"/>
                      </a:lnTo>
                      <a:lnTo>
                        <a:pt x="91" y="126"/>
                      </a:lnTo>
                      <a:lnTo>
                        <a:pt x="87" y="112"/>
                      </a:lnTo>
                      <a:lnTo>
                        <a:pt x="96" y="113"/>
                      </a:lnTo>
                      <a:lnTo>
                        <a:pt x="102" y="117"/>
                      </a:lnTo>
                      <a:lnTo>
                        <a:pt x="101" y="122"/>
                      </a:lnTo>
                      <a:lnTo>
                        <a:pt x="108" y="123"/>
                      </a:lnTo>
                      <a:lnTo>
                        <a:pt x="122" y="121"/>
                      </a:lnTo>
                      <a:lnTo>
                        <a:pt x="149" y="121"/>
                      </a:lnTo>
                      <a:lnTo>
                        <a:pt x="161" y="120"/>
                      </a:lnTo>
                      <a:lnTo>
                        <a:pt x="160" y="113"/>
                      </a:lnTo>
                      <a:lnTo>
                        <a:pt x="151" y="111"/>
                      </a:lnTo>
                      <a:lnTo>
                        <a:pt x="150" y="107"/>
                      </a:lnTo>
                      <a:lnTo>
                        <a:pt x="160" y="104"/>
                      </a:lnTo>
                      <a:lnTo>
                        <a:pt x="204" y="100"/>
                      </a:lnTo>
                      <a:lnTo>
                        <a:pt x="204" y="96"/>
                      </a:lnTo>
                      <a:lnTo>
                        <a:pt x="196" y="94"/>
                      </a:lnTo>
                      <a:lnTo>
                        <a:pt x="189" y="96"/>
                      </a:lnTo>
                      <a:lnTo>
                        <a:pt x="176" y="94"/>
                      </a:lnTo>
                      <a:lnTo>
                        <a:pt x="173" y="90"/>
                      </a:lnTo>
                      <a:lnTo>
                        <a:pt x="170" y="89"/>
                      </a:lnTo>
                      <a:lnTo>
                        <a:pt x="167" y="83"/>
                      </a:lnTo>
                      <a:lnTo>
                        <a:pt x="161" y="79"/>
                      </a:lnTo>
                      <a:lnTo>
                        <a:pt x="164" y="73"/>
                      </a:lnTo>
                      <a:lnTo>
                        <a:pt x="170" y="62"/>
                      </a:lnTo>
                      <a:lnTo>
                        <a:pt x="171" y="66"/>
                      </a:lnTo>
                      <a:lnTo>
                        <a:pt x="180" y="66"/>
                      </a:lnTo>
                      <a:lnTo>
                        <a:pt x="193" y="69"/>
                      </a:lnTo>
                      <a:lnTo>
                        <a:pt x="231" y="68"/>
                      </a:lnTo>
                      <a:lnTo>
                        <a:pt x="242" y="72"/>
                      </a:lnTo>
                      <a:lnTo>
                        <a:pt x="248" y="75"/>
                      </a:lnTo>
                      <a:lnTo>
                        <a:pt x="253" y="74"/>
                      </a:lnTo>
                      <a:lnTo>
                        <a:pt x="274" y="77"/>
                      </a:lnTo>
                      <a:lnTo>
                        <a:pt x="288" y="70"/>
                      </a:lnTo>
                      <a:lnTo>
                        <a:pt x="295" y="57"/>
                      </a:lnTo>
                      <a:lnTo>
                        <a:pt x="307" y="51"/>
                      </a:lnTo>
                      <a:lnTo>
                        <a:pt x="318" y="41"/>
                      </a:lnTo>
                      <a:lnTo>
                        <a:pt x="332" y="36"/>
                      </a:lnTo>
                      <a:lnTo>
                        <a:pt x="343" y="26"/>
                      </a:lnTo>
                      <a:lnTo>
                        <a:pt x="355" y="19"/>
                      </a:lnTo>
                      <a:lnTo>
                        <a:pt x="381" y="9"/>
                      </a:lnTo>
                      <a:lnTo>
                        <a:pt x="398" y="7"/>
                      </a:lnTo>
                      <a:lnTo>
                        <a:pt x="414" y="5"/>
                      </a:lnTo>
                      <a:lnTo>
                        <a:pt x="436" y="8"/>
                      </a:lnTo>
                      <a:lnTo>
                        <a:pt x="473" y="8"/>
                      </a:lnTo>
                      <a:lnTo>
                        <a:pt x="485" y="2"/>
                      </a:lnTo>
                      <a:lnTo>
                        <a:pt x="493" y="0"/>
                      </a:lnTo>
                      <a:lnTo>
                        <a:pt x="499" y="3"/>
                      </a:lnTo>
                      <a:lnTo>
                        <a:pt x="499" y="10"/>
                      </a:lnTo>
                      <a:lnTo>
                        <a:pt x="506" y="21"/>
                      </a:lnTo>
                      <a:lnTo>
                        <a:pt x="520" y="29"/>
                      </a:lnTo>
                      <a:lnTo>
                        <a:pt x="533" y="35"/>
                      </a:lnTo>
                      <a:lnTo>
                        <a:pt x="546" y="26"/>
                      </a:lnTo>
                      <a:lnTo>
                        <a:pt x="553" y="37"/>
                      </a:lnTo>
                      <a:lnTo>
                        <a:pt x="560" y="58"/>
                      </a:lnTo>
                      <a:lnTo>
                        <a:pt x="587" y="61"/>
                      </a:lnTo>
                      <a:lnTo>
                        <a:pt x="623" y="80"/>
                      </a:lnTo>
                      <a:lnTo>
                        <a:pt x="629" y="77"/>
                      </a:lnTo>
                      <a:lnTo>
                        <a:pt x="635" y="74"/>
                      </a:lnTo>
                      <a:lnTo>
                        <a:pt x="656" y="84"/>
                      </a:lnTo>
                      <a:lnTo>
                        <a:pt x="677" y="83"/>
                      </a:lnTo>
                      <a:lnTo>
                        <a:pt x="693" y="77"/>
                      </a:lnTo>
                      <a:lnTo>
                        <a:pt x="724" y="72"/>
                      </a:lnTo>
                      <a:lnTo>
                        <a:pt x="758" y="80"/>
                      </a:lnTo>
                      <a:lnTo>
                        <a:pt x="779" y="79"/>
                      </a:lnTo>
                      <a:lnTo>
                        <a:pt x="820" y="51"/>
                      </a:lnTo>
                      <a:lnTo>
                        <a:pt x="838" y="40"/>
                      </a:lnTo>
                      <a:lnTo>
                        <a:pt x="840" y="35"/>
                      </a:lnTo>
                      <a:lnTo>
                        <a:pt x="847" y="41"/>
                      </a:lnTo>
                      <a:lnTo>
                        <a:pt x="855" y="41"/>
                      </a:lnTo>
                      <a:lnTo>
                        <a:pt x="868" y="37"/>
                      </a:lnTo>
                      <a:lnTo>
                        <a:pt x="887" y="43"/>
                      </a:lnTo>
                      <a:lnTo>
                        <a:pt x="893" y="43"/>
                      </a:lnTo>
                      <a:lnTo>
                        <a:pt x="898" y="36"/>
                      </a:lnTo>
                      <a:lnTo>
                        <a:pt x="903" y="32"/>
                      </a:lnTo>
                      <a:lnTo>
                        <a:pt x="911" y="35"/>
                      </a:lnTo>
                      <a:lnTo>
                        <a:pt x="919" y="42"/>
                      </a:lnTo>
                      <a:lnTo>
                        <a:pt x="930" y="58"/>
                      </a:lnTo>
                      <a:lnTo>
                        <a:pt x="935" y="59"/>
                      </a:lnTo>
                      <a:lnTo>
                        <a:pt x="944" y="69"/>
                      </a:lnTo>
                      <a:lnTo>
                        <a:pt x="951" y="75"/>
                      </a:lnTo>
                      <a:lnTo>
                        <a:pt x="958" y="89"/>
                      </a:lnTo>
                      <a:lnTo>
                        <a:pt x="960" y="109"/>
                      </a:lnTo>
                      <a:lnTo>
                        <a:pt x="963" y="123"/>
                      </a:lnTo>
                      <a:lnTo>
                        <a:pt x="971" y="133"/>
                      </a:lnTo>
                      <a:lnTo>
                        <a:pt x="982" y="137"/>
                      </a:lnTo>
                      <a:lnTo>
                        <a:pt x="990" y="143"/>
                      </a:lnTo>
                      <a:lnTo>
                        <a:pt x="1000" y="153"/>
                      </a:lnTo>
                      <a:lnTo>
                        <a:pt x="1008" y="156"/>
                      </a:lnTo>
                      <a:lnTo>
                        <a:pt x="1012" y="161"/>
                      </a:lnTo>
                      <a:lnTo>
                        <a:pt x="1003" y="179"/>
                      </a:lnTo>
                      <a:lnTo>
                        <a:pt x="1001" y="186"/>
                      </a:lnTo>
                      <a:lnTo>
                        <a:pt x="987" y="195"/>
                      </a:lnTo>
                      <a:lnTo>
                        <a:pt x="988" y="202"/>
                      </a:lnTo>
                      <a:lnTo>
                        <a:pt x="995" y="219"/>
                      </a:lnTo>
                      <a:lnTo>
                        <a:pt x="997" y="246"/>
                      </a:lnTo>
                      <a:lnTo>
                        <a:pt x="997" y="263"/>
                      </a:lnTo>
                      <a:lnTo>
                        <a:pt x="999" y="279"/>
                      </a:lnTo>
                      <a:lnTo>
                        <a:pt x="995" y="300"/>
                      </a:lnTo>
                      <a:lnTo>
                        <a:pt x="1009" y="308"/>
                      </a:lnTo>
                      <a:lnTo>
                        <a:pt x="1021" y="325"/>
                      </a:lnTo>
                      <a:lnTo>
                        <a:pt x="1022" y="341"/>
                      </a:lnTo>
                      <a:lnTo>
                        <a:pt x="1015" y="348"/>
                      </a:lnTo>
                      <a:lnTo>
                        <a:pt x="1000" y="347"/>
                      </a:lnTo>
                      <a:lnTo>
                        <a:pt x="990" y="336"/>
                      </a:lnTo>
                      <a:lnTo>
                        <a:pt x="973" y="337"/>
                      </a:lnTo>
                      <a:lnTo>
                        <a:pt x="942" y="336"/>
                      </a:lnTo>
                      <a:lnTo>
                        <a:pt x="922" y="327"/>
                      </a:lnTo>
                      <a:lnTo>
                        <a:pt x="897" y="348"/>
                      </a:lnTo>
                      <a:lnTo>
                        <a:pt x="888" y="349"/>
                      </a:lnTo>
                      <a:lnTo>
                        <a:pt x="887" y="347"/>
                      </a:lnTo>
                      <a:lnTo>
                        <a:pt x="887" y="342"/>
                      </a:lnTo>
                      <a:lnTo>
                        <a:pt x="883" y="339"/>
                      </a:lnTo>
                      <a:lnTo>
                        <a:pt x="881" y="337"/>
                      </a:lnTo>
                      <a:lnTo>
                        <a:pt x="872" y="344"/>
                      </a:lnTo>
                      <a:lnTo>
                        <a:pt x="855" y="352"/>
                      </a:lnTo>
                      <a:lnTo>
                        <a:pt x="820" y="354"/>
                      </a:lnTo>
                      <a:lnTo>
                        <a:pt x="810" y="351"/>
                      </a:lnTo>
                      <a:lnTo>
                        <a:pt x="801" y="351"/>
                      </a:lnTo>
                      <a:lnTo>
                        <a:pt x="785" y="355"/>
                      </a:lnTo>
                      <a:lnTo>
                        <a:pt x="775" y="364"/>
                      </a:lnTo>
                      <a:lnTo>
                        <a:pt x="767" y="368"/>
                      </a:lnTo>
                      <a:lnTo>
                        <a:pt x="754" y="371"/>
                      </a:lnTo>
                      <a:lnTo>
                        <a:pt x="750" y="375"/>
                      </a:lnTo>
                      <a:lnTo>
                        <a:pt x="716" y="381"/>
                      </a:lnTo>
                      <a:lnTo>
                        <a:pt x="689" y="378"/>
                      </a:lnTo>
                      <a:lnTo>
                        <a:pt x="678" y="366"/>
                      </a:lnTo>
                      <a:lnTo>
                        <a:pt x="671" y="365"/>
                      </a:lnTo>
                      <a:lnTo>
                        <a:pt x="657" y="366"/>
                      </a:lnTo>
                      <a:lnTo>
                        <a:pt x="648" y="373"/>
                      </a:lnTo>
                      <a:lnTo>
                        <a:pt x="634" y="378"/>
                      </a:lnTo>
                      <a:lnTo>
                        <a:pt x="626" y="380"/>
                      </a:lnTo>
                      <a:lnTo>
                        <a:pt x="622" y="384"/>
                      </a:lnTo>
                      <a:lnTo>
                        <a:pt x="607" y="381"/>
                      </a:lnTo>
                      <a:lnTo>
                        <a:pt x="598" y="384"/>
                      </a:lnTo>
                      <a:lnTo>
                        <a:pt x="597" y="381"/>
                      </a:lnTo>
                      <a:lnTo>
                        <a:pt x="597" y="379"/>
                      </a:lnTo>
                      <a:lnTo>
                        <a:pt x="597" y="378"/>
                      </a:lnTo>
                      <a:lnTo>
                        <a:pt x="597" y="378"/>
                      </a:lnTo>
                      <a:lnTo>
                        <a:pt x="592" y="374"/>
                      </a:lnTo>
                      <a:lnTo>
                        <a:pt x="583" y="373"/>
                      </a:lnTo>
                      <a:lnTo>
                        <a:pt x="578" y="370"/>
                      </a:lnTo>
                      <a:lnTo>
                        <a:pt x="573" y="381"/>
                      </a:lnTo>
                      <a:lnTo>
                        <a:pt x="571" y="382"/>
                      </a:lnTo>
                      <a:lnTo>
                        <a:pt x="571" y="387"/>
                      </a:lnTo>
                      <a:lnTo>
                        <a:pt x="569" y="396"/>
                      </a:lnTo>
                      <a:lnTo>
                        <a:pt x="579" y="408"/>
                      </a:lnTo>
                      <a:lnTo>
                        <a:pt x="579" y="411"/>
                      </a:lnTo>
                      <a:lnTo>
                        <a:pt x="576" y="412"/>
                      </a:lnTo>
                      <a:lnTo>
                        <a:pt x="569" y="412"/>
                      </a:lnTo>
                      <a:lnTo>
                        <a:pt x="560" y="414"/>
                      </a:lnTo>
                      <a:lnTo>
                        <a:pt x="560" y="418"/>
                      </a:lnTo>
                      <a:lnTo>
                        <a:pt x="560" y="427"/>
                      </a:lnTo>
                      <a:lnTo>
                        <a:pt x="554" y="432"/>
                      </a:lnTo>
                      <a:lnTo>
                        <a:pt x="551" y="433"/>
                      </a:lnTo>
                      <a:lnTo>
                        <a:pt x="548" y="439"/>
                      </a:lnTo>
                      <a:lnTo>
                        <a:pt x="542" y="435"/>
                      </a:lnTo>
                      <a:lnTo>
                        <a:pt x="540" y="432"/>
                      </a:lnTo>
                      <a:lnTo>
                        <a:pt x="536" y="432"/>
                      </a:lnTo>
                      <a:lnTo>
                        <a:pt x="538" y="424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313" name="Freeform 161"/>
                <p:cNvSpPr>
                  <a:spLocks noChangeAspect="1"/>
                </p:cNvSpPr>
                <p:nvPr/>
              </p:nvSpPr>
              <p:spPr bwMode="gray">
                <a:xfrm>
                  <a:off x="2802" y="1980"/>
                  <a:ext cx="33" cy="28"/>
                </a:xfrm>
                <a:custGeom>
                  <a:avLst/>
                  <a:gdLst/>
                  <a:ahLst/>
                  <a:cxnLst>
                    <a:cxn ang="0">
                      <a:pos x="108" y="8"/>
                    </a:cxn>
                    <a:cxn ang="0">
                      <a:pos x="100" y="6"/>
                    </a:cxn>
                    <a:cxn ang="0">
                      <a:pos x="77" y="10"/>
                    </a:cxn>
                    <a:cxn ang="0">
                      <a:pos x="59" y="0"/>
                    </a:cxn>
                    <a:cxn ang="0">
                      <a:pos x="39" y="8"/>
                    </a:cxn>
                    <a:cxn ang="0">
                      <a:pos x="25" y="10"/>
                    </a:cxn>
                    <a:cxn ang="0">
                      <a:pos x="16" y="18"/>
                    </a:cxn>
                    <a:cxn ang="0">
                      <a:pos x="19" y="24"/>
                    </a:cxn>
                    <a:cxn ang="0">
                      <a:pos x="28" y="31"/>
                    </a:cxn>
                    <a:cxn ang="0">
                      <a:pos x="27" y="42"/>
                    </a:cxn>
                    <a:cxn ang="0">
                      <a:pos x="16" y="51"/>
                    </a:cxn>
                    <a:cxn ang="0">
                      <a:pos x="14" y="67"/>
                    </a:cxn>
                    <a:cxn ang="0">
                      <a:pos x="10" y="81"/>
                    </a:cxn>
                    <a:cxn ang="0">
                      <a:pos x="0" y="96"/>
                    </a:cxn>
                    <a:cxn ang="0">
                      <a:pos x="3" y="100"/>
                    </a:cxn>
                    <a:cxn ang="0">
                      <a:pos x="10" y="104"/>
                    </a:cxn>
                    <a:cxn ang="0">
                      <a:pos x="43" y="100"/>
                    </a:cxn>
                    <a:cxn ang="0">
                      <a:pos x="36" y="107"/>
                    </a:cxn>
                    <a:cxn ang="0">
                      <a:pos x="21" y="113"/>
                    </a:cxn>
                    <a:cxn ang="0">
                      <a:pos x="10" y="120"/>
                    </a:cxn>
                    <a:cxn ang="0">
                      <a:pos x="9" y="127"/>
                    </a:cxn>
                    <a:cxn ang="0">
                      <a:pos x="9" y="140"/>
                    </a:cxn>
                    <a:cxn ang="0">
                      <a:pos x="17" y="137"/>
                    </a:cxn>
                    <a:cxn ang="0">
                      <a:pos x="23" y="127"/>
                    </a:cxn>
                    <a:cxn ang="0">
                      <a:pos x="33" y="118"/>
                    </a:cxn>
                    <a:cxn ang="0">
                      <a:pos x="58" y="101"/>
                    </a:cxn>
                    <a:cxn ang="0">
                      <a:pos x="76" y="86"/>
                    </a:cxn>
                    <a:cxn ang="0">
                      <a:pos x="85" y="75"/>
                    </a:cxn>
                    <a:cxn ang="0">
                      <a:pos x="97" y="75"/>
                    </a:cxn>
                    <a:cxn ang="0">
                      <a:pos x="108" y="73"/>
                    </a:cxn>
                    <a:cxn ang="0">
                      <a:pos x="124" y="73"/>
                    </a:cxn>
                    <a:cxn ang="0">
                      <a:pos x="138" y="74"/>
                    </a:cxn>
                    <a:cxn ang="0">
                      <a:pos x="145" y="78"/>
                    </a:cxn>
                    <a:cxn ang="0">
                      <a:pos x="160" y="73"/>
                    </a:cxn>
                    <a:cxn ang="0">
                      <a:pos x="166" y="64"/>
                    </a:cxn>
                    <a:cxn ang="0">
                      <a:pos x="166" y="56"/>
                    </a:cxn>
                    <a:cxn ang="0">
                      <a:pos x="156" y="54"/>
                    </a:cxn>
                    <a:cxn ang="0">
                      <a:pos x="139" y="48"/>
                    </a:cxn>
                    <a:cxn ang="0">
                      <a:pos x="125" y="42"/>
                    </a:cxn>
                    <a:cxn ang="0">
                      <a:pos x="117" y="36"/>
                    </a:cxn>
                    <a:cxn ang="0">
                      <a:pos x="109" y="27"/>
                    </a:cxn>
                    <a:cxn ang="0">
                      <a:pos x="107" y="16"/>
                    </a:cxn>
                    <a:cxn ang="0">
                      <a:pos x="108" y="8"/>
                    </a:cxn>
                  </a:cxnLst>
                  <a:rect l="0" t="0" r="r" b="b"/>
                  <a:pathLst>
                    <a:path w="166" h="140">
                      <a:moveTo>
                        <a:pt x="108" y="8"/>
                      </a:moveTo>
                      <a:lnTo>
                        <a:pt x="100" y="6"/>
                      </a:lnTo>
                      <a:lnTo>
                        <a:pt x="77" y="10"/>
                      </a:lnTo>
                      <a:lnTo>
                        <a:pt x="59" y="0"/>
                      </a:lnTo>
                      <a:lnTo>
                        <a:pt x="39" y="8"/>
                      </a:lnTo>
                      <a:lnTo>
                        <a:pt x="25" y="10"/>
                      </a:lnTo>
                      <a:lnTo>
                        <a:pt x="16" y="18"/>
                      </a:lnTo>
                      <a:lnTo>
                        <a:pt x="19" y="24"/>
                      </a:lnTo>
                      <a:lnTo>
                        <a:pt x="28" y="31"/>
                      </a:lnTo>
                      <a:lnTo>
                        <a:pt x="27" y="42"/>
                      </a:lnTo>
                      <a:lnTo>
                        <a:pt x="16" y="51"/>
                      </a:lnTo>
                      <a:lnTo>
                        <a:pt x="14" y="67"/>
                      </a:lnTo>
                      <a:lnTo>
                        <a:pt x="10" y="81"/>
                      </a:lnTo>
                      <a:lnTo>
                        <a:pt x="0" y="96"/>
                      </a:lnTo>
                      <a:lnTo>
                        <a:pt x="3" y="100"/>
                      </a:lnTo>
                      <a:lnTo>
                        <a:pt x="10" y="104"/>
                      </a:lnTo>
                      <a:lnTo>
                        <a:pt x="43" y="100"/>
                      </a:lnTo>
                      <a:lnTo>
                        <a:pt x="36" y="107"/>
                      </a:lnTo>
                      <a:lnTo>
                        <a:pt x="21" y="113"/>
                      </a:lnTo>
                      <a:lnTo>
                        <a:pt x="10" y="120"/>
                      </a:lnTo>
                      <a:lnTo>
                        <a:pt x="9" y="127"/>
                      </a:lnTo>
                      <a:lnTo>
                        <a:pt x="9" y="140"/>
                      </a:lnTo>
                      <a:lnTo>
                        <a:pt x="17" y="137"/>
                      </a:lnTo>
                      <a:lnTo>
                        <a:pt x="23" y="127"/>
                      </a:lnTo>
                      <a:lnTo>
                        <a:pt x="33" y="118"/>
                      </a:lnTo>
                      <a:lnTo>
                        <a:pt x="58" y="101"/>
                      </a:lnTo>
                      <a:lnTo>
                        <a:pt x="76" y="86"/>
                      </a:lnTo>
                      <a:lnTo>
                        <a:pt x="85" y="75"/>
                      </a:lnTo>
                      <a:lnTo>
                        <a:pt x="97" y="75"/>
                      </a:lnTo>
                      <a:lnTo>
                        <a:pt x="108" y="73"/>
                      </a:lnTo>
                      <a:lnTo>
                        <a:pt x="124" y="73"/>
                      </a:lnTo>
                      <a:lnTo>
                        <a:pt x="138" y="74"/>
                      </a:lnTo>
                      <a:lnTo>
                        <a:pt x="145" y="78"/>
                      </a:lnTo>
                      <a:lnTo>
                        <a:pt x="160" y="73"/>
                      </a:lnTo>
                      <a:lnTo>
                        <a:pt x="166" y="64"/>
                      </a:lnTo>
                      <a:lnTo>
                        <a:pt x="166" y="56"/>
                      </a:lnTo>
                      <a:lnTo>
                        <a:pt x="156" y="54"/>
                      </a:lnTo>
                      <a:lnTo>
                        <a:pt x="139" y="48"/>
                      </a:lnTo>
                      <a:lnTo>
                        <a:pt x="125" y="42"/>
                      </a:lnTo>
                      <a:lnTo>
                        <a:pt x="117" y="36"/>
                      </a:lnTo>
                      <a:lnTo>
                        <a:pt x="109" y="27"/>
                      </a:lnTo>
                      <a:lnTo>
                        <a:pt x="107" y="16"/>
                      </a:lnTo>
                      <a:lnTo>
                        <a:pt x="108" y="8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</p:grpSp>
          <p:sp>
            <p:nvSpPr>
              <p:cNvPr id="309" name="Freeform 162"/>
              <p:cNvSpPr>
                <a:spLocks noChangeAspect="1"/>
              </p:cNvSpPr>
              <p:nvPr/>
            </p:nvSpPr>
            <p:spPr bwMode="gray">
              <a:xfrm>
                <a:off x="2898" y="2100"/>
                <a:ext cx="47" cy="54"/>
              </a:xfrm>
              <a:custGeom>
                <a:avLst/>
                <a:gdLst/>
                <a:ahLst/>
                <a:cxnLst>
                  <a:cxn ang="0">
                    <a:pos x="215" y="94"/>
                  </a:cxn>
                  <a:cxn ang="0">
                    <a:pos x="231" y="75"/>
                  </a:cxn>
                  <a:cxn ang="0">
                    <a:pos x="215" y="0"/>
                  </a:cxn>
                  <a:cxn ang="0">
                    <a:pos x="165" y="26"/>
                  </a:cxn>
                  <a:cxn ang="0">
                    <a:pos x="141" y="39"/>
                  </a:cxn>
                  <a:cxn ang="0">
                    <a:pos x="96" y="67"/>
                  </a:cxn>
                  <a:cxn ang="0">
                    <a:pos x="87" y="69"/>
                  </a:cxn>
                  <a:cxn ang="0">
                    <a:pos x="75" y="67"/>
                  </a:cxn>
                  <a:cxn ang="0">
                    <a:pos x="70" y="65"/>
                  </a:cxn>
                  <a:cxn ang="0">
                    <a:pos x="62" y="55"/>
                  </a:cxn>
                  <a:cxn ang="0">
                    <a:pos x="54" y="51"/>
                  </a:cxn>
                  <a:cxn ang="0">
                    <a:pos x="48" y="43"/>
                  </a:cxn>
                  <a:cxn ang="0">
                    <a:pos x="44" y="42"/>
                  </a:cxn>
                  <a:cxn ang="0">
                    <a:pos x="32" y="44"/>
                  </a:cxn>
                  <a:cxn ang="0">
                    <a:pos x="32" y="64"/>
                  </a:cxn>
                  <a:cxn ang="0">
                    <a:pos x="32" y="66"/>
                  </a:cxn>
                  <a:cxn ang="0">
                    <a:pos x="31" y="75"/>
                  </a:cxn>
                  <a:cxn ang="0">
                    <a:pos x="30" y="82"/>
                  </a:cxn>
                  <a:cxn ang="0">
                    <a:pos x="28" y="94"/>
                  </a:cxn>
                  <a:cxn ang="0">
                    <a:pos x="31" y="103"/>
                  </a:cxn>
                  <a:cxn ang="0">
                    <a:pos x="28" y="109"/>
                  </a:cxn>
                  <a:cxn ang="0">
                    <a:pos x="27" y="118"/>
                  </a:cxn>
                  <a:cxn ang="0">
                    <a:pos x="25" y="120"/>
                  </a:cxn>
                  <a:cxn ang="0">
                    <a:pos x="27" y="124"/>
                  </a:cxn>
                  <a:cxn ang="0">
                    <a:pos x="23" y="137"/>
                  </a:cxn>
                  <a:cxn ang="0">
                    <a:pos x="26" y="145"/>
                  </a:cxn>
                  <a:cxn ang="0">
                    <a:pos x="17" y="163"/>
                  </a:cxn>
                  <a:cxn ang="0">
                    <a:pos x="11" y="183"/>
                  </a:cxn>
                  <a:cxn ang="0">
                    <a:pos x="5" y="236"/>
                  </a:cxn>
                  <a:cxn ang="0">
                    <a:pos x="1" y="247"/>
                  </a:cxn>
                  <a:cxn ang="0">
                    <a:pos x="0" y="253"/>
                  </a:cxn>
                  <a:cxn ang="0">
                    <a:pos x="0" y="253"/>
                  </a:cxn>
                  <a:cxn ang="0">
                    <a:pos x="3" y="261"/>
                  </a:cxn>
                  <a:cxn ang="0">
                    <a:pos x="64" y="269"/>
                  </a:cxn>
                  <a:cxn ang="0">
                    <a:pos x="81" y="252"/>
                  </a:cxn>
                  <a:cxn ang="0">
                    <a:pos x="82" y="248"/>
                  </a:cxn>
                  <a:cxn ang="0">
                    <a:pos x="97" y="223"/>
                  </a:cxn>
                  <a:cxn ang="0">
                    <a:pos x="139" y="217"/>
                  </a:cxn>
                  <a:cxn ang="0">
                    <a:pos x="140" y="207"/>
                  </a:cxn>
                  <a:cxn ang="0">
                    <a:pos x="146" y="191"/>
                  </a:cxn>
                  <a:cxn ang="0">
                    <a:pos x="168" y="179"/>
                  </a:cxn>
                  <a:cxn ang="0">
                    <a:pos x="170" y="178"/>
                  </a:cxn>
                  <a:cxn ang="0">
                    <a:pos x="117" y="124"/>
                  </a:cxn>
                  <a:cxn ang="0">
                    <a:pos x="108" y="118"/>
                  </a:cxn>
                  <a:cxn ang="0">
                    <a:pos x="149" y="108"/>
                  </a:cxn>
                  <a:cxn ang="0">
                    <a:pos x="215" y="94"/>
                  </a:cxn>
                </a:cxnLst>
                <a:rect l="0" t="0" r="r" b="b"/>
                <a:pathLst>
                  <a:path w="231" h="269">
                    <a:moveTo>
                      <a:pt x="215" y="94"/>
                    </a:moveTo>
                    <a:lnTo>
                      <a:pt x="231" y="75"/>
                    </a:lnTo>
                    <a:lnTo>
                      <a:pt x="215" y="0"/>
                    </a:lnTo>
                    <a:lnTo>
                      <a:pt x="165" y="26"/>
                    </a:lnTo>
                    <a:lnTo>
                      <a:pt x="141" y="39"/>
                    </a:lnTo>
                    <a:lnTo>
                      <a:pt x="96" y="67"/>
                    </a:lnTo>
                    <a:lnTo>
                      <a:pt x="87" y="69"/>
                    </a:lnTo>
                    <a:lnTo>
                      <a:pt x="75" y="67"/>
                    </a:lnTo>
                    <a:lnTo>
                      <a:pt x="70" y="65"/>
                    </a:lnTo>
                    <a:lnTo>
                      <a:pt x="62" y="55"/>
                    </a:lnTo>
                    <a:lnTo>
                      <a:pt x="54" y="51"/>
                    </a:lnTo>
                    <a:lnTo>
                      <a:pt x="48" y="43"/>
                    </a:lnTo>
                    <a:lnTo>
                      <a:pt x="44" y="42"/>
                    </a:lnTo>
                    <a:lnTo>
                      <a:pt x="32" y="44"/>
                    </a:lnTo>
                    <a:lnTo>
                      <a:pt x="32" y="64"/>
                    </a:lnTo>
                    <a:lnTo>
                      <a:pt x="32" y="66"/>
                    </a:lnTo>
                    <a:lnTo>
                      <a:pt x="31" y="75"/>
                    </a:lnTo>
                    <a:lnTo>
                      <a:pt x="30" y="82"/>
                    </a:lnTo>
                    <a:lnTo>
                      <a:pt x="28" y="94"/>
                    </a:lnTo>
                    <a:lnTo>
                      <a:pt x="31" y="103"/>
                    </a:lnTo>
                    <a:lnTo>
                      <a:pt x="28" y="109"/>
                    </a:lnTo>
                    <a:lnTo>
                      <a:pt x="27" y="118"/>
                    </a:lnTo>
                    <a:lnTo>
                      <a:pt x="25" y="120"/>
                    </a:lnTo>
                    <a:lnTo>
                      <a:pt x="27" y="124"/>
                    </a:lnTo>
                    <a:lnTo>
                      <a:pt x="23" y="137"/>
                    </a:lnTo>
                    <a:lnTo>
                      <a:pt x="26" y="145"/>
                    </a:lnTo>
                    <a:lnTo>
                      <a:pt x="17" y="163"/>
                    </a:lnTo>
                    <a:lnTo>
                      <a:pt x="11" y="183"/>
                    </a:lnTo>
                    <a:lnTo>
                      <a:pt x="5" y="236"/>
                    </a:lnTo>
                    <a:lnTo>
                      <a:pt x="1" y="247"/>
                    </a:lnTo>
                    <a:lnTo>
                      <a:pt x="0" y="253"/>
                    </a:lnTo>
                    <a:lnTo>
                      <a:pt x="0" y="253"/>
                    </a:lnTo>
                    <a:lnTo>
                      <a:pt x="3" y="261"/>
                    </a:lnTo>
                    <a:lnTo>
                      <a:pt x="64" y="269"/>
                    </a:lnTo>
                    <a:lnTo>
                      <a:pt x="81" y="252"/>
                    </a:lnTo>
                    <a:lnTo>
                      <a:pt x="82" y="248"/>
                    </a:lnTo>
                    <a:lnTo>
                      <a:pt x="97" y="223"/>
                    </a:lnTo>
                    <a:lnTo>
                      <a:pt x="139" y="217"/>
                    </a:lnTo>
                    <a:lnTo>
                      <a:pt x="140" y="207"/>
                    </a:lnTo>
                    <a:lnTo>
                      <a:pt x="146" y="191"/>
                    </a:lnTo>
                    <a:lnTo>
                      <a:pt x="168" y="179"/>
                    </a:lnTo>
                    <a:lnTo>
                      <a:pt x="170" y="178"/>
                    </a:lnTo>
                    <a:lnTo>
                      <a:pt x="117" y="124"/>
                    </a:lnTo>
                    <a:lnTo>
                      <a:pt x="108" y="118"/>
                    </a:lnTo>
                    <a:lnTo>
                      <a:pt x="149" y="108"/>
                    </a:lnTo>
                    <a:lnTo>
                      <a:pt x="215" y="9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10" name="Freeform 163"/>
              <p:cNvSpPr>
                <a:spLocks noChangeAspect="1"/>
              </p:cNvSpPr>
              <p:nvPr/>
            </p:nvSpPr>
            <p:spPr bwMode="gray">
              <a:xfrm>
                <a:off x="2905" y="2047"/>
                <a:ext cx="77" cy="67"/>
              </a:xfrm>
              <a:custGeom>
                <a:avLst/>
                <a:gdLst/>
                <a:ahLst/>
                <a:cxnLst>
                  <a:cxn ang="0">
                    <a:pos x="241" y="227"/>
                  </a:cxn>
                  <a:cxn ang="0">
                    <a:pos x="290" y="203"/>
                  </a:cxn>
                  <a:cxn ang="0">
                    <a:pos x="316" y="170"/>
                  </a:cxn>
                  <a:cxn ang="0">
                    <a:pos x="354" y="50"/>
                  </a:cxn>
                  <a:cxn ang="0">
                    <a:pos x="378" y="12"/>
                  </a:cxn>
                  <a:cxn ang="0">
                    <a:pos x="373" y="2"/>
                  </a:cxn>
                  <a:cxn ang="0">
                    <a:pos x="345" y="15"/>
                  </a:cxn>
                  <a:cxn ang="0">
                    <a:pos x="291" y="14"/>
                  </a:cxn>
                  <a:cxn ang="0">
                    <a:pos x="257" y="31"/>
                  </a:cxn>
                  <a:cxn ang="0">
                    <a:pos x="206" y="45"/>
                  </a:cxn>
                  <a:cxn ang="0">
                    <a:pos x="161" y="28"/>
                  </a:cxn>
                  <a:cxn ang="0">
                    <a:pos x="124" y="41"/>
                  </a:cxn>
                  <a:cxn ang="0">
                    <a:pos x="97" y="44"/>
                  </a:cxn>
                  <a:cxn ang="0">
                    <a:pos x="87" y="42"/>
                  </a:cxn>
                  <a:cxn ang="0">
                    <a:pos x="73" y="36"/>
                  </a:cxn>
                  <a:cxn ang="0">
                    <a:pos x="61" y="45"/>
                  </a:cxn>
                  <a:cxn ang="0">
                    <a:pos x="68" y="71"/>
                  </a:cxn>
                  <a:cxn ang="0">
                    <a:pos x="59" y="75"/>
                  </a:cxn>
                  <a:cxn ang="0">
                    <a:pos x="50" y="90"/>
                  </a:cxn>
                  <a:cxn ang="0">
                    <a:pos x="38" y="102"/>
                  </a:cxn>
                  <a:cxn ang="0">
                    <a:pos x="26" y="95"/>
                  </a:cxn>
                  <a:cxn ang="0">
                    <a:pos x="23" y="123"/>
                  </a:cxn>
                  <a:cxn ang="0">
                    <a:pos x="26" y="167"/>
                  </a:cxn>
                  <a:cxn ang="0">
                    <a:pos x="48" y="174"/>
                  </a:cxn>
                  <a:cxn ang="0">
                    <a:pos x="57" y="179"/>
                  </a:cxn>
                  <a:cxn ang="0">
                    <a:pos x="53" y="183"/>
                  </a:cxn>
                  <a:cxn ang="0">
                    <a:pos x="50" y="189"/>
                  </a:cxn>
                  <a:cxn ang="0">
                    <a:pos x="63" y="195"/>
                  </a:cxn>
                  <a:cxn ang="0">
                    <a:pos x="64" y="208"/>
                  </a:cxn>
                  <a:cxn ang="0">
                    <a:pos x="63" y="216"/>
                  </a:cxn>
                  <a:cxn ang="0">
                    <a:pos x="50" y="222"/>
                  </a:cxn>
                  <a:cxn ang="0">
                    <a:pos x="45" y="230"/>
                  </a:cxn>
                  <a:cxn ang="0">
                    <a:pos x="52" y="236"/>
                  </a:cxn>
                  <a:cxn ang="0">
                    <a:pos x="32" y="237"/>
                  </a:cxn>
                  <a:cxn ang="0">
                    <a:pos x="26" y="249"/>
                  </a:cxn>
                  <a:cxn ang="0">
                    <a:pos x="31" y="257"/>
                  </a:cxn>
                  <a:cxn ang="0">
                    <a:pos x="18" y="267"/>
                  </a:cxn>
                  <a:cxn ang="0">
                    <a:pos x="5" y="276"/>
                  </a:cxn>
                  <a:cxn ang="0">
                    <a:pos x="4" y="295"/>
                  </a:cxn>
                  <a:cxn ang="0">
                    <a:pos x="0" y="312"/>
                  </a:cxn>
                  <a:cxn ang="0">
                    <a:pos x="22" y="319"/>
                  </a:cxn>
                  <a:cxn ang="0">
                    <a:pos x="43" y="335"/>
                  </a:cxn>
                  <a:cxn ang="0">
                    <a:pos x="109" y="307"/>
                  </a:cxn>
                </a:cxnLst>
                <a:rect l="0" t="0" r="r" b="b"/>
                <a:pathLst>
                  <a:path w="387" h="337">
                    <a:moveTo>
                      <a:pt x="183" y="268"/>
                    </a:moveTo>
                    <a:lnTo>
                      <a:pt x="226" y="238"/>
                    </a:lnTo>
                    <a:lnTo>
                      <a:pt x="241" y="227"/>
                    </a:lnTo>
                    <a:lnTo>
                      <a:pt x="256" y="222"/>
                    </a:lnTo>
                    <a:lnTo>
                      <a:pt x="278" y="210"/>
                    </a:lnTo>
                    <a:lnTo>
                      <a:pt x="290" y="203"/>
                    </a:lnTo>
                    <a:lnTo>
                      <a:pt x="294" y="199"/>
                    </a:lnTo>
                    <a:lnTo>
                      <a:pt x="306" y="194"/>
                    </a:lnTo>
                    <a:lnTo>
                      <a:pt x="316" y="170"/>
                    </a:lnTo>
                    <a:lnTo>
                      <a:pt x="319" y="133"/>
                    </a:lnTo>
                    <a:lnTo>
                      <a:pt x="323" y="63"/>
                    </a:lnTo>
                    <a:lnTo>
                      <a:pt x="354" y="50"/>
                    </a:lnTo>
                    <a:lnTo>
                      <a:pt x="372" y="21"/>
                    </a:lnTo>
                    <a:lnTo>
                      <a:pt x="387" y="12"/>
                    </a:lnTo>
                    <a:lnTo>
                      <a:pt x="378" y="12"/>
                    </a:lnTo>
                    <a:lnTo>
                      <a:pt x="377" y="10"/>
                    </a:lnTo>
                    <a:lnTo>
                      <a:pt x="377" y="5"/>
                    </a:lnTo>
                    <a:lnTo>
                      <a:pt x="373" y="2"/>
                    </a:lnTo>
                    <a:lnTo>
                      <a:pt x="371" y="0"/>
                    </a:lnTo>
                    <a:lnTo>
                      <a:pt x="362" y="7"/>
                    </a:lnTo>
                    <a:lnTo>
                      <a:pt x="345" y="15"/>
                    </a:lnTo>
                    <a:lnTo>
                      <a:pt x="310" y="17"/>
                    </a:lnTo>
                    <a:lnTo>
                      <a:pt x="300" y="14"/>
                    </a:lnTo>
                    <a:lnTo>
                      <a:pt x="291" y="14"/>
                    </a:lnTo>
                    <a:lnTo>
                      <a:pt x="275" y="18"/>
                    </a:lnTo>
                    <a:lnTo>
                      <a:pt x="265" y="27"/>
                    </a:lnTo>
                    <a:lnTo>
                      <a:pt x="257" y="31"/>
                    </a:lnTo>
                    <a:lnTo>
                      <a:pt x="244" y="34"/>
                    </a:lnTo>
                    <a:lnTo>
                      <a:pt x="238" y="38"/>
                    </a:lnTo>
                    <a:lnTo>
                      <a:pt x="206" y="45"/>
                    </a:lnTo>
                    <a:lnTo>
                      <a:pt x="179" y="41"/>
                    </a:lnTo>
                    <a:lnTo>
                      <a:pt x="168" y="31"/>
                    </a:lnTo>
                    <a:lnTo>
                      <a:pt x="161" y="28"/>
                    </a:lnTo>
                    <a:lnTo>
                      <a:pt x="147" y="29"/>
                    </a:lnTo>
                    <a:lnTo>
                      <a:pt x="138" y="36"/>
                    </a:lnTo>
                    <a:lnTo>
                      <a:pt x="124" y="41"/>
                    </a:lnTo>
                    <a:lnTo>
                      <a:pt x="116" y="43"/>
                    </a:lnTo>
                    <a:lnTo>
                      <a:pt x="112" y="47"/>
                    </a:lnTo>
                    <a:lnTo>
                      <a:pt x="97" y="44"/>
                    </a:lnTo>
                    <a:lnTo>
                      <a:pt x="88" y="47"/>
                    </a:lnTo>
                    <a:lnTo>
                      <a:pt x="87" y="44"/>
                    </a:lnTo>
                    <a:lnTo>
                      <a:pt x="87" y="42"/>
                    </a:lnTo>
                    <a:lnTo>
                      <a:pt x="87" y="41"/>
                    </a:lnTo>
                    <a:lnTo>
                      <a:pt x="82" y="37"/>
                    </a:lnTo>
                    <a:lnTo>
                      <a:pt x="73" y="36"/>
                    </a:lnTo>
                    <a:lnTo>
                      <a:pt x="68" y="33"/>
                    </a:lnTo>
                    <a:lnTo>
                      <a:pt x="63" y="44"/>
                    </a:lnTo>
                    <a:lnTo>
                      <a:pt x="61" y="45"/>
                    </a:lnTo>
                    <a:lnTo>
                      <a:pt x="61" y="50"/>
                    </a:lnTo>
                    <a:lnTo>
                      <a:pt x="59" y="59"/>
                    </a:lnTo>
                    <a:lnTo>
                      <a:pt x="68" y="71"/>
                    </a:lnTo>
                    <a:lnTo>
                      <a:pt x="69" y="74"/>
                    </a:lnTo>
                    <a:lnTo>
                      <a:pt x="66" y="75"/>
                    </a:lnTo>
                    <a:lnTo>
                      <a:pt x="59" y="75"/>
                    </a:lnTo>
                    <a:lnTo>
                      <a:pt x="50" y="77"/>
                    </a:lnTo>
                    <a:lnTo>
                      <a:pt x="50" y="81"/>
                    </a:lnTo>
                    <a:lnTo>
                      <a:pt x="50" y="90"/>
                    </a:lnTo>
                    <a:lnTo>
                      <a:pt x="44" y="95"/>
                    </a:lnTo>
                    <a:lnTo>
                      <a:pt x="41" y="96"/>
                    </a:lnTo>
                    <a:lnTo>
                      <a:pt x="38" y="102"/>
                    </a:lnTo>
                    <a:lnTo>
                      <a:pt x="32" y="98"/>
                    </a:lnTo>
                    <a:lnTo>
                      <a:pt x="30" y="95"/>
                    </a:lnTo>
                    <a:lnTo>
                      <a:pt x="26" y="95"/>
                    </a:lnTo>
                    <a:lnTo>
                      <a:pt x="26" y="106"/>
                    </a:lnTo>
                    <a:lnTo>
                      <a:pt x="21" y="119"/>
                    </a:lnTo>
                    <a:lnTo>
                      <a:pt x="23" y="123"/>
                    </a:lnTo>
                    <a:lnTo>
                      <a:pt x="28" y="136"/>
                    </a:lnTo>
                    <a:lnTo>
                      <a:pt x="28" y="155"/>
                    </a:lnTo>
                    <a:lnTo>
                      <a:pt x="26" y="167"/>
                    </a:lnTo>
                    <a:lnTo>
                      <a:pt x="28" y="178"/>
                    </a:lnTo>
                    <a:lnTo>
                      <a:pt x="45" y="178"/>
                    </a:lnTo>
                    <a:lnTo>
                      <a:pt x="48" y="174"/>
                    </a:lnTo>
                    <a:lnTo>
                      <a:pt x="50" y="174"/>
                    </a:lnTo>
                    <a:lnTo>
                      <a:pt x="52" y="179"/>
                    </a:lnTo>
                    <a:lnTo>
                      <a:pt x="57" y="179"/>
                    </a:lnTo>
                    <a:lnTo>
                      <a:pt x="58" y="181"/>
                    </a:lnTo>
                    <a:lnTo>
                      <a:pt x="58" y="183"/>
                    </a:lnTo>
                    <a:lnTo>
                      <a:pt x="53" y="183"/>
                    </a:lnTo>
                    <a:lnTo>
                      <a:pt x="53" y="185"/>
                    </a:lnTo>
                    <a:lnTo>
                      <a:pt x="50" y="187"/>
                    </a:lnTo>
                    <a:lnTo>
                      <a:pt x="50" y="189"/>
                    </a:lnTo>
                    <a:lnTo>
                      <a:pt x="57" y="189"/>
                    </a:lnTo>
                    <a:lnTo>
                      <a:pt x="58" y="193"/>
                    </a:lnTo>
                    <a:lnTo>
                      <a:pt x="63" y="195"/>
                    </a:lnTo>
                    <a:lnTo>
                      <a:pt x="61" y="199"/>
                    </a:lnTo>
                    <a:lnTo>
                      <a:pt x="65" y="204"/>
                    </a:lnTo>
                    <a:lnTo>
                      <a:pt x="64" y="208"/>
                    </a:lnTo>
                    <a:lnTo>
                      <a:pt x="66" y="210"/>
                    </a:lnTo>
                    <a:lnTo>
                      <a:pt x="64" y="212"/>
                    </a:lnTo>
                    <a:lnTo>
                      <a:pt x="63" y="216"/>
                    </a:lnTo>
                    <a:lnTo>
                      <a:pt x="60" y="216"/>
                    </a:lnTo>
                    <a:lnTo>
                      <a:pt x="55" y="221"/>
                    </a:lnTo>
                    <a:lnTo>
                      <a:pt x="50" y="222"/>
                    </a:lnTo>
                    <a:lnTo>
                      <a:pt x="50" y="226"/>
                    </a:lnTo>
                    <a:lnTo>
                      <a:pt x="47" y="227"/>
                    </a:lnTo>
                    <a:lnTo>
                      <a:pt x="45" y="230"/>
                    </a:lnTo>
                    <a:lnTo>
                      <a:pt x="50" y="233"/>
                    </a:lnTo>
                    <a:lnTo>
                      <a:pt x="52" y="236"/>
                    </a:lnTo>
                    <a:lnTo>
                      <a:pt x="52" y="236"/>
                    </a:lnTo>
                    <a:lnTo>
                      <a:pt x="50" y="237"/>
                    </a:lnTo>
                    <a:lnTo>
                      <a:pt x="45" y="236"/>
                    </a:lnTo>
                    <a:lnTo>
                      <a:pt x="32" y="237"/>
                    </a:lnTo>
                    <a:lnTo>
                      <a:pt x="31" y="242"/>
                    </a:lnTo>
                    <a:lnTo>
                      <a:pt x="28" y="243"/>
                    </a:lnTo>
                    <a:lnTo>
                      <a:pt x="26" y="249"/>
                    </a:lnTo>
                    <a:lnTo>
                      <a:pt x="26" y="249"/>
                    </a:lnTo>
                    <a:lnTo>
                      <a:pt x="31" y="252"/>
                    </a:lnTo>
                    <a:lnTo>
                      <a:pt x="31" y="257"/>
                    </a:lnTo>
                    <a:lnTo>
                      <a:pt x="28" y="257"/>
                    </a:lnTo>
                    <a:lnTo>
                      <a:pt x="25" y="263"/>
                    </a:lnTo>
                    <a:lnTo>
                      <a:pt x="18" y="267"/>
                    </a:lnTo>
                    <a:lnTo>
                      <a:pt x="17" y="270"/>
                    </a:lnTo>
                    <a:lnTo>
                      <a:pt x="12" y="270"/>
                    </a:lnTo>
                    <a:lnTo>
                      <a:pt x="5" y="276"/>
                    </a:lnTo>
                    <a:lnTo>
                      <a:pt x="5" y="286"/>
                    </a:lnTo>
                    <a:lnTo>
                      <a:pt x="2" y="290"/>
                    </a:lnTo>
                    <a:lnTo>
                      <a:pt x="4" y="295"/>
                    </a:lnTo>
                    <a:lnTo>
                      <a:pt x="2" y="300"/>
                    </a:lnTo>
                    <a:lnTo>
                      <a:pt x="5" y="306"/>
                    </a:lnTo>
                    <a:lnTo>
                      <a:pt x="0" y="312"/>
                    </a:lnTo>
                    <a:lnTo>
                      <a:pt x="12" y="310"/>
                    </a:lnTo>
                    <a:lnTo>
                      <a:pt x="16" y="311"/>
                    </a:lnTo>
                    <a:lnTo>
                      <a:pt x="22" y="319"/>
                    </a:lnTo>
                    <a:lnTo>
                      <a:pt x="30" y="324"/>
                    </a:lnTo>
                    <a:lnTo>
                      <a:pt x="38" y="333"/>
                    </a:lnTo>
                    <a:lnTo>
                      <a:pt x="43" y="335"/>
                    </a:lnTo>
                    <a:lnTo>
                      <a:pt x="55" y="337"/>
                    </a:lnTo>
                    <a:lnTo>
                      <a:pt x="63" y="335"/>
                    </a:lnTo>
                    <a:lnTo>
                      <a:pt x="109" y="307"/>
                    </a:lnTo>
                    <a:lnTo>
                      <a:pt x="133" y="294"/>
                    </a:lnTo>
                    <a:lnTo>
                      <a:pt x="183" y="26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11" name="Freeform 164"/>
              <p:cNvSpPr>
                <a:spLocks noChangeAspect="1"/>
              </p:cNvSpPr>
              <p:nvPr/>
            </p:nvSpPr>
            <p:spPr bwMode="gray">
              <a:xfrm>
                <a:off x="2871" y="2069"/>
                <a:ext cx="25" cy="15"/>
              </a:xfrm>
              <a:custGeom>
                <a:avLst/>
                <a:gdLst/>
                <a:ahLst/>
                <a:cxnLst>
                  <a:cxn ang="0">
                    <a:pos x="92" y="16"/>
                  </a:cxn>
                  <a:cxn ang="0">
                    <a:pos x="106" y="11"/>
                  </a:cxn>
                  <a:cxn ang="0">
                    <a:pos x="112" y="5"/>
                  </a:cxn>
                  <a:cxn ang="0">
                    <a:pos x="122" y="0"/>
                  </a:cxn>
                  <a:cxn ang="0">
                    <a:pos x="126" y="0"/>
                  </a:cxn>
                  <a:cxn ang="0">
                    <a:pos x="123" y="9"/>
                  </a:cxn>
                  <a:cxn ang="0">
                    <a:pos x="115" y="17"/>
                  </a:cxn>
                  <a:cxn ang="0">
                    <a:pos x="107" y="21"/>
                  </a:cxn>
                  <a:cxn ang="0">
                    <a:pos x="96" y="37"/>
                  </a:cxn>
                  <a:cxn ang="0">
                    <a:pos x="99" y="43"/>
                  </a:cxn>
                  <a:cxn ang="0">
                    <a:pos x="92" y="52"/>
                  </a:cxn>
                  <a:cxn ang="0">
                    <a:pos x="80" y="54"/>
                  </a:cxn>
                  <a:cxn ang="0">
                    <a:pos x="69" y="64"/>
                  </a:cxn>
                  <a:cxn ang="0">
                    <a:pos x="53" y="68"/>
                  </a:cxn>
                  <a:cxn ang="0">
                    <a:pos x="43" y="75"/>
                  </a:cxn>
                  <a:cxn ang="0">
                    <a:pos x="25" y="72"/>
                  </a:cxn>
                  <a:cxn ang="0">
                    <a:pos x="13" y="66"/>
                  </a:cxn>
                  <a:cxn ang="0">
                    <a:pos x="5" y="57"/>
                  </a:cxn>
                  <a:cxn ang="0">
                    <a:pos x="0" y="45"/>
                  </a:cxn>
                  <a:cxn ang="0">
                    <a:pos x="13" y="42"/>
                  </a:cxn>
                  <a:cxn ang="0">
                    <a:pos x="21" y="37"/>
                  </a:cxn>
                  <a:cxn ang="0">
                    <a:pos x="31" y="36"/>
                  </a:cxn>
                  <a:cxn ang="0">
                    <a:pos x="38" y="33"/>
                  </a:cxn>
                  <a:cxn ang="0">
                    <a:pos x="40" y="25"/>
                  </a:cxn>
                  <a:cxn ang="0">
                    <a:pos x="43" y="26"/>
                  </a:cxn>
                  <a:cxn ang="0">
                    <a:pos x="63" y="25"/>
                  </a:cxn>
                  <a:cxn ang="0">
                    <a:pos x="92" y="16"/>
                  </a:cxn>
                </a:cxnLst>
                <a:rect l="0" t="0" r="r" b="b"/>
                <a:pathLst>
                  <a:path w="125" h="75">
                    <a:moveTo>
                      <a:pt x="92" y="16"/>
                    </a:moveTo>
                    <a:lnTo>
                      <a:pt x="106" y="11"/>
                    </a:lnTo>
                    <a:lnTo>
                      <a:pt x="112" y="5"/>
                    </a:lnTo>
                    <a:lnTo>
                      <a:pt x="122" y="0"/>
                    </a:lnTo>
                    <a:lnTo>
                      <a:pt x="126" y="0"/>
                    </a:lnTo>
                    <a:lnTo>
                      <a:pt x="123" y="9"/>
                    </a:lnTo>
                    <a:lnTo>
                      <a:pt x="115" y="17"/>
                    </a:lnTo>
                    <a:lnTo>
                      <a:pt x="107" y="21"/>
                    </a:lnTo>
                    <a:lnTo>
                      <a:pt x="96" y="37"/>
                    </a:lnTo>
                    <a:lnTo>
                      <a:pt x="99" y="43"/>
                    </a:lnTo>
                    <a:lnTo>
                      <a:pt x="92" y="52"/>
                    </a:lnTo>
                    <a:lnTo>
                      <a:pt x="80" y="54"/>
                    </a:lnTo>
                    <a:lnTo>
                      <a:pt x="69" y="64"/>
                    </a:lnTo>
                    <a:lnTo>
                      <a:pt x="53" y="68"/>
                    </a:lnTo>
                    <a:lnTo>
                      <a:pt x="43" y="75"/>
                    </a:lnTo>
                    <a:lnTo>
                      <a:pt x="25" y="72"/>
                    </a:lnTo>
                    <a:lnTo>
                      <a:pt x="13" y="66"/>
                    </a:lnTo>
                    <a:lnTo>
                      <a:pt x="5" y="57"/>
                    </a:lnTo>
                    <a:lnTo>
                      <a:pt x="0" y="45"/>
                    </a:lnTo>
                    <a:lnTo>
                      <a:pt x="13" y="42"/>
                    </a:lnTo>
                    <a:lnTo>
                      <a:pt x="21" y="37"/>
                    </a:lnTo>
                    <a:lnTo>
                      <a:pt x="31" y="36"/>
                    </a:lnTo>
                    <a:lnTo>
                      <a:pt x="38" y="33"/>
                    </a:lnTo>
                    <a:lnTo>
                      <a:pt x="40" y="25"/>
                    </a:lnTo>
                    <a:lnTo>
                      <a:pt x="43" y="26"/>
                    </a:lnTo>
                    <a:lnTo>
                      <a:pt x="63" y="25"/>
                    </a:lnTo>
                    <a:lnTo>
                      <a:pt x="92" y="1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</p:grpSp>
        <p:sp>
          <p:nvSpPr>
            <p:cNvPr id="52" name="Freeform 165"/>
            <p:cNvSpPr>
              <a:spLocks noChangeAspect="1"/>
            </p:cNvSpPr>
            <p:nvPr/>
          </p:nvSpPr>
          <p:spPr bwMode="gray">
            <a:xfrm>
              <a:off x="6654139" y="3392526"/>
              <a:ext cx="54065" cy="61115"/>
            </a:xfrm>
            <a:custGeom>
              <a:avLst/>
              <a:gdLst/>
              <a:ahLst/>
              <a:cxnLst>
                <a:cxn ang="0">
                  <a:pos x="77" y="118"/>
                </a:cxn>
                <a:cxn ang="0">
                  <a:pos x="68" y="107"/>
                </a:cxn>
                <a:cxn ang="0">
                  <a:pos x="64" y="102"/>
                </a:cxn>
                <a:cxn ang="0">
                  <a:pos x="56" y="99"/>
                </a:cxn>
                <a:cxn ang="0">
                  <a:pos x="46" y="89"/>
                </a:cxn>
                <a:cxn ang="0">
                  <a:pos x="38" y="83"/>
                </a:cxn>
                <a:cxn ang="0">
                  <a:pos x="27" y="79"/>
                </a:cxn>
                <a:cxn ang="0">
                  <a:pos x="19" y="69"/>
                </a:cxn>
                <a:cxn ang="0">
                  <a:pos x="16" y="55"/>
                </a:cxn>
                <a:cxn ang="0">
                  <a:pos x="14" y="35"/>
                </a:cxn>
                <a:cxn ang="0">
                  <a:pos x="7" y="21"/>
                </a:cxn>
                <a:cxn ang="0">
                  <a:pos x="0" y="15"/>
                </a:cxn>
                <a:cxn ang="0">
                  <a:pos x="21" y="14"/>
                </a:cxn>
                <a:cxn ang="0">
                  <a:pos x="28" y="9"/>
                </a:cxn>
                <a:cxn ang="0">
                  <a:pos x="44" y="8"/>
                </a:cxn>
                <a:cxn ang="0">
                  <a:pos x="51" y="4"/>
                </a:cxn>
                <a:cxn ang="0">
                  <a:pos x="67" y="7"/>
                </a:cxn>
                <a:cxn ang="0">
                  <a:pos x="76" y="5"/>
                </a:cxn>
                <a:cxn ang="0">
                  <a:pos x="86" y="0"/>
                </a:cxn>
                <a:cxn ang="0">
                  <a:pos x="87" y="0"/>
                </a:cxn>
                <a:cxn ang="0">
                  <a:pos x="89" y="8"/>
                </a:cxn>
                <a:cxn ang="0">
                  <a:pos x="99" y="20"/>
                </a:cxn>
                <a:cxn ang="0">
                  <a:pos x="107" y="21"/>
                </a:cxn>
                <a:cxn ang="0">
                  <a:pos x="114" y="26"/>
                </a:cxn>
                <a:cxn ang="0">
                  <a:pos x="115" y="34"/>
                </a:cxn>
                <a:cxn ang="0">
                  <a:pos x="110" y="40"/>
                </a:cxn>
                <a:cxn ang="0">
                  <a:pos x="110" y="48"/>
                </a:cxn>
                <a:cxn ang="0">
                  <a:pos x="113" y="56"/>
                </a:cxn>
                <a:cxn ang="0">
                  <a:pos x="118" y="63"/>
                </a:cxn>
                <a:cxn ang="0">
                  <a:pos x="123" y="68"/>
                </a:cxn>
                <a:cxn ang="0">
                  <a:pos x="137" y="77"/>
                </a:cxn>
                <a:cxn ang="0">
                  <a:pos x="138" y="84"/>
                </a:cxn>
                <a:cxn ang="0">
                  <a:pos x="135" y="93"/>
                </a:cxn>
                <a:cxn ang="0">
                  <a:pos x="126" y="94"/>
                </a:cxn>
                <a:cxn ang="0">
                  <a:pos x="129" y="101"/>
                </a:cxn>
                <a:cxn ang="0">
                  <a:pos x="138" y="113"/>
                </a:cxn>
                <a:cxn ang="0">
                  <a:pos x="153" y="122"/>
                </a:cxn>
                <a:cxn ang="0">
                  <a:pos x="161" y="122"/>
                </a:cxn>
                <a:cxn ang="0">
                  <a:pos x="168" y="123"/>
                </a:cxn>
                <a:cxn ang="0">
                  <a:pos x="164" y="131"/>
                </a:cxn>
                <a:cxn ang="0">
                  <a:pos x="163" y="139"/>
                </a:cxn>
                <a:cxn ang="0">
                  <a:pos x="169" y="144"/>
                </a:cxn>
                <a:cxn ang="0">
                  <a:pos x="168" y="152"/>
                </a:cxn>
                <a:cxn ang="0">
                  <a:pos x="161" y="154"/>
                </a:cxn>
                <a:cxn ang="0">
                  <a:pos x="166" y="160"/>
                </a:cxn>
                <a:cxn ang="0">
                  <a:pos x="169" y="168"/>
                </a:cxn>
                <a:cxn ang="0">
                  <a:pos x="170" y="175"/>
                </a:cxn>
                <a:cxn ang="0">
                  <a:pos x="164" y="175"/>
                </a:cxn>
                <a:cxn ang="0">
                  <a:pos x="147" y="175"/>
                </a:cxn>
                <a:cxn ang="0">
                  <a:pos x="142" y="175"/>
                </a:cxn>
                <a:cxn ang="0">
                  <a:pos x="141" y="150"/>
                </a:cxn>
                <a:cxn ang="0">
                  <a:pos x="137" y="143"/>
                </a:cxn>
                <a:cxn ang="0">
                  <a:pos x="132" y="136"/>
                </a:cxn>
                <a:cxn ang="0">
                  <a:pos x="129" y="128"/>
                </a:cxn>
                <a:cxn ang="0">
                  <a:pos x="121" y="126"/>
                </a:cxn>
                <a:cxn ang="0">
                  <a:pos x="114" y="128"/>
                </a:cxn>
                <a:cxn ang="0">
                  <a:pos x="107" y="128"/>
                </a:cxn>
                <a:cxn ang="0">
                  <a:pos x="99" y="125"/>
                </a:cxn>
                <a:cxn ang="0">
                  <a:pos x="94" y="117"/>
                </a:cxn>
                <a:cxn ang="0">
                  <a:pos x="87" y="116"/>
                </a:cxn>
                <a:cxn ang="0">
                  <a:pos x="77" y="118"/>
                </a:cxn>
              </a:cxnLst>
              <a:rect l="0" t="0" r="r" b="b"/>
              <a:pathLst>
                <a:path w="170" h="175">
                  <a:moveTo>
                    <a:pt x="77" y="118"/>
                  </a:moveTo>
                  <a:lnTo>
                    <a:pt x="68" y="107"/>
                  </a:lnTo>
                  <a:lnTo>
                    <a:pt x="64" y="102"/>
                  </a:lnTo>
                  <a:lnTo>
                    <a:pt x="56" y="99"/>
                  </a:lnTo>
                  <a:lnTo>
                    <a:pt x="46" y="89"/>
                  </a:lnTo>
                  <a:lnTo>
                    <a:pt x="38" y="83"/>
                  </a:lnTo>
                  <a:lnTo>
                    <a:pt x="27" y="79"/>
                  </a:lnTo>
                  <a:lnTo>
                    <a:pt x="19" y="69"/>
                  </a:lnTo>
                  <a:lnTo>
                    <a:pt x="16" y="55"/>
                  </a:lnTo>
                  <a:lnTo>
                    <a:pt x="14" y="35"/>
                  </a:lnTo>
                  <a:lnTo>
                    <a:pt x="7" y="21"/>
                  </a:lnTo>
                  <a:lnTo>
                    <a:pt x="0" y="15"/>
                  </a:lnTo>
                  <a:lnTo>
                    <a:pt x="21" y="14"/>
                  </a:lnTo>
                  <a:lnTo>
                    <a:pt x="28" y="9"/>
                  </a:lnTo>
                  <a:lnTo>
                    <a:pt x="44" y="8"/>
                  </a:lnTo>
                  <a:lnTo>
                    <a:pt x="51" y="4"/>
                  </a:lnTo>
                  <a:lnTo>
                    <a:pt x="67" y="7"/>
                  </a:lnTo>
                  <a:lnTo>
                    <a:pt x="76" y="5"/>
                  </a:lnTo>
                  <a:lnTo>
                    <a:pt x="86" y="0"/>
                  </a:lnTo>
                  <a:lnTo>
                    <a:pt x="87" y="0"/>
                  </a:lnTo>
                  <a:lnTo>
                    <a:pt x="89" y="8"/>
                  </a:lnTo>
                  <a:lnTo>
                    <a:pt x="99" y="20"/>
                  </a:lnTo>
                  <a:lnTo>
                    <a:pt x="107" y="21"/>
                  </a:lnTo>
                  <a:lnTo>
                    <a:pt x="114" y="26"/>
                  </a:lnTo>
                  <a:lnTo>
                    <a:pt x="115" y="34"/>
                  </a:lnTo>
                  <a:lnTo>
                    <a:pt x="110" y="40"/>
                  </a:lnTo>
                  <a:lnTo>
                    <a:pt x="110" y="48"/>
                  </a:lnTo>
                  <a:lnTo>
                    <a:pt x="113" y="56"/>
                  </a:lnTo>
                  <a:lnTo>
                    <a:pt x="118" y="63"/>
                  </a:lnTo>
                  <a:lnTo>
                    <a:pt x="123" y="68"/>
                  </a:lnTo>
                  <a:lnTo>
                    <a:pt x="137" y="77"/>
                  </a:lnTo>
                  <a:lnTo>
                    <a:pt x="138" y="84"/>
                  </a:lnTo>
                  <a:lnTo>
                    <a:pt x="135" y="93"/>
                  </a:lnTo>
                  <a:lnTo>
                    <a:pt x="126" y="94"/>
                  </a:lnTo>
                  <a:lnTo>
                    <a:pt x="129" y="101"/>
                  </a:lnTo>
                  <a:lnTo>
                    <a:pt x="138" y="113"/>
                  </a:lnTo>
                  <a:lnTo>
                    <a:pt x="153" y="122"/>
                  </a:lnTo>
                  <a:lnTo>
                    <a:pt x="161" y="122"/>
                  </a:lnTo>
                  <a:lnTo>
                    <a:pt x="168" y="123"/>
                  </a:lnTo>
                  <a:lnTo>
                    <a:pt x="164" y="131"/>
                  </a:lnTo>
                  <a:lnTo>
                    <a:pt x="163" y="139"/>
                  </a:lnTo>
                  <a:lnTo>
                    <a:pt x="169" y="144"/>
                  </a:lnTo>
                  <a:lnTo>
                    <a:pt x="168" y="152"/>
                  </a:lnTo>
                  <a:lnTo>
                    <a:pt x="161" y="154"/>
                  </a:lnTo>
                  <a:lnTo>
                    <a:pt x="166" y="160"/>
                  </a:lnTo>
                  <a:lnTo>
                    <a:pt x="169" y="168"/>
                  </a:lnTo>
                  <a:lnTo>
                    <a:pt x="170" y="175"/>
                  </a:lnTo>
                  <a:lnTo>
                    <a:pt x="164" y="175"/>
                  </a:lnTo>
                  <a:lnTo>
                    <a:pt x="147" y="175"/>
                  </a:lnTo>
                  <a:lnTo>
                    <a:pt x="142" y="175"/>
                  </a:lnTo>
                  <a:lnTo>
                    <a:pt x="141" y="150"/>
                  </a:lnTo>
                  <a:lnTo>
                    <a:pt x="137" y="143"/>
                  </a:lnTo>
                  <a:lnTo>
                    <a:pt x="132" y="136"/>
                  </a:lnTo>
                  <a:lnTo>
                    <a:pt x="129" y="128"/>
                  </a:lnTo>
                  <a:lnTo>
                    <a:pt x="121" y="126"/>
                  </a:lnTo>
                  <a:lnTo>
                    <a:pt x="114" y="128"/>
                  </a:lnTo>
                  <a:lnTo>
                    <a:pt x="107" y="128"/>
                  </a:lnTo>
                  <a:lnTo>
                    <a:pt x="99" y="125"/>
                  </a:lnTo>
                  <a:lnTo>
                    <a:pt x="94" y="117"/>
                  </a:lnTo>
                  <a:lnTo>
                    <a:pt x="87" y="116"/>
                  </a:lnTo>
                  <a:lnTo>
                    <a:pt x="77" y="11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53" name="Freeform 166"/>
            <p:cNvSpPr>
              <a:spLocks noChangeAspect="1"/>
            </p:cNvSpPr>
            <p:nvPr/>
          </p:nvSpPr>
          <p:spPr bwMode="gray">
            <a:xfrm>
              <a:off x="6708204" y="2983930"/>
              <a:ext cx="709202" cy="415580"/>
            </a:xfrm>
            <a:custGeom>
              <a:avLst/>
              <a:gdLst/>
              <a:ahLst/>
              <a:cxnLst>
                <a:cxn ang="0">
                  <a:pos x="464" y="1136"/>
                </a:cxn>
                <a:cxn ang="0">
                  <a:pos x="355" y="1109"/>
                </a:cxn>
                <a:cxn ang="0">
                  <a:pos x="262" y="1035"/>
                </a:cxn>
                <a:cxn ang="0">
                  <a:pos x="250" y="932"/>
                </a:cxn>
                <a:cxn ang="0">
                  <a:pos x="298" y="882"/>
                </a:cxn>
                <a:cxn ang="0">
                  <a:pos x="413" y="881"/>
                </a:cxn>
                <a:cxn ang="0">
                  <a:pos x="420" y="823"/>
                </a:cxn>
                <a:cxn ang="0">
                  <a:pos x="336" y="731"/>
                </a:cxn>
                <a:cxn ang="0">
                  <a:pos x="242" y="718"/>
                </a:cxn>
                <a:cxn ang="0">
                  <a:pos x="102" y="781"/>
                </a:cxn>
                <a:cxn ang="0">
                  <a:pos x="103" y="699"/>
                </a:cxn>
                <a:cxn ang="0">
                  <a:pos x="33" y="660"/>
                </a:cxn>
                <a:cxn ang="0">
                  <a:pos x="16" y="544"/>
                </a:cxn>
                <a:cxn ang="0">
                  <a:pos x="64" y="458"/>
                </a:cxn>
                <a:cxn ang="0">
                  <a:pos x="126" y="435"/>
                </a:cxn>
                <a:cxn ang="0">
                  <a:pos x="193" y="379"/>
                </a:cxn>
                <a:cxn ang="0">
                  <a:pos x="263" y="359"/>
                </a:cxn>
                <a:cxn ang="0">
                  <a:pos x="329" y="359"/>
                </a:cxn>
                <a:cxn ang="0">
                  <a:pos x="421" y="398"/>
                </a:cxn>
                <a:cxn ang="0">
                  <a:pos x="442" y="408"/>
                </a:cxn>
                <a:cxn ang="0">
                  <a:pos x="531" y="424"/>
                </a:cxn>
                <a:cxn ang="0">
                  <a:pos x="590" y="402"/>
                </a:cxn>
                <a:cxn ang="0">
                  <a:pos x="674" y="434"/>
                </a:cxn>
                <a:cxn ang="0">
                  <a:pos x="760" y="434"/>
                </a:cxn>
                <a:cxn ang="0">
                  <a:pos x="793" y="363"/>
                </a:cxn>
                <a:cxn ang="0">
                  <a:pos x="760" y="306"/>
                </a:cxn>
                <a:cxn ang="0">
                  <a:pos x="807" y="226"/>
                </a:cxn>
                <a:cxn ang="0">
                  <a:pos x="803" y="192"/>
                </a:cxn>
                <a:cxn ang="0">
                  <a:pos x="802" y="150"/>
                </a:cxn>
                <a:cxn ang="0">
                  <a:pos x="878" y="142"/>
                </a:cxn>
                <a:cxn ang="0">
                  <a:pos x="963" y="110"/>
                </a:cxn>
                <a:cxn ang="0">
                  <a:pos x="1034" y="74"/>
                </a:cxn>
                <a:cxn ang="0">
                  <a:pos x="1187" y="42"/>
                </a:cxn>
                <a:cxn ang="0">
                  <a:pos x="1239" y="0"/>
                </a:cxn>
                <a:cxn ang="0">
                  <a:pos x="1324" y="12"/>
                </a:cxn>
                <a:cxn ang="0">
                  <a:pos x="1349" y="102"/>
                </a:cxn>
                <a:cxn ang="0">
                  <a:pos x="1402" y="107"/>
                </a:cxn>
                <a:cxn ang="0">
                  <a:pos x="1425" y="125"/>
                </a:cxn>
                <a:cxn ang="0">
                  <a:pos x="1490" y="145"/>
                </a:cxn>
                <a:cxn ang="0">
                  <a:pos x="1508" y="173"/>
                </a:cxn>
                <a:cxn ang="0">
                  <a:pos x="1586" y="123"/>
                </a:cxn>
                <a:cxn ang="0">
                  <a:pos x="1657" y="118"/>
                </a:cxn>
                <a:cxn ang="0">
                  <a:pos x="1857" y="397"/>
                </a:cxn>
                <a:cxn ang="0">
                  <a:pos x="1938" y="425"/>
                </a:cxn>
                <a:cxn ang="0">
                  <a:pos x="2028" y="408"/>
                </a:cxn>
                <a:cxn ang="0">
                  <a:pos x="2078" y="470"/>
                </a:cxn>
                <a:cxn ang="0">
                  <a:pos x="2159" y="533"/>
                </a:cxn>
                <a:cxn ang="0">
                  <a:pos x="2226" y="554"/>
                </a:cxn>
                <a:cxn ang="0">
                  <a:pos x="2139" y="733"/>
                </a:cxn>
                <a:cxn ang="0">
                  <a:pos x="1978" y="773"/>
                </a:cxn>
                <a:cxn ang="0">
                  <a:pos x="1841" y="901"/>
                </a:cxn>
                <a:cxn ang="0">
                  <a:pos x="1860" y="1061"/>
                </a:cxn>
                <a:cxn ang="0">
                  <a:pos x="1768" y="1061"/>
                </a:cxn>
                <a:cxn ang="0">
                  <a:pos x="1620" y="1050"/>
                </a:cxn>
                <a:cxn ang="0">
                  <a:pos x="1506" y="1034"/>
                </a:cxn>
                <a:cxn ang="0">
                  <a:pos x="1421" y="1070"/>
                </a:cxn>
                <a:cxn ang="0">
                  <a:pos x="1343" y="1081"/>
                </a:cxn>
                <a:cxn ang="0">
                  <a:pos x="1257" y="1153"/>
                </a:cxn>
                <a:cxn ang="0">
                  <a:pos x="1185" y="1180"/>
                </a:cxn>
                <a:cxn ang="0">
                  <a:pos x="1048" y="1021"/>
                </a:cxn>
                <a:cxn ang="0">
                  <a:pos x="742" y="899"/>
                </a:cxn>
              </a:cxnLst>
              <a:rect l="0" t="0" r="r" b="b"/>
              <a:pathLst>
                <a:path w="2230" h="1190">
                  <a:moveTo>
                    <a:pt x="518" y="898"/>
                  </a:moveTo>
                  <a:lnTo>
                    <a:pt x="518" y="968"/>
                  </a:lnTo>
                  <a:lnTo>
                    <a:pt x="518" y="1042"/>
                  </a:lnTo>
                  <a:lnTo>
                    <a:pt x="518" y="1107"/>
                  </a:lnTo>
                  <a:lnTo>
                    <a:pt x="518" y="1168"/>
                  </a:lnTo>
                  <a:lnTo>
                    <a:pt x="506" y="1174"/>
                  </a:lnTo>
                  <a:lnTo>
                    <a:pt x="486" y="1173"/>
                  </a:lnTo>
                  <a:lnTo>
                    <a:pt x="477" y="1166"/>
                  </a:lnTo>
                  <a:lnTo>
                    <a:pt x="468" y="1143"/>
                  </a:lnTo>
                  <a:lnTo>
                    <a:pt x="464" y="1136"/>
                  </a:lnTo>
                  <a:lnTo>
                    <a:pt x="458" y="1130"/>
                  </a:lnTo>
                  <a:lnTo>
                    <a:pt x="452" y="1115"/>
                  </a:lnTo>
                  <a:lnTo>
                    <a:pt x="447" y="1108"/>
                  </a:lnTo>
                  <a:lnTo>
                    <a:pt x="432" y="1102"/>
                  </a:lnTo>
                  <a:lnTo>
                    <a:pt x="425" y="1097"/>
                  </a:lnTo>
                  <a:lnTo>
                    <a:pt x="418" y="1092"/>
                  </a:lnTo>
                  <a:lnTo>
                    <a:pt x="410" y="1092"/>
                  </a:lnTo>
                  <a:lnTo>
                    <a:pt x="402" y="1093"/>
                  </a:lnTo>
                  <a:lnTo>
                    <a:pt x="378" y="1100"/>
                  </a:lnTo>
                  <a:lnTo>
                    <a:pt x="355" y="1109"/>
                  </a:lnTo>
                  <a:lnTo>
                    <a:pt x="325" y="1135"/>
                  </a:lnTo>
                  <a:lnTo>
                    <a:pt x="324" y="1096"/>
                  </a:lnTo>
                  <a:lnTo>
                    <a:pt x="333" y="1085"/>
                  </a:lnTo>
                  <a:lnTo>
                    <a:pt x="335" y="1065"/>
                  </a:lnTo>
                  <a:lnTo>
                    <a:pt x="323" y="1060"/>
                  </a:lnTo>
                  <a:lnTo>
                    <a:pt x="311" y="1059"/>
                  </a:lnTo>
                  <a:lnTo>
                    <a:pt x="291" y="1050"/>
                  </a:lnTo>
                  <a:lnTo>
                    <a:pt x="281" y="1037"/>
                  </a:lnTo>
                  <a:lnTo>
                    <a:pt x="274" y="1037"/>
                  </a:lnTo>
                  <a:lnTo>
                    <a:pt x="262" y="1035"/>
                  </a:lnTo>
                  <a:lnTo>
                    <a:pt x="259" y="996"/>
                  </a:lnTo>
                  <a:lnTo>
                    <a:pt x="247" y="976"/>
                  </a:lnTo>
                  <a:lnTo>
                    <a:pt x="239" y="970"/>
                  </a:lnTo>
                  <a:lnTo>
                    <a:pt x="232" y="956"/>
                  </a:lnTo>
                  <a:lnTo>
                    <a:pt x="209" y="947"/>
                  </a:lnTo>
                  <a:lnTo>
                    <a:pt x="198" y="930"/>
                  </a:lnTo>
                  <a:lnTo>
                    <a:pt x="205" y="924"/>
                  </a:lnTo>
                  <a:lnTo>
                    <a:pt x="223" y="924"/>
                  </a:lnTo>
                  <a:lnTo>
                    <a:pt x="241" y="927"/>
                  </a:lnTo>
                  <a:lnTo>
                    <a:pt x="250" y="932"/>
                  </a:lnTo>
                  <a:lnTo>
                    <a:pt x="258" y="930"/>
                  </a:lnTo>
                  <a:lnTo>
                    <a:pt x="271" y="931"/>
                  </a:lnTo>
                  <a:lnTo>
                    <a:pt x="268" y="924"/>
                  </a:lnTo>
                  <a:lnTo>
                    <a:pt x="264" y="913"/>
                  </a:lnTo>
                  <a:lnTo>
                    <a:pt x="262" y="894"/>
                  </a:lnTo>
                  <a:lnTo>
                    <a:pt x="266" y="883"/>
                  </a:lnTo>
                  <a:lnTo>
                    <a:pt x="276" y="878"/>
                  </a:lnTo>
                  <a:lnTo>
                    <a:pt x="276" y="886"/>
                  </a:lnTo>
                  <a:lnTo>
                    <a:pt x="287" y="887"/>
                  </a:lnTo>
                  <a:lnTo>
                    <a:pt x="298" y="882"/>
                  </a:lnTo>
                  <a:lnTo>
                    <a:pt x="301" y="873"/>
                  </a:lnTo>
                  <a:lnTo>
                    <a:pt x="311" y="865"/>
                  </a:lnTo>
                  <a:lnTo>
                    <a:pt x="328" y="863"/>
                  </a:lnTo>
                  <a:lnTo>
                    <a:pt x="344" y="873"/>
                  </a:lnTo>
                  <a:lnTo>
                    <a:pt x="360" y="879"/>
                  </a:lnTo>
                  <a:lnTo>
                    <a:pt x="376" y="876"/>
                  </a:lnTo>
                  <a:lnTo>
                    <a:pt x="386" y="868"/>
                  </a:lnTo>
                  <a:lnTo>
                    <a:pt x="389" y="870"/>
                  </a:lnTo>
                  <a:lnTo>
                    <a:pt x="394" y="874"/>
                  </a:lnTo>
                  <a:lnTo>
                    <a:pt x="413" y="881"/>
                  </a:lnTo>
                  <a:lnTo>
                    <a:pt x="424" y="887"/>
                  </a:lnTo>
                  <a:lnTo>
                    <a:pt x="435" y="884"/>
                  </a:lnTo>
                  <a:lnTo>
                    <a:pt x="447" y="887"/>
                  </a:lnTo>
                  <a:lnTo>
                    <a:pt x="451" y="879"/>
                  </a:lnTo>
                  <a:lnTo>
                    <a:pt x="443" y="867"/>
                  </a:lnTo>
                  <a:lnTo>
                    <a:pt x="453" y="867"/>
                  </a:lnTo>
                  <a:lnTo>
                    <a:pt x="446" y="855"/>
                  </a:lnTo>
                  <a:lnTo>
                    <a:pt x="435" y="841"/>
                  </a:lnTo>
                  <a:lnTo>
                    <a:pt x="425" y="834"/>
                  </a:lnTo>
                  <a:lnTo>
                    <a:pt x="420" y="823"/>
                  </a:lnTo>
                  <a:lnTo>
                    <a:pt x="409" y="823"/>
                  </a:lnTo>
                  <a:lnTo>
                    <a:pt x="398" y="806"/>
                  </a:lnTo>
                  <a:lnTo>
                    <a:pt x="392" y="782"/>
                  </a:lnTo>
                  <a:lnTo>
                    <a:pt x="384" y="771"/>
                  </a:lnTo>
                  <a:lnTo>
                    <a:pt x="382" y="777"/>
                  </a:lnTo>
                  <a:lnTo>
                    <a:pt x="375" y="760"/>
                  </a:lnTo>
                  <a:lnTo>
                    <a:pt x="370" y="760"/>
                  </a:lnTo>
                  <a:lnTo>
                    <a:pt x="367" y="749"/>
                  </a:lnTo>
                  <a:lnTo>
                    <a:pt x="348" y="732"/>
                  </a:lnTo>
                  <a:lnTo>
                    <a:pt x="336" y="731"/>
                  </a:lnTo>
                  <a:lnTo>
                    <a:pt x="336" y="725"/>
                  </a:lnTo>
                  <a:lnTo>
                    <a:pt x="323" y="723"/>
                  </a:lnTo>
                  <a:lnTo>
                    <a:pt x="312" y="728"/>
                  </a:lnTo>
                  <a:lnTo>
                    <a:pt x="303" y="730"/>
                  </a:lnTo>
                  <a:lnTo>
                    <a:pt x="292" y="736"/>
                  </a:lnTo>
                  <a:lnTo>
                    <a:pt x="289" y="725"/>
                  </a:lnTo>
                  <a:lnTo>
                    <a:pt x="274" y="725"/>
                  </a:lnTo>
                  <a:lnTo>
                    <a:pt x="270" y="722"/>
                  </a:lnTo>
                  <a:lnTo>
                    <a:pt x="257" y="720"/>
                  </a:lnTo>
                  <a:lnTo>
                    <a:pt x="242" y="718"/>
                  </a:lnTo>
                  <a:lnTo>
                    <a:pt x="207" y="752"/>
                  </a:lnTo>
                  <a:lnTo>
                    <a:pt x="188" y="753"/>
                  </a:lnTo>
                  <a:lnTo>
                    <a:pt x="162" y="761"/>
                  </a:lnTo>
                  <a:lnTo>
                    <a:pt x="136" y="765"/>
                  </a:lnTo>
                  <a:lnTo>
                    <a:pt x="114" y="771"/>
                  </a:lnTo>
                  <a:lnTo>
                    <a:pt x="136" y="786"/>
                  </a:lnTo>
                  <a:lnTo>
                    <a:pt x="119" y="793"/>
                  </a:lnTo>
                  <a:lnTo>
                    <a:pt x="112" y="791"/>
                  </a:lnTo>
                  <a:lnTo>
                    <a:pt x="108" y="785"/>
                  </a:lnTo>
                  <a:lnTo>
                    <a:pt x="102" y="781"/>
                  </a:lnTo>
                  <a:lnTo>
                    <a:pt x="93" y="781"/>
                  </a:lnTo>
                  <a:lnTo>
                    <a:pt x="86" y="779"/>
                  </a:lnTo>
                  <a:lnTo>
                    <a:pt x="83" y="773"/>
                  </a:lnTo>
                  <a:lnTo>
                    <a:pt x="90" y="766"/>
                  </a:lnTo>
                  <a:lnTo>
                    <a:pt x="91" y="758"/>
                  </a:lnTo>
                  <a:lnTo>
                    <a:pt x="98" y="755"/>
                  </a:lnTo>
                  <a:lnTo>
                    <a:pt x="107" y="761"/>
                  </a:lnTo>
                  <a:lnTo>
                    <a:pt x="119" y="758"/>
                  </a:lnTo>
                  <a:lnTo>
                    <a:pt x="110" y="701"/>
                  </a:lnTo>
                  <a:lnTo>
                    <a:pt x="103" y="699"/>
                  </a:lnTo>
                  <a:lnTo>
                    <a:pt x="98" y="693"/>
                  </a:lnTo>
                  <a:lnTo>
                    <a:pt x="96" y="684"/>
                  </a:lnTo>
                  <a:lnTo>
                    <a:pt x="92" y="678"/>
                  </a:lnTo>
                  <a:lnTo>
                    <a:pt x="86" y="672"/>
                  </a:lnTo>
                  <a:lnTo>
                    <a:pt x="79" y="672"/>
                  </a:lnTo>
                  <a:lnTo>
                    <a:pt x="61" y="674"/>
                  </a:lnTo>
                  <a:lnTo>
                    <a:pt x="48" y="671"/>
                  </a:lnTo>
                  <a:lnTo>
                    <a:pt x="47" y="679"/>
                  </a:lnTo>
                  <a:lnTo>
                    <a:pt x="34" y="667"/>
                  </a:lnTo>
                  <a:lnTo>
                    <a:pt x="33" y="660"/>
                  </a:lnTo>
                  <a:lnTo>
                    <a:pt x="29" y="652"/>
                  </a:lnTo>
                  <a:lnTo>
                    <a:pt x="34" y="646"/>
                  </a:lnTo>
                  <a:lnTo>
                    <a:pt x="29" y="639"/>
                  </a:lnTo>
                  <a:lnTo>
                    <a:pt x="28" y="631"/>
                  </a:lnTo>
                  <a:lnTo>
                    <a:pt x="0" y="621"/>
                  </a:lnTo>
                  <a:lnTo>
                    <a:pt x="11" y="577"/>
                  </a:lnTo>
                  <a:lnTo>
                    <a:pt x="24" y="570"/>
                  </a:lnTo>
                  <a:lnTo>
                    <a:pt x="29" y="562"/>
                  </a:lnTo>
                  <a:lnTo>
                    <a:pt x="27" y="555"/>
                  </a:lnTo>
                  <a:lnTo>
                    <a:pt x="16" y="544"/>
                  </a:lnTo>
                  <a:lnTo>
                    <a:pt x="26" y="499"/>
                  </a:lnTo>
                  <a:lnTo>
                    <a:pt x="39" y="490"/>
                  </a:lnTo>
                  <a:lnTo>
                    <a:pt x="44" y="484"/>
                  </a:lnTo>
                  <a:lnTo>
                    <a:pt x="42" y="475"/>
                  </a:lnTo>
                  <a:lnTo>
                    <a:pt x="45" y="468"/>
                  </a:lnTo>
                  <a:lnTo>
                    <a:pt x="45" y="461"/>
                  </a:lnTo>
                  <a:lnTo>
                    <a:pt x="49" y="452"/>
                  </a:lnTo>
                  <a:lnTo>
                    <a:pt x="54" y="446"/>
                  </a:lnTo>
                  <a:lnTo>
                    <a:pt x="60" y="451"/>
                  </a:lnTo>
                  <a:lnTo>
                    <a:pt x="64" y="458"/>
                  </a:lnTo>
                  <a:lnTo>
                    <a:pt x="76" y="468"/>
                  </a:lnTo>
                  <a:lnTo>
                    <a:pt x="93" y="505"/>
                  </a:lnTo>
                  <a:lnTo>
                    <a:pt x="102" y="507"/>
                  </a:lnTo>
                  <a:lnTo>
                    <a:pt x="128" y="490"/>
                  </a:lnTo>
                  <a:lnTo>
                    <a:pt x="125" y="481"/>
                  </a:lnTo>
                  <a:lnTo>
                    <a:pt x="122" y="474"/>
                  </a:lnTo>
                  <a:lnTo>
                    <a:pt x="118" y="449"/>
                  </a:lnTo>
                  <a:lnTo>
                    <a:pt x="110" y="436"/>
                  </a:lnTo>
                  <a:lnTo>
                    <a:pt x="119" y="437"/>
                  </a:lnTo>
                  <a:lnTo>
                    <a:pt x="126" y="435"/>
                  </a:lnTo>
                  <a:lnTo>
                    <a:pt x="146" y="420"/>
                  </a:lnTo>
                  <a:lnTo>
                    <a:pt x="153" y="416"/>
                  </a:lnTo>
                  <a:lnTo>
                    <a:pt x="158" y="410"/>
                  </a:lnTo>
                  <a:lnTo>
                    <a:pt x="158" y="402"/>
                  </a:lnTo>
                  <a:lnTo>
                    <a:pt x="158" y="393"/>
                  </a:lnTo>
                  <a:lnTo>
                    <a:pt x="166" y="392"/>
                  </a:lnTo>
                  <a:lnTo>
                    <a:pt x="174" y="393"/>
                  </a:lnTo>
                  <a:lnTo>
                    <a:pt x="182" y="391"/>
                  </a:lnTo>
                  <a:lnTo>
                    <a:pt x="187" y="383"/>
                  </a:lnTo>
                  <a:lnTo>
                    <a:pt x="193" y="379"/>
                  </a:lnTo>
                  <a:lnTo>
                    <a:pt x="201" y="377"/>
                  </a:lnTo>
                  <a:lnTo>
                    <a:pt x="206" y="371"/>
                  </a:lnTo>
                  <a:lnTo>
                    <a:pt x="214" y="366"/>
                  </a:lnTo>
                  <a:lnTo>
                    <a:pt x="219" y="360"/>
                  </a:lnTo>
                  <a:lnTo>
                    <a:pt x="220" y="352"/>
                  </a:lnTo>
                  <a:lnTo>
                    <a:pt x="227" y="348"/>
                  </a:lnTo>
                  <a:lnTo>
                    <a:pt x="242" y="343"/>
                  </a:lnTo>
                  <a:lnTo>
                    <a:pt x="258" y="343"/>
                  </a:lnTo>
                  <a:lnTo>
                    <a:pt x="259" y="351"/>
                  </a:lnTo>
                  <a:lnTo>
                    <a:pt x="263" y="359"/>
                  </a:lnTo>
                  <a:lnTo>
                    <a:pt x="279" y="355"/>
                  </a:lnTo>
                  <a:lnTo>
                    <a:pt x="284" y="361"/>
                  </a:lnTo>
                  <a:lnTo>
                    <a:pt x="289" y="354"/>
                  </a:lnTo>
                  <a:lnTo>
                    <a:pt x="291" y="345"/>
                  </a:lnTo>
                  <a:lnTo>
                    <a:pt x="296" y="339"/>
                  </a:lnTo>
                  <a:lnTo>
                    <a:pt x="303" y="340"/>
                  </a:lnTo>
                  <a:lnTo>
                    <a:pt x="311" y="336"/>
                  </a:lnTo>
                  <a:lnTo>
                    <a:pt x="318" y="336"/>
                  </a:lnTo>
                  <a:lnTo>
                    <a:pt x="324" y="352"/>
                  </a:lnTo>
                  <a:lnTo>
                    <a:pt x="329" y="359"/>
                  </a:lnTo>
                  <a:lnTo>
                    <a:pt x="338" y="355"/>
                  </a:lnTo>
                  <a:lnTo>
                    <a:pt x="345" y="355"/>
                  </a:lnTo>
                  <a:lnTo>
                    <a:pt x="352" y="357"/>
                  </a:lnTo>
                  <a:lnTo>
                    <a:pt x="368" y="354"/>
                  </a:lnTo>
                  <a:lnTo>
                    <a:pt x="376" y="355"/>
                  </a:lnTo>
                  <a:lnTo>
                    <a:pt x="383" y="360"/>
                  </a:lnTo>
                  <a:lnTo>
                    <a:pt x="389" y="365"/>
                  </a:lnTo>
                  <a:lnTo>
                    <a:pt x="395" y="379"/>
                  </a:lnTo>
                  <a:lnTo>
                    <a:pt x="416" y="392"/>
                  </a:lnTo>
                  <a:lnTo>
                    <a:pt x="421" y="398"/>
                  </a:lnTo>
                  <a:lnTo>
                    <a:pt x="424" y="406"/>
                  </a:lnTo>
                  <a:lnTo>
                    <a:pt x="435" y="419"/>
                  </a:lnTo>
                  <a:lnTo>
                    <a:pt x="434" y="426"/>
                  </a:lnTo>
                  <a:lnTo>
                    <a:pt x="435" y="435"/>
                  </a:lnTo>
                  <a:lnTo>
                    <a:pt x="440" y="441"/>
                  </a:lnTo>
                  <a:lnTo>
                    <a:pt x="447" y="438"/>
                  </a:lnTo>
                  <a:lnTo>
                    <a:pt x="447" y="431"/>
                  </a:lnTo>
                  <a:lnTo>
                    <a:pt x="446" y="422"/>
                  </a:lnTo>
                  <a:lnTo>
                    <a:pt x="447" y="415"/>
                  </a:lnTo>
                  <a:lnTo>
                    <a:pt x="442" y="408"/>
                  </a:lnTo>
                  <a:lnTo>
                    <a:pt x="447" y="402"/>
                  </a:lnTo>
                  <a:lnTo>
                    <a:pt x="456" y="400"/>
                  </a:lnTo>
                  <a:lnTo>
                    <a:pt x="458" y="408"/>
                  </a:lnTo>
                  <a:lnTo>
                    <a:pt x="464" y="414"/>
                  </a:lnTo>
                  <a:lnTo>
                    <a:pt x="467" y="421"/>
                  </a:lnTo>
                  <a:lnTo>
                    <a:pt x="473" y="426"/>
                  </a:lnTo>
                  <a:lnTo>
                    <a:pt x="488" y="432"/>
                  </a:lnTo>
                  <a:lnTo>
                    <a:pt x="502" y="440"/>
                  </a:lnTo>
                  <a:lnTo>
                    <a:pt x="511" y="437"/>
                  </a:lnTo>
                  <a:lnTo>
                    <a:pt x="531" y="424"/>
                  </a:lnTo>
                  <a:lnTo>
                    <a:pt x="531" y="415"/>
                  </a:lnTo>
                  <a:lnTo>
                    <a:pt x="537" y="411"/>
                  </a:lnTo>
                  <a:lnTo>
                    <a:pt x="543" y="406"/>
                  </a:lnTo>
                  <a:lnTo>
                    <a:pt x="551" y="405"/>
                  </a:lnTo>
                  <a:lnTo>
                    <a:pt x="559" y="408"/>
                  </a:lnTo>
                  <a:lnTo>
                    <a:pt x="559" y="400"/>
                  </a:lnTo>
                  <a:lnTo>
                    <a:pt x="567" y="399"/>
                  </a:lnTo>
                  <a:lnTo>
                    <a:pt x="575" y="402"/>
                  </a:lnTo>
                  <a:lnTo>
                    <a:pt x="582" y="397"/>
                  </a:lnTo>
                  <a:lnTo>
                    <a:pt x="590" y="402"/>
                  </a:lnTo>
                  <a:lnTo>
                    <a:pt x="601" y="413"/>
                  </a:lnTo>
                  <a:lnTo>
                    <a:pt x="615" y="404"/>
                  </a:lnTo>
                  <a:lnTo>
                    <a:pt x="619" y="397"/>
                  </a:lnTo>
                  <a:lnTo>
                    <a:pt x="634" y="397"/>
                  </a:lnTo>
                  <a:lnTo>
                    <a:pt x="641" y="393"/>
                  </a:lnTo>
                  <a:lnTo>
                    <a:pt x="657" y="399"/>
                  </a:lnTo>
                  <a:lnTo>
                    <a:pt x="662" y="405"/>
                  </a:lnTo>
                  <a:lnTo>
                    <a:pt x="663" y="421"/>
                  </a:lnTo>
                  <a:lnTo>
                    <a:pt x="669" y="427"/>
                  </a:lnTo>
                  <a:lnTo>
                    <a:pt x="674" y="434"/>
                  </a:lnTo>
                  <a:lnTo>
                    <a:pt x="690" y="432"/>
                  </a:lnTo>
                  <a:lnTo>
                    <a:pt x="705" y="435"/>
                  </a:lnTo>
                  <a:lnTo>
                    <a:pt x="705" y="435"/>
                  </a:lnTo>
                  <a:lnTo>
                    <a:pt x="707" y="446"/>
                  </a:lnTo>
                  <a:lnTo>
                    <a:pt x="725" y="445"/>
                  </a:lnTo>
                  <a:lnTo>
                    <a:pt x="731" y="440"/>
                  </a:lnTo>
                  <a:lnTo>
                    <a:pt x="738" y="425"/>
                  </a:lnTo>
                  <a:lnTo>
                    <a:pt x="743" y="419"/>
                  </a:lnTo>
                  <a:lnTo>
                    <a:pt x="749" y="421"/>
                  </a:lnTo>
                  <a:lnTo>
                    <a:pt x="760" y="434"/>
                  </a:lnTo>
                  <a:lnTo>
                    <a:pt x="776" y="435"/>
                  </a:lnTo>
                  <a:lnTo>
                    <a:pt x="792" y="432"/>
                  </a:lnTo>
                  <a:lnTo>
                    <a:pt x="800" y="426"/>
                  </a:lnTo>
                  <a:lnTo>
                    <a:pt x="814" y="421"/>
                  </a:lnTo>
                  <a:lnTo>
                    <a:pt x="827" y="383"/>
                  </a:lnTo>
                  <a:lnTo>
                    <a:pt x="830" y="376"/>
                  </a:lnTo>
                  <a:lnTo>
                    <a:pt x="824" y="370"/>
                  </a:lnTo>
                  <a:lnTo>
                    <a:pt x="823" y="366"/>
                  </a:lnTo>
                  <a:lnTo>
                    <a:pt x="809" y="365"/>
                  </a:lnTo>
                  <a:lnTo>
                    <a:pt x="793" y="363"/>
                  </a:lnTo>
                  <a:lnTo>
                    <a:pt x="787" y="356"/>
                  </a:lnTo>
                  <a:lnTo>
                    <a:pt x="784" y="351"/>
                  </a:lnTo>
                  <a:lnTo>
                    <a:pt x="766" y="348"/>
                  </a:lnTo>
                  <a:lnTo>
                    <a:pt x="759" y="345"/>
                  </a:lnTo>
                  <a:lnTo>
                    <a:pt x="760" y="336"/>
                  </a:lnTo>
                  <a:lnTo>
                    <a:pt x="755" y="329"/>
                  </a:lnTo>
                  <a:lnTo>
                    <a:pt x="739" y="327"/>
                  </a:lnTo>
                  <a:lnTo>
                    <a:pt x="741" y="318"/>
                  </a:lnTo>
                  <a:lnTo>
                    <a:pt x="748" y="316"/>
                  </a:lnTo>
                  <a:lnTo>
                    <a:pt x="760" y="306"/>
                  </a:lnTo>
                  <a:lnTo>
                    <a:pt x="776" y="301"/>
                  </a:lnTo>
                  <a:lnTo>
                    <a:pt x="790" y="291"/>
                  </a:lnTo>
                  <a:lnTo>
                    <a:pt x="793" y="285"/>
                  </a:lnTo>
                  <a:lnTo>
                    <a:pt x="795" y="276"/>
                  </a:lnTo>
                  <a:lnTo>
                    <a:pt x="776" y="249"/>
                  </a:lnTo>
                  <a:lnTo>
                    <a:pt x="784" y="246"/>
                  </a:lnTo>
                  <a:lnTo>
                    <a:pt x="790" y="241"/>
                  </a:lnTo>
                  <a:lnTo>
                    <a:pt x="792" y="232"/>
                  </a:lnTo>
                  <a:lnTo>
                    <a:pt x="798" y="227"/>
                  </a:lnTo>
                  <a:lnTo>
                    <a:pt x="807" y="226"/>
                  </a:lnTo>
                  <a:lnTo>
                    <a:pt x="814" y="227"/>
                  </a:lnTo>
                  <a:lnTo>
                    <a:pt x="823" y="226"/>
                  </a:lnTo>
                  <a:lnTo>
                    <a:pt x="830" y="228"/>
                  </a:lnTo>
                  <a:lnTo>
                    <a:pt x="846" y="228"/>
                  </a:lnTo>
                  <a:lnTo>
                    <a:pt x="855" y="226"/>
                  </a:lnTo>
                  <a:lnTo>
                    <a:pt x="857" y="217"/>
                  </a:lnTo>
                  <a:lnTo>
                    <a:pt x="854" y="211"/>
                  </a:lnTo>
                  <a:lnTo>
                    <a:pt x="839" y="203"/>
                  </a:lnTo>
                  <a:lnTo>
                    <a:pt x="807" y="199"/>
                  </a:lnTo>
                  <a:lnTo>
                    <a:pt x="803" y="192"/>
                  </a:lnTo>
                  <a:lnTo>
                    <a:pt x="805" y="183"/>
                  </a:lnTo>
                  <a:lnTo>
                    <a:pt x="812" y="183"/>
                  </a:lnTo>
                  <a:lnTo>
                    <a:pt x="819" y="180"/>
                  </a:lnTo>
                  <a:lnTo>
                    <a:pt x="823" y="173"/>
                  </a:lnTo>
                  <a:lnTo>
                    <a:pt x="818" y="168"/>
                  </a:lnTo>
                  <a:lnTo>
                    <a:pt x="811" y="172"/>
                  </a:lnTo>
                  <a:lnTo>
                    <a:pt x="795" y="172"/>
                  </a:lnTo>
                  <a:lnTo>
                    <a:pt x="795" y="163"/>
                  </a:lnTo>
                  <a:lnTo>
                    <a:pt x="797" y="156"/>
                  </a:lnTo>
                  <a:lnTo>
                    <a:pt x="802" y="150"/>
                  </a:lnTo>
                  <a:lnTo>
                    <a:pt x="791" y="139"/>
                  </a:lnTo>
                  <a:lnTo>
                    <a:pt x="807" y="137"/>
                  </a:lnTo>
                  <a:lnTo>
                    <a:pt x="811" y="131"/>
                  </a:lnTo>
                  <a:lnTo>
                    <a:pt x="820" y="131"/>
                  </a:lnTo>
                  <a:lnTo>
                    <a:pt x="825" y="137"/>
                  </a:lnTo>
                  <a:lnTo>
                    <a:pt x="833" y="136"/>
                  </a:lnTo>
                  <a:lnTo>
                    <a:pt x="841" y="137"/>
                  </a:lnTo>
                  <a:lnTo>
                    <a:pt x="849" y="135"/>
                  </a:lnTo>
                  <a:lnTo>
                    <a:pt x="873" y="136"/>
                  </a:lnTo>
                  <a:lnTo>
                    <a:pt x="878" y="142"/>
                  </a:lnTo>
                  <a:lnTo>
                    <a:pt x="888" y="130"/>
                  </a:lnTo>
                  <a:lnTo>
                    <a:pt x="895" y="128"/>
                  </a:lnTo>
                  <a:lnTo>
                    <a:pt x="911" y="128"/>
                  </a:lnTo>
                  <a:lnTo>
                    <a:pt x="918" y="123"/>
                  </a:lnTo>
                  <a:lnTo>
                    <a:pt x="926" y="120"/>
                  </a:lnTo>
                  <a:lnTo>
                    <a:pt x="938" y="110"/>
                  </a:lnTo>
                  <a:lnTo>
                    <a:pt x="947" y="113"/>
                  </a:lnTo>
                  <a:lnTo>
                    <a:pt x="952" y="118"/>
                  </a:lnTo>
                  <a:lnTo>
                    <a:pt x="961" y="118"/>
                  </a:lnTo>
                  <a:lnTo>
                    <a:pt x="963" y="110"/>
                  </a:lnTo>
                  <a:lnTo>
                    <a:pt x="980" y="107"/>
                  </a:lnTo>
                  <a:lnTo>
                    <a:pt x="986" y="102"/>
                  </a:lnTo>
                  <a:lnTo>
                    <a:pt x="995" y="102"/>
                  </a:lnTo>
                  <a:lnTo>
                    <a:pt x="1002" y="98"/>
                  </a:lnTo>
                  <a:lnTo>
                    <a:pt x="1010" y="98"/>
                  </a:lnTo>
                  <a:lnTo>
                    <a:pt x="1017" y="101"/>
                  </a:lnTo>
                  <a:lnTo>
                    <a:pt x="1022" y="93"/>
                  </a:lnTo>
                  <a:lnTo>
                    <a:pt x="1023" y="86"/>
                  </a:lnTo>
                  <a:lnTo>
                    <a:pt x="1027" y="79"/>
                  </a:lnTo>
                  <a:lnTo>
                    <a:pt x="1034" y="74"/>
                  </a:lnTo>
                  <a:lnTo>
                    <a:pt x="1042" y="72"/>
                  </a:lnTo>
                  <a:lnTo>
                    <a:pt x="1049" y="76"/>
                  </a:lnTo>
                  <a:lnTo>
                    <a:pt x="1067" y="70"/>
                  </a:lnTo>
                  <a:lnTo>
                    <a:pt x="1067" y="71"/>
                  </a:lnTo>
                  <a:lnTo>
                    <a:pt x="1104" y="61"/>
                  </a:lnTo>
                  <a:lnTo>
                    <a:pt x="1136" y="58"/>
                  </a:lnTo>
                  <a:lnTo>
                    <a:pt x="1164" y="49"/>
                  </a:lnTo>
                  <a:lnTo>
                    <a:pt x="1171" y="44"/>
                  </a:lnTo>
                  <a:lnTo>
                    <a:pt x="1179" y="44"/>
                  </a:lnTo>
                  <a:lnTo>
                    <a:pt x="1187" y="42"/>
                  </a:lnTo>
                  <a:lnTo>
                    <a:pt x="1191" y="36"/>
                  </a:lnTo>
                  <a:lnTo>
                    <a:pt x="1191" y="28"/>
                  </a:lnTo>
                  <a:lnTo>
                    <a:pt x="1191" y="20"/>
                  </a:lnTo>
                  <a:lnTo>
                    <a:pt x="1200" y="21"/>
                  </a:lnTo>
                  <a:lnTo>
                    <a:pt x="1207" y="20"/>
                  </a:lnTo>
                  <a:lnTo>
                    <a:pt x="1212" y="12"/>
                  </a:lnTo>
                  <a:lnTo>
                    <a:pt x="1218" y="7"/>
                  </a:lnTo>
                  <a:lnTo>
                    <a:pt x="1227" y="7"/>
                  </a:lnTo>
                  <a:lnTo>
                    <a:pt x="1232" y="1"/>
                  </a:lnTo>
                  <a:lnTo>
                    <a:pt x="1239" y="0"/>
                  </a:lnTo>
                  <a:lnTo>
                    <a:pt x="1244" y="6"/>
                  </a:lnTo>
                  <a:lnTo>
                    <a:pt x="1253" y="4"/>
                  </a:lnTo>
                  <a:lnTo>
                    <a:pt x="1260" y="7"/>
                  </a:lnTo>
                  <a:lnTo>
                    <a:pt x="1269" y="5"/>
                  </a:lnTo>
                  <a:lnTo>
                    <a:pt x="1276" y="9"/>
                  </a:lnTo>
                  <a:lnTo>
                    <a:pt x="1281" y="15"/>
                  </a:lnTo>
                  <a:lnTo>
                    <a:pt x="1295" y="23"/>
                  </a:lnTo>
                  <a:lnTo>
                    <a:pt x="1302" y="20"/>
                  </a:lnTo>
                  <a:lnTo>
                    <a:pt x="1308" y="15"/>
                  </a:lnTo>
                  <a:lnTo>
                    <a:pt x="1324" y="12"/>
                  </a:lnTo>
                  <a:lnTo>
                    <a:pt x="1332" y="15"/>
                  </a:lnTo>
                  <a:lnTo>
                    <a:pt x="1338" y="21"/>
                  </a:lnTo>
                  <a:lnTo>
                    <a:pt x="1341" y="28"/>
                  </a:lnTo>
                  <a:lnTo>
                    <a:pt x="1343" y="44"/>
                  </a:lnTo>
                  <a:lnTo>
                    <a:pt x="1341" y="53"/>
                  </a:lnTo>
                  <a:lnTo>
                    <a:pt x="1344" y="60"/>
                  </a:lnTo>
                  <a:lnTo>
                    <a:pt x="1356" y="71"/>
                  </a:lnTo>
                  <a:lnTo>
                    <a:pt x="1352" y="79"/>
                  </a:lnTo>
                  <a:lnTo>
                    <a:pt x="1354" y="94"/>
                  </a:lnTo>
                  <a:lnTo>
                    <a:pt x="1349" y="102"/>
                  </a:lnTo>
                  <a:lnTo>
                    <a:pt x="1344" y="107"/>
                  </a:lnTo>
                  <a:lnTo>
                    <a:pt x="1347" y="114"/>
                  </a:lnTo>
                  <a:lnTo>
                    <a:pt x="1350" y="123"/>
                  </a:lnTo>
                  <a:lnTo>
                    <a:pt x="1366" y="118"/>
                  </a:lnTo>
                  <a:lnTo>
                    <a:pt x="1373" y="123"/>
                  </a:lnTo>
                  <a:lnTo>
                    <a:pt x="1381" y="122"/>
                  </a:lnTo>
                  <a:lnTo>
                    <a:pt x="1384" y="113"/>
                  </a:lnTo>
                  <a:lnTo>
                    <a:pt x="1392" y="113"/>
                  </a:lnTo>
                  <a:lnTo>
                    <a:pt x="1399" y="115"/>
                  </a:lnTo>
                  <a:lnTo>
                    <a:pt x="1402" y="107"/>
                  </a:lnTo>
                  <a:lnTo>
                    <a:pt x="1402" y="99"/>
                  </a:lnTo>
                  <a:lnTo>
                    <a:pt x="1409" y="101"/>
                  </a:lnTo>
                  <a:lnTo>
                    <a:pt x="1413" y="108"/>
                  </a:lnTo>
                  <a:lnTo>
                    <a:pt x="1415" y="117"/>
                  </a:lnTo>
                  <a:lnTo>
                    <a:pt x="1420" y="122"/>
                  </a:lnTo>
                  <a:lnTo>
                    <a:pt x="1418" y="129"/>
                  </a:lnTo>
                  <a:lnTo>
                    <a:pt x="1416" y="137"/>
                  </a:lnTo>
                  <a:lnTo>
                    <a:pt x="1432" y="139"/>
                  </a:lnTo>
                  <a:lnTo>
                    <a:pt x="1430" y="131"/>
                  </a:lnTo>
                  <a:lnTo>
                    <a:pt x="1425" y="125"/>
                  </a:lnTo>
                  <a:lnTo>
                    <a:pt x="1432" y="123"/>
                  </a:lnTo>
                  <a:lnTo>
                    <a:pt x="1448" y="125"/>
                  </a:lnTo>
                  <a:lnTo>
                    <a:pt x="1456" y="130"/>
                  </a:lnTo>
                  <a:lnTo>
                    <a:pt x="1461" y="136"/>
                  </a:lnTo>
                  <a:lnTo>
                    <a:pt x="1469" y="140"/>
                  </a:lnTo>
                  <a:lnTo>
                    <a:pt x="1476" y="140"/>
                  </a:lnTo>
                  <a:lnTo>
                    <a:pt x="1480" y="133"/>
                  </a:lnTo>
                  <a:lnTo>
                    <a:pt x="1488" y="129"/>
                  </a:lnTo>
                  <a:lnTo>
                    <a:pt x="1490" y="137"/>
                  </a:lnTo>
                  <a:lnTo>
                    <a:pt x="1490" y="145"/>
                  </a:lnTo>
                  <a:lnTo>
                    <a:pt x="1481" y="147"/>
                  </a:lnTo>
                  <a:lnTo>
                    <a:pt x="1475" y="152"/>
                  </a:lnTo>
                  <a:lnTo>
                    <a:pt x="1470" y="160"/>
                  </a:lnTo>
                  <a:lnTo>
                    <a:pt x="1468" y="167"/>
                  </a:lnTo>
                  <a:lnTo>
                    <a:pt x="1469" y="176"/>
                  </a:lnTo>
                  <a:lnTo>
                    <a:pt x="1474" y="183"/>
                  </a:lnTo>
                  <a:lnTo>
                    <a:pt x="1481" y="182"/>
                  </a:lnTo>
                  <a:lnTo>
                    <a:pt x="1486" y="176"/>
                  </a:lnTo>
                  <a:lnTo>
                    <a:pt x="1501" y="169"/>
                  </a:lnTo>
                  <a:lnTo>
                    <a:pt x="1508" y="173"/>
                  </a:lnTo>
                  <a:lnTo>
                    <a:pt x="1517" y="172"/>
                  </a:lnTo>
                  <a:lnTo>
                    <a:pt x="1522" y="177"/>
                  </a:lnTo>
                  <a:lnTo>
                    <a:pt x="1531" y="177"/>
                  </a:lnTo>
                  <a:lnTo>
                    <a:pt x="1528" y="169"/>
                  </a:lnTo>
                  <a:lnTo>
                    <a:pt x="1533" y="163"/>
                  </a:lnTo>
                  <a:lnTo>
                    <a:pt x="1542" y="163"/>
                  </a:lnTo>
                  <a:lnTo>
                    <a:pt x="1551" y="151"/>
                  </a:lnTo>
                  <a:lnTo>
                    <a:pt x="1567" y="149"/>
                  </a:lnTo>
                  <a:lnTo>
                    <a:pt x="1580" y="137"/>
                  </a:lnTo>
                  <a:lnTo>
                    <a:pt x="1586" y="123"/>
                  </a:lnTo>
                  <a:lnTo>
                    <a:pt x="1592" y="118"/>
                  </a:lnTo>
                  <a:lnTo>
                    <a:pt x="1601" y="119"/>
                  </a:lnTo>
                  <a:lnTo>
                    <a:pt x="1617" y="115"/>
                  </a:lnTo>
                  <a:lnTo>
                    <a:pt x="1624" y="113"/>
                  </a:lnTo>
                  <a:lnTo>
                    <a:pt x="1628" y="106"/>
                  </a:lnTo>
                  <a:lnTo>
                    <a:pt x="1644" y="104"/>
                  </a:lnTo>
                  <a:lnTo>
                    <a:pt x="1657" y="96"/>
                  </a:lnTo>
                  <a:lnTo>
                    <a:pt x="1661" y="103"/>
                  </a:lnTo>
                  <a:lnTo>
                    <a:pt x="1662" y="110"/>
                  </a:lnTo>
                  <a:lnTo>
                    <a:pt x="1657" y="118"/>
                  </a:lnTo>
                  <a:lnTo>
                    <a:pt x="1650" y="122"/>
                  </a:lnTo>
                  <a:lnTo>
                    <a:pt x="1642" y="120"/>
                  </a:lnTo>
                  <a:lnTo>
                    <a:pt x="1641" y="128"/>
                  </a:lnTo>
                  <a:lnTo>
                    <a:pt x="1644" y="135"/>
                  </a:lnTo>
                  <a:lnTo>
                    <a:pt x="1648" y="137"/>
                  </a:lnTo>
                  <a:lnTo>
                    <a:pt x="1720" y="204"/>
                  </a:lnTo>
                  <a:lnTo>
                    <a:pt x="1840" y="422"/>
                  </a:lnTo>
                  <a:lnTo>
                    <a:pt x="1854" y="411"/>
                  </a:lnTo>
                  <a:lnTo>
                    <a:pt x="1857" y="404"/>
                  </a:lnTo>
                  <a:lnTo>
                    <a:pt x="1857" y="397"/>
                  </a:lnTo>
                  <a:lnTo>
                    <a:pt x="1868" y="383"/>
                  </a:lnTo>
                  <a:lnTo>
                    <a:pt x="1876" y="382"/>
                  </a:lnTo>
                  <a:lnTo>
                    <a:pt x="1881" y="388"/>
                  </a:lnTo>
                  <a:lnTo>
                    <a:pt x="1889" y="391"/>
                  </a:lnTo>
                  <a:lnTo>
                    <a:pt x="1903" y="399"/>
                  </a:lnTo>
                  <a:lnTo>
                    <a:pt x="1899" y="406"/>
                  </a:lnTo>
                  <a:lnTo>
                    <a:pt x="1903" y="413"/>
                  </a:lnTo>
                  <a:lnTo>
                    <a:pt x="1909" y="414"/>
                  </a:lnTo>
                  <a:lnTo>
                    <a:pt x="1914" y="427"/>
                  </a:lnTo>
                  <a:lnTo>
                    <a:pt x="1938" y="425"/>
                  </a:lnTo>
                  <a:lnTo>
                    <a:pt x="1956" y="430"/>
                  </a:lnTo>
                  <a:lnTo>
                    <a:pt x="1963" y="427"/>
                  </a:lnTo>
                  <a:lnTo>
                    <a:pt x="1979" y="427"/>
                  </a:lnTo>
                  <a:lnTo>
                    <a:pt x="1981" y="420"/>
                  </a:lnTo>
                  <a:lnTo>
                    <a:pt x="1986" y="414"/>
                  </a:lnTo>
                  <a:lnTo>
                    <a:pt x="1995" y="415"/>
                  </a:lnTo>
                  <a:lnTo>
                    <a:pt x="2002" y="415"/>
                  </a:lnTo>
                  <a:lnTo>
                    <a:pt x="2006" y="408"/>
                  </a:lnTo>
                  <a:lnTo>
                    <a:pt x="2012" y="403"/>
                  </a:lnTo>
                  <a:lnTo>
                    <a:pt x="2028" y="408"/>
                  </a:lnTo>
                  <a:lnTo>
                    <a:pt x="2035" y="411"/>
                  </a:lnTo>
                  <a:lnTo>
                    <a:pt x="2039" y="419"/>
                  </a:lnTo>
                  <a:lnTo>
                    <a:pt x="2046" y="422"/>
                  </a:lnTo>
                  <a:lnTo>
                    <a:pt x="2056" y="435"/>
                  </a:lnTo>
                  <a:lnTo>
                    <a:pt x="2064" y="438"/>
                  </a:lnTo>
                  <a:lnTo>
                    <a:pt x="2067" y="446"/>
                  </a:lnTo>
                  <a:lnTo>
                    <a:pt x="2065" y="454"/>
                  </a:lnTo>
                  <a:lnTo>
                    <a:pt x="2066" y="462"/>
                  </a:lnTo>
                  <a:lnTo>
                    <a:pt x="2070" y="469"/>
                  </a:lnTo>
                  <a:lnTo>
                    <a:pt x="2078" y="470"/>
                  </a:lnTo>
                  <a:lnTo>
                    <a:pt x="2099" y="481"/>
                  </a:lnTo>
                  <a:lnTo>
                    <a:pt x="2103" y="489"/>
                  </a:lnTo>
                  <a:lnTo>
                    <a:pt x="2103" y="496"/>
                  </a:lnTo>
                  <a:lnTo>
                    <a:pt x="2110" y="500"/>
                  </a:lnTo>
                  <a:lnTo>
                    <a:pt x="2115" y="505"/>
                  </a:lnTo>
                  <a:lnTo>
                    <a:pt x="2123" y="519"/>
                  </a:lnTo>
                  <a:lnTo>
                    <a:pt x="2129" y="524"/>
                  </a:lnTo>
                  <a:lnTo>
                    <a:pt x="2145" y="526"/>
                  </a:lnTo>
                  <a:lnTo>
                    <a:pt x="2152" y="531"/>
                  </a:lnTo>
                  <a:lnTo>
                    <a:pt x="2159" y="533"/>
                  </a:lnTo>
                  <a:lnTo>
                    <a:pt x="2168" y="534"/>
                  </a:lnTo>
                  <a:lnTo>
                    <a:pt x="2177" y="534"/>
                  </a:lnTo>
                  <a:lnTo>
                    <a:pt x="2179" y="527"/>
                  </a:lnTo>
                  <a:lnTo>
                    <a:pt x="2184" y="521"/>
                  </a:lnTo>
                  <a:lnTo>
                    <a:pt x="2199" y="515"/>
                  </a:lnTo>
                  <a:lnTo>
                    <a:pt x="2201" y="523"/>
                  </a:lnTo>
                  <a:lnTo>
                    <a:pt x="2205" y="531"/>
                  </a:lnTo>
                  <a:lnTo>
                    <a:pt x="2212" y="535"/>
                  </a:lnTo>
                  <a:lnTo>
                    <a:pt x="2218" y="549"/>
                  </a:lnTo>
                  <a:lnTo>
                    <a:pt x="2226" y="554"/>
                  </a:lnTo>
                  <a:lnTo>
                    <a:pt x="2230" y="561"/>
                  </a:lnTo>
                  <a:lnTo>
                    <a:pt x="2217" y="587"/>
                  </a:lnTo>
                  <a:lnTo>
                    <a:pt x="2207" y="607"/>
                  </a:lnTo>
                  <a:lnTo>
                    <a:pt x="2191" y="623"/>
                  </a:lnTo>
                  <a:lnTo>
                    <a:pt x="2171" y="629"/>
                  </a:lnTo>
                  <a:lnTo>
                    <a:pt x="2156" y="628"/>
                  </a:lnTo>
                  <a:lnTo>
                    <a:pt x="2145" y="648"/>
                  </a:lnTo>
                  <a:lnTo>
                    <a:pt x="2140" y="673"/>
                  </a:lnTo>
                  <a:lnTo>
                    <a:pt x="2142" y="696"/>
                  </a:lnTo>
                  <a:lnTo>
                    <a:pt x="2139" y="733"/>
                  </a:lnTo>
                  <a:lnTo>
                    <a:pt x="2116" y="741"/>
                  </a:lnTo>
                  <a:lnTo>
                    <a:pt x="2102" y="753"/>
                  </a:lnTo>
                  <a:lnTo>
                    <a:pt x="2092" y="745"/>
                  </a:lnTo>
                  <a:lnTo>
                    <a:pt x="2082" y="736"/>
                  </a:lnTo>
                  <a:lnTo>
                    <a:pt x="2048" y="739"/>
                  </a:lnTo>
                  <a:lnTo>
                    <a:pt x="2030" y="733"/>
                  </a:lnTo>
                  <a:lnTo>
                    <a:pt x="2021" y="726"/>
                  </a:lnTo>
                  <a:lnTo>
                    <a:pt x="1996" y="726"/>
                  </a:lnTo>
                  <a:lnTo>
                    <a:pt x="1986" y="747"/>
                  </a:lnTo>
                  <a:lnTo>
                    <a:pt x="1978" y="773"/>
                  </a:lnTo>
                  <a:lnTo>
                    <a:pt x="1965" y="800"/>
                  </a:lnTo>
                  <a:lnTo>
                    <a:pt x="1959" y="824"/>
                  </a:lnTo>
                  <a:lnTo>
                    <a:pt x="1956" y="844"/>
                  </a:lnTo>
                  <a:lnTo>
                    <a:pt x="1958" y="859"/>
                  </a:lnTo>
                  <a:lnTo>
                    <a:pt x="1964" y="877"/>
                  </a:lnTo>
                  <a:lnTo>
                    <a:pt x="1957" y="882"/>
                  </a:lnTo>
                  <a:lnTo>
                    <a:pt x="1902" y="884"/>
                  </a:lnTo>
                  <a:lnTo>
                    <a:pt x="1879" y="892"/>
                  </a:lnTo>
                  <a:lnTo>
                    <a:pt x="1861" y="894"/>
                  </a:lnTo>
                  <a:lnTo>
                    <a:pt x="1841" y="901"/>
                  </a:lnTo>
                  <a:lnTo>
                    <a:pt x="1831" y="909"/>
                  </a:lnTo>
                  <a:lnTo>
                    <a:pt x="1840" y="916"/>
                  </a:lnTo>
                  <a:lnTo>
                    <a:pt x="1847" y="931"/>
                  </a:lnTo>
                  <a:lnTo>
                    <a:pt x="1852" y="969"/>
                  </a:lnTo>
                  <a:lnTo>
                    <a:pt x="1856" y="984"/>
                  </a:lnTo>
                  <a:lnTo>
                    <a:pt x="1863" y="996"/>
                  </a:lnTo>
                  <a:lnTo>
                    <a:pt x="1872" y="1023"/>
                  </a:lnTo>
                  <a:lnTo>
                    <a:pt x="1872" y="1038"/>
                  </a:lnTo>
                  <a:lnTo>
                    <a:pt x="1859" y="1048"/>
                  </a:lnTo>
                  <a:lnTo>
                    <a:pt x="1860" y="1061"/>
                  </a:lnTo>
                  <a:lnTo>
                    <a:pt x="1852" y="1070"/>
                  </a:lnTo>
                  <a:lnTo>
                    <a:pt x="1850" y="1081"/>
                  </a:lnTo>
                  <a:lnTo>
                    <a:pt x="1850" y="1099"/>
                  </a:lnTo>
                  <a:lnTo>
                    <a:pt x="1850" y="1099"/>
                  </a:lnTo>
                  <a:lnTo>
                    <a:pt x="1843" y="1099"/>
                  </a:lnTo>
                  <a:lnTo>
                    <a:pt x="1823" y="1086"/>
                  </a:lnTo>
                  <a:lnTo>
                    <a:pt x="1807" y="1083"/>
                  </a:lnTo>
                  <a:lnTo>
                    <a:pt x="1792" y="1065"/>
                  </a:lnTo>
                  <a:lnTo>
                    <a:pt x="1776" y="1064"/>
                  </a:lnTo>
                  <a:lnTo>
                    <a:pt x="1768" y="1061"/>
                  </a:lnTo>
                  <a:lnTo>
                    <a:pt x="1760" y="1061"/>
                  </a:lnTo>
                  <a:lnTo>
                    <a:pt x="1753" y="1057"/>
                  </a:lnTo>
                  <a:lnTo>
                    <a:pt x="1745" y="1056"/>
                  </a:lnTo>
                  <a:lnTo>
                    <a:pt x="1721" y="1057"/>
                  </a:lnTo>
                  <a:lnTo>
                    <a:pt x="1698" y="1054"/>
                  </a:lnTo>
                  <a:lnTo>
                    <a:pt x="1689" y="1055"/>
                  </a:lnTo>
                  <a:lnTo>
                    <a:pt x="1674" y="1048"/>
                  </a:lnTo>
                  <a:lnTo>
                    <a:pt x="1667" y="1048"/>
                  </a:lnTo>
                  <a:lnTo>
                    <a:pt x="1652" y="1054"/>
                  </a:lnTo>
                  <a:lnTo>
                    <a:pt x="1620" y="1050"/>
                  </a:lnTo>
                  <a:lnTo>
                    <a:pt x="1612" y="1050"/>
                  </a:lnTo>
                  <a:lnTo>
                    <a:pt x="1596" y="1054"/>
                  </a:lnTo>
                  <a:lnTo>
                    <a:pt x="1580" y="1054"/>
                  </a:lnTo>
                  <a:lnTo>
                    <a:pt x="1571" y="1053"/>
                  </a:lnTo>
                  <a:lnTo>
                    <a:pt x="1565" y="1048"/>
                  </a:lnTo>
                  <a:lnTo>
                    <a:pt x="1556" y="1046"/>
                  </a:lnTo>
                  <a:lnTo>
                    <a:pt x="1540" y="1048"/>
                  </a:lnTo>
                  <a:lnTo>
                    <a:pt x="1534" y="1043"/>
                  </a:lnTo>
                  <a:lnTo>
                    <a:pt x="1513" y="1030"/>
                  </a:lnTo>
                  <a:lnTo>
                    <a:pt x="1506" y="1034"/>
                  </a:lnTo>
                  <a:lnTo>
                    <a:pt x="1499" y="1035"/>
                  </a:lnTo>
                  <a:lnTo>
                    <a:pt x="1491" y="1038"/>
                  </a:lnTo>
                  <a:lnTo>
                    <a:pt x="1479" y="1048"/>
                  </a:lnTo>
                  <a:lnTo>
                    <a:pt x="1478" y="1056"/>
                  </a:lnTo>
                  <a:lnTo>
                    <a:pt x="1473" y="1064"/>
                  </a:lnTo>
                  <a:lnTo>
                    <a:pt x="1470" y="1080"/>
                  </a:lnTo>
                  <a:lnTo>
                    <a:pt x="1467" y="1086"/>
                  </a:lnTo>
                  <a:lnTo>
                    <a:pt x="1451" y="1082"/>
                  </a:lnTo>
                  <a:lnTo>
                    <a:pt x="1437" y="1075"/>
                  </a:lnTo>
                  <a:lnTo>
                    <a:pt x="1421" y="1070"/>
                  </a:lnTo>
                  <a:lnTo>
                    <a:pt x="1414" y="1066"/>
                  </a:lnTo>
                  <a:lnTo>
                    <a:pt x="1406" y="1064"/>
                  </a:lnTo>
                  <a:lnTo>
                    <a:pt x="1398" y="1064"/>
                  </a:lnTo>
                  <a:lnTo>
                    <a:pt x="1383" y="1061"/>
                  </a:lnTo>
                  <a:lnTo>
                    <a:pt x="1375" y="1062"/>
                  </a:lnTo>
                  <a:lnTo>
                    <a:pt x="1367" y="1060"/>
                  </a:lnTo>
                  <a:lnTo>
                    <a:pt x="1351" y="1062"/>
                  </a:lnTo>
                  <a:lnTo>
                    <a:pt x="1344" y="1066"/>
                  </a:lnTo>
                  <a:lnTo>
                    <a:pt x="1341" y="1073"/>
                  </a:lnTo>
                  <a:lnTo>
                    <a:pt x="1343" y="1081"/>
                  </a:lnTo>
                  <a:lnTo>
                    <a:pt x="1338" y="1088"/>
                  </a:lnTo>
                  <a:lnTo>
                    <a:pt x="1334" y="1096"/>
                  </a:lnTo>
                  <a:lnTo>
                    <a:pt x="1332" y="1103"/>
                  </a:lnTo>
                  <a:lnTo>
                    <a:pt x="1320" y="1115"/>
                  </a:lnTo>
                  <a:lnTo>
                    <a:pt x="1313" y="1118"/>
                  </a:lnTo>
                  <a:lnTo>
                    <a:pt x="1306" y="1115"/>
                  </a:lnTo>
                  <a:lnTo>
                    <a:pt x="1300" y="1130"/>
                  </a:lnTo>
                  <a:lnTo>
                    <a:pt x="1293" y="1135"/>
                  </a:lnTo>
                  <a:lnTo>
                    <a:pt x="1271" y="1145"/>
                  </a:lnTo>
                  <a:lnTo>
                    <a:pt x="1257" y="1153"/>
                  </a:lnTo>
                  <a:lnTo>
                    <a:pt x="1252" y="1159"/>
                  </a:lnTo>
                  <a:lnTo>
                    <a:pt x="1244" y="1162"/>
                  </a:lnTo>
                  <a:lnTo>
                    <a:pt x="1237" y="1167"/>
                  </a:lnTo>
                  <a:lnTo>
                    <a:pt x="1233" y="1174"/>
                  </a:lnTo>
                  <a:lnTo>
                    <a:pt x="1231" y="1182"/>
                  </a:lnTo>
                  <a:lnTo>
                    <a:pt x="1225" y="1186"/>
                  </a:lnTo>
                  <a:lnTo>
                    <a:pt x="1217" y="1190"/>
                  </a:lnTo>
                  <a:lnTo>
                    <a:pt x="1209" y="1189"/>
                  </a:lnTo>
                  <a:lnTo>
                    <a:pt x="1194" y="1183"/>
                  </a:lnTo>
                  <a:lnTo>
                    <a:pt x="1185" y="1180"/>
                  </a:lnTo>
                  <a:lnTo>
                    <a:pt x="1172" y="1172"/>
                  </a:lnTo>
                  <a:lnTo>
                    <a:pt x="1115" y="1178"/>
                  </a:lnTo>
                  <a:lnTo>
                    <a:pt x="1105" y="1132"/>
                  </a:lnTo>
                  <a:lnTo>
                    <a:pt x="1072" y="1126"/>
                  </a:lnTo>
                  <a:lnTo>
                    <a:pt x="1071" y="1113"/>
                  </a:lnTo>
                  <a:lnTo>
                    <a:pt x="1071" y="1097"/>
                  </a:lnTo>
                  <a:lnTo>
                    <a:pt x="1080" y="1096"/>
                  </a:lnTo>
                  <a:lnTo>
                    <a:pt x="1078" y="1053"/>
                  </a:lnTo>
                  <a:lnTo>
                    <a:pt x="1065" y="1054"/>
                  </a:lnTo>
                  <a:lnTo>
                    <a:pt x="1048" y="1021"/>
                  </a:lnTo>
                  <a:lnTo>
                    <a:pt x="1035" y="1011"/>
                  </a:lnTo>
                  <a:lnTo>
                    <a:pt x="1028" y="1007"/>
                  </a:lnTo>
                  <a:lnTo>
                    <a:pt x="1016" y="997"/>
                  </a:lnTo>
                  <a:lnTo>
                    <a:pt x="1010" y="991"/>
                  </a:lnTo>
                  <a:lnTo>
                    <a:pt x="996" y="997"/>
                  </a:lnTo>
                  <a:lnTo>
                    <a:pt x="920" y="996"/>
                  </a:lnTo>
                  <a:lnTo>
                    <a:pt x="849" y="1008"/>
                  </a:lnTo>
                  <a:lnTo>
                    <a:pt x="820" y="980"/>
                  </a:lnTo>
                  <a:lnTo>
                    <a:pt x="777" y="932"/>
                  </a:lnTo>
                  <a:lnTo>
                    <a:pt x="742" y="899"/>
                  </a:lnTo>
                  <a:lnTo>
                    <a:pt x="728" y="889"/>
                  </a:lnTo>
                  <a:lnTo>
                    <a:pt x="709" y="874"/>
                  </a:lnTo>
                  <a:lnTo>
                    <a:pt x="689" y="860"/>
                  </a:lnTo>
                  <a:lnTo>
                    <a:pt x="658" y="847"/>
                  </a:lnTo>
                  <a:lnTo>
                    <a:pt x="518" y="89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54" name="Freeform 167"/>
            <p:cNvSpPr>
              <a:spLocks noChangeAspect="1"/>
            </p:cNvSpPr>
            <p:nvPr/>
          </p:nvSpPr>
          <p:spPr bwMode="gray">
            <a:xfrm>
              <a:off x="6592124" y="3334904"/>
              <a:ext cx="117670" cy="62861"/>
            </a:xfrm>
            <a:custGeom>
              <a:avLst/>
              <a:gdLst/>
              <a:ahLst/>
              <a:cxnLst>
                <a:cxn ang="0">
                  <a:pos x="94" y="154"/>
                </a:cxn>
                <a:cxn ang="0">
                  <a:pos x="115" y="150"/>
                </a:cxn>
                <a:cxn ang="0">
                  <a:pos x="140" y="156"/>
                </a:cxn>
                <a:cxn ang="0">
                  <a:pos x="150" y="145"/>
                </a:cxn>
                <a:cxn ang="0">
                  <a:pos x="166" y="155"/>
                </a:cxn>
                <a:cxn ang="0">
                  <a:pos x="182" y="172"/>
                </a:cxn>
                <a:cxn ang="0">
                  <a:pos x="212" y="181"/>
                </a:cxn>
                <a:cxn ang="0">
                  <a:pos x="235" y="175"/>
                </a:cxn>
                <a:cxn ang="0">
                  <a:pos x="258" y="174"/>
                </a:cxn>
                <a:cxn ang="0">
                  <a:pos x="277" y="167"/>
                </a:cxn>
                <a:cxn ang="0">
                  <a:pos x="296" y="156"/>
                </a:cxn>
                <a:cxn ang="0">
                  <a:pos x="311" y="160"/>
                </a:cxn>
                <a:cxn ang="0">
                  <a:pos x="332" y="174"/>
                </a:cxn>
                <a:cxn ang="0">
                  <a:pos x="355" y="179"/>
                </a:cxn>
                <a:cxn ang="0">
                  <a:pos x="368" y="174"/>
                </a:cxn>
                <a:cxn ang="0">
                  <a:pos x="352" y="156"/>
                </a:cxn>
                <a:cxn ang="0">
                  <a:pos x="343" y="143"/>
                </a:cxn>
                <a:cxn ang="0">
                  <a:pos x="355" y="124"/>
                </a:cxn>
                <a:cxn ang="0">
                  <a:pos x="352" y="121"/>
                </a:cxn>
                <a:cxn ang="0">
                  <a:pos x="329" y="111"/>
                </a:cxn>
                <a:cxn ang="0">
                  <a:pos x="321" y="86"/>
                </a:cxn>
                <a:cxn ang="0">
                  <a:pos x="310" y="75"/>
                </a:cxn>
                <a:cxn ang="0">
                  <a:pos x="295" y="72"/>
                </a:cxn>
                <a:cxn ang="0">
                  <a:pos x="274" y="63"/>
                </a:cxn>
                <a:cxn ang="0">
                  <a:pos x="261" y="59"/>
                </a:cxn>
                <a:cxn ang="0">
                  <a:pos x="237" y="66"/>
                </a:cxn>
                <a:cxn ang="0">
                  <a:pos x="223" y="73"/>
                </a:cxn>
                <a:cxn ang="0">
                  <a:pos x="213" y="61"/>
                </a:cxn>
                <a:cxn ang="0">
                  <a:pos x="171" y="34"/>
                </a:cxn>
                <a:cxn ang="0">
                  <a:pos x="148" y="29"/>
                </a:cxn>
                <a:cxn ang="0">
                  <a:pos x="108" y="26"/>
                </a:cxn>
                <a:cxn ang="0">
                  <a:pos x="76" y="15"/>
                </a:cxn>
                <a:cxn ang="0">
                  <a:pos x="54" y="7"/>
                </a:cxn>
                <a:cxn ang="0">
                  <a:pos x="31" y="3"/>
                </a:cxn>
                <a:cxn ang="0">
                  <a:pos x="15" y="2"/>
                </a:cxn>
                <a:cxn ang="0">
                  <a:pos x="5" y="11"/>
                </a:cxn>
                <a:cxn ang="0">
                  <a:pos x="21" y="27"/>
                </a:cxn>
                <a:cxn ang="0">
                  <a:pos x="56" y="39"/>
                </a:cxn>
                <a:cxn ang="0">
                  <a:pos x="78" y="57"/>
                </a:cxn>
                <a:cxn ang="0">
                  <a:pos x="87" y="82"/>
                </a:cxn>
                <a:cxn ang="0">
                  <a:pos x="100" y="113"/>
                </a:cxn>
                <a:cxn ang="0">
                  <a:pos x="99" y="138"/>
                </a:cxn>
                <a:cxn ang="0">
                  <a:pos x="87" y="148"/>
                </a:cxn>
              </a:cxnLst>
              <a:rect l="0" t="0" r="r" b="b"/>
              <a:pathLst>
                <a:path w="368" h="182">
                  <a:moveTo>
                    <a:pt x="87" y="148"/>
                  </a:moveTo>
                  <a:lnTo>
                    <a:pt x="94" y="154"/>
                  </a:lnTo>
                  <a:lnTo>
                    <a:pt x="102" y="154"/>
                  </a:lnTo>
                  <a:lnTo>
                    <a:pt x="115" y="150"/>
                  </a:lnTo>
                  <a:lnTo>
                    <a:pt x="134" y="156"/>
                  </a:lnTo>
                  <a:lnTo>
                    <a:pt x="140" y="156"/>
                  </a:lnTo>
                  <a:lnTo>
                    <a:pt x="145" y="149"/>
                  </a:lnTo>
                  <a:lnTo>
                    <a:pt x="150" y="145"/>
                  </a:lnTo>
                  <a:lnTo>
                    <a:pt x="158" y="148"/>
                  </a:lnTo>
                  <a:lnTo>
                    <a:pt x="166" y="155"/>
                  </a:lnTo>
                  <a:lnTo>
                    <a:pt x="177" y="171"/>
                  </a:lnTo>
                  <a:lnTo>
                    <a:pt x="182" y="172"/>
                  </a:lnTo>
                  <a:lnTo>
                    <a:pt x="191" y="182"/>
                  </a:lnTo>
                  <a:lnTo>
                    <a:pt x="212" y="181"/>
                  </a:lnTo>
                  <a:lnTo>
                    <a:pt x="219" y="176"/>
                  </a:lnTo>
                  <a:lnTo>
                    <a:pt x="235" y="175"/>
                  </a:lnTo>
                  <a:lnTo>
                    <a:pt x="242" y="171"/>
                  </a:lnTo>
                  <a:lnTo>
                    <a:pt x="258" y="174"/>
                  </a:lnTo>
                  <a:lnTo>
                    <a:pt x="267" y="172"/>
                  </a:lnTo>
                  <a:lnTo>
                    <a:pt x="277" y="167"/>
                  </a:lnTo>
                  <a:lnTo>
                    <a:pt x="282" y="166"/>
                  </a:lnTo>
                  <a:lnTo>
                    <a:pt x="296" y="156"/>
                  </a:lnTo>
                  <a:lnTo>
                    <a:pt x="304" y="158"/>
                  </a:lnTo>
                  <a:lnTo>
                    <a:pt x="311" y="160"/>
                  </a:lnTo>
                  <a:lnTo>
                    <a:pt x="317" y="166"/>
                  </a:lnTo>
                  <a:lnTo>
                    <a:pt x="332" y="174"/>
                  </a:lnTo>
                  <a:lnTo>
                    <a:pt x="341" y="172"/>
                  </a:lnTo>
                  <a:lnTo>
                    <a:pt x="355" y="179"/>
                  </a:lnTo>
                  <a:lnTo>
                    <a:pt x="364" y="180"/>
                  </a:lnTo>
                  <a:lnTo>
                    <a:pt x="368" y="174"/>
                  </a:lnTo>
                  <a:lnTo>
                    <a:pt x="365" y="166"/>
                  </a:lnTo>
                  <a:lnTo>
                    <a:pt x="352" y="156"/>
                  </a:lnTo>
                  <a:lnTo>
                    <a:pt x="349" y="149"/>
                  </a:lnTo>
                  <a:lnTo>
                    <a:pt x="343" y="143"/>
                  </a:lnTo>
                  <a:lnTo>
                    <a:pt x="344" y="134"/>
                  </a:lnTo>
                  <a:lnTo>
                    <a:pt x="355" y="124"/>
                  </a:lnTo>
                  <a:lnTo>
                    <a:pt x="357" y="124"/>
                  </a:lnTo>
                  <a:lnTo>
                    <a:pt x="352" y="121"/>
                  </a:lnTo>
                  <a:lnTo>
                    <a:pt x="345" y="116"/>
                  </a:lnTo>
                  <a:lnTo>
                    <a:pt x="329" y="111"/>
                  </a:lnTo>
                  <a:lnTo>
                    <a:pt x="317" y="101"/>
                  </a:lnTo>
                  <a:lnTo>
                    <a:pt x="321" y="86"/>
                  </a:lnTo>
                  <a:lnTo>
                    <a:pt x="317" y="79"/>
                  </a:lnTo>
                  <a:lnTo>
                    <a:pt x="310" y="75"/>
                  </a:lnTo>
                  <a:lnTo>
                    <a:pt x="302" y="75"/>
                  </a:lnTo>
                  <a:lnTo>
                    <a:pt x="295" y="72"/>
                  </a:lnTo>
                  <a:lnTo>
                    <a:pt x="290" y="66"/>
                  </a:lnTo>
                  <a:lnTo>
                    <a:pt x="274" y="63"/>
                  </a:lnTo>
                  <a:lnTo>
                    <a:pt x="267" y="64"/>
                  </a:lnTo>
                  <a:lnTo>
                    <a:pt x="261" y="59"/>
                  </a:lnTo>
                  <a:lnTo>
                    <a:pt x="252" y="59"/>
                  </a:lnTo>
                  <a:lnTo>
                    <a:pt x="237" y="66"/>
                  </a:lnTo>
                  <a:lnTo>
                    <a:pt x="231" y="70"/>
                  </a:lnTo>
                  <a:lnTo>
                    <a:pt x="223" y="73"/>
                  </a:lnTo>
                  <a:lnTo>
                    <a:pt x="215" y="69"/>
                  </a:lnTo>
                  <a:lnTo>
                    <a:pt x="213" y="61"/>
                  </a:lnTo>
                  <a:lnTo>
                    <a:pt x="175" y="39"/>
                  </a:lnTo>
                  <a:lnTo>
                    <a:pt x="171" y="34"/>
                  </a:lnTo>
                  <a:lnTo>
                    <a:pt x="164" y="29"/>
                  </a:lnTo>
                  <a:lnTo>
                    <a:pt x="148" y="29"/>
                  </a:lnTo>
                  <a:lnTo>
                    <a:pt x="132" y="24"/>
                  </a:lnTo>
                  <a:lnTo>
                    <a:pt x="108" y="26"/>
                  </a:lnTo>
                  <a:lnTo>
                    <a:pt x="99" y="25"/>
                  </a:lnTo>
                  <a:lnTo>
                    <a:pt x="76" y="15"/>
                  </a:lnTo>
                  <a:lnTo>
                    <a:pt x="60" y="13"/>
                  </a:lnTo>
                  <a:lnTo>
                    <a:pt x="54" y="7"/>
                  </a:lnTo>
                  <a:lnTo>
                    <a:pt x="40" y="2"/>
                  </a:lnTo>
                  <a:lnTo>
                    <a:pt x="31" y="3"/>
                  </a:lnTo>
                  <a:lnTo>
                    <a:pt x="24" y="0"/>
                  </a:lnTo>
                  <a:lnTo>
                    <a:pt x="15" y="2"/>
                  </a:lnTo>
                  <a:lnTo>
                    <a:pt x="0" y="7"/>
                  </a:lnTo>
                  <a:lnTo>
                    <a:pt x="5" y="11"/>
                  </a:lnTo>
                  <a:lnTo>
                    <a:pt x="14" y="18"/>
                  </a:lnTo>
                  <a:lnTo>
                    <a:pt x="21" y="27"/>
                  </a:lnTo>
                  <a:lnTo>
                    <a:pt x="31" y="32"/>
                  </a:lnTo>
                  <a:lnTo>
                    <a:pt x="56" y="39"/>
                  </a:lnTo>
                  <a:lnTo>
                    <a:pt x="67" y="51"/>
                  </a:lnTo>
                  <a:lnTo>
                    <a:pt x="78" y="57"/>
                  </a:lnTo>
                  <a:lnTo>
                    <a:pt x="84" y="68"/>
                  </a:lnTo>
                  <a:lnTo>
                    <a:pt x="87" y="82"/>
                  </a:lnTo>
                  <a:lnTo>
                    <a:pt x="91" y="104"/>
                  </a:lnTo>
                  <a:lnTo>
                    <a:pt x="100" y="113"/>
                  </a:lnTo>
                  <a:lnTo>
                    <a:pt x="100" y="124"/>
                  </a:lnTo>
                  <a:lnTo>
                    <a:pt x="99" y="138"/>
                  </a:lnTo>
                  <a:lnTo>
                    <a:pt x="92" y="145"/>
                  </a:lnTo>
                  <a:lnTo>
                    <a:pt x="87" y="14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55" name="Freeform 168"/>
            <p:cNvSpPr>
              <a:spLocks noChangeAspect="1"/>
            </p:cNvSpPr>
            <p:nvPr/>
          </p:nvSpPr>
          <p:spPr bwMode="gray">
            <a:xfrm>
              <a:off x="6873578" y="3280773"/>
              <a:ext cx="298946" cy="213028"/>
            </a:xfrm>
            <a:custGeom>
              <a:avLst/>
              <a:gdLst/>
              <a:ahLst/>
              <a:cxnLst>
                <a:cxn ang="0">
                  <a:pos x="0" y="260"/>
                </a:cxn>
                <a:cxn ang="0">
                  <a:pos x="56" y="310"/>
                </a:cxn>
                <a:cxn ang="0">
                  <a:pos x="63" y="274"/>
                </a:cxn>
                <a:cxn ang="0">
                  <a:pos x="96" y="260"/>
                </a:cxn>
                <a:cxn ang="0">
                  <a:pos x="115" y="238"/>
                </a:cxn>
                <a:cxn ang="0">
                  <a:pos x="127" y="234"/>
                </a:cxn>
                <a:cxn ang="0">
                  <a:pos x="143" y="220"/>
                </a:cxn>
                <a:cxn ang="0">
                  <a:pos x="183" y="250"/>
                </a:cxn>
                <a:cxn ang="0">
                  <a:pos x="220" y="262"/>
                </a:cxn>
                <a:cxn ang="0">
                  <a:pos x="231" y="287"/>
                </a:cxn>
                <a:cxn ang="0">
                  <a:pos x="223" y="314"/>
                </a:cxn>
                <a:cxn ang="0">
                  <a:pos x="267" y="330"/>
                </a:cxn>
                <a:cxn ang="0">
                  <a:pos x="306" y="321"/>
                </a:cxn>
                <a:cxn ang="0">
                  <a:pos x="333" y="351"/>
                </a:cxn>
                <a:cxn ang="0">
                  <a:pos x="350" y="384"/>
                </a:cxn>
                <a:cxn ang="0">
                  <a:pos x="365" y="429"/>
                </a:cxn>
                <a:cxn ang="0">
                  <a:pos x="460" y="489"/>
                </a:cxn>
                <a:cxn ang="0">
                  <a:pos x="521" y="542"/>
                </a:cxn>
                <a:cxn ang="0">
                  <a:pos x="567" y="547"/>
                </a:cxn>
                <a:cxn ang="0">
                  <a:pos x="581" y="569"/>
                </a:cxn>
                <a:cxn ang="0">
                  <a:pos x="578" y="606"/>
                </a:cxn>
                <a:cxn ang="0">
                  <a:pos x="630" y="610"/>
                </a:cxn>
                <a:cxn ang="0">
                  <a:pos x="646" y="595"/>
                </a:cxn>
                <a:cxn ang="0">
                  <a:pos x="671" y="559"/>
                </a:cxn>
                <a:cxn ang="0">
                  <a:pos x="670" y="536"/>
                </a:cxn>
                <a:cxn ang="0">
                  <a:pos x="666" y="498"/>
                </a:cxn>
                <a:cxn ang="0">
                  <a:pos x="640" y="486"/>
                </a:cxn>
                <a:cxn ang="0">
                  <a:pos x="632" y="462"/>
                </a:cxn>
                <a:cxn ang="0">
                  <a:pos x="650" y="443"/>
                </a:cxn>
                <a:cxn ang="0">
                  <a:pos x="687" y="446"/>
                </a:cxn>
                <a:cxn ang="0">
                  <a:pos x="723" y="409"/>
                </a:cxn>
                <a:cxn ang="0">
                  <a:pos x="726" y="382"/>
                </a:cxn>
                <a:cxn ang="0">
                  <a:pos x="747" y="370"/>
                </a:cxn>
                <a:cxn ang="0">
                  <a:pos x="788" y="347"/>
                </a:cxn>
                <a:cxn ang="0">
                  <a:pos x="807" y="357"/>
                </a:cxn>
                <a:cxn ang="0">
                  <a:pos x="791" y="380"/>
                </a:cxn>
                <a:cxn ang="0">
                  <a:pos x="816" y="398"/>
                </a:cxn>
                <a:cxn ang="0">
                  <a:pos x="855" y="403"/>
                </a:cxn>
                <a:cxn ang="0">
                  <a:pos x="888" y="385"/>
                </a:cxn>
                <a:cxn ang="0">
                  <a:pos x="915" y="378"/>
                </a:cxn>
                <a:cxn ang="0">
                  <a:pos x="933" y="354"/>
                </a:cxn>
                <a:cxn ang="0">
                  <a:pos x="890" y="342"/>
                </a:cxn>
                <a:cxn ang="0">
                  <a:pos x="865" y="314"/>
                </a:cxn>
                <a:cxn ang="0">
                  <a:pos x="843" y="337"/>
                </a:cxn>
                <a:cxn ang="0">
                  <a:pos x="796" y="317"/>
                </a:cxn>
                <a:cxn ang="0">
                  <a:pos x="798" y="292"/>
                </a:cxn>
                <a:cxn ang="0">
                  <a:pos x="833" y="253"/>
                </a:cxn>
                <a:cxn ang="0">
                  <a:pos x="795" y="271"/>
                </a:cxn>
                <a:cxn ang="0">
                  <a:pos x="753" y="298"/>
                </a:cxn>
                <a:cxn ang="0">
                  <a:pos x="719" y="320"/>
                </a:cxn>
                <a:cxn ang="0">
                  <a:pos x="699" y="343"/>
                </a:cxn>
                <a:cxn ang="0">
                  <a:pos x="654" y="325"/>
                </a:cxn>
                <a:cxn ang="0">
                  <a:pos x="553" y="266"/>
                </a:cxn>
                <a:cxn ang="0">
                  <a:pos x="547" y="207"/>
                </a:cxn>
                <a:cxn ang="0">
                  <a:pos x="498" y="150"/>
                </a:cxn>
                <a:cxn ang="0">
                  <a:pos x="331" y="161"/>
                </a:cxn>
                <a:cxn ang="0">
                  <a:pos x="210" y="42"/>
                </a:cxn>
                <a:cxn ang="0">
                  <a:pos x="0" y="51"/>
                </a:cxn>
              </a:cxnLst>
              <a:rect l="0" t="0" r="r" b="b"/>
              <a:pathLst>
                <a:path w="940" h="612">
                  <a:moveTo>
                    <a:pt x="0" y="51"/>
                  </a:moveTo>
                  <a:lnTo>
                    <a:pt x="0" y="121"/>
                  </a:lnTo>
                  <a:lnTo>
                    <a:pt x="0" y="195"/>
                  </a:lnTo>
                  <a:lnTo>
                    <a:pt x="0" y="260"/>
                  </a:lnTo>
                  <a:lnTo>
                    <a:pt x="0" y="321"/>
                  </a:lnTo>
                  <a:lnTo>
                    <a:pt x="54" y="330"/>
                  </a:lnTo>
                  <a:lnTo>
                    <a:pt x="62" y="325"/>
                  </a:lnTo>
                  <a:lnTo>
                    <a:pt x="56" y="310"/>
                  </a:lnTo>
                  <a:lnTo>
                    <a:pt x="57" y="303"/>
                  </a:lnTo>
                  <a:lnTo>
                    <a:pt x="52" y="287"/>
                  </a:lnTo>
                  <a:lnTo>
                    <a:pt x="56" y="279"/>
                  </a:lnTo>
                  <a:lnTo>
                    <a:pt x="63" y="274"/>
                  </a:lnTo>
                  <a:lnTo>
                    <a:pt x="67" y="268"/>
                  </a:lnTo>
                  <a:lnTo>
                    <a:pt x="72" y="261"/>
                  </a:lnTo>
                  <a:lnTo>
                    <a:pt x="80" y="260"/>
                  </a:lnTo>
                  <a:lnTo>
                    <a:pt x="96" y="260"/>
                  </a:lnTo>
                  <a:lnTo>
                    <a:pt x="105" y="256"/>
                  </a:lnTo>
                  <a:lnTo>
                    <a:pt x="107" y="249"/>
                  </a:lnTo>
                  <a:lnTo>
                    <a:pt x="107" y="241"/>
                  </a:lnTo>
                  <a:lnTo>
                    <a:pt x="115" y="238"/>
                  </a:lnTo>
                  <a:lnTo>
                    <a:pt x="127" y="246"/>
                  </a:lnTo>
                  <a:lnTo>
                    <a:pt x="135" y="249"/>
                  </a:lnTo>
                  <a:lnTo>
                    <a:pt x="132" y="241"/>
                  </a:lnTo>
                  <a:lnTo>
                    <a:pt x="127" y="234"/>
                  </a:lnTo>
                  <a:lnTo>
                    <a:pt x="121" y="229"/>
                  </a:lnTo>
                  <a:lnTo>
                    <a:pt x="128" y="225"/>
                  </a:lnTo>
                  <a:lnTo>
                    <a:pt x="135" y="225"/>
                  </a:lnTo>
                  <a:lnTo>
                    <a:pt x="143" y="220"/>
                  </a:lnTo>
                  <a:lnTo>
                    <a:pt x="144" y="214"/>
                  </a:lnTo>
                  <a:lnTo>
                    <a:pt x="165" y="235"/>
                  </a:lnTo>
                  <a:lnTo>
                    <a:pt x="178" y="244"/>
                  </a:lnTo>
                  <a:lnTo>
                    <a:pt x="183" y="250"/>
                  </a:lnTo>
                  <a:lnTo>
                    <a:pt x="192" y="253"/>
                  </a:lnTo>
                  <a:lnTo>
                    <a:pt x="201" y="251"/>
                  </a:lnTo>
                  <a:lnTo>
                    <a:pt x="216" y="255"/>
                  </a:lnTo>
                  <a:lnTo>
                    <a:pt x="220" y="262"/>
                  </a:lnTo>
                  <a:lnTo>
                    <a:pt x="218" y="269"/>
                  </a:lnTo>
                  <a:lnTo>
                    <a:pt x="219" y="278"/>
                  </a:lnTo>
                  <a:lnTo>
                    <a:pt x="225" y="283"/>
                  </a:lnTo>
                  <a:lnTo>
                    <a:pt x="231" y="287"/>
                  </a:lnTo>
                  <a:lnTo>
                    <a:pt x="224" y="290"/>
                  </a:lnTo>
                  <a:lnTo>
                    <a:pt x="224" y="298"/>
                  </a:lnTo>
                  <a:lnTo>
                    <a:pt x="225" y="306"/>
                  </a:lnTo>
                  <a:lnTo>
                    <a:pt x="223" y="314"/>
                  </a:lnTo>
                  <a:lnTo>
                    <a:pt x="228" y="320"/>
                  </a:lnTo>
                  <a:lnTo>
                    <a:pt x="242" y="328"/>
                  </a:lnTo>
                  <a:lnTo>
                    <a:pt x="259" y="331"/>
                  </a:lnTo>
                  <a:lnTo>
                    <a:pt x="267" y="330"/>
                  </a:lnTo>
                  <a:lnTo>
                    <a:pt x="291" y="335"/>
                  </a:lnTo>
                  <a:lnTo>
                    <a:pt x="299" y="332"/>
                  </a:lnTo>
                  <a:lnTo>
                    <a:pt x="300" y="325"/>
                  </a:lnTo>
                  <a:lnTo>
                    <a:pt x="306" y="321"/>
                  </a:lnTo>
                  <a:lnTo>
                    <a:pt x="314" y="326"/>
                  </a:lnTo>
                  <a:lnTo>
                    <a:pt x="326" y="337"/>
                  </a:lnTo>
                  <a:lnTo>
                    <a:pt x="331" y="343"/>
                  </a:lnTo>
                  <a:lnTo>
                    <a:pt x="333" y="351"/>
                  </a:lnTo>
                  <a:lnTo>
                    <a:pt x="334" y="366"/>
                  </a:lnTo>
                  <a:lnTo>
                    <a:pt x="338" y="374"/>
                  </a:lnTo>
                  <a:lnTo>
                    <a:pt x="345" y="378"/>
                  </a:lnTo>
                  <a:lnTo>
                    <a:pt x="350" y="384"/>
                  </a:lnTo>
                  <a:lnTo>
                    <a:pt x="355" y="400"/>
                  </a:lnTo>
                  <a:lnTo>
                    <a:pt x="354" y="408"/>
                  </a:lnTo>
                  <a:lnTo>
                    <a:pt x="360" y="423"/>
                  </a:lnTo>
                  <a:lnTo>
                    <a:pt x="365" y="429"/>
                  </a:lnTo>
                  <a:lnTo>
                    <a:pt x="416" y="459"/>
                  </a:lnTo>
                  <a:lnTo>
                    <a:pt x="436" y="483"/>
                  </a:lnTo>
                  <a:lnTo>
                    <a:pt x="443" y="488"/>
                  </a:lnTo>
                  <a:lnTo>
                    <a:pt x="460" y="489"/>
                  </a:lnTo>
                  <a:lnTo>
                    <a:pt x="473" y="498"/>
                  </a:lnTo>
                  <a:lnTo>
                    <a:pt x="493" y="513"/>
                  </a:lnTo>
                  <a:lnTo>
                    <a:pt x="515" y="536"/>
                  </a:lnTo>
                  <a:lnTo>
                    <a:pt x="521" y="542"/>
                  </a:lnTo>
                  <a:lnTo>
                    <a:pt x="530" y="543"/>
                  </a:lnTo>
                  <a:lnTo>
                    <a:pt x="536" y="538"/>
                  </a:lnTo>
                  <a:lnTo>
                    <a:pt x="544" y="537"/>
                  </a:lnTo>
                  <a:lnTo>
                    <a:pt x="567" y="547"/>
                  </a:lnTo>
                  <a:lnTo>
                    <a:pt x="572" y="553"/>
                  </a:lnTo>
                  <a:lnTo>
                    <a:pt x="579" y="557"/>
                  </a:lnTo>
                  <a:lnTo>
                    <a:pt x="585" y="562"/>
                  </a:lnTo>
                  <a:lnTo>
                    <a:pt x="581" y="569"/>
                  </a:lnTo>
                  <a:lnTo>
                    <a:pt x="578" y="577"/>
                  </a:lnTo>
                  <a:lnTo>
                    <a:pt x="578" y="592"/>
                  </a:lnTo>
                  <a:lnTo>
                    <a:pt x="579" y="601"/>
                  </a:lnTo>
                  <a:lnTo>
                    <a:pt x="578" y="606"/>
                  </a:lnTo>
                  <a:lnTo>
                    <a:pt x="607" y="605"/>
                  </a:lnTo>
                  <a:lnTo>
                    <a:pt x="615" y="607"/>
                  </a:lnTo>
                  <a:lnTo>
                    <a:pt x="621" y="612"/>
                  </a:lnTo>
                  <a:lnTo>
                    <a:pt x="630" y="610"/>
                  </a:lnTo>
                  <a:lnTo>
                    <a:pt x="643" y="611"/>
                  </a:lnTo>
                  <a:lnTo>
                    <a:pt x="648" y="608"/>
                  </a:lnTo>
                  <a:lnTo>
                    <a:pt x="648" y="601"/>
                  </a:lnTo>
                  <a:lnTo>
                    <a:pt x="646" y="595"/>
                  </a:lnTo>
                  <a:lnTo>
                    <a:pt x="653" y="581"/>
                  </a:lnTo>
                  <a:lnTo>
                    <a:pt x="661" y="570"/>
                  </a:lnTo>
                  <a:lnTo>
                    <a:pt x="664" y="564"/>
                  </a:lnTo>
                  <a:lnTo>
                    <a:pt x="671" y="559"/>
                  </a:lnTo>
                  <a:lnTo>
                    <a:pt x="676" y="554"/>
                  </a:lnTo>
                  <a:lnTo>
                    <a:pt x="678" y="547"/>
                  </a:lnTo>
                  <a:lnTo>
                    <a:pt x="677" y="541"/>
                  </a:lnTo>
                  <a:lnTo>
                    <a:pt x="670" y="536"/>
                  </a:lnTo>
                  <a:lnTo>
                    <a:pt x="665" y="529"/>
                  </a:lnTo>
                  <a:lnTo>
                    <a:pt x="661" y="513"/>
                  </a:lnTo>
                  <a:lnTo>
                    <a:pt x="665" y="507"/>
                  </a:lnTo>
                  <a:lnTo>
                    <a:pt x="666" y="498"/>
                  </a:lnTo>
                  <a:lnTo>
                    <a:pt x="664" y="491"/>
                  </a:lnTo>
                  <a:lnTo>
                    <a:pt x="658" y="486"/>
                  </a:lnTo>
                  <a:lnTo>
                    <a:pt x="649" y="487"/>
                  </a:lnTo>
                  <a:lnTo>
                    <a:pt x="640" y="486"/>
                  </a:lnTo>
                  <a:lnTo>
                    <a:pt x="638" y="478"/>
                  </a:lnTo>
                  <a:lnTo>
                    <a:pt x="630" y="473"/>
                  </a:lnTo>
                  <a:lnTo>
                    <a:pt x="624" y="467"/>
                  </a:lnTo>
                  <a:lnTo>
                    <a:pt x="632" y="462"/>
                  </a:lnTo>
                  <a:lnTo>
                    <a:pt x="630" y="454"/>
                  </a:lnTo>
                  <a:lnTo>
                    <a:pt x="634" y="448"/>
                  </a:lnTo>
                  <a:lnTo>
                    <a:pt x="642" y="444"/>
                  </a:lnTo>
                  <a:lnTo>
                    <a:pt x="650" y="443"/>
                  </a:lnTo>
                  <a:lnTo>
                    <a:pt x="656" y="449"/>
                  </a:lnTo>
                  <a:lnTo>
                    <a:pt x="664" y="450"/>
                  </a:lnTo>
                  <a:lnTo>
                    <a:pt x="680" y="449"/>
                  </a:lnTo>
                  <a:lnTo>
                    <a:pt x="687" y="446"/>
                  </a:lnTo>
                  <a:lnTo>
                    <a:pt x="699" y="424"/>
                  </a:lnTo>
                  <a:lnTo>
                    <a:pt x="699" y="417"/>
                  </a:lnTo>
                  <a:lnTo>
                    <a:pt x="707" y="412"/>
                  </a:lnTo>
                  <a:lnTo>
                    <a:pt x="723" y="409"/>
                  </a:lnTo>
                  <a:lnTo>
                    <a:pt x="729" y="405"/>
                  </a:lnTo>
                  <a:lnTo>
                    <a:pt x="731" y="397"/>
                  </a:lnTo>
                  <a:lnTo>
                    <a:pt x="731" y="389"/>
                  </a:lnTo>
                  <a:lnTo>
                    <a:pt x="726" y="382"/>
                  </a:lnTo>
                  <a:lnTo>
                    <a:pt x="732" y="378"/>
                  </a:lnTo>
                  <a:lnTo>
                    <a:pt x="734" y="369"/>
                  </a:lnTo>
                  <a:lnTo>
                    <a:pt x="741" y="365"/>
                  </a:lnTo>
                  <a:lnTo>
                    <a:pt x="747" y="370"/>
                  </a:lnTo>
                  <a:lnTo>
                    <a:pt x="756" y="369"/>
                  </a:lnTo>
                  <a:lnTo>
                    <a:pt x="769" y="362"/>
                  </a:lnTo>
                  <a:lnTo>
                    <a:pt x="784" y="354"/>
                  </a:lnTo>
                  <a:lnTo>
                    <a:pt x="788" y="347"/>
                  </a:lnTo>
                  <a:lnTo>
                    <a:pt x="794" y="342"/>
                  </a:lnTo>
                  <a:lnTo>
                    <a:pt x="801" y="342"/>
                  </a:lnTo>
                  <a:lnTo>
                    <a:pt x="802" y="351"/>
                  </a:lnTo>
                  <a:lnTo>
                    <a:pt x="807" y="357"/>
                  </a:lnTo>
                  <a:lnTo>
                    <a:pt x="809" y="364"/>
                  </a:lnTo>
                  <a:lnTo>
                    <a:pt x="805" y="371"/>
                  </a:lnTo>
                  <a:lnTo>
                    <a:pt x="798" y="375"/>
                  </a:lnTo>
                  <a:lnTo>
                    <a:pt x="791" y="380"/>
                  </a:lnTo>
                  <a:lnTo>
                    <a:pt x="796" y="396"/>
                  </a:lnTo>
                  <a:lnTo>
                    <a:pt x="800" y="403"/>
                  </a:lnTo>
                  <a:lnTo>
                    <a:pt x="809" y="402"/>
                  </a:lnTo>
                  <a:lnTo>
                    <a:pt x="816" y="398"/>
                  </a:lnTo>
                  <a:lnTo>
                    <a:pt x="820" y="398"/>
                  </a:lnTo>
                  <a:lnTo>
                    <a:pt x="832" y="397"/>
                  </a:lnTo>
                  <a:lnTo>
                    <a:pt x="839" y="398"/>
                  </a:lnTo>
                  <a:lnTo>
                    <a:pt x="855" y="403"/>
                  </a:lnTo>
                  <a:lnTo>
                    <a:pt x="871" y="401"/>
                  </a:lnTo>
                  <a:lnTo>
                    <a:pt x="877" y="396"/>
                  </a:lnTo>
                  <a:lnTo>
                    <a:pt x="881" y="389"/>
                  </a:lnTo>
                  <a:lnTo>
                    <a:pt x="888" y="385"/>
                  </a:lnTo>
                  <a:lnTo>
                    <a:pt x="896" y="385"/>
                  </a:lnTo>
                  <a:lnTo>
                    <a:pt x="901" y="379"/>
                  </a:lnTo>
                  <a:lnTo>
                    <a:pt x="909" y="381"/>
                  </a:lnTo>
                  <a:lnTo>
                    <a:pt x="915" y="378"/>
                  </a:lnTo>
                  <a:lnTo>
                    <a:pt x="919" y="369"/>
                  </a:lnTo>
                  <a:lnTo>
                    <a:pt x="935" y="365"/>
                  </a:lnTo>
                  <a:lnTo>
                    <a:pt x="940" y="358"/>
                  </a:lnTo>
                  <a:lnTo>
                    <a:pt x="933" y="354"/>
                  </a:lnTo>
                  <a:lnTo>
                    <a:pt x="925" y="357"/>
                  </a:lnTo>
                  <a:lnTo>
                    <a:pt x="909" y="352"/>
                  </a:lnTo>
                  <a:lnTo>
                    <a:pt x="898" y="342"/>
                  </a:lnTo>
                  <a:lnTo>
                    <a:pt x="890" y="342"/>
                  </a:lnTo>
                  <a:lnTo>
                    <a:pt x="884" y="337"/>
                  </a:lnTo>
                  <a:lnTo>
                    <a:pt x="870" y="328"/>
                  </a:lnTo>
                  <a:lnTo>
                    <a:pt x="870" y="320"/>
                  </a:lnTo>
                  <a:lnTo>
                    <a:pt x="865" y="314"/>
                  </a:lnTo>
                  <a:lnTo>
                    <a:pt x="858" y="310"/>
                  </a:lnTo>
                  <a:lnTo>
                    <a:pt x="853" y="325"/>
                  </a:lnTo>
                  <a:lnTo>
                    <a:pt x="845" y="330"/>
                  </a:lnTo>
                  <a:lnTo>
                    <a:pt x="843" y="337"/>
                  </a:lnTo>
                  <a:lnTo>
                    <a:pt x="836" y="337"/>
                  </a:lnTo>
                  <a:lnTo>
                    <a:pt x="812" y="327"/>
                  </a:lnTo>
                  <a:lnTo>
                    <a:pt x="804" y="314"/>
                  </a:lnTo>
                  <a:lnTo>
                    <a:pt x="796" y="317"/>
                  </a:lnTo>
                  <a:lnTo>
                    <a:pt x="790" y="312"/>
                  </a:lnTo>
                  <a:lnTo>
                    <a:pt x="782" y="310"/>
                  </a:lnTo>
                  <a:lnTo>
                    <a:pt x="783" y="301"/>
                  </a:lnTo>
                  <a:lnTo>
                    <a:pt x="798" y="292"/>
                  </a:lnTo>
                  <a:lnTo>
                    <a:pt x="810" y="280"/>
                  </a:lnTo>
                  <a:lnTo>
                    <a:pt x="820" y="268"/>
                  </a:lnTo>
                  <a:lnTo>
                    <a:pt x="834" y="262"/>
                  </a:lnTo>
                  <a:lnTo>
                    <a:pt x="833" y="253"/>
                  </a:lnTo>
                  <a:lnTo>
                    <a:pt x="816" y="249"/>
                  </a:lnTo>
                  <a:lnTo>
                    <a:pt x="814" y="256"/>
                  </a:lnTo>
                  <a:lnTo>
                    <a:pt x="802" y="268"/>
                  </a:lnTo>
                  <a:lnTo>
                    <a:pt x="795" y="271"/>
                  </a:lnTo>
                  <a:lnTo>
                    <a:pt x="788" y="268"/>
                  </a:lnTo>
                  <a:lnTo>
                    <a:pt x="782" y="283"/>
                  </a:lnTo>
                  <a:lnTo>
                    <a:pt x="775" y="288"/>
                  </a:lnTo>
                  <a:lnTo>
                    <a:pt x="753" y="298"/>
                  </a:lnTo>
                  <a:lnTo>
                    <a:pt x="739" y="306"/>
                  </a:lnTo>
                  <a:lnTo>
                    <a:pt x="734" y="312"/>
                  </a:lnTo>
                  <a:lnTo>
                    <a:pt x="726" y="315"/>
                  </a:lnTo>
                  <a:lnTo>
                    <a:pt x="719" y="320"/>
                  </a:lnTo>
                  <a:lnTo>
                    <a:pt x="715" y="327"/>
                  </a:lnTo>
                  <a:lnTo>
                    <a:pt x="713" y="335"/>
                  </a:lnTo>
                  <a:lnTo>
                    <a:pt x="707" y="339"/>
                  </a:lnTo>
                  <a:lnTo>
                    <a:pt x="699" y="343"/>
                  </a:lnTo>
                  <a:lnTo>
                    <a:pt x="691" y="342"/>
                  </a:lnTo>
                  <a:lnTo>
                    <a:pt x="676" y="335"/>
                  </a:lnTo>
                  <a:lnTo>
                    <a:pt x="667" y="333"/>
                  </a:lnTo>
                  <a:lnTo>
                    <a:pt x="654" y="325"/>
                  </a:lnTo>
                  <a:lnTo>
                    <a:pt x="597" y="331"/>
                  </a:lnTo>
                  <a:lnTo>
                    <a:pt x="587" y="285"/>
                  </a:lnTo>
                  <a:lnTo>
                    <a:pt x="554" y="279"/>
                  </a:lnTo>
                  <a:lnTo>
                    <a:pt x="553" y="266"/>
                  </a:lnTo>
                  <a:lnTo>
                    <a:pt x="554" y="250"/>
                  </a:lnTo>
                  <a:lnTo>
                    <a:pt x="562" y="249"/>
                  </a:lnTo>
                  <a:lnTo>
                    <a:pt x="560" y="206"/>
                  </a:lnTo>
                  <a:lnTo>
                    <a:pt x="547" y="207"/>
                  </a:lnTo>
                  <a:lnTo>
                    <a:pt x="530" y="174"/>
                  </a:lnTo>
                  <a:lnTo>
                    <a:pt x="517" y="164"/>
                  </a:lnTo>
                  <a:lnTo>
                    <a:pt x="510" y="160"/>
                  </a:lnTo>
                  <a:lnTo>
                    <a:pt x="498" y="150"/>
                  </a:lnTo>
                  <a:lnTo>
                    <a:pt x="492" y="144"/>
                  </a:lnTo>
                  <a:lnTo>
                    <a:pt x="478" y="150"/>
                  </a:lnTo>
                  <a:lnTo>
                    <a:pt x="402" y="149"/>
                  </a:lnTo>
                  <a:lnTo>
                    <a:pt x="331" y="161"/>
                  </a:lnTo>
                  <a:lnTo>
                    <a:pt x="304" y="133"/>
                  </a:lnTo>
                  <a:lnTo>
                    <a:pt x="259" y="85"/>
                  </a:lnTo>
                  <a:lnTo>
                    <a:pt x="224" y="52"/>
                  </a:lnTo>
                  <a:lnTo>
                    <a:pt x="210" y="42"/>
                  </a:lnTo>
                  <a:lnTo>
                    <a:pt x="191" y="26"/>
                  </a:lnTo>
                  <a:lnTo>
                    <a:pt x="171" y="13"/>
                  </a:lnTo>
                  <a:lnTo>
                    <a:pt x="142" y="0"/>
                  </a:lnTo>
                  <a:lnTo>
                    <a:pt x="0" y="5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56" name="Freeform 169"/>
            <p:cNvSpPr>
              <a:spLocks noChangeAspect="1"/>
            </p:cNvSpPr>
            <p:nvPr/>
          </p:nvSpPr>
          <p:spPr bwMode="gray">
            <a:xfrm>
              <a:off x="6811563" y="3354111"/>
              <a:ext cx="248062" cy="188582"/>
            </a:xfrm>
            <a:custGeom>
              <a:avLst/>
              <a:gdLst/>
              <a:ahLst/>
              <a:cxnLst>
                <a:cxn ang="0">
                  <a:pos x="249" y="96"/>
                </a:cxn>
                <a:cxn ang="0">
                  <a:pos x="256" y="60"/>
                </a:cxn>
                <a:cxn ang="0">
                  <a:pos x="289" y="46"/>
                </a:cxn>
                <a:cxn ang="0">
                  <a:pos x="308" y="24"/>
                </a:cxn>
                <a:cxn ang="0">
                  <a:pos x="320" y="20"/>
                </a:cxn>
                <a:cxn ang="0">
                  <a:pos x="336" y="6"/>
                </a:cxn>
                <a:cxn ang="0">
                  <a:pos x="376" y="36"/>
                </a:cxn>
                <a:cxn ang="0">
                  <a:pos x="413" y="48"/>
                </a:cxn>
                <a:cxn ang="0">
                  <a:pos x="424" y="73"/>
                </a:cxn>
                <a:cxn ang="0">
                  <a:pos x="416" y="100"/>
                </a:cxn>
                <a:cxn ang="0">
                  <a:pos x="460" y="116"/>
                </a:cxn>
                <a:cxn ang="0">
                  <a:pos x="499" y="107"/>
                </a:cxn>
                <a:cxn ang="0">
                  <a:pos x="526" y="137"/>
                </a:cxn>
                <a:cxn ang="0">
                  <a:pos x="543" y="170"/>
                </a:cxn>
                <a:cxn ang="0">
                  <a:pos x="558" y="215"/>
                </a:cxn>
                <a:cxn ang="0">
                  <a:pos x="653" y="275"/>
                </a:cxn>
                <a:cxn ang="0">
                  <a:pos x="714" y="328"/>
                </a:cxn>
                <a:cxn ang="0">
                  <a:pos x="760" y="333"/>
                </a:cxn>
                <a:cxn ang="0">
                  <a:pos x="774" y="355"/>
                </a:cxn>
                <a:cxn ang="0">
                  <a:pos x="771" y="392"/>
                </a:cxn>
                <a:cxn ang="0">
                  <a:pos x="728" y="380"/>
                </a:cxn>
                <a:cxn ang="0">
                  <a:pos x="717" y="397"/>
                </a:cxn>
                <a:cxn ang="0">
                  <a:pos x="685" y="398"/>
                </a:cxn>
                <a:cxn ang="0">
                  <a:pos x="675" y="417"/>
                </a:cxn>
                <a:cxn ang="0">
                  <a:pos x="664" y="457"/>
                </a:cxn>
                <a:cxn ang="0">
                  <a:pos x="634" y="479"/>
                </a:cxn>
                <a:cxn ang="0">
                  <a:pos x="594" y="494"/>
                </a:cxn>
                <a:cxn ang="0">
                  <a:pos x="589" y="509"/>
                </a:cxn>
                <a:cxn ang="0">
                  <a:pos x="570" y="528"/>
                </a:cxn>
                <a:cxn ang="0">
                  <a:pos x="538" y="536"/>
                </a:cxn>
                <a:cxn ang="0">
                  <a:pos x="508" y="523"/>
                </a:cxn>
                <a:cxn ang="0">
                  <a:pos x="482" y="507"/>
                </a:cxn>
                <a:cxn ang="0">
                  <a:pos x="476" y="441"/>
                </a:cxn>
                <a:cxn ang="0">
                  <a:pos x="396" y="403"/>
                </a:cxn>
                <a:cxn ang="0">
                  <a:pos x="364" y="369"/>
                </a:cxn>
                <a:cxn ang="0">
                  <a:pos x="314" y="359"/>
                </a:cxn>
                <a:cxn ang="0">
                  <a:pos x="231" y="321"/>
                </a:cxn>
                <a:cxn ang="0">
                  <a:pos x="198" y="337"/>
                </a:cxn>
                <a:cxn ang="0">
                  <a:pos x="145" y="351"/>
                </a:cxn>
                <a:cxn ang="0">
                  <a:pos x="80" y="378"/>
                </a:cxn>
                <a:cxn ang="0">
                  <a:pos x="86" y="275"/>
                </a:cxn>
                <a:cxn ang="0">
                  <a:pos x="50" y="250"/>
                </a:cxn>
                <a:cxn ang="0">
                  <a:pos x="66" y="230"/>
                </a:cxn>
                <a:cxn ang="0">
                  <a:pos x="68" y="214"/>
                </a:cxn>
                <a:cxn ang="0">
                  <a:pos x="34" y="203"/>
                </a:cxn>
                <a:cxn ang="0">
                  <a:pos x="16" y="166"/>
                </a:cxn>
                <a:cxn ang="0">
                  <a:pos x="27" y="143"/>
                </a:cxn>
                <a:cxn ang="0">
                  <a:pos x="84" y="156"/>
                </a:cxn>
                <a:cxn ang="0">
                  <a:pos x="97" y="148"/>
                </a:cxn>
                <a:cxn ang="0">
                  <a:pos x="86" y="91"/>
                </a:cxn>
                <a:cxn ang="0">
                  <a:pos x="57" y="57"/>
                </a:cxn>
                <a:cxn ang="0">
                  <a:pos x="14" y="91"/>
                </a:cxn>
                <a:cxn ang="0">
                  <a:pos x="4" y="92"/>
                </a:cxn>
                <a:cxn ang="0">
                  <a:pos x="77" y="32"/>
                </a:cxn>
                <a:cxn ang="0">
                  <a:pos x="107" y="41"/>
                </a:cxn>
                <a:cxn ang="0">
                  <a:pos x="139" y="75"/>
                </a:cxn>
                <a:cxn ang="0">
                  <a:pos x="181" y="113"/>
                </a:cxn>
              </a:cxnLst>
              <a:rect l="0" t="0" r="r" b="b"/>
              <a:pathLst>
                <a:path w="778" h="536">
                  <a:moveTo>
                    <a:pt x="193" y="107"/>
                  </a:moveTo>
                  <a:lnTo>
                    <a:pt x="247" y="116"/>
                  </a:lnTo>
                  <a:lnTo>
                    <a:pt x="255" y="111"/>
                  </a:lnTo>
                  <a:lnTo>
                    <a:pt x="249" y="96"/>
                  </a:lnTo>
                  <a:lnTo>
                    <a:pt x="250" y="89"/>
                  </a:lnTo>
                  <a:lnTo>
                    <a:pt x="245" y="73"/>
                  </a:lnTo>
                  <a:lnTo>
                    <a:pt x="249" y="65"/>
                  </a:lnTo>
                  <a:lnTo>
                    <a:pt x="256" y="60"/>
                  </a:lnTo>
                  <a:lnTo>
                    <a:pt x="260" y="54"/>
                  </a:lnTo>
                  <a:lnTo>
                    <a:pt x="265" y="47"/>
                  </a:lnTo>
                  <a:lnTo>
                    <a:pt x="273" y="46"/>
                  </a:lnTo>
                  <a:lnTo>
                    <a:pt x="289" y="46"/>
                  </a:lnTo>
                  <a:lnTo>
                    <a:pt x="298" y="42"/>
                  </a:lnTo>
                  <a:lnTo>
                    <a:pt x="300" y="35"/>
                  </a:lnTo>
                  <a:lnTo>
                    <a:pt x="300" y="27"/>
                  </a:lnTo>
                  <a:lnTo>
                    <a:pt x="308" y="24"/>
                  </a:lnTo>
                  <a:lnTo>
                    <a:pt x="320" y="32"/>
                  </a:lnTo>
                  <a:lnTo>
                    <a:pt x="328" y="35"/>
                  </a:lnTo>
                  <a:lnTo>
                    <a:pt x="325" y="27"/>
                  </a:lnTo>
                  <a:lnTo>
                    <a:pt x="320" y="20"/>
                  </a:lnTo>
                  <a:lnTo>
                    <a:pt x="314" y="15"/>
                  </a:lnTo>
                  <a:lnTo>
                    <a:pt x="321" y="11"/>
                  </a:lnTo>
                  <a:lnTo>
                    <a:pt x="328" y="11"/>
                  </a:lnTo>
                  <a:lnTo>
                    <a:pt x="336" y="6"/>
                  </a:lnTo>
                  <a:lnTo>
                    <a:pt x="337" y="0"/>
                  </a:lnTo>
                  <a:lnTo>
                    <a:pt x="358" y="21"/>
                  </a:lnTo>
                  <a:lnTo>
                    <a:pt x="371" y="30"/>
                  </a:lnTo>
                  <a:lnTo>
                    <a:pt x="376" y="36"/>
                  </a:lnTo>
                  <a:lnTo>
                    <a:pt x="385" y="39"/>
                  </a:lnTo>
                  <a:lnTo>
                    <a:pt x="394" y="37"/>
                  </a:lnTo>
                  <a:lnTo>
                    <a:pt x="409" y="41"/>
                  </a:lnTo>
                  <a:lnTo>
                    <a:pt x="413" y="48"/>
                  </a:lnTo>
                  <a:lnTo>
                    <a:pt x="411" y="55"/>
                  </a:lnTo>
                  <a:lnTo>
                    <a:pt x="412" y="64"/>
                  </a:lnTo>
                  <a:lnTo>
                    <a:pt x="418" y="69"/>
                  </a:lnTo>
                  <a:lnTo>
                    <a:pt x="424" y="73"/>
                  </a:lnTo>
                  <a:lnTo>
                    <a:pt x="417" y="76"/>
                  </a:lnTo>
                  <a:lnTo>
                    <a:pt x="417" y="84"/>
                  </a:lnTo>
                  <a:lnTo>
                    <a:pt x="418" y="92"/>
                  </a:lnTo>
                  <a:lnTo>
                    <a:pt x="416" y="100"/>
                  </a:lnTo>
                  <a:lnTo>
                    <a:pt x="421" y="106"/>
                  </a:lnTo>
                  <a:lnTo>
                    <a:pt x="435" y="114"/>
                  </a:lnTo>
                  <a:lnTo>
                    <a:pt x="452" y="117"/>
                  </a:lnTo>
                  <a:lnTo>
                    <a:pt x="460" y="116"/>
                  </a:lnTo>
                  <a:lnTo>
                    <a:pt x="484" y="121"/>
                  </a:lnTo>
                  <a:lnTo>
                    <a:pt x="492" y="118"/>
                  </a:lnTo>
                  <a:lnTo>
                    <a:pt x="493" y="111"/>
                  </a:lnTo>
                  <a:lnTo>
                    <a:pt x="499" y="107"/>
                  </a:lnTo>
                  <a:lnTo>
                    <a:pt x="507" y="112"/>
                  </a:lnTo>
                  <a:lnTo>
                    <a:pt x="519" y="123"/>
                  </a:lnTo>
                  <a:lnTo>
                    <a:pt x="524" y="129"/>
                  </a:lnTo>
                  <a:lnTo>
                    <a:pt x="526" y="137"/>
                  </a:lnTo>
                  <a:lnTo>
                    <a:pt x="527" y="152"/>
                  </a:lnTo>
                  <a:lnTo>
                    <a:pt x="531" y="160"/>
                  </a:lnTo>
                  <a:lnTo>
                    <a:pt x="538" y="164"/>
                  </a:lnTo>
                  <a:lnTo>
                    <a:pt x="543" y="170"/>
                  </a:lnTo>
                  <a:lnTo>
                    <a:pt x="548" y="186"/>
                  </a:lnTo>
                  <a:lnTo>
                    <a:pt x="547" y="194"/>
                  </a:lnTo>
                  <a:lnTo>
                    <a:pt x="553" y="209"/>
                  </a:lnTo>
                  <a:lnTo>
                    <a:pt x="558" y="215"/>
                  </a:lnTo>
                  <a:lnTo>
                    <a:pt x="609" y="245"/>
                  </a:lnTo>
                  <a:lnTo>
                    <a:pt x="629" y="269"/>
                  </a:lnTo>
                  <a:lnTo>
                    <a:pt x="636" y="274"/>
                  </a:lnTo>
                  <a:lnTo>
                    <a:pt x="653" y="275"/>
                  </a:lnTo>
                  <a:lnTo>
                    <a:pt x="666" y="284"/>
                  </a:lnTo>
                  <a:lnTo>
                    <a:pt x="686" y="299"/>
                  </a:lnTo>
                  <a:lnTo>
                    <a:pt x="708" y="322"/>
                  </a:lnTo>
                  <a:lnTo>
                    <a:pt x="714" y="328"/>
                  </a:lnTo>
                  <a:lnTo>
                    <a:pt x="723" y="329"/>
                  </a:lnTo>
                  <a:lnTo>
                    <a:pt x="729" y="324"/>
                  </a:lnTo>
                  <a:lnTo>
                    <a:pt x="737" y="323"/>
                  </a:lnTo>
                  <a:lnTo>
                    <a:pt x="760" y="333"/>
                  </a:lnTo>
                  <a:lnTo>
                    <a:pt x="765" y="339"/>
                  </a:lnTo>
                  <a:lnTo>
                    <a:pt x="772" y="343"/>
                  </a:lnTo>
                  <a:lnTo>
                    <a:pt x="778" y="348"/>
                  </a:lnTo>
                  <a:lnTo>
                    <a:pt x="774" y="355"/>
                  </a:lnTo>
                  <a:lnTo>
                    <a:pt x="771" y="363"/>
                  </a:lnTo>
                  <a:lnTo>
                    <a:pt x="771" y="378"/>
                  </a:lnTo>
                  <a:lnTo>
                    <a:pt x="772" y="387"/>
                  </a:lnTo>
                  <a:lnTo>
                    <a:pt x="771" y="392"/>
                  </a:lnTo>
                  <a:lnTo>
                    <a:pt x="756" y="392"/>
                  </a:lnTo>
                  <a:lnTo>
                    <a:pt x="746" y="388"/>
                  </a:lnTo>
                  <a:lnTo>
                    <a:pt x="733" y="380"/>
                  </a:lnTo>
                  <a:lnTo>
                    <a:pt x="728" y="380"/>
                  </a:lnTo>
                  <a:lnTo>
                    <a:pt x="723" y="380"/>
                  </a:lnTo>
                  <a:lnTo>
                    <a:pt x="720" y="383"/>
                  </a:lnTo>
                  <a:lnTo>
                    <a:pt x="719" y="391"/>
                  </a:lnTo>
                  <a:lnTo>
                    <a:pt x="717" y="397"/>
                  </a:lnTo>
                  <a:lnTo>
                    <a:pt x="714" y="398"/>
                  </a:lnTo>
                  <a:lnTo>
                    <a:pt x="699" y="398"/>
                  </a:lnTo>
                  <a:lnTo>
                    <a:pt x="693" y="397"/>
                  </a:lnTo>
                  <a:lnTo>
                    <a:pt x="685" y="398"/>
                  </a:lnTo>
                  <a:lnTo>
                    <a:pt x="680" y="404"/>
                  </a:lnTo>
                  <a:lnTo>
                    <a:pt x="676" y="408"/>
                  </a:lnTo>
                  <a:lnTo>
                    <a:pt x="675" y="410"/>
                  </a:lnTo>
                  <a:lnTo>
                    <a:pt x="675" y="417"/>
                  </a:lnTo>
                  <a:lnTo>
                    <a:pt x="669" y="434"/>
                  </a:lnTo>
                  <a:lnTo>
                    <a:pt x="666" y="437"/>
                  </a:lnTo>
                  <a:lnTo>
                    <a:pt x="664" y="450"/>
                  </a:lnTo>
                  <a:lnTo>
                    <a:pt x="664" y="457"/>
                  </a:lnTo>
                  <a:lnTo>
                    <a:pt x="663" y="462"/>
                  </a:lnTo>
                  <a:lnTo>
                    <a:pt x="648" y="472"/>
                  </a:lnTo>
                  <a:lnTo>
                    <a:pt x="640" y="473"/>
                  </a:lnTo>
                  <a:lnTo>
                    <a:pt x="634" y="479"/>
                  </a:lnTo>
                  <a:lnTo>
                    <a:pt x="626" y="483"/>
                  </a:lnTo>
                  <a:lnTo>
                    <a:pt x="618" y="488"/>
                  </a:lnTo>
                  <a:lnTo>
                    <a:pt x="601" y="491"/>
                  </a:lnTo>
                  <a:lnTo>
                    <a:pt x="594" y="494"/>
                  </a:lnTo>
                  <a:lnTo>
                    <a:pt x="586" y="493"/>
                  </a:lnTo>
                  <a:lnTo>
                    <a:pt x="586" y="499"/>
                  </a:lnTo>
                  <a:lnTo>
                    <a:pt x="593" y="504"/>
                  </a:lnTo>
                  <a:lnTo>
                    <a:pt x="589" y="509"/>
                  </a:lnTo>
                  <a:lnTo>
                    <a:pt x="585" y="510"/>
                  </a:lnTo>
                  <a:lnTo>
                    <a:pt x="583" y="522"/>
                  </a:lnTo>
                  <a:lnTo>
                    <a:pt x="579" y="525"/>
                  </a:lnTo>
                  <a:lnTo>
                    <a:pt x="570" y="528"/>
                  </a:lnTo>
                  <a:lnTo>
                    <a:pt x="564" y="534"/>
                  </a:lnTo>
                  <a:lnTo>
                    <a:pt x="551" y="534"/>
                  </a:lnTo>
                  <a:lnTo>
                    <a:pt x="543" y="536"/>
                  </a:lnTo>
                  <a:lnTo>
                    <a:pt x="538" y="536"/>
                  </a:lnTo>
                  <a:lnTo>
                    <a:pt x="534" y="530"/>
                  </a:lnTo>
                  <a:lnTo>
                    <a:pt x="526" y="526"/>
                  </a:lnTo>
                  <a:lnTo>
                    <a:pt x="520" y="521"/>
                  </a:lnTo>
                  <a:lnTo>
                    <a:pt x="508" y="523"/>
                  </a:lnTo>
                  <a:lnTo>
                    <a:pt x="497" y="520"/>
                  </a:lnTo>
                  <a:lnTo>
                    <a:pt x="494" y="517"/>
                  </a:lnTo>
                  <a:lnTo>
                    <a:pt x="488" y="511"/>
                  </a:lnTo>
                  <a:lnTo>
                    <a:pt x="482" y="507"/>
                  </a:lnTo>
                  <a:lnTo>
                    <a:pt x="484" y="494"/>
                  </a:lnTo>
                  <a:lnTo>
                    <a:pt x="481" y="483"/>
                  </a:lnTo>
                  <a:lnTo>
                    <a:pt x="481" y="446"/>
                  </a:lnTo>
                  <a:lnTo>
                    <a:pt x="476" y="441"/>
                  </a:lnTo>
                  <a:lnTo>
                    <a:pt x="450" y="441"/>
                  </a:lnTo>
                  <a:lnTo>
                    <a:pt x="434" y="431"/>
                  </a:lnTo>
                  <a:lnTo>
                    <a:pt x="412" y="413"/>
                  </a:lnTo>
                  <a:lnTo>
                    <a:pt x="396" y="403"/>
                  </a:lnTo>
                  <a:lnTo>
                    <a:pt x="386" y="399"/>
                  </a:lnTo>
                  <a:lnTo>
                    <a:pt x="382" y="387"/>
                  </a:lnTo>
                  <a:lnTo>
                    <a:pt x="373" y="374"/>
                  </a:lnTo>
                  <a:lnTo>
                    <a:pt x="364" y="369"/>
                  </a:lnTo>
                  <a:lnTo>
                    <a:pt x="349" y="366"/>
                  </a:lnTo>
                  <a:lnTo>
                    <a:pt x="338" y="369"/>
                  </a:lnTo>
                  <a:lnTo>
                    <a:pt x="327" y="366"/>
                  </a:lnTo>
                  <a:lnTo>
                    <a:pt x="314" y="359"/>
                  </a:lnTo>
                  <a:lnTo>
                    <a:pt x="276" y="347"/>
                  </a:lnTo>
                  <a:lnTo>
                    <a:pt x="267" y="335"/>
                  </a:lnTo>
                  <a:lnTo>
                    <a:pt x="252" y="323"/>
                  </a:lnTo>
                  <a:lnTo>
                    <a:pt x="231" y="321"/>
                  </a:lnTo>
                  <a:lnTo>
                    <a:pt x="217" y="323"/>
                  </a:lnTo>
                  <a:lnTo>
                    <a:pt x="214" y="332"/>
                  </a:lnTo>
                  <a:lnTo>
                    <a:pt x="209" y="337"/>
                  </a:lnTo>
                  <a:lnTo>
                    <a:pt x="198" y="337"/>
                  </a:lnTo>
                  <a:lnTo>
                    <a:pt x="187" y="333"/>
                  </a:lnTo>
                  <a:lnTo>
                    <a:pt x="176" y="333"/>
                  </a:lnTo>
                  <a:lnTo>
                    <a:pt x="160" y="337"/>
                  </a:lnTo>
                  <a:lnTo>
                    <a:pt x="145" y="351"/>
                  </a:lnTo>
                  <a:lnTo>
                    <a:pt x="111" y="378"/>
                  </a:lnTo>
                  <a:lnTo>
                    <a:pt x="93" y="382"/>
                  </a:lnTo>
                  <a:lnTo>
                    <a:pt x="79" y="382"/>
                  </a:lnTo>
                  <a:lnTo>
                    <a:pt x="80" y="378"/>
                  </a:lnTo>
                  <a:lnTo>
                    <a:pt x="74" y="338"/>
                  </a:lnTo>
                  <a:lnTo>
                    <a:pt x="73" y="312"/>
                  </a:lnTo>
                  <a:lnTo>
                    <a:pt x="77" y="289"/>
                  </a:lnTo>
                  <a:lnTo>
                    <a:pt x="86" y="275"/>
                  </a:lnTo>
                  <a:lnTo>
                    <a:pt x="75" y="272"/>
                  </a:lnTo>
                  <a:lnTo>
                    <a:pt x="64" y="262"/>
                  </a:lnTo>
                  <a:lnTo>
                    <a:pt x="57" y="252"/>
                  </a:lnTo>
                  <a:lnTo>
                    <a:pt x="50" y="250"/>
                  </a:lnTo>
                  <a:lnTo>
                    <a:pt x="50" y="247"/>
                  </a:lnTo>
                  <a:lnTo>
                    <a:pt x="70" y="238"/>
                  </a:lnTo>
                  <a:lnTo>
                    <a:pt x="77" y="234"/>
                  </a:lnTo>
                  <a:lnTo>
                    <a:pt x="66" y="230"/>
                  </a:lnTo>
                  <a:lnTo>
                    <a:pt x="58" y="225"/>
                  </a:lnTo>
                  <a:lnTo>
                    <a:pt x="51" y="219"/>
                  </a:lnTo>
                  <a:lnTo>
                    <a:pt x="61" y="209"/>
                  </a:lnTo>
                  <a:lnTo>
                    <a:pt x="68" y="214"/>
                  </a:lnTo>
                  <a:lnTo>
                    <a:pt x="78" y="218"/>
                  </a:lnTo>
                  <a:lnTo>
                    <a:pt x="72" y="207"/>
                  </a:lnTo>
                  <a:lnTo>
                    <a:pt x="51" y="199"/>
                  </a:lnTo>
                  <a:lnTo>
                    <a:pt x="34" y="203"/>
                  </a:lnTo>
                  <a:lnTo>
                    <a:pt x="26" y="211"/>
                  </a:lnTo>
                  <a:lnTo>
                    <a:pt x="21" y="211"/>
                  </a:lnTo>
                  <a:lnTo>
                    <a:pt x="14" y="181"/>
                  </a:lnTo>
                  <a:lnTo>
                    <a:pt x="16" y="166"/>
                  </a:lnTo>
                  <a:lnTo>
                    <a:pt x="23" y="155"/>
                  </a:lnTo>
                  <a:lnTo>
                    <a:pt x="24" y="151"/>
                  </a:lnTo>
                  <a:lnTo>
                    <a:pt x="21" y="128"/>
                  </a:lnTo>
                  <a:lnTo>
                    <a:pt x="27" y="143"/>
                  </a:lnTo>
                  <a:lnTo>
                    <a:pt x="32" y="151"/>
                  </a:lnTo>
                  <a:lnTo>
                    <a:pt x="53" y="151"/>
                  </a:lnTo>
                  <a:lnTo>
                    <a:pt x="73" y="157"/>
                  </a:lnTo>
                  <a:lnTo>
                    <a:pt x="84" y="156"/>
                  </a:lnTo>
                  <a:lnTo>
                    <a:pt x="99" y="160"/>
                  </a:lnTo>
                  <a:lnTo>
                    <a:pt x="109" y="155"/>
                  </a:lnTo>
                  <a:lnTo>
                    <a:pt x="99" y="154"/>
                  </a:lnTo>
                  <a:lnTo>
                    <a:pt x="97" y="148"/>
                  </a:lnTo>
                  <a:lnTo>
                    <a:pt x="112" y="144"/>
                  </a:lnTo>
                  <a:lnTo>
                    <a:pt x="126" y="127"/>
                  </a:lnTo>
                  <a:lnTo>
                    <a:pt x="102" y="109"/>
                  </a:lnTo>
                  <a:lnTo>
                    <a:pt x="86" y="91"/>
                  </a:lnTo>
                  <a:lnTo>
                    <a:pt x="80" y="74"/>
                  </a:lnTo>
                  <a:lnTo>
                    <a:pt x="70" y="60"/>
                  </a:lnTo>
                  <a:lnTo>
                    <a:pt x="68" y="58"/>
                  </a:lnTo>
                  <a:lnTo>
                    <a:pt x="57" y="57"/>
                  </a:lnTo>
                  <a:lnTo>
                    <a:pt x="39" y="62"/>
                  </a:lnTo>
                  <a:lnTo>
                    <a:pt x="23" y="70"/>
                  </a:lnTo>
                  <a:lnTo>
                    <a:pt x="14" y="82"/>
                  </a:lnTo>
                  <a:lnTo>
                    <a:pt x="14" y="91"/>
                  </a:lnTo>
                  <a:lnTo>
                    <a:pt x="19" y="94"/>
                  </a:lnTo>
                  <a:lnTo>
                    <a:pt x="20" y="119"/>
                  </a:lnTo>
                  <a:lnTo>
                    <a:pt x="18" y="117"/>
                  </a:lnTo>
                  <a:lnTo>
                    <a:pt x="4" y="92"/>
                  </a:lnTo>
                  <a:lnTo>
                    <a:pt x="0" y="74"/>
                  </a:lnTo>
                  <a:lnTo>
                    <a:pt x="30" y="48"/>
                  </a:lnTo>
                  <a:lnTo>
                    <a:pt x="53" y="39"/>
                  </a:lnTo>
                  <a:lnTo>
                    <a:pt x="77" y="32"/>
                  </a:lnTo>
                  <a:lnTo>
                    <a:pt x="85" y="31"/>
                  </a:lnTo>
                  <a:lnTo>
                    <a:pt x="93" y="31"/>
                  </a:lnTo>
                  <a:lnTo>
                    <a:pt x="100" y="35"/>
                  </a:lnTo>
                  <a:lnTo>
                    <a:pt x="107" y="41"/>
                  </a:lnTo>
                  <a:lnTo>
                    <a:pt x="122" y="47"/>
                  </a:lnTo>
                  <a:lnTo>
                    <a:pt x="127" y="54"/>
                  </a:lnTo>
                  <a:lnTo>
                    <a:pt x="133" y="69"/>
                  </a:lnTo>
                  <a:lnTo>
                    <a:pt x="139" y="75"/>
                  </a:lnTo>
                  <a:lnTo>
                    <a:pt x="143" y="82"/>
                  </a:lnTo>
                  <a:lnTo>
                    <a:pt x="153" y="105"/>
                  </a:lnTo>
                  <a:lnTo>
                    <a:pt x="163" y="112"/>
                  </a:lnTo>
                  <a:lnTo>
                    <a:pt x="181" y="113"/>
                  </a:lnTo>
                  <a:lnTo>
                    <a:pt x="193" y="10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grpSp>
          <p:nvGrpSpPr>
            <p:cNvPr id="57" name="Group 170"/>
            <p:cNvGrpSpPr>
              <a:grpSpLocks noChangeAspect="1"/>
            </p:cNvGrpSpPr>
            <p:nvPr/>
          </p:nvGrpSpPr>
          <p:grpSpPr>
            <a:xfrm>
              <a:off x="6677991" y="3378557"/>
              <a:ext cx="96999" cy="85561"/>
              <a:chOff x="3007" y="1982"/>
              <a:chExt cx="61" cy="49"/>
            </a:xfrm>
            <a:grpFill/>
          </p:grpSpPr>
          <p:sp>
            <p:nvSpPr>
              <p:cNvPr id="294" name="Freeform 171"/>
              <p:cNvSpPr>
                <a:spLocks noChangeAspect="1"/>
              </p:cNvSpPr>
              <p:nvPr/>
            </p:nvSpPr>
            <p:spPr bwMode="gray">
              <a:xfrm>
                <a:off x="3007" y="2013"/>
                <a:ext cx="13" cy="12"/>
              </a:xfrm>
              <a:custGeom>
                <a:avLst/>
                <a:gdLst/>
                <a:ahLst/>
                <a:cxnLst>
                  <a:cxn ang="0">
                    <a:pos x="65" y="59"/>
                  </a:cxn>
                  <a:cxn ang="0">
                    <a:pos x="52" y="56"/>
                  </a:cxn>
                  <a:cxn ang="0">
                    <a:pos x="36" y="53"/>
                  </a:cxn>
                  <a:cxn ang="0">
                    <a:pos x="4" y="7"/>
                  </a:cxn>
                  <a:cxn ang="0">
                    <a:pos x="0" y="2"/>
                  </a:cxn>
                  <a:cxn ang="0">
                    <a:pos x="10" y="0"/>
                  </a:cxn>
                  <a:cxn ang="0">
                    <a:pos x="17" y="1"/>
                  </a:cxn>
                  <a:cxn ang="0">
                    <a:pos x="22" y="9"/>
                  </a:cxn>
                  <a:cxn ang="0">
                    <a:pos x="30" y="12"/>
                  </a:cxn>
                  <a:cxn ang="0">
                    <a:pos x="37" y="13"/>
                  </a:cxn>
                  <a:cxn ang="0">
                    <a:pos x="44" y="10"/>
                  </a:cxn>
                  <a:cxn ang="0">
                    <a:pos x="52" y="12"/>
                  </a:cxn>
                  <a:cxn ang="0">
                    <a:pos x="55" y="20"/>
                  </a:cxn>
                  <a:cxn ang="0">
                    <a:pos x="60" y="27"/>
                  </a:cxn>
                  <a:cxn ang="0">
                    <a:pos x="64" y="34"/>
                  </a:cxn>
                  <a:cxn ang="0">
                    <a:pos x="65" y="59"/>
                  </a:cxn>
                </a:cxnLst>
                <a:rect l="0" t="0" r="r" b="b"/>
                <a:pathLst>
                  <a:path w="65" h="59">
                    <a:moveTo>
                      <a:pt x="65" y="59"/>
                    </a:moveTo>
                    <a:lnTo>
                      <a:pt x="52" y="56"/>
                    </a:lnTo>
                    <a:lnTo>
                      <a:pt x="36" y="53"/>
                    </a:lnTo>
                    <a:lnTo>
                      <a:pt x="4" y="7"/>
                    </a:lnTo>
                    <a:lnTo>
                      <a:pt x="0" y="2"/>
                    </a:lnTo>
                    <a:lnTo>
                      <a:pt x="10" y="0"/>
                    </a:lnTo>
                    <a:lnTo>
                      <a:pt x="17" y="1"/>
                    </a:lnTo>
                    <a:lnTo>
                      <a:pt x="22" y="9"/>
                    </a:lnTo>
                    <a:lnTo>
                      <a:pt x="30" y="12"/>
                    </a:lnTo>
                    <a:lnTo>
                      <a:pt x="37" y="13"/>
                    </a:lnTo>
                    <a:lnTo>
                      <a:pt x="44" y="10"/>
                    </a:lnTo>
                    <a:lnTo>
                      <a:pt x="52" y="12"/>
                    </a:lnTo>
                    <a:lnTo>
                      <a:pt x="55" y="20"/>
                    </a:lnTo>
                    <a:lnTo>
                      <a:pt x="60" y="27"/>
                    </a:lnTo>
                    <a:lnTo>
                      <a:pt x="64" y="34"/>
                    </a:lnTo>
                    <a:lnTo>
                      <a:pt x="65" y="5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95" name="Freeform 172"/>
              <p:cNvSpPr>
                <a:spLocks noChangeAspect="1"/>
              </p:cNvSpPr>
              <p:nvPr/>
            </p:nvSpPr>
            <p:spPr bwMode="gray">
              <a:xfrm>
                <a:off x="3009" y="1982"/>
                <a:ext cx="59" cy="49"/>
              </a:xfrm>
              <a:custGeom>
                <a:avLst/>
                <a:gdLst/>
                <a:ahLst/>
                <a:cxnLst>
                  <a:cxn ang="0">
                    <a:pos x="88" y="5"/>
                  </a:cxn>
                  <a:cxn ang="0">
                    <a:pos x="107" y="16"/>
                  </a:cxn>
                  <a:cxn ang="0">
                    <a:pos x="119" y="24"/>
                  </a:cxn>
                  <a:cxn ang="0">
                    <a:pos x="126" y="47"/>
                  </a:cxn>
                  <a:cxn ang="0">
                    <a:pos x="151" y="51"/>
                  </a:cxn>
                  <a:cxn ang="0">
                    <a:pos x="164" y="43"/>
                  </a:cxn>
                  <a:cxn ang="0">
                    <a:pos x="178" y="24"/>
                  </a:cxn>
                  <a:cxn ang="0">
                    <a:pos x="188" y="13"/>
                  </a:cxn>
                  <a:cxn ang="0">
                    <a:pos x="220" y="34"/>
                  </a:cxn>
                  <a:cxn ang="0">
                    <a:pos x="245" y="83"/>
                  </a:cxn>
                  <a:cxn ang="0">
                    <a:pos x="261" y="98"/>
                  </a:cxn>
                  <a:cxn ang="0">
                    <a:pos x="281" y="98"/>
                  </a:cxn>
                  <a:cxn ang="0">
                    <a:pos x="292" y="109"/>
                  </a:cxn>
                  <a:cxn ang="0">
                    <a:pos x="283" y="109"/>
                  </a:cxn>
                  <a:cxn ang="0">
                    <a:pos x="259" y="117"/>
                  </a:cxn>
                  <a:cxn ang="0">
                    <a:pos x="248" y="147"/>
                  </a:cxn>
                  <a:cxn ang="0">
                    <a:pos x="240" y="180"/>
                  </a:cxn>
                  <a:cxn ang="0">
                    <a:pos x="223" y="192"/>
                  </a:cxn>
                  <a:cxn ang="0">
                    <a:pos x="213" y="206"/>
                  </a:cxn>
                  <a:cxn ang="0">
                    <a:pos x="215" y="244"/>
                  </a:cxn>
                  <a:cxn ang="0">
                    <a:pos x="204" y="245"/>
                  </a:cxn>
                  <a:cxn ang="0">
                    <a:pos x="189" y="235"/>
                  </a:cxn>
                  <a:cxn ang="0">
                    <a:pos x="177" y="227"/>
                  </a:cxn>
                  <a:cxn ang="0">
                    <a:pos x="169" y="215"/>
                  </a:cxn>
                  <a:cxn ang="0">
                    <a:pos x="177" y="186"/>
                  </a:cxn>
                  <a:cxn ang="0">
                    <a:pos x="161" y="163"/>
                  </a:cxn>
                  <a:cxn ang="0">
                    <a:pos x="123" y="177"/>
                  </a:cxn>
                  <a:cxn ang="0">
                    <a:pos x="107" y="203"/>
                  </a:cxn>
                  <a:cxn ang="0">
                    <a:pos x="84" y="218"/>
                  </a:cxn>
                  <a:cxn ang="0">
                    <a:pos x="80" y="203"/>
                  </a:cxn>
                  <a:cxn ang="0">
                    <a:pos x="82" y="196"/>
                  </a:cxn>
                  <a:cxn ang="0">
                    <a:pos x="77" y="182"/>
                  </a:cxn>
                  <a:cxn ang="0">
                    <a:pos x="82" y="166"/>
                  </a:cxn>
                  <a:cxn ang="0">
                    <a:pos x="67" y="165"/>
                  </a:cxn>
                  <a:cxn ang="0">
                    <a:pos x="43" y="144"/>
                  </a:cxn>
                  <a:cxn ang="0">
                    <a:pos x="49" y="136"/>
                  </a:cxn>
                  <a:cxn ang="0">
                    <a:pos x="51" y="120"/>
                  </a:cxn>
                  <a:cxn ang="0">
                    <a:pos x="32" y="106"/>
                  </a:cxn>
                  <a:cxn ang="0">
                    <a:pos x="24" y="91"/>
                  </a:cxn>
                  <a:cxn ang="0">
                    <a:pos x="29" y="77"/>
                  </a:cxn>
                  <a:cxn ang="0">
                    <a:pos x="21" y="64"/>
                  </a:cxn>
                  <a:cxn ang="0">
                    <a:pos x="3" y="51"/>
                  </a:cxn>
                  <a:cxn ang="0">
                    <a:pos x="0" y="43"/>
                  </a:cxn>
                  <a:cxn ang="0">
                    <a:pos x="19" y="32"/>
                  </a:cxn>
                  <a:cxn ang="0">
                    <a:pos x="34" y="36"/>
                  </a:cxn>
                  <a:cxn ang="0">
                    <a:pos x="55" y="50"/>
                  </a:cxn>
                  <a:cxn ang="0">
                    <a:pos x="78" y="55"/>
                  </a:cxn>
                  <a:cxn ang="0">
                    <a:pos x="91" y="50"/>
                  </a:cxn>
                  <a:cxn ang="0">
                    <a:pos x="75" y="32"/>
                  </a:cxn>
                  <a:cxn ang="0">
                    <a:pos x="66" y="19"/>
                  </a:cxn>
                  <a:cxn ang="0">
                    <a:pos x="78" y="0"/>
                  </a:cxn>
                </a:cxnLst>
                <a:rect l="0" t="0" r="r" b="b"/>
                <a:pathLst>
                  <a:path w="294" h="245">
                    <a:moveTo>
                      <a:pt x="80" y="0"/>
                    </a:moveTo>
                    <a:lnTo>
                      <a:pt x="88" y="5"/>
                    </a:lnTo>
                    <a:lnTo>
                      <a:pt x="95" y="5"/>
                    </a:lnTo>
                    <a:lnTo>
                      <a:pt x="107" y="16"/>
                    </a:lnTo>
                    <a:lnTo>
                      <a:pt x="111" y="24"/>
                    </a:lnTo>
                    <a:lnTo>
                      <a:pt x="119" y="24"/>
                    </a:lnTo>
                    <a:lnTo>
                      <a:pt x="124" y="40"/>
                    </a:lnTo>
                    <a:lnTo>
                      <a:pt x="126" y="47"/>
                    </a:lnTo>
                    <a:lnTo>
                      <a:pt x="135" y="47"/>
                    </a:lnTo>
                    <a:lnTo>
                      <a:pt x="151" y="51"/>
                    </a:lnTo>
                    <a:lnTo>
                      <a:pt x="159" y="48"/>
                    </a:lnTo>
                    <a:lnTo>
                      <a:pt x="164" y="43"/>
                    </a:lnTo>
                    <a:lnTo>
                      <a:pt x="170" y="28"/>
                    </a:lnTo>
                    <a:lnTo>
                      <a:pt x="178" y="24"/>
                    </a:lnTo>
                    <a:lnTo>
                      <a:pt x="185" y="20"/>
                    </a:lnTo>
                    <a:lnTo>
                      <a:pt x="188" y="13"/>
                    </a:lnTo>
                    <a:lnTo>
                      <a:pt x="194" y="3"/>
                    </a:lnTo>
                    <a:lnTo>
                      <a:pt x="220" y="34"/>
                    </a:lnTo>
                    <a:lnTo>
                      <a:pt x="236" y="68"/>
                    </a:lnTo>
                    <a:lnTo>
                      <a:pt x="245" y="83"/>
                    </a:lnTo>
                    <a:lnTo>
                      <a:pt x="253" y="93"/>
                    </a:lnTo>
                    <a:lnTo>
                      <a:pt x="261" y="98"/>
                    </a:lnTo>
                    <a:lnTo>
                      <a:pt x="274" y="93"/>
                    </a:lnTo>
                    <a:lnTo>
                      <a:pt x="281" y="98"/>
                    </a:lnTo>
                    <a:lnTo>
                      <a:pt x="287" y="100"/>
                    </a:lnTo>
                    <a:lnTo>
                      <a:pt x="292" y="109"/>
                    </a:lnTo>
                    <a:lnTo>
                      <a:pt x="294" y="118"/>
                    </a:lnTo>
                    <a:lnTo>
                      <a:pt x="283" y="109"/>
                    </a:lnTo>
                    <a:lnTo>
                      <a:pt x="269" y="110"/>
                    </a:lnTo>
                    <a:lnTo>
                      <a:pt x="259" y="117"/>
                    </a:lnTo>
                    <a:lnTo>
                      <a:pt x="251" y="127"/>
                    </a:lnTo>
                    <a:lnTo>
                      <a:pt x="248" y="147"/>
                    </a:lnTo>
                    <a:lnTo>
                      <a:pt x="247" y="164"/>
                    </a:lnTo>
                    <a:lnTo>
                      <a:pt x="240" y="180"/>
                    </a:lnTo>
                    <a:lnTo>
                      <a:pt x="236" y="206"/>
                    </a:lnTo>
                    <a:lnTo>
                      <a:pt x="223" y="192"/>
                    </a:lnTo>
                    <a:lnTo>
                      <a:pt x="216" y="197"/>
                    </a:lnTo>
                    <a:lnTo>
                      <a:pt x="213" y="206"/>
                    </a:lnTo>
                    <a:lnTo>
                      <a:pt x="213" y="227"/>
                    </a:lnTo>
                    <a:lnTo>
                      <a:pt x="215" y="244"/>
                    </a:lnTo>
                    <a:lnTo>
                      <a:pt x="211" y="245"/>
                    </a:lnTo>
                    <a:lnTo>
                      <a:pt x="204" y="245"/>
                    </a:lnTo>
                    <a:lnTo>
                      <a:pt x="197" y="242"/>
                    </a:lnTo>
                    <a:lnTo>
                      <a:pt x="189" y="235"/>
                    </a:lnTo>
                    <a:lnTo>
                      <a:pt x="181" y="231"/>
                    </a:lnTo>
                    <a:lnTo>
                      <a:pt x="177" y="227"/>
                    </a:lnTo>
                    <a:lnTo>
                      <a:pt x="166" y="220"/>
                    </a:lnTo>
                    <a:lnTo>
                      <a:pt x="169" y="215"/>
                    </a:lnTo>
                    <a:lnTo>
                      <a:pt x="184" y="207"/>
                    </a:lnTo>
                    <a:lnTo>
                      <a:pt x="177" y="186"/>
                    </a:lnTo>
                    <a:lnTo>
                      <a:pt x="178" y="172"/>
                    </a:lnTo>
                    <a:lnTo>
                      <a:pt x="161" y="163"/>
                    </a:lnTo>
                    <a:lnTo>
                      <a:pt x="135" y="169"/>
                    </a:lnTo>
                    <a:lnTo>
                      <a:pt x="123" y="177"/>
                    </a:lnTo>
                    <a:lnTo>
                      <a:pt x="113" y="187"/>
                    </a:lnTo>
                    <a:lnTo>
                      <a:pt x="107" y="203"/>
                    </a:lnTo>
                    <a:lnTo>
                      <a:pt x="95" y="217"/>
                    </a:lnTo>
                    <a:lnTo>
                      <a:pt x="84" y="218"/>
                    </a:lnTo>
                    <a:lnTo>
                      <a:pt x="83" y="211"/>
                    </a:lnTo>
                    <a:lnTo>
                      <a:pt x="80" y="203"/>
                    </a:lnTo>
                    <a:lnTo>
                      <a:pt x="75" y="197"/>
                    </a:lnTo>
                    <a:lnTo>
                      <a:pt x="82" y="196"/>
                    </a:lnTo>
                    <a:lnTo>
                      <a:pt x="83" y="187"/>
                    </a:lnTo>
                    <a:lnTo>
                      <a:pt x="77" y="182"/>
                    </a:lnTo>
                    <a:lnTo>
                      <a:pt x="78" y="175"/>
                    </a:lnTo>
                    <a:lnTo>
                      <a:pt x="82" y="166"/>
                    </a:lnTo>
                    <a:lnTo>
                      <a:pt x="75" y="165"/>
                    </a:lnTo>
                    <a:lnTo>
                      <a:pt x="67" y="165"/>
                    </a:lnTo>
                    <a:lnTo>
                      <a:pt x="52" y="156"/>
                    </a:lnTo>
                    <a:lnTo>
                      <a:pt x="43" y="144"/>
                    </a:lnTo>
                    <a:lnTo>
                      <a:pt x="40" y="137"/>
                    </a:lnTo>
                    <a:lnTo>
                      <a:pt x="49" y="136"/>
                    </a:lnTo>
                    <a:lnTo>
                      <a:pt x="52" y="127"/>
                    </a:lnTo>
                    <a:lnTo>
                      <a:pt x="51" y="120"/>
                    </a:lnTo>
                    <a:lnTo>
                      <a:pt x="37" y="111"/>
                    </a:lnTo>
                    <a:lnTo>
                      <a:pt x="32" y="106"/>
                    </a:lnTo>
                    <a:lnTo>
                      <a:pt x="27" y="99"/>
                    </a:lnTo>
                    <a:lnTo>
                      <a:pt x="24" y="91"/>
                    </a:lnTo>
                    <a:lnTo>
                      <a:pt x="24" y="83"/>
                    </a:lnTo>
                    <a:lnTo>
                      <a:pt x="29" y="77"/>
                    </a:lnTo>
                    <a:lnTo>
                      <a:pt x="28" y="69"/>
                    </a:lnTo>
                    <a:lnTo>
                      <a:pt x="21" y="64"/>
                    </a:lnTo>
                    <a:lnTo>
                      <a:pt x="13" y="64"/>
                    </a:lnTo>
                    <a:lnTo>
                      <a:pt x="3" y="51"/>
                    </a:lnTo>
                    <a:lnTo>
                      <a:pt x="1" y="43"/>
                    </a:lnTo>
                    <a:lnTo>
                      <a:pt x="0" y="43"/>
                    </a:lnTo>
                    <a:lnTo>
                      <a:pt x="5" y="42"/>
                    </a:lnTo>
                    <a:lnTo>
                      <a:pt x="19" y="32"/>
                    </a:lnTo>
                    <a:lnTo>
                      <a:pt x="27" y="34"/>
                    </a:lnTo>
                    <a:lnTo>
                      <a:pt x="34" y="36"/>
                    </a:lnTo>
                    <a:lnTo>
                      <a:pt x="40" y="42"/>
                    </a:lnTo>
                    <a:lnTo>
                      <a:pt x="55" y="50"/>
                    </a:lnTo>
                    <a:lnTo>
                      <a:pt x="64" y="48"/>
                    </a:lnTo>
                    <a:lnTo>
                      <a:pt x="78" y="55"/>
                    </a:lnTo>
                    <a:lnTo>
                      <a:pt x="87" y="56"/>
                    </a:lnTo>
                    <a:lnTo>
                      <a:pt x="91" y="50"/>
                    </a:lnTo>
                    <a:lnTo>
                      <a:pt x="88" y="42"/>
                    </a:lnTo>
                    <a:lnTo>
                      <a:pt x="75" y="32"/>
                    </a:lnTo>
                    <a:lnTo>
                      <a:pt x="72" y="25"/>
                    </a:lnTo>
                    <a:lnTo>
                      <a:pt x="66" y="19"/>
                    </a:lnTo>
                    <a:lnTo>
                      <a:pt x="67" y="10"/>
                    </a:lnTo>
                    <a:lnTo>
                      <a:pt x="78" y="0"/>
                    </a:lnTo>
                    <a:lnTo>
                      <a:pt x="8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</p:grpSp>
        <p:sp>
          <p:nvSpPr>
            <p:cNvPr id="58" name="Freeform 173"/>
            <p:cNvSpPr>
              <a:spLocks noChangeAspect="1"/>
            </p:cNvSpPr>
            <p:nvPr/>
          </p:nvSpPr>
          <p:spPr bwMode="gray">
            <a:xfrm>
              <a:off x="5469486" y="2542159"/>
              <a:ext cx="190817" cy="143183"/>
            </a:xfrm>
            <a:custGeom>
              <a:avLst/>
              <a:gdLst/>
              <a:ahLst/>
              <a:cxnLst>
                <a:cxn ang="0">
                  <a:pos x="221" y="370"/>
                </a:cxn>
                <a:cxn ang="0">
                  <a:pos x="145" y="352"/>
                </a:cxn>
                <a:cxn ang="0">
                  <a:pos x="103" y="337"/>
                </a:cxn>
                <a:cxn ang="0">
                  <a:pos x="150" y="308"/>
                </a:cxn>
                <a:cxn ang="0">
                  <a:pos x="141" y="270"/>
                </a:cxn>
                <a:cxn ang="0">
                  <a:pos x="127" y="259"/>
                </a:cxn>
                <a:cxn ang="0">
                  <a:pos x="108" y="227"/>
                </a:cxn>
                <a:cxn ang="0">
                  <a:pos x="59" y="228"/>
                </a:cxn>
                <a:cxn ang="0">
                  <a:pos x="48" y="218"/>
                </a:cxn>
                <a:cxn ang="0">
                  <a:pos x="102" y="205"/>
                </a:cxn>
                <a:cxn ang="0">
                  <a:pos x="146" y="180"/>
                </a:cxn>
                <a:cxn ang="0">
                  <a:pos x="118" y="167"/>
                </a:cxn>
                <a:cxn ang="0">
                  <a:pos x="138" y="137"/>
                </a:cxn>
                <a:cxn ang="0">
                  <a:pos x="119" y="136"/>
                </a:cxn>
                <a:cxn ang="0">
                  <a:pos x="71" y="138"/>
                </a:cxn>
                <a:cxn ang="0">
                  <a:pos x="0" y="144"/>
                </a:cxn>
                <a:cxn ang="0">
                  <a:pos x="43" y="130"/>
                </a:cxn>
                <a:cxn ang="0">
                  <a:pos x="21" y="97"/>
                </a:cxn>
                <a:cxn ang="0">
                  <a:pos x="68" y="108"/>
                </a:cxn>
                <a:cxn ang="0">
                  <a:pos x="53" y="86"/>
                </a:cxn>
                <a:cxn ang="0">
                  <a:pos x="54" y="71"/>
                </a:cxn>
                <a:cxn ang="0">
                  <a:pos x="77" y="57"/>
                </a:cxn>
                <a:cxn ang="0">
                  <a:pos x="102" y="79"/>
                </a:cxn>
                <a:cxn ang="0">
                  <a:pos x="112" y="66"/>
                </a:cxn>
                <a:cxn ang="0">
                  <a:pos x="103" y="40"/>
                </a:cxn>
                <a:cxn ang="0">
                  <a:pos x="95" y="24"/>
                </a:cxn>
                <a:cxn ang="0">
                  <a:pos x="77" y="9"/>
                </a:cxn>
                <a:cxn ang="0">
                  <a:pos x="109" y="17"/>
                </a:cxn>
                <a:cxn ang="0">
                  <a:pos x="155" y="60"/>
                </a:cxn>
                <a:cxn ang="0">
                  <a:pos x="176" y="100"/>
                </a:cxn>
                <a:cxn ang="0">
                  <a:pos x="156" y="117"/>
                </a:cxn>
                <a:cxn ang="0">
                  <a:pos x="172" y="146"/>
                </a:cxn>
                <a:cxn ang="0">
                  <a:pos x="189" y="152"/>
                </a:cxn>
                <a:cxn ang="0">
                  <a:pos x="217" y="127"/>
                </a:cxn>
                <a:cxn ang="0">
                  <a:pos x="229" y="72"/>
                </a:cxn>
                <a:cxn ang="0">
                  <a:pos x="265" y="95"/>
                </a:cxn>
                <a:cxn ang="0">
                  <a:pos x="283" y="76"/>
                </a:cxn>
                <a:cxn ang="0">
                  <a:pos x="318" y="45"/>
                </a:cxn>
                <a:cxn ang="0">
                  <a:pos x="333" y="77"/>
                </a:cxn>
                <a:cxn ang="0">
                  <a:pos x="355" y="103"/>
                </a:cxn>
                <a:cxn ang="0">
                  <a:pos x="349" y="47"/>
                </a:cxn>
                <a:cxn ang="0">
                  <a:pos x="392" y="65"/>
                </a:cxn>
                <a:cxn ang="0">
                  <a:pos x="424" y="57"/>
                </a:cxn>
                <a:cxn ang="0">
                  <a:pos x="437" y="7"/>
                </a:cxn>
                <a:cxn ang="0">
                  <a:pos x="480" y="19"/>
                </a:cxn>
                <a:cxn ang="0">
                  <a:pos x="504" y="44"/>
                </a:cxn>
                <a:cxn ang="0">
                  <a:pos x="543" y="19"/>
                </a:cxn>
                <a:cxn ang="0">
                  <a:pos x="523" y="72"/>
                </a:cxn>
                <a:cxn ang="0">
                  <a:pos x="560" y="106"/>
                </a:cxn>
                <a:cxn ang="0">
                  <a:pos x="582" y="120"/>
                </a:cxn>
                <a:cxn ang="0">
                  <a:pos x="600" y="179"/>
                </a:cxn>
                <a:cxn ang="0">
                  <a:pos x="591" y="217"/>
                </a:cxn>
                <a:cxn ang="0">
                  <a:pos x="550" y="243"/>
                </a:cxn>
                <a:cxn ang="0">
                  <a:pos x="555" y="270"/>
                </a:cxn>
                <a:cxn ang="0">
                  <a:pos x="516" y="285"/>
                </a:cxn>
                <a:cxn ang="0">
                  <a:pos x="483" y="309"/>
                </a:cxn>
                <a:cxn ang="0">
                  <a:pos x="413" y="347"/>
                </a:cxn>
                <a:cxn ang="0">
                  <a:pos x="385" y="364"/>
                </a:cxn>
                <a:cxn ang="0">
                  <a:pos x="302" y="407"/>
                </a:cxn>
              </a:cxnLst>
              <a:rect l="0" t="0" r="r" b="b"/>
              <a:pathLst>
                <a:path w="603" h="409">
                  <a:moveTo>
                    <a:pt x="251" y="389"/>
                  </a:moveTo>
                  <a:lnTo>
                    <a:pt x="248" y="390"/>
                  </a:lnTo>
                  <a:lnTo>
                    <a:pt x="240" y="384"/>
                  </a:lnTo>
                  <a:lnTo>
                    <a:pt x="231" y="382"/>
                  </a:lnTo>
                  <a:lnTo>
                    <a:pt x="221" y="370"/>
                  </a:lnTo>
                  <a:lnTo>
                    <a:pt x="202" y="356"/>
                  </a:lnTo>
                  <a:lnTo>
                    <a:pt x="182" y="348"/>
                  </a:lnTo>
                  <a:lnTo>
                    <a:pt x="170" y="353"/>
                  </a:lnTo>
                  <a:lnTo>
                    <a:pt x="151" y="348"/>
                  </a:lnTo>
                  <a:lnTo>
                    <a:pt x="145" y="352"/>
                  </a:lnTo>
                  <a:lnTo>
                    <a:pt x="135" y="352"/>
                  </a:lnTo>
                  <a:lnTo>
                    <a:pt x="118" y="351"/>
                  </a:lnTo>
                  <a:lnTo>
                    <a:pt x="111" y="357"/>
                  </a:lnTo>
                  <a:lnTo>
                    <a:pt x="102" y="355"/>
                  </a:lnTo>
                  <a:lnTo>
                    <a:pt x="103" y="337"/>
                  </a:lnTo>
                  <a:lnTo>
                    <a:pt x="100" y="324"/>
                  </a:lnTo>
                  <a:lnTo>
                    <a:pt x="113" y="334"/>
                  </a:lnTo>
                  <a:lnTo>
                    <a:pt x="119" y="325"/>
                  </a:lnTo>
                  <a:lnTo>
                    <a:pt x="135" y="319"/>
                  </a:lnTo>
                  <a:lnTo>
                    <a:pt x="150" y="308"/>
                  </a:lnTo>
                  <a:lnTo>
                    <a:pt x="150" y="288"/>
                  </a:lnTo>
                  <a:lnTo>
                    <a:pt x="131" y="293"/>
                  </a:lnTo>
                  <a:lnTo>
                    <a:pt x="141" y="283"/>
                  </a:lnTo>
                  <a:lnTo>
                    <a:pt x="143" y="278"/>
                  </a:lnTo>
                  <a:lnTo>
                    <a:pt x="141" y="270"/>
                  </a:lnTo>
                  <a:lnTo>
                    <a:pt x="150" y="259"/>
                  </a:lnTo>
                  <a:lnTo>
                    <a:pt x="140" y="260"/>
                  </a:lnTo>
                  <a:lnTo>
                    <a:pt x="134" y="271"/>
                  </a:lnTo>
                  <a:lnTo>
                    <a:pt x="128" y="266"/>
                  </a:lnTo>
                  <a:lnTo>
                    <a:pt x="127" y="259"/>
                  </a:lnTo>
                  <a:lnTo>
                    <a:pt x="122" y="260"/>
                  </a:lnTo>
                  <a:lnTo>
                    <a:pt x="120" y="255"/>
                  </a:lnTo>
                  <a:lnTo>
                    <a:pt x="119" y="245"/>
                  </a:lnTo>
                  <a:lnTo>
                    <a:pt x="116" y="228"/>
                  </a:lnTo>
                  <a:lnTo>
                    <a:pt x="108" y="227"/>
                  </a:lnTo>
                  <a:lnTo>
                    <a:pt x="95" y="232"/>
                  </a:lnTo>
                  <a:lnTo>
                    <a:pt x="90" y="227"/>
                  </a:lnTo>
                  <a:lnTo>
                    <a:pt x="81" y="226"/>
                  </a:lnTo>
                  <a:lnTo>
                    <a:pt x="69" y="226"/>
                  </a:lnTo>
                  <a:lnTo>
                    <a:pt x="59" y="228"/>
                  </a:lnTo>
                  <a:lnTo>
                    <a:pt x="49" y="235"/>
                  </a:lnTo>
                  <a:lnTo>
                    <a:pt x="37" y="238"/>
                  </a:lnTo>
                  <a:lnTo>
                    <a:pt x="32" y="232"/>
                  </a:lnTo>
                  <a:lnTo>
                    <a:pt x="33" y="219"/>
                  </a:lnTo>
                  <a:lnTo>
                    <a:pt x="48" y="218"/>
                  </a:lnTo>
                  <a:lnTo>
                    <a:pt x="66" y="213"/>
                  </a:lnTo>
                  <a:lnTo>
                    <a:pt x="73" y="207"/>
                  </a:lnTo>
                  <a:lnTo>
                    <a:pt x="85" y="207"/>
                  </a:lnTo>
                  <a:lnTo>
                    <a:pt x="96" y="197"/>
                  </a:lnTo>
                  <a:lnTo>
                    <a:pt x="102" y="205"/>
                  </a:lnTo>
                  <a:lnTo>
                    <a:pt x="111" y="196"/>
                  </a:lnTo>
                  <a:lnTo>
                    <a:pt x="122" y="200"/>
                  </a:lnTo>
                  <a:lnTo>
                    <a:pt x="144" y="201"/>
                  </a:lnTo>
                  <a:lnTo>
                    <a:pt x="152" y="178"/>
                  </a:lnTo>
                  <a:lnTo>
                    <a:pt x="146" y="180"/>
                  </a:lnTo>
                  <a:lnTo>
                    <a:pt x="140" y="191"/>
                  </a:lnTo>
                  <a:lnTo>
                    <a:pt x="133" y="187"/>
                  </a:lnTo>
                  <a:lnTo>
                    <a:pt x="111" y="184"/>
                  </a:lnTo>
                  <a:lnTo>
                    <a:pt x="111" y="176"/>
                  </a:lnTo>
                  <a:lnTo>
                    <a:pt x="118" y="167"/>
                  </a:lnTo>
                  <a:lnTo>
                    <a:pt x="125" y="165"/>
                  </a:lnTo>
                  <a:lnTo>
                    <a:pt x="130" y="159"/>
                  </a:lnTo>
                  <a:lnTo>
                    <a:pt x="147" y="147"/>
                  </a:lnTo>
                  <a:lnTo>
                    <a:pt x="147" y="144"/>
                  </a:lnTo>
                  <a:lnTo>
                    <a:pt x="138" y="137"/>
                  </a:lnTo>
                  <a:lnTo>
                    <a:pt x="131" y="143"/>
                  </a:lnTo>
                  <a:lnTo>
                    <a:pt x="124" y="143"/>
                  </a:lnTo>
                  <a:lnTo>
                    <a:pt x="124" y="137"/>
                  </a:lnTo>
                  <a:lnTo>
                    <a:pt x="119" y="133"/>
                  </a:lnTo>
                  <a:lnTo>
                    <a:pt x="119" y="136"/>
                  </a:lnTo>
                  <a:lnTo>
                    <a:pt x="116" y="127"/>
                  </a:lnTo>
                  <a:lnTo>
                    <a:pt x="112" y="126"/>
                  </a:lnTo>
                  <a:lnTo>
                    <a:pt x="90" y="124"/>
                  </a:lnTo>
                  <a:lnTo>
                    <a:pt x="82" y="127"/>
                  </a:lnTo>
                  <a:lnTo>
                    <a:pt x="71" y="138"/>
                  </a:lnTo>
                  <a:lnTo>
                    <a:pt x="64" y="138"/>
                  </a:lnTo>
                  <a:lnTo>
                    <a:pt x="48" y="147"/>
                  </a:lnTo>
                  <a:lnTo>
                    <a:pt x="42" y="147"/>
                  </a:lnTo>
                  <a:lnTo>
                    <a:pt x="25" y="137"/>
                  </a:lnTo>
                  <a:lnTo>
                    <a:pt x="0" y="144"/>
                  </a:lnTo>
                  <a:lnTo>
                    <a:pt x="4" y="132"/>
                  </a:lnTo>
                  <a:lnTo>
                    <a:pt x="9" y="122"/>
                  </a:lnTo>
                  <a:lnTo>
                    <a:pt x="15" y="127"/>
                  </a:lnTo>
                  <a:lnTo>
                    <a:pt x="34" y="136"/>
                  </a:lnTo>
                  <a:lnTo>
                    <a:pt x="43" y="130"/>
                  </a:lnTo>
                  <a:lnTo>
                    <a:pt x="31" y="125"/>
                  </a:lnTo>
                  <a:lnTo>
                    <a:pt x="34" y="124"/>
                  </a:lnTo>
                  <a:lnTo>
                    <a:pt x="36" y="116"/>
                  </a:lnTo>
                  <a:lnTo>
                    <a:pt x="26" y="110"/>
                  </a:lnTo>
                  <a:lnTo>
                    <a:pt x="21" y="97"/>
                  </a:lnTo>
                  <a:lnTo>
                    <a:pt x="44" y="108"/>
                  </a:lnTo>
                  <a:lnTo>
                    <a:pt x="53" y="120"/>
                  </a:lnTo>
                  <a:lnTo>
                    <a:pt x="70" y="116"/>
                  </a:lnTo>
                  <a:lnTo>
                    <a:pt x="63" y="111"/>
                  </a:lnTo>
                  <a:lnTo>
                    <a:pt x="68" y="108"/>
                  </a:lnTo>
                  <a:lnTo>
                    <a:pt x="69" y="100"/>
                  </a:lnTo>
                  <a:lnTo>
                    <a:pt x="50" y="103"/>
                  </a:lnTo>
                  <a:lnTo>
                    <a:pt x="41" y="92"/>
                  </a:lnTo>
                  <a:lnTo>
                    <a:pt x="42" y="88"/>
                  </a:lnTo>
                  <a:lnTo>
                    <a:pt x="53" y="86"/>
                  </a:lnTo>
                  <a:lnTo>
                    <a:pt x="44" y="78"/>
                  </a:lnTo>
                  <a:lnTo>
                    <a:pt x="37" y="65"/>
                  </a:lnTo>
                  <a:lnTo>
                    <a:pt x="38" y="67"/>
                  </a:lnTo>
                  <a:lnTo>
                    <a:pt x="52" y="73"/>
                  </a:lnTo>
                  <a:lnTo>
                    <a:pt x="54" y="71"/>
                  </a:lnTo>
                  <a:lnTo>
                    <a:pt x="47" y="59"/>
                  </a:lnTo>
                  <a:lnTo>
                    <a:pt x="58" y="63"/>
                  </a:lnTo>
                  <a:lnTo>
                    <a:pt x="50" y="51"/>
                  </a:lnTo>
                  <a:lnTo>
                    <a:pt x="58" y="47"/>
                  </a:lnTo>
                  <a:lnTo>
                    <a:pt x="77" y="57"/>
                  </a:lnTo>
                  <a:lnTo>
                    <a:pt x="77" y="73"/>
                  </a:lnTo>
                  <a:lnTo>
                    <a:pt x="80" y="74"/>
                  </a:lnTo>
                  <a:lnTo>
                    <a:pt x="87" y="77"/>
                  </a:lnTo>
                  <a:lnTo>
                    <a:pt x="93" y="70"/>
                  </a:lnTo>
                  <a:lnTo>
                    <a:pt x="102" y="79"/>
                  </a:lnTo>
                  <a:lnTo>
                    <a:pt x="104" y="93"/>
                  </a:lnTo>
                  <a:lnTo>
                    <a:pt x="108" y="81"/>
                  </a:lnTo>
                  <a:lnTo>
                    <a:pt x="113" y="93"/>
                  </a:lnTo>
                  <a:lnTo>
                    <a:pt x="119" y="79"/>
                  </a:lnTo>
                  <a:lnTo>
                    <a:pt x="112" y="66"/>
                  </a:lnTo>
                  <a:lnTo>
                    <a:pt x="113" y="60"/>
                  </a:lnTo>
                  <a:lnTo>
                    <a:pt x="97" y="51"/>
                  </a:lnTo>
                  <a:lnTo>
                    <a:pt x="89" y="44"/>
                  </a:lnTo>
                  <a:lnTo>
                    <a:pt x="95" y="33"/>
                  </a:lnTo>
                  <a:lnTo>
                    <a:pt x="103" y="40"/>
                  </a:lnTo>
                  <a:lnTo>
                    <a:pt x="108" y="40"/>
                  </a:lnTo>
                  <a:lnTo>
                    <a:pt x="112" y="38"/>
                  </a:lnTo>
                  <a:lnTo>
                    <a:pt x="103" y="29"/>
                  </a:lnTo>
                  <a:lnTo>
                    <a:pt x="101" y="24"/>
                  </a:lnTo>
                  <a:lnTo>
                    <a:pt x="95" y="24"/>
                  </a:lnTo>
                  <a:lnTo>
                    <a:pt x="85" y="30"/>
                  </a:lnTo>
                  <a:lnTo>
                    <a:pt x="76" y="27"/>
                  </a:lnTo>
                  <a:lnTo>
                    <a:pt x="76" y="25"/>
                  </a:lnTo>
                  <a:lnTo>
                    <a:pt x="80" y="18"/>
                  </a:lnTo>
                  <a:lnTo>
                    <a:pt x="77" y="9"/>
                  </a:lnTo>
                  <a:lnTo>
                    <a:pt x="87" y="11"/>
                  </a:lnTo>
                  <a:lnTo>
                    <a:pt x="87" y="6"/>
                  </a:lnTo>
                  <a:lnTo>
                    <a:pt x="97" y="16"/>
                  </a:lnTo>
                  <a:lnTo>
                    <a:pt x="103" y="13"/>
                  </a:lnTo>
                  <a:lnTo>
                    <a:pt x="109" y="17"/>
                  </a:lnTo>
                  <a:lnTo>
                    <a:pt x="114" y="14"/>
                  </a:lnTo>
                  <a:lnTo>
                    <a:pt x="124" y="33"/>
                  </a:lnTo>
                  <a:lnTo>
                    <a:pt x="139" y="36"/>
                  </a:lnTo>
                  <a:lnTo>
                    <a:pt x="145" y="47"/>
                  </a:lnTo>
                  <a:lnTo>
                    <a:pt x="155" y="60"/>
                  </a:lnTo>
                  <a:lnTo>
                    <a:pt x="166" y="63"/>
                  </a:lnTo>
                  <a:lnTo>
                    <a:pt x="173" y="71"/>
                  </a:lnTo>
                  <a:lnTo>
                    <a:pt x="163" y="78"/>
                  </a:lnTo>
                  <a:lnTo>
                    <a:pt x="174" y="86"/>
                  </a:lnTo>
                  <a:lnTo>
                    <a:pt x="176" y="100"/>
                  </a:lnTo>
                  <a:lnTo>
                    <a:pt x="171" y="104"/>
                  </a:lnTo>
                  <a:lnTo>
                    <a:pt x="170" y="109"/>
                  </a:lnTo>
                  <a:lnTo>
                    <a:pt x="166" y="114"/>
                  </a:lnTo>
                  <a:lnTo>
                    <a:pt x="152" y="106"/>
                  </a:lnTo>
                  <a:lnTo>
                    <a:pt x="156" y="117"/>
                  </a:lnTo>
                  <a:lnTo>
                    <a:pt x="170" y="124"/>
                  </a:lnTo>
                  <a:lnTo>
                    <a:pt x="168" y="133"/>
                  </a:lnTo>
                  <a:lnTo>
                    <a:pt x="174" y="126"/>
                  </a:lnTo>
                  <a:lnTo>
                    <a:pt x="177" y="140"/>
                  </a:lnTo>
                  <a:lnTo>
                    <a:pt x="172" y="146"/>
                  </a:lnTo>
                  <a:lnTo>
                    <a:pt x="181" y="149"/>
                  </a:lnTo>
                  <a:lnTo>
                    <a:pt x="182" y="157"/>
                  </a:lnTo>
                  <a:lnTo>
                    <a:pt x="182" y="175"/>
                  </a:lnTo>
                  <a:lnTo>
                    <a:pt x="189" y="162"/>
                  </a:lnTo>
                  <a:lnTo>
                    <a:pt x="189" y="152"/>
                  </a:lnTo>
                  <a:lnTo>
                    <a:pt x="202" y="151"/>
                  </a:lnTo>
                  <a:lnTo>
                    <a:pt x="202" y="127"/>
                  </a:lnTo>
                  <a:lnTo>
                    <a:pt x="206" y="116"/>
                  </a:lnTo>
                  <a:lnTo>
                    <a:pt x="215" y="117"/>
                  </a:lnTo>
                  <a:lnTo>
                    <a:pt x="217" y="127"/>
                  </a:lnTo>
                  <a:lnTo>
                    <a:pt x="222" y="137"/>
                  </a:lnTo>
                  <a:lnTo>
                    <a:pt x="229" y="127"/>
                  </a:lnTo>
                  <a:lnTo>
                    <a:pt x="232" y="113"/>
                  </a:lnTo>
                  <a:lnTo>
                    <a:pt x="233" y="97"/>
                  </a:lnTo>
                  <a:lnTo>
                    <a:pt x="229" y="72"/>
                  </a:lnTo>
                  <a:lnTo>
                    <a:pt x="227" y="59"/>
                  </a:lnTo>
                  <a:lnTo>
                    <a:pt x="233" y="56"/>
                  </a:lnTo>
                  <a:lnTo>
                    <a:pt x="240" y="59"/>
                  </a:lnTo>
                  <a:lnTo>
                    <a:pt x="256" y="76"/>
                  </a:lnTo>
                  <a:lnTo>
                    <a:pt x="265" y="95"/>
                  </a:lnTo>
                  <a:lnTo>
                    <a:pt x="269" y="106"/>
                  </a:lnTo>
                  <a:lnTo>
                    <a:pt x="275" y="106"/>
                  </a:lnTo>
                  <a:lnTo>
                    <a:pt x="281" y="104"/>
                  </a:lnTo>
                  <a:lnTo>
                    <a:pt x="284" y="88"/>
                  </a:lnTo>
                  <a:lnTo>
                    <a:pt x="283" y="76"/>
                  </a:lnTo>
                  <a:lnTo>
                    <a:pt x="280" y="66"/>
                  </a:lnTo>
                  <a:lnTo>
                    <a:pt x="292" y="61"/>
                  </a:lnTo>
                  <a:lnTo>
                    <a:pt x="299" y="65"/>
                  </a:lnTo>
                  <a:lnTo>
                    <a:pt x="305" y="54"/>
                  </a:lnTo>
                  <a:lnTo>
                    <a:pt x="318" y="45"/>
                  </a:lnTo>
                  <a:lnTo>
                    <a:pt x="318" y="55"/>
                  </a:lnTo>
                  <a:lnTo>
                    <a:pt x="321" y="55"/>
                  </a:lnTo>
                  <a:lnTo>
                    <a:pt x="323" y="61"/>
                  </a:lnTo>
                  <a:lnTo>
                    <a:pt x="331" y="63"/>
                  </a:lnTo>
                  <a:lnTo>
                    <a:pt x="333" y="77"/>
                  </a:lnTo>
                  <a:lnTo>
                    <a:pt x="340" y="84"/>
                  </a:lnTo>
                  <a:lnTo>
                    <a:pt x="346" y="95"/>
                  </a:lnTo>
                  <a:lnTo>
                    <a:pt x="349" y="111"/>
                  </a:lnTo>
                  <a:lnTo>
                    <a:pt x="353" y="117"/>
                  </a:lnTo>
                  <a:lnTo>
                    <a:pt x="355" y="103"/>
                  </a:lnTo>
                  <a:lnTo>
                    <a:pt x="355" y="89"/>
                  </a:lnTo>
                  <a:lnTo>
                    <a:pt x="353" y="81"/>
                  </a:lnTo>
                  <a:lnTo>
                    <a:pt x="344" y="60"/>
                  </a:lnTo>
                  <a:lnTo>
                    <a:pt x="344" y="50"/>
                  </a:lnTo>
                  <a:lnTo>
                    <a:pt x="349" y="47"/>
                  </a:lnTo>
                  <a:lnTo>
                    <a:pt x="360" y="50"/>
                  </a:lnTo>
                  <a:lnTo>
                    <a:pt x="370" y="59"/>
                  </a:lnTo>
                  <a:lnTo>
                    <a:pt x="377" y="72"/>
                  </a:lnTo>
                  <a:lnTo>
                    <a:pt x="387" y="70"/>
                  </a:lnTo>
                  <a:lnTo>
                    <a:pt x="392" y="65"/>
                  </a:lnTo>
                  <a:lnTo>
                    <a:pt x="397" y="55"/>
                  </a:lnTo>
                  <a:lnTo>
                    <a:pt x="397" y="49"/>
                  </a:lnTo>
                  <a:lnTo>
                    <a:pt x="410" y="46"/>
                  </a:lnTo>
                  <a:lnTo>
                    <a:pt x="412" y="56"/>
                  </a:lnTo>
                  <a:lnTo>
                    <a:pt x="424" y="57"/>
                  </a:lnTo>
                  <a:lnTo>
                    <a:pt x="432" y="51"/>
                  </a:lnTo>
                  <a:lnTo>
                    <a:pt x="444" y="50"/>
                  </a:lnTo>
                  <a:lnTo>
                    <a:pt x="444" y="28"/>
                  </a:lnTo>
                  <a:lnTo>
                    <a:pt x="441" y="16"/>
                  </a:lnTo>
                  <a:lnTo>
                    <a:pt x="437" y="7"/>
                  </a:lnTo>
                  <a:lnTo>
                    <a:pt x="448" y="8"/>
                  </a:lnTo>
                  <a:lnTo>
                    <a:pt x="456" y="0"/>
                  </a:lnTo>
                  <a:lnTo>
                    <a:pt x="464" y="1"/>
                  </a:lnTo>
                  <a:lnTo>
                    <a:pt x="468" y="13"/>
                  </a:lnTo>
                  <a:lnTo>
                    <a:pt x="480" y="19"/>
                  </a:lnTo>
                  <a:lnTo>
                    <a:pt x="482" y="31"/>
                  </a:lnTo>
                  <a:lnTo>
                    <a:pt x="479" y="36"/>
                  </a:lnTo>
                  <a:lnTo>
                    <a:pt x="495" y="49"/>
                  </a:lnTo>
                  <a:lnTo>
                    <a:pt x="501" y="49"/>
                  </a:lnTo>
                  <a:lnTo>
                    <a:pt x="504" y="44"/>
                  </a:lnTo>
                  <a:lnTo>
                    <a:pt x="502" y="36"/>
                  </a:lnTo>
                  <a:lnTo>
                    <a:pt x="518" y="36"/>
                  </a:lnTo>
                  <a:lnTo>
                    <a:pt x="523" y="23"/>
                  </a:lnTo>
                  <a:lnTo>
                    <a:pt x="530" y="20"/>
                  </a:lnTo>
                  <a:lnTo>
                    <a:pt x="543" y="19"/>
                  </a:lnTo>
                  <a:lnTo>
                    <a:pt x="547" y="23"/>
                  </a:lnTo>
                  <a:lnTo>
                    <a:pt x="532" y="30"/>
                  </a:lnTo>
                  <a:lnTo>
                    <a:pt x="515" y="59"/>
                  </a:lnTo>
                  <a:lnTo>
                    <a:pt x="518" y="67"/>
                  </a:lnTo>
                  <a:lnTo>
                    <a:pt x="523" y="72"/>
                  </a:lnTo>
                  <a:lnTo>
                    <a:pt x="538" y="63"/>
                  </a:lnTo>
                  <a:lnTo>
                    <a:pt x="542" y="82"/>
                  </a:lnTo>
                  <a:lnTo>
                    <a:pt x="536" y="99"/>
                  </a:lnTo>
                  <a:lnTo>
                    <a:pt x="536" y="109"/>
                  </a:lnTo>
                  <a:lnTo>
                    <a:pt x="560" y="106"/>
                  </a:lnTo>
                  <a:lnTo>
                    <a:pt x="559" y="115"/>
                  </a:lnTo>
                  <a:lnTo>
                    <a:pt x="560" y="124"/>
                  </a:lnTo>
                  <a:lnTo>
                    <a:pt x="576" y="129"/>
                  </a:lnTo>
                  <a:lnTo>
                    <a:pt x="577" y="115"/>
                  </a:lnTo>
                  <a:lnTo>
                    <a:pt x="582" y="120"/>
                  </a:lnTo>
                  <a:lnTo>
                    <a:pt x="593" y="147"/>
                  </a:lnTo>
                  <a:lnTo>
                    <a:pt x="592" y="159"/>
                  </a:lnTo>
                  <a:lnTo>
                    <a:pt x="586" y="165"/>
                  </a:lnTo>
                  <a:lnTo>
                    <a:pt x="592" y="180"/>
                  </a:lnTo>
                  <a:lnTo>
                    <a:pt x="600" y="179"/>
                  </a:lnTo>
                  <a:lnTo>
                    <a:pt x="603" y="174"/>
                  </a:lnTo>
                  <a:lnTo>
                    <a:pt x="603" y="189"/>
                  </a:lnTo>
                  <a:lnTo>
                    <a:pt x="600" y="202"/>
                  </a:lnTo>
                  <a:lnTo>
                    <a:pt x="591" y="206"/>
                  </a:lnTo>
                  <a:lnTo>
                    <a:pt x="591" y="217"/>
                  </a:lnTo>
                  <a:lnTo>
                    <a:pt x="587" y="219"/>
                  </a:lnTo>
                  <a:lnTo>
                    <a:pt x="580" y="229"/>
                  </a:lnTo>
                  <a:lnTo>
                    <a:pt x="560" y="234"/>
                  </a:lnTo>
                  <a:lnTo>
                    <a:pt x="560" y="244"/>
                  </a:lnTo>
                  <a:lnTo>
                    <a:pt x="550" y="243"/>
                  </a:lnTo>
                  <a:lnTo>
                    <a:pt x="553" y="246"/>
                  </a:lnTo>
                  <a:lnTo>
                    <a:pt x="548" y="253"/>
                  </a:lnTo>
                  <a:lnTo>
                    <a:pt x="555" y="254"/>
                  </a:lnTo>
                  <a:lnTo>
                    <a:pt x="565" y="246"/>
                  </a:lnTo>
                  <a:lnTo>
                    <a:pt x="555" y="270"/>
                  </a:lnTo>
                  <a:lnTo>
                    <a:pt x="545" y="282"/>
                  </a:lnTo>
                  <a:lnTo>
                    <a:pt x="532" y="287"/>
                  </a:lnTo>
                  <a:lnTo>
                    <a:pt x="528" y="299"/>
                  </a:lnTo>
                  <a:lnTo>
                    <a:pt x="516" y="292"/>
                  </a:lnTo>
                  <a:lnTo>
                    <a:pt x="516" y="285"/>
                  </a:lnTo>
                  <a:lnTo>
                    <a:pt x="510" y="278"/>
                  </a:lnTo>
                  <a:lnTo>
                    <a:pt x="504" y="277"/>
                  </a:lnTo>
                  <a:lnTo>
                    <a:pt x="501" y="291"/>
                  </a:lnTo>
                  <a:lnTo>
                    <a:pt x="488" y="300"/>
                  </a:lnTo>
                  <a:lnTo>
                    <a:pt x="483" y="309"/>
                  </a:lnTo>
                  <a:lnTo>
                    <a:pt x="467" y="325"/>
                  </a:lnTo>
                  <a:lnTo>
                    <a:pt x="450" y="337"/>
                  </a:lnTo>
                  <a:lnTo>
                    <a:pt x="437" y="345"/>
                  </a:lnTo>
                  <a:lnTo>
                    <a:pt x="423" y="343"/>
                  </a:lnTo>
                  <a:lnTo>
                    <a:pt x="413" y="347"/>
                  </a:lnTo>
                  <a:lnTo>
                    <a:pt x="410" y="341"/>
                  </a:lnTo>
                  <a:lnTo>
                    <a:pt x="404" y="346"/>
                  </a:lnTo>
                  <a:lnTo>
                    <a:pt x="401" y="351"/>
                  </a:lnTo>
                  <a:lnTo>
                    <a:pt x="401" y="359"/>
                  </a:lnTo>
                  <a:lnTo>
                    <a:pt x="385" y="364"/>
                  </a:lnTo>
                  <a:lnTo>
                    <a:pt x="356" y="394"/>
                  </a:lnTo>
                  <a:lnTo>
                    <a:pt x="332" y="402"/>
                  </a:lnTo>
                  <a:lnTo>
                    <a:pt x="324" y="409"/>
                  </a:lnTo>
                  <a:lnTo>
                    <a:pt x="310" y="404"/>
                  </a:lnTo>
                  <a:lnTo>
                    <a:pt x="302" y="407"/>
                  </a:lnTo>
                  <a:lnTo>
                    <a:pt x="291" y="399"/>
                  </a:lnTo>
                  <a:lnTo>
                    <a:pt x="279" y="396"/>
                  </a:lnTo>
                  <a:lnTo>
                    <a:pt x="260" y="388"/>
                  </a:lnTo>
                  <a:lnTo>
                    <a:pt x="251" y="38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grpSp>
          <p:nvGrpSpPr>
            <p:cNvPr id="59" name="Group 222"/>
            <p:cNvGrpSpPr>
              <a:grpSpLocks noChangeAspect="1"/>
            </p:cNvGrpSpPr>
            <p:nvPr/>
          </p:nvGrpSpPr>
          <p:grpSpPr>
            <a:xfrm>
              <a:off x="6083280" y="1594008"/>
              <a:ext cx="287816" cy="326528"/>
              <a:chOff x="3202" y="1036"/>
              <a:chExt cx="181" cy="187"/>
            </a:xfrm>
            <a:grpFill/>
          </p:grpSpPr>
          <p:sp>
            <p:nvSpPr>
              <p:cNvPr id="288" name="Freeform 223"/>
              <p:cNvSpPr>
                <a:spLocks noChangeAspect="1"/>
              </p:cNvSpPr>
              <p:nvPr/>
            </p:nvSpPr>
            <p:spPr bwMode="gray">
              <a:xfrm>
                <a:off x="3202" y="1036"/>
                <a:ext cx="118" cy="187"/>
              </a:xfrm>
              <a:custGeom>
                <a:avLst/>
                <a:gdLst/>
                <a:ahLst/>
                <a:cxnLst>
                  <a:cxn ang="0">
                    <a:pos x="274" y="96"/>
                  </a:cxn>
                  <a:cxn ang="0">
                    <a:pos x="291" y="233"/>
                  </a:cxn>
                  <a:cxn ang="0">
                    <a:pos x="264" y="255"/>
                  </a:cxn>
                  <a:cxn ang="0">
                    <a:pos x="253" y="151"/>
                  </a:cxn>
                  <a:cxn ang="0">
                    <a:pos x="197" y="102"/>
                  </a:cxn>
                  <a:cxn ang="0">
                    <a:pos x="189" y="232"/>
                  </a:cxn>
                  <a:cxn ang="0">
                    <a:pos x="145" y="192"/>
                  </a:cxn>
                  <a:cxn ang="0">
                    <a:pos x="94" y="145"/>
                  </a:cxn>
                  <a:cxn ang="0">
                    <a:pos x="170" y="96"/>
                  </a:cxn>
                  <a:cxn ang="0">
                    <a:pos x="98" y="77"/>
                  </a:cxn>
                  <a:cxn ang="0">
                    <a:pos x="74" y="104"/>
                  </a:cxn>
                  <a:cxn ang="0">
                    <a:pos x="35" y="115"/>
                  </a:cxn>
                  <a:cxn ang="0">
                    <a:pos x="15" y="152"/>
                  </a:cxn>
                  <a:cxn ang="0">
                    <a:pos x="15" y="206"/>
                  </a:cxn>
                  <a:cxn ang="0">
                    <a:pos x="33" y="276"/>
                  </a:cxn>
                  <a:cxn ang="0">
                    <a:pos x="74" y="224"/>
                  </a:cxn>
                  <a:cxn ang="0">
                    <a:pos x="70" y="301"/>
                  </a:cxn>
                  <a:cxn ang="0">
                    <a:pos x="37" y="316"/>
                  </a:cxn>
                  <a:cxn ang="0">
                    <a:pos x="66" y="400"/>
                  </a:cxn>
                  <a:cxn ang="0">
                    <a:pos x="100" y="450"/>
                  </a:cxn>
                  <a:cxn ang="0">
                    <a:pos x="129" y="522"/>
                  </a:cxn>
                  <a:cxn ang="0">
                    <a:pos x="191" y="516"/>
                  </a:cxn>
                  <a:cxn ang="0">
                    <a:pos x="213" y="458"/>
                  </a:cxn>
                  <a:cxn ang="0">
                    <a:pos x="231" y="394"/>
                  </a:cxn>
                  <a:cxn ang="0">
                    <a:pos x="266" y="366"/>
                  </a:cxn>
                  <a:cxn ang="0">
                    <a:pos x="307" y="435"/>
                  </a:cxn>
                  <a:cxn ang="0">
                    <a:pos x="336" y="400"/>
                  </a:cxn>
                  <a:cxn ang="0">
                    <a:pos x="326" y="453"/>
                  </a:cxn>
                  <a:cxn ang="0">
                    <a:pos x="336" y="485"/>
                  </a:cxn>
                  <a:cxn ang="0">
                    <a:pos x="264" y="516"/>
                  </a:cxn>
                  <a:cxn ang="0">
                    <a:pos x="224" y="555"/>
                  </a:cxn>
                  <a:cxn ang="0">
                    <a:pos x="167" y="569"/>
                  </a:cxn>
                  <a:cxn ang="0">
                    <a:pos x="195" y="640"/>
                  </a:cxn>
                  <a:cxn ang="0">
                    <a:pos x="231" y="636"/>
                  </a:cxn>
                  <a:cxn ang="0">
                    <a:pos x="315" y="624"/>
                  </a:cxn>
                  <a:cxn ang="0">
                    <a:pos x="338" y="637"/>
                  </a:cxn>
                  <a:cxn ang="0">
                    <a:pos x="281" y="649"/>
                  </a:cxn>
                  <a:cxn ang="0">
                    <a:pos x="291" y="714"/>
                  </a:cxn>
                  <a:cxn ang="0">
                    <a:pos x="215" y="716"/>
                  </a:cxn>
                  <a:cxn ang="0">
                    <a:pos x="199" y="774"/>
                  </a:cxn>
                  <a:cxn ang="0">
                    <a:pos x="278" y="830"/>
                  </a:cxn>
                  <a:cxn ang="0">
                    <a:pos x="302" y="848"/>
                  </a:cxn>
                  <a:cxn ang="0">
                    <a:pos x="323" y="922"/>
                  </a:cxn>
                  <a:cxn ang="0">
                    <a:pos x="348" y="888"/>
                  </a:cxn>
                  <a:cxn ang="0">
                    <a:pos x="364" y="822"/>
                  </a:cxn>
                  <a:cxn ang="0">
                    <a:pos x="380" y="731"/>
                  </a:cxn>
                  <a:cxn ang="0">
                    <a:pos x="423" y="680"/>
                  </a:cxn>
                  <a:cxn ang="0">
                    <a:pos x="426" y="588"/>
                  </a:cxn>
                  <a:cxn ang="0">
                    <a:pos x="455" y="529"/>
                  </a:cxn>
                  <a:cxn ang="0">
                    <a:pos x="473" y="462"/>
                  </a:cxn>
                  <a:cxn ang="0">
                    <a:pos x="536" y="404"/>
                  </a:cxn>
                  <a:cxn ang="0">
                    <a:pos x="586" y="341"/>
                  </a:cxn>
                  <a:cxn ang="0">
                    <a:pos x="477" y="254"/>
                  </a:cxn>
                  <a:cxn ang="0">
                    <a:pos x="435" y="150"/>
                  </a:cxn>
                  <a:cxn ang="0">
                    <a:pos x="391" y="181"/>
                  </a:cxn>
                  <a:cxn ang="0">
                    <a:pos x="379" y="144"/>
                  </a:cxn>
                  <a:cxn ang="0">
                    <a:pos x="339" y="39"/>
                  </a:cxn>
                  <a:cxn ang="0">
                    <a:pos x="290" y="22"/>
                  </a:cxn>
                </a:cxnLst>
                <a:rect l="0" t="0" r="r" b="b"/>
                <a:pathLst>
                  <a:path w="591" h="937">
                    <a:moveTo>
                      <a:pt x="290" y="22"/>
                    </a:moveTo>
                    <a:lnTo>
                      <a:pt x="289" y="29"/>
                    </a:lnTo>
                    <a:lnTo>
                      <a:pt x="294" y="43"/>
                    </a:lnTo>
                    <a:lnTo>
                      <a:pt x="279" y="45"/>
                    </a:lnTo>
                    <a:lnTo>
                      <a:pt x="278" y="57"/>
                    </a:lnTo>
                    <a:lnTo>
                      <a:pt x="278" y="68"/>
                    </a:lnTo>
                    <a:lnTo>
                      <a:pt x="274" y="79"/>
                    </a:lnTo>
                    <a:lnTo>
                      <a:pt x="274" y="96"/>
                    </a:lnTo>
                    <a:lnTo>
                      <a:pt x="279" y="96"/>
                    </a:lnTo>
                    <a:lnTo>
                      <a:pt x="279" y="109"/>
                    </a:lnTo>
                    <a:lnTo>
                      <a:pt x="280" y="133"/>
                    </a:lnTo>
                    <a:lnTo>
                      <a:pt x="283" y="140"/>
                    </a:lnTo>
                    <a:lnTo>
                      <a:pt x="283" y="182"/>
                    </a:lnTo>
                    <a:lnTo>
                      <a:pt x="285" y="195"/>
                    </a:lnTo>
                    <a:lnTo>
                      <a:pt x="288" y="226"/>
                    </a:lnTo>
                    <a:lnTo>
                      <a:pt x="291" y="233"/>
                    </a:lnTo>
                    <a:lnTo>
                      <a:pt x="293" y="258"/>
                    </a:lnTo>
                    <a:lnTo>
                      <a:pt x="318" y="325"/>
                    </a:lnTo>
                    <a:lnTo>
                      <a:pt x="317" y="329"/>
                    </a:lnTo>
                    <a:lnTo>
                      <a:pt x="308" y="327"/>
                    </a:lnTo>
                    <a:lnTo>
                      <a:pt x="296" y="312"/>
                    </a:lnTo>
                    <a:lnTo>
                      <a:pt x="283" y="274"/>
                    </a:lnTo>
                    <a:lnTo>
                      <a:pt x="272" y="254"/>
                    </a:lnTo>
                    <a:lnTo>
                      <a:pt x="264" y="255"/>
                    </a:lnTo>
                    <a:lnTo>
                      <a:pt x="263" y="262"/>
                    </a:lnTo>
                    <a:lnTo>
                      <a:pt x="261" y="263"/>
                    </a:lnTo>
                    <a:lnTo>
                      <a:pt x="259" y="258"/>
                    </a:lnTo>
                    <a:lnTo>
                      <a:pt x="264" y="244"/>
                    </a:lnTo>
                    <a:lnTo>
                      <a:pt x="264" y="217"/>
                    </a:lnTo>
                    <a:lnTo>
                      <a:pt x="259" y="197"/>
                    </a:lnTo>
                    <a:lnTo>
                      <a:pt x="258" y="178"/>
                    </a:lnTo>
                    <a:lnTo>
                      <a:pt x="253" y="151"/>
                    </a:lnTo>
                    <a:lnTo>
                      <a:pt x="252" y="125"/>
                    </a:lnTo>
                    <a:lnTo>
                      <a:pt x="246" y="104"/>
                    </a:lnTo>
                    <a:lnTo>
                      <a:pt x="240" y="96"/>
                    </a:lnTo>
                    <a:lnTo>
                      <a:pt x="238" y="87"/>
                    </a:lnTo>
                    <a:lnTo>
                      <a:pt x="224" y="81"/>
                    </a:lnTo>
                    <a:lnTo>
                      <a:pt x="208" y="69"/>
                    </a:lnTo>
                    <a:lnTo>
                      <a:pt x="199" y="86"/>
                    </a:lnTo>
                    <a:lnTo>
                      <a:pt x="197" y="102"/>
                    </a:lnTo>
                    <a:lnTo>
                      <a:pt x="188" y="114"/>
                    </a:lnTo>
                    <a:lnTo>
                      <a:pt x="187" y="120"/>
                    </a:lnTo>
                    <a:lnTo>
                      <a:pt x="177" y="133"/>
                    </a:lnTo>
                    <a:lnTo>
                      <a:pt x="173" y="146"/>
                    </a:lnTo>
                    <a:lnTo>
                      <a:pt x="176" y="157"/>
                    </a:lnTo>
                    <a:lnTo>
                      <a:pt x="176" y="171"/>
                    </a:lnTo>
                    <a:lnTo>
                      <a:pt x="184" y="215"/>
                    </a:lnTo>
                    <a:lnTo>
                      <a:pt x="189" y="232"/>
                    </a:lnTo>
                    <a:lnTo>
                      <a:pt x="195" y="242"/>
                    </a:lnTo>
                    <a:lnTo>
                      <a:pt x="188" y="241"/>
                    </a:lnTo>
                    <a:lnTo>
                      <a:pt x="176" y="222"/>
                    </a:lnTo>
                    <a:lnTo>
                      <a:pt x="168" y="205"/>
                    </a:lnTo>
                    <a:lnTo>
                      <a:pt x="164" y="183"/>
                    </a:lnTo>
                    <a:lnTo>
                      <a:pt x="152" y="167"/>
                    </a:lnTo>
                    <a:lnTo>
                      <a:pt x="151" y="179"/>
                    </a:lnTo>
                    <a:lnTo>
                      <a:pt x="145" y="192"/>
                    </a:lnTo>
                    <a:lnTo>
                      <a:pt x="140" y="183"/>
                    </a:lnTo>
                    <a:lnTo>
                      <a:pt x="143" y="171"/>
                    </a:lnTo>
                    <a:lnTo>
                      <a:pt x="139" y="158"/>
                    </a:lnTo>
                    <a:lnTo>
                      <a:pt x="148" y="152"/>
                    </a:lnTo>
                    <a:lnTo>
                      <a:pt x="152" y="138"/>
                    </a:lnTo>
                    <a:lnTo>
                      <a:pt x="134" y="136"/>
                    </a:lnTo>
                    <a:lnTo>
                      <a:pt x="106" y="150"/>
                    </a:lnTo>
                    <a:lnTo>
                      <a:pt x="94" y="145"/>
                    </a:lnTo>
                    <a:lnTo>
                      <a:pt x="97" y="135"/>
                    </a:lnTo>
                    <a:lnTo>
                      <a:pt x="113" y="128"/>
                    </a:lnTo>
                    <a:lnTo>
                      <a:pt x="125" y="112"/>
                    </a:lnTo>
                    <a:lnTo>
                      <a:pt x="129" y="102"/>
                    </a:lnTo>
                    <a:lnTo>
                      <a:pt x="143" y="102"/>
                    </a:lnTo>
                    <a:lnTo>
                      <a:pt x="146" y="96"/>
                    </a:lnTo>
                    <a:lnTo>
                      <a:pt x="152" y="104"/>
                    </a:lnTo>
                    <a:lnTo>
                      <a:pt x="170" y="96"/>
                    </a:lnTo>
                    <a:lnTo>
                      <a:pt x="175" y="86"/>
                    </a:lnTo>
                    <a:lnTo>
                      <a:pt x="175" y="76"/>
                    </a:lnTo>
                    <a:lnTo>
                      <a:pt x="170" y="54"/>
                    </a:lnTo>
                    <a:lnTo>
                      <a:pt x="160" y="53"/>
                    </a:lnTo>
                    <a:lnTo>
                      <a:pt x="141" y="58"/>
                    </a:lnTo>
                    <a:lnTo>
                      <a:pt x="122" y="75"/>
                    </a:lnTo>
                    <a:lnTo>
                      <a:pt x="100" y="82"/>
                    </a:lnTo>
                    <a:lnTo>
                      <a:pt x="98" y="77"/>
                    </a:lnTo>
                    <a:lnTo>
                      <a:pt x="91" y="74"/>
                    </a:lnTo>
                    <a:lnTo>
                      <a:pt x="91" y="63"/>
                    </a:lnTo>
                    <a:lnTo>
                      <a:pt x="89" y="54"/>
                    </a:lnTo>
                    <a:lnTo>
                      <a:pt x="80" y="58"/>
                    </a:lnTo>
                    <a:lnTo>
                      <a:pt x="85" y="103"/>
                    </a:lnTo>
                    <a:lnTo>
                      <a:pt x="81" y="104"/>
                    </a:lnTo>
                    <a:lnTo>
                      <a:pt x="78" y="97"/>
                    </a:lnTo>
                    <a:lnTo>
                      <a:pt x="74" y="104"/>
                    </a:lnTo>
                    <a:lnTo>
                      <a:pt x="53" y="58"/>
                    </a:lnTo>
                    <a:lnTo>
                      <a:pt x="43" y="66"/>
                    </a:lnTo>
                    <a:lnTo>
                      <a:pt x="46" y="77"/>
                    </a:lnTo>
                    <a:lnTo>
                      <a:pt x="41" y="86"/>
                    </a:lnTo>
                    <a:lnTo>
                      <a:pt x="30" y="77"/>
                    </a:lnTo>
                    <a:lnTo>
                      <a:pt x="26" y="81"/>
                    </a:lnTo>
                    <a:lnTo>
                      <a:pt x="25" y="91"/>
                    </a:lnTo>
                    <a:lnTo>
                      <a:pt x="35" y="115"/>
                    </a:lnTo>
                    <a:lnTo>
                      <a:pt x="33" y="122"/>
                    </a:lnTo>
                    <a:lnTo>
                      <a:pt x="21" y="119"/>
                    </a:lnTo>
                    <a:lnTo>
                      <a:pt x="12" y="99"/>
                    </a:lnTo>
                    <a:lnTo>
                      <a:pt x="6" y="98"/>
                    </a:lnTo>
                    <a:lnTo>
                      <a:pt x="6" y="107"/>
                    </a:lnTo>
                    <a:lnTo>
                      <a:pt x="8" y="118"/>
                    </a:lnTo>
                    <a:lnTo>
                      <a:pt x="19" y="140"/>
                    </a:lnTo>
                    <a:lnTo>
                      <a:pt x="15" y="152"/>
                    </a:lnTo>
                    <a:lnTo>
                      <a:pt x="8" y="146"/>
                    </a:lnTo>
                    <a:lnTo>
                      <a:pt x="0" y="150"/>
                    </a:lnTo>
                    <a:lnTo>
                      <a:pt x="1" y="158"/>
                    </a:lnTo>
                    <a:lnTo>
                      <a:pt x="6" y="163"/>
                    </a:lnTo>
                    <a:lnTo>
                      <a:pt x="8" y="176"/>
                    </a:lnTo>
                    <a:lnTo>
                      <a:pt x="8" y="201"/>
                    </a:lnTo>
                    <a:lnTo>
                      <a:pt x="9" y="215"/>
                    </a:lnTo>
                    <a:lnTo>
                      <a:pt x="15" y="206"/>
                    </a:lnTo>
                    <a:lnTo>
                      <a:pt x="16" y="217"/>
                    </a:lnTo>
                    <a:lnTo>
                      <a:pt x="17" y="236"/>
                    </a:lnTo>
                    <a:lnTo>
                      <a:pt x="17" y="220"/>
                    </a:lnTo>
                    <a:lnTo>
                      <a:pt x="24" y="236"/>
                    </a:lnTo>
                    <a:lnTo>
                      <a:pt x="25" y="248"/>
                    </a:lnTo>
                    <a:lnTo>
                      <a:pt x="27" y="254"/>
                    </a:lnTo>
                    <a:lnTo>
                      <a:pt x="27" y="271"/>
                    </a:lnTo>
                    <a:lnTo>
                      <a:pt x="33" y="276"/>
                    </a:lnTo>
                    <a:lnTo>
                      <a:pt x="43" y="270"/>
                    </a:lnTo>
                    <a:lnTo>
                      <a:pt x="53" y="244"/>
                    </a:lnTo>
                    <a:lnTo>
                      <a:pt x="38" y="225"/>
                    </a:lnTo>
                    <a:lnTo>
                      <a:pt x="55" y="228"/>
                    </a:lnTo>
                    <a:lnTo>
                      <a:pt x="60" y="238"/>
                    </a:lnTo>
                    <a:lnTo>
                      <a:pt x="62" y="233"/>
                    </a:lnTo>
                    <a:lnTo>
                      <a:pt x="66" y="226"/>
                    </a:lnTo>
                    <a:lnTo>
                      <a:pt x="74" y="224"/>
                    </a:lnTo>
                    <a:lnTo>
                      <a:pt x="71" y="238"/>
                    </a:lnTo>
                    <a:lnTo>
                      <a:pt x="73" y="246"/>
                    </a:lnTo>
                    <a:lnTo>
                      <a:pt x="65" y="253"/>
                    </a:lnTo>
                    <a:lnTo>
                      <a:pt x="63" y="264"/>
                    </a:lnTo>
                    <a:lnTo>
                      <a:pt x="65" y="274"/>
                    </a:lnTo>
                    <a:lnTo>
                      <a:pt x="57" y="279"/>
                    </a:lnTo>
                    <a:lnTo>
                      <a:pt x="54" y="291"/>
                    </a:lnTo>
                    <a:lnTo>
                      <a:pt x="70" y="301"/>
                    </a:lnTo>
                    <a:lnTo>
                      <a:pt x="71" y="313"/>
                    </a:lnTo>
                    <a:lnTo>
                      <a:pt x="80" y="318"/>
                    </a:lnTo>
                    <a:lnTo>
                      <a:pt x="91" y="312"/>
                    </a:lnTo>
                    <a:lnTo>
                      <a:pt x="96" y="325"/>
                    </a:lnTo>
                    <a:lnTo>
                      <a:pt x="94" y="335"/>
                    </a:lnTo>
                    <a:lnTo>
                      <a:pt x="55" y="325"/>
                    </a:lnTo>
                    <a:lnTo>
                      <a:pt x="49" y="314"/>
                    </a:lnTo>
                    <a:lnTo>
                      <a:pt x="37" y="316"/>
                    </a:lnTo>
                    <a:lnTo>
                      <a:pt x="43" y="327"/>
                    </a:lnTo>
                    <a:lnTo>
                      <a:pt x="62" y="348"/>
                    </a:lnTo>
                    <a:lnTo>
                      <a:pt x="71" y="351"/>
                    </a:lnTo>
                    <a:lnTo>
                      <a:pt x="68" y="359"/>
                    </a:lnTo>
                    <a:lnTo>
                      <a:pt x="59" y="360"/>
                    </a:lnTo>
                    <a:lnTo>
                      <a:pt x="54" y="381"/>
                    </a:lnTo>
                    <a:lnTo>
                      <a:pt x="68" y="392"/>
                    </a:lnTo>
                    <a:lnTo>
                      <a:pt x="66" y="400"/>
                    </a:lnTo>
                    <a:lnTo>
                      <a:pt x="73" y="407"/>
                    </a:lnTo>
                    <a:lnTo>
                      <a:pt x="75" y="414"/>
                    </a:lnTo>
                    <a:lnTo>
                      <a:pt x="111" y="435"/>
                    </a:lnTo>
                    <a:lnTo>
                      <a:pt x="128" y="435"/>
                    </a:lnTo>
                    <a:lnTo>
                      <a:pt x="138" y="427"/>
                    </a:lnTo>
                    <a:lnTo>
                      <a:pt x="137" y="441"/>
                    </a:lnTo>
                    <a:lnTo>
                      <a:pt x="127" y="447"/>
                    </a:lnTo>
                    <a:lnTo>
                      <a:pt x="100" y="450"/>
                    </a:lnTo>
                    <a:lnTo>
                      <a:pt x="97" y="457"/>
                    </a:lnTo>
                    <a:lnTo>
                      <a:pt x="106" y="469"/>
                    </a:lnTo>
                    <a:lnTo>
                      <a:pt x="108" y="481"/>
                    </a:lnTo>
                    <a:lnTo>
                      <a:pt x="121" y="486"/>
                    </a:lnTo>
                    <a:lnTo>
                      <a:pt x="128" y="483"/>
                    </a:lnTo>
                    <a:lnTo>
                      <a:pt x="130" y="501"/>
                    </a:lnTo>
                    <a:lnTo>
                      <a:pt x="124" y="509"/>
                    </a:lnTo>
                    <a:lnTo>
                      <a:pt x="129" y="522"/>
                    </a:lnTo>
                    <a:lnTo>
                      <a:pt x="132" y="517"/>
                    </a:lnTo>
                    <a:lnTo>
                      <a:pt x="148" y="526"/>
                    </a:lnTo>
                    <a:lnTo>
                      <a:pt x="152" y="518"/>
                    </a:lnTo>
                    <a:lnTo>
                      <a:pt x="156" y="527"/>
                    </a:lnTo>
                    <a:lnTo>
                      <a:pt x="160" y="522"/>
                    </a:lnTo>
                    <a:lnTo>
                      <a:pt x="173" y="527"/>
                    </a:lnTo>
                    <a:lnTo>
                      <a:pt x="177" y="516"/>
                    </a:lnTo>
                    <a:lnTo>
                      <a:pt x="191" y="516"/>
                    </a:lnTo>
                    <a:lnTo>
                      <a:pt x="193" y="501"/>
                    </a:lnTo>
                    <a:lnTo>
                      <a:pt x="192" y="495"/>
                    </a:lnTo>
                    <a:lnTo>
                      <a:pt x="198" y="479"/>
                    </a:lnTo>
                    <a:lnTo>
                      <a:pt x="208" y="477"/>
                    </a:lnTo>
                    <a:lnTo>
                      <a:pt x="215" y="483"/>
                    </a:lnTo>
                    <a:lnTo>
                      <a:pt x="221" y="478"/>
                    </a:lnTo>
                    <a:lnTo>
                      <a:pt x="218" y="466"/>
                    </a:lnTo>
                    <a:lnTo>
                      <a:pt x="213" y="458"/>
                    </a:lnTo>
                    <a:lnTo>
                      <a:pt x="205" y="457"/>
                    </a:lnTo>
                    <a:lnTo>
                      <a:pt x="210" y="443"/>
                    </a:lnTo>
                    <a:lnTo>
                      <a:pt x="211" y="414"/>
                    </a:lnTo>
                    <a:lnTo>
                      <a:pt x="214" y="396"/>
                    </a:lnTo>
                    <a:lnTo>
                      <a:pt x="218" y="386"/>
                    </a:lnTo>
                    <a:lnTo>
                      <a:pt x="224" y="381"/>
                    </a:lnTo>
                    <a:lnTo>
                      <a:pt x="230" y="382"/>
                    </a:lnTo>
                    <a:lnTo>
                      <a:pt x="231" y="394"/>
                    </a:lnTo>
                    <a:lnTo>
                      <a:pt x="230" y="404"/>
                    </a:lnTo>
                    <a:lnTo>
                      <a:pt x="235" y="416"/>
                    </a:lnTo>
                    <a:lnTo>
                      <a:pt x="241" y="416"/>
                    </a:lnTo>
                    <a:lnTo>
                      <a:pt x="250" y="399"/>
                    </a:lnTo>
                    <a:lnTo>
                      <a:pt x="250" y="388"/>
                    </a:lnTo>
                    <a:lnTo>
                      <a:pt x="252" y="368"/>
                    </a:lnTo>
                    <a:lnTo>
                      <a:pt x="261" y="353"/>
                    </a:lnTo>
                    <a:lnTo>
                      <a:pt x="266" y="366"/>
                    </a:lnTo>
                    <a:lnTo>
                      <a:pt x="267" y="382"/>
                    </a:lnTo>
                    <a:lnTo>
                      <a:pt x="253" y="421"/>
                    </a:lnTo>
                    <a:lnTo>
                      <a:pt x="257" y="446"/>
                    </a:lnTo>
                    <a:lnTo>
                      <a:pt x="264" y="452"/>
                    </a:lnTo>
                    <a:lnTo>
                      <a:pt x="270" y="462"/>
                    </a:lnTo>
                    <a:lnTo>
                      <a:pt x="296" y="450"/>
                    </a:lnTo>
                    <a:lnTo>
                      <a:pt x="299" y="439"/>
                    </a:lnTo>
                    <a:lnTo>
                      <a:pt x="307" y="435"/>
                    </a:lnTo>
                    <a:lnTo>
                      <a:pt x="313" y="424"/>
                    </a:lnTo>
                    <a:lnTo>
                      <a:pt x="315" y="409"/>
                    </a:lnTo>
                    <a:lnTo>
                      <a:pt x="313" y="396"/>
                    </a:lnTo>
                    <a:lnTo>
                      <a:pt x="322" y="389"/>
                    </a:lnTo>
                    <a:lnTo>
                      <a:pt x="326" y="381"/>
                    </a:lnTo>
                    <a:lnTo>
                      <a:pt x="329" y="383"/>
                    </a:lnTo>
                    <a:lnTo>
                      <a:pt x="331" y="398"/>
                    </a:lnTo>
                    <a:lnTo>
                      <a:pt x="336" y="400"/>
                    </a:lnTo>
                    <a:lnTo>
                      <a:pt x="327" y="419"/>
                    </a:lnTo>
                    <a:lnTo>
                      <a:pt x="320" y="425"/>
                    </a:lnTo>
                    <a:lnTo>
                      <a:pt x="318" y="437"/>
                    </a:lnTo>
                    <a:lnTo>
                      <a:pt x="315" y="443"/>
                    </a:lnTo>
                    <a:lnTo>
                      <a:pt x="313" y="453"/>
                    </a:lnTo>
                    <a:lnTo>
                      <a:pt x="316" y="462"/>
                    </a:lnTo>
                    <a:lnTo>
                      <a:pt x="322" y="464"/>
                    </a:lnTo>
                    <a:lnTo>
                      <a:pt x="326" y="453"/>
                    </a:lnTo>
                    <a:lnTo>
                      <a:pt x="334" y="470"/>
                    </a:lnTo>
                    <a:lnTo>
                      <a:pt x="342" y="474"/>
                    </a:lnTo>
                    <a:lnTo>
                      <a:pt x="364" y="461"/>
                    </a:lnTo>
                    <a:lnTo>
                      <a:pt x="367" y="467"/>
                    </a:lnTo>
                    <a:lnTo>
                      <a:pt x="363" y="473"/>
                    </a:lnTo>
                    <a:lnTo>
                      <a:pt x="350" y="474"/>
                    </a:lnTo>
                    <a:lnTo>
                      <a:pt x="347" y="481"/>
                    </a:lnTo>
                    <a:lnTo>
                      <a:pt x="336" y="485"/>
                    </a:lnTo>
                    <a:lnTo>
                      <a:pt x="334" y="491"/>
                    </a:lnTo>
                    <a:lnTo>
                      <a:pt x="316" y="491"/>
                    </a:lnTo>
                    <a:lnTo>
                      <a:pt x="306" y="483"/>
                    </a:lnTo>
                    <a:lnTo>
                      <a:pt x="284" y="485"/>
                    </a:lnTo>
                    <a:lnTo>
                      <a:pt x="268" y="500"/>
                    </a:lnTo>
                    <a:lnTo>
                      <a:pt x="275" y="516"/>
                    </a:lnTo>
                    <a:lnTo>
                      <a:pt x="272" y="524"/>
                    </a:lnTo>
                    <a:lnTo>
                      <a:pt x="264" y="516"/>
                    </a:lnTo>
                    <a:lnTo>
                      <a:pt x="257" y="516"/>
                    </a:lnTo>
                    <a:lnTo>
                      <a:pt x="253" y="526"/>
                    </a:lnTo>
                    <a:lnTo>
                      <a:pt x="247" y="528"/>
                    </a:lnTo>
                    <a:lnTo>
                      <a:pt x="243" y="538"/>
                    </a:lnTo>
                    <a:lnTo>
                      <a:pt x="240" y="540"/>
                    </a:lnTo>
                    <a:lnTo>
                      <a:pt x="240" y="556"/>
                    </a:lnTo>
                    <a:lnTo>
                      <a:pt x="230" y="559"/>
                    </a:lnTo>
                    <a:lnTo>
                      <a:pt x="224" y="555"/>
                    </a:lnTo>
                    <a:lnTo>
                      <a:pt x="193" y="563"/>
                    </a:lnTo>
                    <a:lnTo>
                      <a:pt x="192" y="570"/>
                    </a:lnTo>
                    <a:lnTo>
                      <a:pt x="198" y="581"/>
                    </a:lnTo>
                    <a:lnTo>
                      <a:pt x="194" y="590"/>
                    </a:lnTo>
                    <a:lnTo>
                      <a:pt x="187" y="586"/>
                    </a:lnTo>
                    <a:lnTo>
                      <a:pt x="183" y="572"/>
                    </a:lnTo>
                    <a:lnTo>
                      <a:pt x="178" y="565"/>
                    </a:lnTo>
                    <a:lnTo>
                      <a:pt x="167" y="569"/>
                    </a:lnTo>
                    <a:lnTo>
                      <a:pt x="164" y="575"/>
                    </a:lnTo>
                    <a:lnTo>
                      <a:pt x="165" y="609"/>
                    </a:lnTo>
                    <a:lnTo>
                      <a:pt x="172" y="635"/>
                    </a:lnTo>
                    <a:lnTo>
                      <a:pt x="170" y="642"/>
                    </a:lnTo>
                    <a:lnTo>
                      <a:pt x="170" y="649"/>
                    </a:lnTo>
                    <a:lnTo>
                      <a:pt x="176" y="652"/>
                    </a:lnTo>
                    <a:lnTo>
                      <a:pt x="186" y="652"/>
                    </a:lnTo>
                    <a:lnTo>
                      <a:pt x="195" y="640"/>
                    </a:lnTo>
                    <a:lnTo>
                      <a:pt x="200" y="646"/>
                    </a:lnTo>
                    <a:lnTo>
                      <a:pt x="208" y="646"/>
                    </a:lnTo>
                    <a:lnTo>
                      <a:pt x="216" y="645"/>
                    </a:lnTo>
                    <a:lnTo>
                      <a:pt x="216" y="639"/>
                    </a:lnTo>
                    <a:lnTo>
                      <a:pt x="221" y="637"/>
                    </a:lnTo>
                    <a:lnTo>
                      <a:pt x="223" y="646"/>
                    </a:lnTo>
                    <a:lnTo>
                      <a:pt x="229" y="645"/>
                    </a:lnTo>
                    <a:lnTo>
                      <a:pt x="231" y="636"/>
                    </a:lnTo>
                    <a:lnTo>
                      <a:pt x="235" y="641"/>
                    </a:lnTo>
                    <a:lnTo>
                      <a:pt x="251" y="636"/>
                    </a:lnTo>
                    <a:lnTo>
                      <a:pt x="261" y="624"/>
                    </a:lnTo>
                    <a:lnTo>
                      <a:pt x="267" y="622"/>
                    </a:lnTo>
                    <a:lnTo>
                      <a:pt x="277" y="623"/>
                    </a:lnTo>
                    <a:lnTo>
                      <a:pt x="281" y="629"/>
                    </a:lnTo>
                    <a:lnTo>
                      <a:pt x="306" y="622"/>
                    </a:lnTo>
                    <a:lnTo>
                      <a:pt x="315" y="624"/>
                    </a:lnTo>
                    <a:lnTo>
                      <a:pt x="327" y="617"/>
                    </a:lnTo>
                    <a:lnTo>
                      <a:pt x="329" y="606"/>
                    </a:lnTo>
                    <a:lnTo>
                      <a:pt x="339" y="603"/>
                    </a:lnTo>
                    <a:lnTo>
                      <a:pt x="340" y="613"/>
                    </a:lnTo>
                    <a:lnTo>
                      <a:pt x="336" y="612"/>
                    </a:lnTo>
                    <a:lnTo>
                      <a:pt x="340" y="619"/>
                    </a:lnTo>
                    <a:lnTo>
                      <a:pt x="343" y="634"/>
                    </a:lnTo>
                    <a:lnTo>
                      <a:pt x="338" y="637"/>
                    </a:lnTo>
                    <a:lnTo>
                      <a:pt x="323" y="633"/>
                    </a:lnTo>
                    <a:lnTo>
                      <a:pt x="316" y="639"/>
                    </a:lnTo>
                    <a:lnTo>
                      <a:pt x="311" y="629"/>
                    </a:lnTo>
                    <a:lnTo>
                      <a:pt x="308" y="641"/>
                    </a:lnTo>
                    <a:lnTo>
                      <a:pt x="296" y="641"/>
                    </a:lnTo>
                    <a:lnTo>
                      <a:pt x="296" y="647"/>
                    </a:lnTo>
                    <a:lnTo>
                      <a:pt x="286" y="652"/>
                    </a:lnTo>
                    <a:lnTo>
                      <a:pt x="281" y="649"/>
                    </a:lnTo>
                    <a:lnTo>
                      <a:pt x="270" y="651"/>
                    </a:lnTo>
                    <a:lnTo>
                      <a:pt x="237" y="668"/>
                    </a:lnTo>
                    <a:lnTo>
                      <a:pt x="229" y="668"/>
                    </a:lnTo>
                    <a:lnTo>
                      <a:pt x="231" y="676"/>
                    </a:lnTo>
                    <a:lnTo>
                      <a:pt x="240" y="684"/>
                    </a:lnTo>
                    <a:lnTo>
                      <a:pt x="286" y="694"/>
                    </a:lnTo>
                    <a:lnTo>
                      <a:pt x="293" y="706"/>
                    </a:lnTo>
                    <a:lnTo>
                      <a:pt x="291" y="714"/>
                    </a:lnTo>
                    <a:lnTo>
                      <a:pt x="261" y="705"/>
                    </a:lnTo>
                    <a:lnTo>
                      <a:pt x="258" y="701"/>
                    </a:lnTo>
                    <a:lnTo>
                      <a:pt x="246" y="705"/>
                    </a:lnTo>
                    <a:lnTo>
                      <a:pt x="236" y="699"/>
                    </a:lnTo>
                    <a:lnTo>
                      <a:pt x="225" y="700"/>
                    </a:lnTo>
                    <a:lnTo>
                      <a:pt x="225" y="708"/>
                    </a:lnTo>
                    <a:lnTo>
                      <a:pt x="223" y="715"/>
                    </a:lnTo>
                    <a:lnTo>
                      <a:pt x="215" y="716"/>
                    </a:lnTo>
                    <a:lnTo>
                      <a:pt x="211" y="694"/>
                    </a:lnTo>
                    <a:lnTo>
                      <a:pt x="198" y="690"/>
                    </a:lnTo>
                    <a:lnTo>
                      <a:pt x="183" y="706"/>
                    </a:lnTo>
                    <a:lnTo>
                      <a:pt x="188" y="722"/>
                    </a:lnTo>
                    <a:lnTo>
                      <a:pt x="183" y="738"/>
                    </a:lnTo>
                    <a:lnTo>
                      <a:pt x="191" y="753"/>
                    </a:lnTo>
                    <a:lnTo>
                      <a:pt x="195" y="771"/>
                    </a:lnTo>
                    <a:lnTo>
                      <a:pt x="199" y="774"/>
                    </a:lnTo>
                    <a:lnTo>
                      <a:pt x="205" y="792"/>
                    </a:lnTo>
                    <a:lnTo>
                      <a:pt x="236" y="807"/>
                    </a:lnTo>
                    <a:lnTo>
                      <a:pt x="241" y="806"/>
                    </a:lnTo>
                    <a:lnTo>
                      <a:pt x="248" y="817"/>
                    </a:lnTo>
                    <a:lnTo>
                      <a:pt x="248" y="829"/>
                    </a:lnTo>
                    <a:lnTo>
                      <a:pt x="254" y="833"/>
                    </a:lnTo>
                    <a:lnTo>
                      <a:pt x="270" y="834"/>
                    </a:lnTo>
                    <a:lnTo>
                      <a:pt x="278" y="830"/>
                    </a:lnTo>
                    <a:lnTo>
                      <a:pt x="283" y="833"/>
                    </a:lnTo>
                    <a:lnTo>
                      <a:pt x="288" y="829"/>
                    </a:lnTo>
                    <a:lnTo>
                      <a:pt x="300" y="828"/>
                    </a:lnTo>
                    <a:lnTo>
                      <a:pt x="306" y="835"/>
                    </a:lnTo>
                    <a:lnTo>
                      <a:pt x="312" y="834"/>
                    </a:lnTo>
                    <a:lnTo>
                      <a:pt x="312" y="841"/>
                    </a:lnTo>
                    <a:lnTo>
                      <a:pt x="304" y="856"/>
                    </a:lnTo>
                    <a:lnTo>
                      <a:pt x="302" y="848"/>
                    </a:lnTo>
                    <a:lnTo>
                      <a:pt x="288" y="849"/>
                    </a:lnTo>
                    <a:lnTo>
                      <a:pt x="270" y="859"/>
                    </a:lnTo>
                    <a:lnTo>
                      <a:pt x="270" y="868"/>
                    </a:lnTo>
                    <a:lnTo>
                      <a:pt x="308" y="904"/>
                    </a:lnTo>
                    <a:lnTo>
                      <a:pt x="311" y="911"/>
                    </a:lnTo>
                    <a:lnTo>
                      <a:pt x="311" y="936"/>
                    </a:lnTo>
                    <a:lnTo>
                      <a:pt x="316" y="935"/>
                    </a:lnTo>
                    <a:lnTo>
                      <a:pt x="323" y="922"/>
                    </a:lnTo>
                    <a:lnTo>
                      <a:pt x="323" y="930"/>
                    </a:lnTo>
                    <a:lnTo>
                      <a:pt x="329" y="937"/>
                    </a:lnTo>
                    <a:lnTo>
                      <a:pt x="338" y="936"/>
                    </a:lnTo>
                    <a:lnTo>
                      <a:pt x="349" y="925"/>
                    </a:lnTo>
                    <a:lnTo>
                      <a:pt x="350" y="910"/>
                    </a:lnTo>
                    <a:lnTo>
                      <a:pt x="354" y="908"/>
                    </a:lnTo>
                    <a:lnTo>
                      <a:pt x="353" y="900"/>
                    </a:lnTo>
                    <a:lnTo>
                      <a:pt x="348" y="888"/>
                    </a:lnTo>
                    <a:lnTo>
                      <a:pt x="351" y="878"/>
                    </a:lnTo>
                    <a:lnTo>
                      <a:pt x="349" y="873"/>
                    </a:lnTo>
                    <a:lnTo>
                      <a:pt x="351" y="866"/>
                    </a:lnTo>
                    <a:lnTo>
                      <a:pt x="363" y="855"/>
                    </a:lnTo>
                    <a:lnTo>
                      <a:pt x="367" y="840"/>
                    </a:lnTo>
                    <a:lnTo>
                      <a:pt x="365" y="839"/>
                    </a:lnTo>
                    <a:lnTo>
                      <a:pt x="369" y="832"/>
                    </a:lnTo>
                    <a:lnTo>
                      <a:pt x="364" y="822"/>
                    </a:lnTo>
                    <a:lnTo>
                      <a:pt x="370" y="802"/>
                    </a:lnTo>
                    <a:lnTo>
                      <a:pt x="367" y="792"/>
                    </a:lnTo>
                    <a:lnTo>
                      <a:pt x="367" y="771"/>
                    </a:lnTo>
                    <a:lnTo>
                      <a:pt x="370" y="762"/>
                    </a:lnTo>
                    <a:lnTo>
                      <a:pt x="381" y="742"/>
                    </a:lnTo>
                    <a:lnTo>
                      <a:pt x="392" y="741"/>
                    </a:lnTo>
                    <a:lnTo>
                      <a:pt x="387" y="728"/>
                    </a:lnTo>
                    <a:lnTo>
                      <a:pt x="380" y="731"/>
                    </a:lnTo>
                    <a:lnTo>
                      <a:pt x="379" y="722"/>
                    </a:lnTo>
                    <a:lnTo>
                      <a:pt x="406" y="710"/>
                    </a:lnTo>
                    <a:lnTo>
                      <a:pt x="413" y="715"/>
                    </a:lnTo>
                    <a:lnTo>
                      <a:pt x="417" y="714"/>
                    </a:lnTo>
                    <a:lnTo>
                      <a:pt x="417" y="704"/>
                    </a:lnTo>
                    <a:lnTo>
                      <a:pt x="420" y="698"/>
                    </a:lnTo>
                    <a:lnTo>
                      <a:pt x="420" y="688"/>
                    </a:lnTo>
                    <a:lnTo>
                      <a:pt x="423" y="680"/>
                    </a:lnTo>
                    <a:lnTo>
                      <a:pt x="425" y="669"/>
                    </a:lnTo>
                    <a:lnTo>
                      <a:pt x="425" y="661"/>
                    </a:lnTo>
                    <a:lnTo>
                      <a:pt x="423" y="662"/>
                    </a:lnTo>
                    <a:lnTo>
                      <a:pt x="424" y="646"/>
                    </a:lnTo>
                    <a:lnTo>
                      <a:pt x="429" y="626"/>
                    </a:lnTo>
                    <a:lnTo>
                      <a:pt x="426" y="620"/>
                    </a:lnTo>
                    <a:lnTo>
                      <a:pt x="425" y="607"/>
                    </a:lnTo>
                    <a:lnTo>
                      <a:pt x="426" y="588"/>
                    </a:lnTo>
                    <a:lnTo>
                      <a:pt x="425" y="583"/>
                    </a:lnTo>
                    <a:lnTo>
                      <a:pt x="425" y="576"/>
                    </a:lnTo>
                    <a:lnTo>
                      <a:pt x="440" y="570"/>
                    </a:lnTo>
                    <a:lnTo>
                      <a:pt x="451" y="577"/>
                    </a:lnTo>
                    <a:lnTo>
                      <a:pt x="455" y="575"/>
                    </a:lnTo>
                    <a:lnTo>
                      <a:pt x="456" y="563"/>
                    </a:lnTo>
                    <a:lnTo>
                      <a:pt x="455" y="552"/>
                    </a:lnTo>
                    <a:lnTo>
                      <a:pt x="455" y="529"/>
                    </a:lnTo>
                    <a:lnTo>
                      <a:pt x="460" y="522"/>
                    </a:lnTo>
                    <a:lnTo>
                      <a:pt x="457" y="511"/>
                    </a:lnTo>
                    <a:lnTo>
                      <a:pt x="461" y="510"/>
                    </a:lnTo>
                    <a:lnTo>
                      <a:pt x="458" y="502"/>
                    </a:lnTo>
                    <a:lnTo>
                      <a:pt x="460" y="491"/>
                    </a:lnTo>
                    <a:lnTo>
                      <a:pt x="460" y="477"/>
                    </a:lnTo>
                    <a:lnTo>
                      <a:pt x="457" y="464"/>
                    </a:lnTo>
                    <a:lnTo>
                      <a:pt x="473" y="462"/>
                    </a:lnTo>
                    <a:lnTo>
                      <a:pt x="477" y="453"/>
                    </a:lnTo>
                    <a:lnTo>
                      <a:pt x="485" y="453"/>
                    </a:lnTo>
                    <a:lnTo>
                      <a:pt x="489" y="432"/>
                    </a:lnTo>
                    <a:lnTo>
                      <a:pt x="485" y="424"/>
                    </a:lnTo>
                    <a:lnTo>
                      <a:pt x="498" y="420"/>
                    </a:lnTo>
                    <a:lnTo>
                      <a:pt x="508" y="423"/>
                    </a:lnTo>
                    <a:lnTo>
                      <a:pt x="521" y="404"/>
                    </a:lnTo>
                    <a:lnTo>
                      <a:pt x="536" y="404"/>
                    </a:lnTo>
                    <a:lnTo>
                      <a:pt x="552" y="392"/>
                    </a:lnTo>
                    <a:lnTo>
                      <a:pt x="570" y="399"/>
                    </a:lnTo>
                    <a:lnTo>
                      <a:pt x="581" y="398"/>
                    </a:lnTo>
                    <a:lnTo>
                      <a:pt x="585" y="392"/>
                    </a:lnTo>
                    <a:lnTo>
                      <a:pt x="591" y="371"/>
                    </a:lnTo>
                    <a:lnTo>
                      <a:pt x="589" y="354"/>
                    </a:lnTo>
                    <a:lnTo>
                      <a:pt x="590" y="345"/>
                    </a:lnTo>
                    <a:lnTo>
                      <a:pt x="586" y="341"/>
                    </a:lnTo>
                    <a:lnTo>
                      <a:pt x="570" y="341"/>
                    </a:lnTo>
                    <a:lnTo>
                      <a:pt x="531" y="327"/>
                    </a:lnTo>
                    <a:lnTo>
                      <a:pt x="525" y="314"/>
                    </a:lnTo>
                    <a:lnTo>
                      <a:pt x="503" y="305"/>
                    </a:lnTo>
                    <a:lnTo>
                      <a:pt x="495" y="283"/>
                    </a:lnTo>
                    <a:lnTo>
                      <a:pt x="492" y="267"/>
                    </a:lnTo>
                    <a:lnTo>
                      <a:pt x="484" y="264"/>
                    </a:lnTo>
                    <a:lnTo>
                      <a:pt x="477" y="254"/>
                    </a:lnTo>
                    <a:lnTo>
                      <a:pt x="444" y="252"/>
                    </a:lnTo>
                    <a:lnTo>
                      <a:pt x="441" y="231"/>
                    </a:lnTo>
                    <a:lnTo>
                      <a:pt x="445" y="217"/>
                    </a:lnTo>
                    <a:lnTo>
                      <a:pt x="445" y="210"/>
                    </a:lnTo>
                    <a:lnTo>
                      <a:pt x="447" y="204"/>
                    </a:lnTo>
                    <a:lnTo>
                      <a:pt x="449" y="192"/>
                    </a:lnTo>
                    <a:lnTo>
                      <a:pt x="440" y="172"/>
                    </a:lnTo>
                    <a:lnTo>
                      <a:pt x="435" y="150"/>
                    </a:lnTo>
                    <a:lnTo>
                      <a:pt x="426" y="133"/>
                    </a:lnTo>
                    <a:lnTo>
                      <a:pt x="417" y="133"/>
                    </a:lnTo>
                    <a:lnTo>
                      <a:pt x="413" y="123"/>
                    </a:lnTo>
                    <a:lnTo>
                      <a:pt x="408" y="128"/>
                    </a:lnTo>
                    <a:lnTo>
                      <a:pt x="401" y="145"/>
                    </a:lnTo>
                    <a:lnTo>
                      <a:pt x="401" y="157"/>
                    </a:lnTo>
                    <a:lnTo>
                      <a:pt x="404" y="167"/>
                    </a:lnTo>
                    <a:lnTo>
                      <a:pt x="391" y="181"/>
                    </a:lnTo>
                    <a:lnTo>
                      <a:pt x="379" y="204"/>
                    </a:lnTo>
                    <a:lnTo>
                      <a:pt x="377" y="195"/>
                    </a:lnTo>
                    <a:lnTo>
                      <a:pt x="382" y="188"/>
                    </a:lnTo>
                    <a:lnTo>
                      <a:pt x="386" y="171"/>
                    </a:lnTo>
                    <a:lnTo>
                      <a:pt x="382" y="155"/>
                    </a:lnTo>
                    <a:lnTo>
                      <a:pt x="379" y="150"/>
                    </a:lnTo>
                    <a:lnTo>
                      <a:pt x="376" y="152"/>
                    </a:lnTo>
                    <a:lnTo>
                      <a:pt x="379" y="144"/>
                    </a:lnTo>
                    <a:lnTo>
                      <a:pt x="385" y="136"/>
                    </a:lnTo>
                    <a:lnTo>
                      <a:pt x="390" y="106"/>
                    </a:lnTo>
                    <a:lnTo>
                      <a:pt x="394" y="101"/>
                    </a:lnTo>
                    <a:lnTo>
                      <a:pt x="397" y="81"/>
                    </a:lnTo>
                    <a:lnTo>
                      <a:pt x="385" y="60"/>
                    </a:lnTo>
                    <a:lnTo>
                      <a:pt x="350" y="22"/>
                    </a:lnTo>
                    <a:lnTo>
                      <a:pt x="337" y="29"/>
                    </a:lnTo>
                    <a:lnTo>
                      <a:pt x="339" y="39"/>
                    </a:lnTo>
                    <a:lnTo>
                      <a:pt x="339" y="47"/>
                    </a:lnTo>
                    <a:lnTo>
                      <a:pt x="329" y="41"/>
                    </a:lnTo>
                    <a:lnTo>
                      <a:pt x="324" y="43"/>
                    </a:lnTo>
                    <a:lnTo>
                      <a:pt x="324" y="14"/>
                    </a:lnTo>
                    <a:lnTo>
                      <a:pt x="323" y="0"/>
                    </a:lnTo>
                    <a:lnTo>
                      <a:pt x="293" y="0"/>
                    </a:lnTo>
                    <a:lnTo>
                      <a:pt x="293" y="0"/>
                    </a:lnTo>
                    <a:lnTo>
                      <a:pt x="290" y="2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89" name="Freeform 224"/>
              <p:cNvSpPr>
                <a:spLocks noChangeAspect="1"/>
              </p:cNvSpPr>
              <p:nvPr/>
            </p:nvSpPr>
            <p:spPr bwMode="gray">
              <a:xfrm>
                <a:off x="3306" y="1118"/>
                <a:ext cx="25" cy="23"/>
              </a:xfrm>
              <a:custGeom>
                <a:avLst/>
                <a:gdLst/>
                <a:ahLst/>
                <a:cxnLst>
                  <a:cxn ang="0">
                    <a:pos x="52" y="117"/>
                  </a:cxn>
                  <a:cxn ang="0">
                    <a:pos x="54" y="111"/>
                  </a:cxn>
                  <a:cxn ang="0">
                    <a:pos x="65" y="112"/>
                  </a:cxn>
                  <a:cxn ang="0">
                    <a:pos x="81" y="99"/>
                  </a:cxn>
                  <a:cxn ang="0">
                    <a:pos x="105" y="97"/>
                  </a:cxn>
                  <a:cxn ang="0">
                    <a:pos x="107" y="86"/>
                  </a:cxn>
                  <a:cxn ang="0">
                    <a:pos x="106" y="81"/>
                  </a:cxn>
                  <a:cxn ang="0">
                    <a:pos x="111" y="52"/>
                  </a:cxn>
                  <a:cxn ang="0">
                    <a:pos x="126" y="37"/>
                  </a:cxn>
                  <a:cxn ang="0">
                    <a:pos x="111" y="22"/>
                  </a:cxn>
                  <a:cxn ang="0">
                    <a:pos x="107" y="14"/>
                  </a:cxn>
                  <a:cxn ang="0">
                    <a:pos x="106" y="8"/>
                  </a:cxn>
                  <a:cxn ang="0">
                    <a:pos x="67" y="13"/>
                  </a:cxn>
                  <a:cxn ang="0">
                    <a:pos x="62" y="13"/>
                  </a:cxn>
                  <a:cxn ang="0">
                    <a:pos x="67" y="10"/>
                  </a:cxn>
                  <a:cxn ang="0">
                    <a:pos x="69" y="0"/>
                  </a:cxn>
                  <a:cxn ang="0">
                    <a:pos x="65" y="3"/>
                  </a:cxn>
                  <a:cxn ang="0">
                    <a:pos x="51" y="4"/>
                  </a:cxn>
                  <a:cxn ang="0">
                    <a:pos x="44" y="20"/>
                  </a:cxn>
                  <a:cxn ang="0">
                    <a:pos x="38" y="26"/>
                  </a:cxn>
                  <a:cxn ang="0">
                    <a:pos x="32" y="22"/>
                  </a:cxn>
                  <a:cxn ang="0">
                    <a:pos x="27" y="30"/>
                  </a:cxn>
                  <a:cxn ang="0">
                    <a:pos x="0" y="40"/>
                  </a:cxn>
                  <a:cxn ang="0">
                    <a:pos x="11" y="52"/>
                  </a:cxn>
                  <a:cxn ang="0">
                    <a:pos x="25" y="54"/>
                  </a:cxn>
                  <a:cxn ang="0">
                    <a:pos x="25" y="65"/>
                  </a:cxn>
                  <a:cxn ang="0">
                    <a:pos x="24" y="73"/>
                  </a:cxn>
                  <a:cxn ang="0">
                    <a:pos x="26" y="87"/>
                  </a:cxn>
                  <a:cxn ang="0">
                    <a:pos x="31" y="99"/>
                  </a:cxn>
                  <a:cxn ang="0">
                    <a:pos x="33" y="106"/>
                  </a:cxn>
                  <a:cxn ang="0">
                    <a:pos x="38" y="114"/>
                  </a:cxn>
                  <a:cxn ang="0">
                    <a:pos x="52" y="117"/>
                  </a:cxn>
                </a:cxnLst>
                <a:rect l="0" t="0" r="r" b="b"/>
                <a:pathLst>
                  <a:path w="125" h="117">
                    <a:moveTo>
                      <a:pt x="52" y="117"/>
                    </a:moveTo>
                    <a:lnTo>
                      <a:pt x="54" y="111"/>
                    </a:lnTo>
                    <a:lnTo>
                      <a:pt x="65" y="112"/>
                    </a:lnTo>
                    <a:lnTo>
                      <a:pt x="81" y="99"/>
                    </a:lnTo>
                    <a:lnTo>
                      <a:pt x="105" y="97"/>
                    </a:lnTo>
                    <a:lnTo>
                      <a:pt x="107" y="86"/>
                    </a:lnTo>
                    <a:lnTo>
                      <a:pt x="106" y="81"/>
                    </a:lnTo>
                    <a:lnTo>
                      <a:pt x="111" y="52"/>
                    </a:lnTo>
                    <a:lnTo>
                      <a:pt x="126" y="37"/>
                    </a:lnTo>
                    <a:lnTo>
                      <a:pt x="111" y="22"/>
                    </a:lnTo>
                    <a:lnTo>
                      <a:pt x="107" y="14"/>
                    </a:lnTo>
                    <a:lnTo>
                      <a:pt x="106" y="8"/>
                    </a:lnTo>
                    <a:lnTo>
                      <a:pt x="67" y="13"/>
                    </a:lnTo>
                    <a:lnTo>
                      <a:pt x="62" y="13"/>
                    </a:lnTo>
                    <a:lnTo>
                      <a:pt x="67" y="10"/>
                    </a:lnTo>
                    <a:lnTo>
                      <a:pt x="69" y="0"/>
                    </a:lnTo>
                    <a:lnTo>
                      <a:pt x="65" y="3"/>
                    </a:lnTo>
                    <a:lnTo>
                      <a:pt x="51" y="4"/>
                    </a:lnTo>
                    <a:lnTo>
                      <a:pt x="44" y="20"/>
                    </a:lnTo>
                    <a:lnTo>
                      <a:pt x="38" y="26"/>
                    </a:lnTo>
                    <a:lnTo>
                      <a:pt x="32" y="22"/>
                    </a:lnTo>
                    <a:lnTo>
                      <a:pt x="27" y="30"/>
                    </a:lnTo>
                    <a:lnTo>
                      <a:pt x="0" y="40"/>
                    </a:lnTo>
                    <a:lnTo>
                      <a:pt x="11" y="52"/>
                    </a:lnTo>
                    <a:lnTo>
                      <a:pt x="25" y="54"/>
                    </a:lnTo>
                    <a:lnTo>
                      <a:pt x="25" y="65"/>
                    </a:lnTo>
                    <a:lnTo>
                      <a:pt x="24" y="73"/>
                    </a:lnTo>
                    <a:lnTo>
                      <a:pt x="26" y="87"/>
                    </a:lnTo>
                    <a:lnTo>
                      <a:pt x="31" y="99"/>
                    </a:lnTo>
                    <a:lnTo>
                      <a:pt x="33" y="106"/>
                    </a:lnTo>
                    <a:lnTo>
                      <a:pt x="38" y="114"/>
                    </a:lnTo>
                    <a:lnTo>
                      <a:pt x="52" y="11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90" name="Freeform 225"/>
              <p:cNvSpPr>
                <a:spLocks noChangeAspect="1"/>
              </p:cNvSpPr>
              <p:nvPr/>
            </p:nvSpPr>
            <p:spPr bwMode="gray">
              <a:xfrm>
                <a:off x="3340" y="1146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0" y="0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0" y="2"/>
                    </a:lnTo>
                    <a:lnTo>
                      <a:pt x="1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91" name="Freeform 226"/>
              <p:cNvSpPr>
                <a:spLocks noChangeAspect="1"/>
              </p:cNvSpPr>
              <p:nvPr/>
            </p:nvSpPr>
            <p:spPr bwMode="gray">
              <a:xfrm>
                <a:off x="3340" y="1147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92" name="Freeform 227"/>
              <p:cNvSpPr>
                <a:spLocks noChangeAspect="1"/>
              </p:cNvSpPr>
              <p:nvPr/>
            </p:nvSpPr>
            <p:spPr bwMode="gray">
              <a:xfrm>
                <a:off x="3313" y="1136"/>
                <a:ext cx="45" cy="54"/>
              </a:xfrm>
              <a:custGeom>
                <a:avLst/>
                <a:gdLst/>
                <a:ahLst/>
                <a:cxnLst>
                  <a:cxn ang="0">
                    <a:pos x="206" y="133"/>
                  </a:cxn>
                  <a:cxn ang="0">
                    <a:pos x="201" y="128"/>
                  </a:cxn>
                  <a:cxn ang="0">
                    <a:pos x="190" y="116"/>
                  </a:cxn>
                  <a:cxn ang="0">
                    <a:pos x="180" y="107"/>
                  </a:cxn>
                  <a:cxn ang="0">
                    <a:pos x="162" y="124"/>
                  </a:cxn>
                  <a:cxn ang="0">
                    <a:pos x="145" y="108"/>
                  </a:cxn>
                  <a:cxn ang="0">
                    <a:pos x="131" y="90"/>
                  </a:cxn>
                  <a:cxn ang="0">
                    <a:pos x="120" y="75"/>
                  </a:cxn>
                  <a:cxn ang="0">
                    <a:pos x="125" y="51"/>
                  </a:cxn>
                  <a:cxn ang="0">
                    <a:pos x="134" y="43"/>
                  </a:cxn>
                  <a:cxn ang="0">
                    <a:pos x="128" y="19"/>
                  </a:cxn>
                  <a:cxn ang="0">
                    <a:pos x="114" y="15"/>
                  </a:cxn>
                  <a:cxn ang="0">
                    <a:pos x="112" y="0"/>
                  </a:cxn>
                  <a:cxn ang="0">
                    <a:pos x="106" y="15"/>
                  </a:cxn>
                  <a:cxn ang="0">
                    <a:pos x="87" y="26"/>
                  </a:cxn>
                  <a:cxn ang="0">
                    <a:pos x="50" y="23"/>
                  </a:cxn>
                  <a:cxn ang="0">
                    <a:pos x="2" y="51"/>
                  </a:cxn>
                  <a:cxn ang="0">
                    <a:pos x="0" y="62"/>
                  </a:cxn>
                  <a:cxn ang="0">
                    <a:pos x="11" y="75"/>
                  </a:cxn>
                  <a:cxn ang="0">
                    <a:pos x="16" y="86"/>
                  </a:cxn>
                  <a:cxn ang="0">
                    <a:pos x="35" y="108"/>
                  </a:cxn>
                  <a:cxn ang="0">
                    <a:pos x="27" y="134"/>
                  </a:cxn>
                  <a:cxn ang="0">
                    <a:pos x="21" y="150"/>
                  </a:cxn>
                  <a:cxn ang="0">
                    <a:pos x="21" y="165"/>
                  </a:cxn>
                  <a:cxn ang="0">
                    <a:pos x="21" y="172"/>
                  </a:cxn>
                  <a:cxn ang="0">
                    <a:pos x="5" y="187"/>
                  </a:cxn>
                  <a:cxn ang="0">
                    <a:pos x="4" y="195"/>
                  </a:cxn>
                  <a:cxn ang="0">
                    <a:pos x="1" y="205"/>
                  </a:cxn>
                  <a:cxn ang="0">
                    <a:pos x="8" y="222"/>
                  </a:cxn>
                  <a:cxn ang="0">
                    <a:pos x="26" y="222"/>
                  </a:cxn>
                  <a:cxn ang="0">
                    <a:pos x="66" y="214"/>
                  </a:cxn>
                  <a:cxn ang="0">
                    <a:pos x="77" y="208"/>
                  </a:cxn>
                  <a:cxn ang="0">
                    <a:pos x="87" y="189"/>
                  </a:cxn>
                  <a:cxn ang="0">
                    <a:pos x="98" y="193"/>
                  </a:cxn>
                  <a:cxn ang="0">
                    <a:pos x="96" y="205"/>
                  </a:cxn>
                  <a:cxn ang="0">
                    <a:pos x="103" y="195"/>
                  </a:cxn>
                  <a:cxn ang="0">
                    <a:pos x="107" y="205"/>
                  </a:cxn>
                  <a:cxn ang="0">
                    <a:pos x="99" y="214"/>
                  </a:cxn>
                  <a:cxn ang="0">
                    <a:pos x="97" y="235"/>
                  </a:cxn>
                  <a:cxn ang="0">
                    <a:pos x="85" y="253"/>
                  </a:cxn>
                  <a:cxn ang="0">
                    <a:pos x="99" y="259"/>
                  </a:cxn>
                  <a:cxn ang="0">
                    <a:pos x="110" y="259"/>
                  </a:cxn>
                  <a:cxn ang="0">
                    <a:pos x="112" y="248"/>
                  </a:cxn>
                  <a:cxn ang="0">
                    <a:pos x="125" y="232"/>
                  </a:cxn>
                  <a:cxn ang="0">
                    <a:pos x="129" y="237"/>
                  </a:cxn>
                  <a:cxn ang="0">
                    <a:pos x="142" y="235"/>
                  </a:cxn>
                  <a:cxn ang="0">
                    <a:pos x="146" y="225"/>
                  </a:cxn>
                  <a:cxn ang="0">
                    <a:pos x="151" y="216"/>
                  </a:cxn>
                  <a:cxn ang="0">
                    <a:pos x="166" y="202"/>
                  </a:cxn>
                  <a:cxn ang="0">
                    <a:pos x="169" y="184"/>
                  </a:cxn>
                  <a:cxn ang="0">
                    <a:pos x="180" y="165"/>
                  </a:cxn>
                  <a:cxn ang="0">
                    <a:pos x="222" y="152"/>
                  </a:cxn>
                  <a:cxn ang="0">
                    <a:pos x="221" y="145"/>
                  </a:cxn>
                </a:cxnLst>
                <a:rect l="0" t="0" r="r" b="b"/>
                <a:pathLst>
                  <a:path w="221" h="268">
                    <a:moveTo>
                      <a:pt x="207" y="140"/>
                    </a:moveTo>
                    <a:lnTo>
                      <a:pt x="206" y="133"/>
                    </a:lnTo>
                    <a:lnTo>
                      <a:pt x="201" y="133"/>
                    </a:lnTo>
                    <a:lnTo>
                      <a:pt x="201" y="128"/>
                    </a:lnTo>
                    <a:lnTo>
                      <a:pt x="196" y="117"/>
                    </a:lnTo>
                    <a:lnTo>
                      <a:pt x="190" y="116"/>
                    </a:lnTo>
                    <a:lnTo>
                      <a:pt x="184" y="106"/>
                    </a:lnTo>
                    <a:lnTo>
                      <a:pt x="180" y="107"/>
                    </a:lnTo>
                    <a:lnTo>
                      <a:pt x="178" y="114"/>
                    </a:lnTo>
                    <a:lnTo>
                      <a:pt x="162" y="124"/>
                    </a:lnTo>
                    <a:lnTo>
                      <a:pt x="150" y="116"/>
                    </a:lnTo>
                    <a:lnTo>
                      <a:pt x="145" y="108"/>
                    </a:lnTo>
                    <a:lnTo>
                      <a:pt x="139" y="106"/>
                    </a:lnTo>
                    <a:lnTo>
                      <a:pt x="131" y="90"/>
                    </a:lnTo>
                    <a:lnTo>
                      <a:pt x="124" y="86"/>
                    </a:lnTo>
                    <a:lnTo>
                      <a:pt x="120" y="75"/>
                    </a:lnTo>
                    <a:lnTo>
                      <a:pt x="120" y="64"/>
                    </a:lnTo>
                    <a:lnTo>
                      <a:pt x="125" y="51"/>
                    </a:lnTo>
                    <a:lnTo>
                      <a:pt x="134" y="53"/>
                    </a:lnTo>
                    <a:lnTo>
                      <a:pt x="134" y="43"/>
                    </a:lnTo>
                    <a:lnTo>
                      <a:pt x="137" y="37"/>
                    </a:lnTo>
                    <a:lnTo>
                      <a:pt x="128" y="19"/>
                    </a:lnTo>
                    <a:lnTo>
                      <a:pt x="119" y="25"/>
                    </a:lnTo>
                    <a:lnTo>
                      <a:pt x="114" y="15"/>
                    </a:lnTo>
                    <a:lnTo>
                      <a:pt x="114" y="6"/>
                    </a:lnTo>
                    <a:lnTo>
                      <a:pt x="112" y="0"/>
                    </a:lnTo>
                    <a:lnTo>
                      <a:pt x="110" y="0"/>
                    </a:lnTo>
                    <a:lnTo>
                      <a:pt x="106" y="15"/>
                    </a:lnTo>
                    <a:lnTo>
                      <a:pt x="93" y="17"/>
                    </a:lnTo>
                    <a:lnTo>
                      <a:pt x="87" y="26"/>
                    </a:lnTo>
                    <a:lnTo>
                      <a:pt x="66" y="28"/>
                    </a:lnTo>
                    <a:lnTo>
                      <a:pt x="50" y="23"/>
                    </a:lnTo>
                    <a:lnTo>
                      <a:pt x="28" y="32"/>
                    </a:lnTo>
                    <a:lnTo>
                      <a:pt x="2" y="51"/>
                    </a:lnTo>
                    <a:lnTo>
                      <a:pt x="2" y="59"/>
                    </a:lnTo>
                    <a:lnTo>
                      <a:pt x="0" y="62"/>
                    </a:lnTo>
                    <a:lnTo>
                      <a:pt x="6" y="66"/>
                    </a:lnTo>
                    <a:lnTo>
                      <a:pt x="11" y="75"/>
                    </a:lnTo>
                    <a:lnTo>
                      <a:pt x="16" y="75"/>
                    </a:lnTo>
                    <a:lnTo>
                      <a:pt x="16" y="86"/>
                    </a:lnTo>
                    <a:lnTo>
                      <a:pt x="39" y="101"/>
                    </a:lnTo>
                    <a:lnTo>
                      <a:pt x="35" y="108"/>
                    </a:lnTo>
                    <a:lnTo>
                      <a:pt x="34" y="119"/>
                    </a:lnTo>
                    <a:lnTo>
                      <a:pt x="27" y="134"/>
                    </a:lnTo>
                    <a:lnTo>
                      <a:pt x="27" y="140"/>
                    </a:lnTo>
                    <a:lnTo>
                      <a:pt x="21" y="150"/>
                    </a:lnTo>
                    <a:lnTo>
                      <a:pt x="22" y="156"/>
                    </a:lnTo>
                    <a:lnTo>
                      <a:pt x="21" y="165"/>
                    </a:lnTo>
                    <a:lnTo>
                      <a:pt x="20" y="166"/>
                    </a:lnTo>
                    <a:lnTo>
                      <a:pt x="21" y="172"/>
                    </a:lnTo>
                    <a:lnTo>
                      <a:pt x="20" y="177"/>
                    </a:lnTo>
                    <a:lnTo>
                      <a:pt x="5" y="187"/>
                    </a:lnTo>
                    <a:lnTo>
                      <a:pt x="5" y="192"/>
                    </a:lnTo>
                    <a:lnTo>
                      <a:pt x="4" y="195"/>
                    </a:lnTo>
                    <a:lnTo>
                      <a:pt x="0" y="198"/>
                    </a:lnTo>
                    <a:lnTo>
                      <a:pt x="1" y="205"/>
                    </a:lnTo>
                    <a:lnTo>
                      <a:pt x="0" y="214"/>
                    </a:lnTo>
                    <a:lnTo>
                      <a:pt x="8" y="222"/>
                    </a:lnTo>
                    <a:lnTo>
                      <a:pt x="17" y="216"/>
                    </a:lnTo>
                    <a:lnTo>
                      <a:pt x="26" y="222"/>
                    </a:lnTo>
                    <a:lnTo>
                      <a:pt x="32" y="215"/>
                    </a:lnTo>
                    <a:lnTo>
                      <a:pt x="66" y="214"/>
                    </a:lnTo>
                    <a:lnTo>
                      <a:pt x="67" y="210"/>
                    </a:lnTo>
                    <a:lnTo>
                      <a:pt x="77" y="208"/>
                    </a:lnTo>
                    <a:lnTo>
                      <a:pt x="80" y="198"/>
                    </a:lnTo>
                    <a:lnTo>
                      <a:pt x="87" y="189"/>
                    </a:lnTo>
                    <a:lnTo>
                      <a:pt x="97" y="191"/>
                    </a:lnTo>
                    <a:lnTo>
                      <a:pt x="98" y="193"/>
                    </a:lnTo>
                    <a:lnTo>
                      <a:pt x="94" y="200"/>
                    </a:lnTo>
                    <a:lnTo>
                      <a:pt x="96" y="205"/>
                    </a:lnTo>
                    <a:lnTo>
                      <a:pt x="98" y="209"/>
                    </a:lnTo>
                    <a:lnTo>
                      <a:pt x="103" y="195"/>
                    </a:lnTo>
                    <a:lnTo>
                      <a:pt x="110" y="195"/>
                    </a:lnTo>
                    <a:lnTo>
                      <a:pt x="107" y="205"/>
                    </a:lnTo>
                    <a:lnTo>
                      <a:pt x="107" y="210"/>
                    </a:lnTo>
                    <a:lnTo>
                      <a:pt x="99" y="214"/>
                    </a:lnTo>
                    <a:lnTo>
                      <a:pt x="94" y="222"/>
                    </a:lnTo>
                    <a:lnTo>
                      <a:pt x="97" y="235"/>
                    </a:lnTo>
                    <a:lnTo>
                      <a:pt x="96" y="240"/>
                    </a:lnTo>
                    <a:lnTo>
                      <a:pt x="85" y="253"/>
                    </a:lnTo>
                    <a:lnTo>
                      <a:pt x="91" y="265"/>
                    </a:lnTo>
                    <a:lnTo>
                      <a:pt x="99" y="259"/>
                    </a:lnTo>
                    <a:lnTo>
                      <a:pt x="101" y="268"/>
                    </a:lnTo>
                    <a:lnTo>
                      <a:pt x="110" y="259"/>
                    </a:lnTo>
                    <a:lnTo>
                      <a:pt x="109" y="252"/>
                    </a:lnTo>
                    <a:lnTo>
                      <a:pt x="112" y="248"/>
                    </a:lnTo>
                    <a:lnTo>
                      <a:pt x="125" y="238"/>
                    </a:lnTo>
                    <a:lnTo>
                      <a:pt x="125" y="232"/>
                    </a:lnTo>
                    <a:lnTo>
                      <a:pt x="126" y="232"/>
                    </a:lnTo>
                    <a:lnTo>
                      <a:pt x="129" y="237"/>
                    </a:lnTo>
                    <a:lnTo>
                      <a:pt x="133" y="240"/>
                    </a:lnTo>
                    <a:lnTo>
                      <a:pt x="142" y="235"/>
                    </a:lnTo>
                    <a:lnTo>
                      <a:pt x="144" y="229"/>
                    </a:lnTo>
                    <a:lnTo>
                      <a:pt x="146" y="225"/>
                    </a:lnTo>
                    <a:lnTo>
                      <a:pt x="151" y="226"/>
                    </a:lnTo>
                    <a:lnTo>
                      <a:pt x="151" y="216"/>
                    </a:lnTo>
                    <a:lnTo>
                      <a:pt x="160" y="213"/>
                    </a:lnTo>
                    <a:lnTo>
                      <a:pt x="166" y="202"/>
                    </a:lnTo>
                    <a:lnTo>
                      <a:pt x="166" y="193"/>
                    </a:lnTo>
                    <a:lnTo>
                      <a:pt x="169" y="184"/>
                    </a:lnTo>
                    <a:lnTo>
                      <a:pt x="179" y="175"/>
                    </a:lnTo>
                    <a:lnTo>
                      <a:pt x="180" y="165"/>
                    </a:lnTo>
                    <a:lnTo>
                      <a:pt x="204" y="152"/>
                    </a:lnTo>
                    <a:lnTo>
                      <a:pt x="222" y="152"/>
                    </a:lnTo>
                    <a:lnTo>
                      <a:pt x="222" y="148"/>
                    </a:lnTo>
                    <a:lnTo>
                      <a:pt x="221" y="145"/>
                    </a:lnTo>
                    <a:lnTo>
                      <a:pt x="207" y="14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93" name="Freeform 228"/>
              <p:cNvSpPr>
                <a:spLocks noChangeAspect="1"/>
              </p:cNvSpPr>
              <p:nvPr/>
            </p:nvSpPr>
            <p:spPr bwMode="gray">
              <a:xfrm>
                <a:off x="3284" y="1036"/>
                <a:ext cx="99" cy="52"/>
              </a:xfrm>
              <a:custGeom>
                <a:avLst/>
                <a:gdLst/>
                <a:ahLst/>
                <a:cxnLst>
                  <a:cxn ang="0">
                    <a:pos x="20" y="11"/>
                  </a:cxn>
                  <a:cxn ang="0">
                    <a:pos x="23" y="22"/>
                  </a:cxn>
                  <a:cxn ang="0">
                    <a:pos x="2" y="41"/>
                  </a:cxn>
                  <a:cxn ang="0">
                    <a:pos x="15" y="61"/>
                  </a:cxn>
                  <a:cxn ang="0">
                    <a:pos x="23" y="72"/>
                  </a:cxn>
                  <a:cxn ang="0">
                    <a:pos x="29" y="76"/>
                  </a:cxn>
                  <a:cxn ang="0">
                    <a:pos x="36" y="91"/>
                  </a:cxn>
                  <a:cxn ang="0">
                    <a:pos x="70" y="97"/>
                  </a:cxn>
                  <a:cxn ang="0">
                    <a:pos x="85" y="86"/>
                  </a:cxn>
                  <a:cxn ang="0">
                    <a:pos x="121" y="79"/>
                  </a:cxn>
                  <a:cxn ang="0">
                    <a:pos x="144" y="69"/>
                  </a:cxn>
                  <a:cxn ang="0">
                    <a:pos x="202" y="66"/>
                  </a:cxn>
                  <a:cxn ang="0">
                    <a:pos x="199" y="76"/>
                  </a:cxn>
                  <a:cxn ang="0">
                    <a:pos x="209" y="88"/>
                  </a:cxn>
                  <a:cxn ang="0">
                    <a:pos x="202" y="96"/>
                  </a:cxn>
                  <a:cxn ang="0">
                    <a:pos x="153" y="106"/>
                  </a:cxn>
                  <a:cxn ang="0">
                    <a:pos x="133" y="106"/>
                  </a:cxn>
                  <a:cxn ang="0">
                    <a:pos x="145" y="123"/>
                  </a:cxn>
                  <a:cxn ang="0">
                    <a:pos x="158" y="130"/>
                  </a:cxn>
                  <a:cxn ang="0">
                    <a:pos x="153" y="144"/>
                  </a:cxn>
                  <a:cxn ang="0">
                    <a:pos x="117" y="131"/>
                  </a:cxn>
                  <a:cxn ang="0">
                    <a:pos x="98" y="119"/>
                  </a:cxn>
                  <a:cxn ang="0">
                    <a:pos x="86" y="138"/>
                  </a:cxn>
                  <a:cxn ang="0">
                    <a:pos x="106" y="158"/>
                  </a:cxn>
                  <a:cxn ang="0">
                    <a:pos x="142" y="183"/>
                  </a:cxn>
                  <a:cxn ang="0">
                    <a:pos x="160" y="199"/>
                  </a:cxn>
                  <a:cxn ang="0">
                    <a:pos x="175" y="188"/>
                  </a:cxn>
                  <a:cxn ang="0">
                    <a:pos x="186" y="183"/>
                  </a:cxn>
                  <a:cxn ang="0">
                    <a:pos x="218" y="187"/>
                  </a:cxn>
                  <a:cxn ang="0">
                    <a:pos x="249" y="187"/>
                  </a:cxn>
                  <a:cxn ang="0">
                    <a:pos x="244" y="206"/>
                  </a:cxn>
                  <a:cxn ang="0">
                    <a:pos x="257" y="228"/>
                  </a:cxn>
                  <a:cxn ang="0">
                    <a:pos x="261" y="246"/>
                  </a:cxn>
                  <a:cxn ang="0">
                    <a:pos x="279" y="259"/>
                  </a:cxn>
                  <a:cxn ang="0">
                    <a:pos x="287" y="259"/>
                  </a:cxn>
                  <a:cxn ang="0">
                    <a:pos x="332" y="236"/>
                  </a:cxn>
                  <a:cxn ang="0">
                    <a:pos x="354" y="211"/>
                  </a:cxn>
                  <a:cxn ang="0">
                    <a:pos x="376" y="209"/>
                  </a:cxn>
                  <a:cxn ang="0">
                    <a:pos x="391" y="208"/>
                  </a:cxn>
                  <a:cxn ang="0">
                    <a:pos x="413" y="182"/>
                  </a:cxn>
                  <a:cxn ang="0">
                    <a:pos x="424" y="163"/>
                  </a:cxn>
                  <a:cxn ang="0">
                    <a:pos x="428" y="150"/>
                  </a:cxn>
                  <a:cxn ang="0">
                    <a:pos x="421" y="124"/>
                  </a:cxn>
                  <a:cxn ang="0">
                    <a:pos x="443" y="112"/>
                  </a:cxn>
                  <a:cxn ang="0">
                    <a:pos x="459" y="87"/>
                  </a:cxn>
                  <a:cxn ang="0">
                    <a:pos x="462" y="79"/>
                  </a:cxn>
                  <a:cxn ang="0">
                    <a:pos x="491" y="57"/>
                  </a:cxn>
                  <a:cxn ang="0">
                    <a:pos x="487" y="28"/>
                  </a:cxn>
                  <a:cxn ang="0">
                    <a:pos x="492" y="11"/>
                  </a:cxn>
                  <a:cxn ang="0">
                    <a:pos x="235" y="0"/>
                  </a:cxn>
                  <a:cxn ang="0">
                    <a:pos x="228" y="11"/>
                  </a:cxn>
                  <a:cxn ang="0">
                    <a:pos x="67" y="0"/>
                  </a:cxn>
                  <a:cxn ang="0">
                    <a:pos x="35" y="0"/>
                  </a:cxn>
                </a:cxnLst>
                <a:rect l="0" t="0" r="r" b="b"/>
                <a:pathLst>
                  <a:path w="496" h="260">
                    <a:moveTo>
                      <a:pt x="32" y="12"/>
                    </a:moveTo>
                    <a:lnTo>
                      <a:pt x="30" y="17"/>
                    </a:lnTo>
                    <a:lnTo>
                      <a:pt x="20" y="11"/>
                    </a:lnTo>
                    <a:lnTo>
                      <a:pt x="18" y="12"/>
                    </a:lnTo>
                    <a:lnTo>
                      <a:pt x="23" y="18"/>
                    </a:lnTo>
                    <a:lnTo>
                      <a:pt x="23" y="22"/>
                    </a:lnTo>
                    <a:lnTo>
                      <a:pt x="13" y="22"/>
                    </a:lnTo>
                    <a:lnTo>
                      <a:pt x="0" y="36"/>
                    </a:lnTo>
                    <a:lnTo>
                      <a:pt x="2" y="41"/>
                    </a:lnTo>
                    <a:lnTo>
                      <a:pt x="9" y="43"/>
                    </a:lnTo>
                    <a:lnTo>
                      <a:pt x="8" y="54"/>
                    </a:lnTo>
                    <a:lnTo>
                      <a:pt x="15" y="61"/>
                    </a:lnTo>
                    <a:lnTo>
                      <a:pt x="15" y="68"/>
                    </a:lnTo>
                    <a:lnTo>
                      <a:pt x="21" y="80"/>
                    </a:lnTo>
                    <a:lnTo>
                      <a:pt x="23" y="72"/>
                    </a:lnTo>
                    <a:lnTo>
                      <a:pt x="29" y="68"/>
                    </a:lnTo>
                    <a:lnTo>
                      <a:pt x="27" y="72"/>
                    </a:lnTo>
                    <a:lnTo>
                      <a:pt x="29" y="76"/>
                    </a:lnTo>
                    <a:lnTo>
                      <a:pt x="32" y="77"/>
                    </a:lnTo>
                    <a:lnTo>
                      <a:pt x="29" y="85"/>
                    </a:lnTo>
                    <a:lnTo>
                      <a:pt x="36" y="91"/>
                    </a:lnTo>
                    <a:lnTo>
                      <a:pt x="67" y="88"/>
                    </a:lnTo>
                    <a:lnTo>
                      <a:pt x="70" y="91"/>
                    </a:lnTo>
                    <a:lnTo>
                      <a:pt x="70" y="97"/>
                    </a:lnTo>
                    <a:lnTo>
                      <a:pt x="75" y="98"/>
                    </a:lnTo>
                    <a:lnTo>
                      <a:pt x="85" y="90"/>
                    </a:lnTo>
                    <a:lnTo>
                      <a:pt x="85" y="86"/>
                    </a:lnTo>
                    <a:lnTo>
                      <a:pt x="102" y="86"/>
                    </a:lnTo>
                    <a:lnTo>
                      <a:pt x="107" y="79"/>
                    </a:lnTo>
                    <a:lnTo>
                      <a:pt x="121" y="79"/>
                    </a:lnTo>
                    <a:lnTo>
                      <a:pt x="122" y="74"/>
                    </a:lnTo>
                    <a:lnTo>
                      <a:pt x="142" y="76"/>
                    </a:lnTo>
                    <a:lnTo>
                      <a:pt x="144" y="69"/>
                    </a:lnTo>
                    <a:lnTo>
                      <a:pt x="187" y="70"/>
                    </a:lnTo>
                    <a:lnTo>
                      <a:pt x="192" y="63"/>
                    </a:lnTo>
                    <a:lnTo>
                      <a:pt x="202" y="66"/>
                    </a:lnTo>
                    <a:lnTo>
                      <a:pt x="207" y="60"/>
                    </a:lnTo>
                    <a:lnTo>
                      <a:pt x="207" y="71"/>
                    </a:lnTo>
                    <a:lnTo>
                      <a:pt x="199" y="76"/>
                    </a:lnTo>
                    <a:lnTo>
                      <a:pt x="211" y="77"/>
                    </a:lnTo>
                    <a:lnTo>
                      <a:pt x="209" y="81"/>
                    </a:lnTo>
                    <a:lnTo>
                      <a:pt x="209" y="88"/>
                    </a:lnTo>
                    <a:lnTo>
                      <a:pt x="201" y="91"/>
                    </a:lnTo>
                    <a:lnTo>
                      <a:pt x="201" y="95"/>
                    </a:lnTo>
                    <a:lnTo>
                      <a:pt x="202" y="96"/>
                    </a:lnTo>
                    <a:lnTo>
                      <a:pt x="201" y="99"/>
                    </a:lnTo>
                    <a:lnTo>
                      <a:pt x="156" y="98"/>
                    </a:lnTo>
                    <a:lnTo>
                      <a:pt x="153" y="106"/>
                    </a:lnTo>
                    <a:lnTo>
                      <a:pt x="149" y="104"/>
                    </a:lnTo>
                    <a:lnTo>
                      <a:pt x="149" y="98"/>
                    </a:lnTo>
                    <a:lnTo>
                      <a:pt x="133" y="106"/>
                    </a:lnTo>
                    <a:lnTo>
                      <a:pt x="136" y="112"/>
                    </a:lnTo>
                    <a:lnTo>
                      <a:pt x="132" y="118"/>
                    </a:lnTo>
                    <a:lnTo>
                      <a:pt x="145" y="123"/>
                    </a:lnTo>
                    <a:lnTo>
                      <a:pt x="147" y="128"/>
                    </a:lnTo>
                    <a:lnTo>
                      <a:pt x="156" y="127"/>
                    </a:lnTo>
                    <a:lnTo>
                      <a:pt x="158" y="130"/>
                    </a:lnTo>
                    <a:lnTo>
                      <a:pt x="158" y="135"/>
                    </a:lnTo>
                    <a:lnTo>
                      <a:pt x="161" y="140"/>
                    </a:lnTo>
                    <a:lnTo>
                      <a:pt x="153" y="144"/>
                    </a:lnTo>
                    <a:lnTo>
                      <a:pt x="144" y="135"/>
                    </a:lnTo>
                    <a:lnTo>
                      <a:pt x="118" y="138"/>
                    </a:lnTo>
                    <a:lnTo>
                      <a:pt x="117" y="131"/>
                    </a:lnTo>
                    <a:lnTo>
                      <a:pt x="112" y="130"/>
                    </a:lnTo>
                    <a:lnTo>
                      <a:pt x="112" y="124"/>
                    </a:lnTo>
                    <a:lnTo>
                      <a:pt x="98" y="119"/>
                    </a:lnTo>
                    <a:lnTo>
                      <a:pt x="85" y="128"/>
                    </a:lnTo>
                    <a:lnTo>
                      <a:pt x="84" y="131"/>
                    </a:lnTo>
                    <a:lnTo>
                      <a:pt x="86" y="138"/>
                    </a:lnTo>
                    <a:lnTo>
                      <a:pt x="94" y="145"/>
                    </a:lnTo>
                    <a:lnTo>
                      <a:pt x="96" y="154"/>
                    </a:lnTo>
                    <a:lnTo>
                      <a:pt x="106" y="158"/>
                    </a:lnTo>
                    <a:lnTo>
                      <a:pt x="115" y="172"/>
                    </a:lnTo>
                    <a:lnTo>
                      <a:pt x="139" y="174"/>
                    </a:lnTo>
                    <a:lnTo>
                      <a:pt x="142" y="183"/>
                    </a:lnTo>
                    <a:lnTo>
                      <a:pt x="142" y="194"/>
                    </a:lnTo>
                    <a:lnTo>
                      <a:pt x="150" y="203"/>
                    </a:lnTo>
                    <a:lnTo>
                      <a:pt x="160" y="199"/>
                    </a:lnTo>
                    <a:lnTo>
                      <a:pt x="161" y="199"/>
                    </a:lnTo>
                    <a:lnTo>
                      <a:pt x="161" y="194"/>
                    </a:lnTo>
                    <a:lnTo>
                      <a:pt x="175" y="188"/>
                    </a:lnTo>
                    <a:lnTo>
                      <a:pt x="181" y="195"/>
                    </a:lnTo>
                    <a:lnTo>
                      <a:pt x="182" y="183"/>
                    </a:lnTo>
                    <a:lnTo>
                      <a:pt x="186" y="183"/>
                    </a:lnTo>
                    <a:lnTo>
                      <a:pt x="187" y="190"/>
                    </a:lnTo>
                    <a:lnTo>
                      <a:pt x="203" y="199"/>
                    </a:lnTo>
                    <a:lnTo>
                      <a:pt x="218" y="187"/>
                    </a:lnTo>
                    <a:lnTo>
                      <a:pt x="241" y="195"/>
                    </a:lnTo>
                    <a:lnTo>
                      <a:pt x="246" y="192"/>
                    </a:lnTo>
                    <a:lnTo>
                      <a:pt x="249" y="187"/>
                    </a:lnTo>
                    <a:lnTo>
                      <a:pt x="250" y="188"/>
                    </a:lnTo>
                    <a:lnTo>
                      <a:pt x="249" y="198"/>
                    </a:lnTo>
                    <a:lnTo>
                      <a:pt x="244" y="206"/>
                    </a:lnTo>
                    <a:lnTo>
                      <a:pt x="246" y="224"/>
                    </a:lnTo>
                    <a:lnTo>
                      <a:pt x="254" y="232"/>
                    </a:lnTo>
                    <a:lnTo>
                      <a:pt x="257" y="228"/>
                    </a:lnTo>
                    <a:lnTo>
                      <a:pt x="255" y="236"/>
                    </a:lnTo>
                    <a:lnTo>
                      <a:pt x="263" y="243"/>
                    </a:lnTo>
                    <a:lnTo>
                      <a:pt x="261" y="246"/>
                    </a:lnTo>
                    <a:lnTo>
                      <a:pt x="262" y="249"/>
                    </a:lnTo>
                    <a:lnTo>
                      <a:pt x="278" y="253"/>
                    </a:lnTo>
                    <a:lnTo>
                      <a:pt x="279" y="259"/>
                    </a:lnTo>
                    <a:lnTo>
                      <a:pt x="283" y="260"/>
                    </a:lnTo>
                    <a:lnTo>
                      <a:pt x="287" y="254"/>
                    </a:lnTo>
                    <a:lnTo>
                      <a:pt x="287" y="259"/>
                    </a:lnTo>
                    <a:lnTo>
                      <a:pt x="315" y="255"/>
                    </a:lnTo>
                    <a:lnTo>
                      <a:pt x="328" y="247"/>
                    </a:lnTo>
                    <a:lnTo>
                      <a:pt x="332" y="236"/>
                    </a:lnTo>
                    <a:lnTo>
                      <a:pt x="333" y="221"/>
                    </a:lnTo>
                    <a:lnTo>
                      <a:pt x="337" y="217"/>
                    </a:lnTo>
                    <a:lnTo>
                      <a:pt x="354" y="211"/>
                    </a:lnTo>
                    <a:lnTo>
                      <a:pt x="367" y="199"/>
                    </a:lnTo>
                    <a:lnTo>
                      <a:pt x="376" y="204"/>
                    </a:lnTo>
                    <a:lnTo>
                      <a:pt x="376" y="209"/>
                    </a:lnTo>
                    <a:lnTo>
                      <a:pt x="379" y="211"/>
                    </a:lnTo>
                    <a:lnTo>
                      <a:pt x="385" y="204"/>
                    </a:lnTo>
                    <a:lnTo>
                      <a:pt x="391" y="208"/>
                    </a:lnTo>
                    <a:lnTo>
                      <a:pt x="405" y="194"/>
                    </a:lnTo>
                    <a:lnTo>
                      <a:pt x="414" y="188"/>
                    </a:lnTo>
                    <a:lnTo>
                      <a:pt x="413" y="182"/>
                    </a:lnTo>
                    <a:lnTo>
                      <a:pt x="418" y="174"/>
                    </a:lnTo>
                    <a:lnTo>
                      <a:pt x="417" y="166"/>
                    </a:lnTo>
                    <a:lnTo>
                      <a:pt x="424" y="163"/>
                    </a:lnTo>
                    <a:lnTo>
                      <a:pt x="425" y="156"/>
                    </a:lnTo>
                    <a:lnTo>
                      <a:pt x="425" y="150"/>
                    </a:lnTo>
                    <a:lnTo>
                      <a:pt x="428" y="150"/>
                    </a:lnTo>
                    <a:lnTo>
                      <a:pt x="427" y="142"/>
                    </a:lnTo>
                    <a:lnTo>
                      <a:pt x="422" y="140"/>
                    </a:lnTo>
                    <a:lnTo>
                      <a:pt x="421" y="124"/>
                    </a:lnTo>
                    <a:lnTo>
                      <a:pt x="433" y="114"/>
                    </a:lnTo>
                    <a:lnTo>
                      <a:pt x="434" y="109"/>
                    </a:lnTo>
                    <a:lnTo>
                      <a:pt x="443" y="112"/>
                    </a:lnTo>
                    <a:lnTo>
                      <a:pt x="448" y="98"/>
                    </a:lnTo>
                    <a:lnTo>
                      <a:pt x="455" y="99"/>
                    </a:lnTo>
                    <a:lnTo>
                      <a:pt x="459" y="87"/>
                    </a:lnTo>
                    <a:lnTo>
                      <a:pt x="465" y="86"/>
                    </a:lnTo>
                    <a:lnTo>
                      <a:pt x="462" y="84"/>
                    </a:lnTo>
                    <a:lnTo>
                      <a:pt x="462" y="79"/>
                    </a:lnTo>
                    <a:lnTo>
                      <a:pt x="472" y="66"/>
                    </a:lnTo>
                    <a:lnTo>
                      <a:pt x="473" y="60"/>
                    </a:lnTo>
                    <a:lnTo>
                      <a:pt x="491" y="57"/>
                    </a:lnTo>
                    <a:lnTo>
                      <a:pt x="494" y="44"/>
                    </a:lnTo>
                    <a:lnTo>
                      <a:pt x="496" y="37"/>
                    </a:lnTo>
                    <a:lnTo>
                      <a:pt x="487" y="28"/>
                    </a:lnTo>
                    <a:lnTo>
                      <a:pt x="488" y="26"/>
                    </a:lnTo>
                    <a:lnTo>
                      <a:pt x="487" y="21"/>
                    </a:lnTo>
                    <a:lnTo>
                      <a:pt x="492" y="11"/>
                    </a:lnTo>
                    <a:lnTo>
                      <a:pt x="491" y="4"/>
                    </a:lnTo>
                    <a:lnTo>
                      <a:pt x="492" y="0"/>
                    </a:lnTo>
                    <a:lnTo>
                      <a:pt x="235" y="0"/>
                    </a:lnTo>
                    <a:lnTo>
                      <a:pt x="235" y="4"/>
                    </a:lnTo>
                    <a:lnTo>
                      <a:pt x="230" y="2"/>
                    </a:lnTo>
                    <a:lnTo>
                      <a:pt x="228" y="11"/>
                    </a:lnTo>
                    <a:lnTo>
                      <a:pt x="222" y="5"/>
                    </a:lnTo>
                    <a:lnTo>
                      <a:pt x="219" y="0"/>
                    </a:lnTo>
                    <a:lnTo>
                      <a:pt x="67" y="0"/>
                    </a:lnTo>
                    <a:lnTo>
                      <a:pt x="67" y="0"/>
                    </a:lnTo>
                    <a:lnTo>
                      <a:pt x="66" y="0"/>
                    </a:lnTo>
                    <a:lnTo>
                      <a:pt x="35" y="0"/>
                    </a:lnTo>
                    <a:lnTo>
                      <a:pt x="31" y="6"/>
                    </a:lnTo>
                    <a:lnTo>
                      <a:pt x="32" y="1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</p:grpSp>
        <p:sp>
          <p:nvSpPr>
            <p:cNvPr id="60" name="Freeform 229"/>
            <p:cNvSpPr>
              <a:spLocks noChangeAspect="1"/>
            </p:cNvSpPr>
            <p:nvPr/>
          </p:nvSpPr>
          <p:spPr bwMode="gray">
            <a:xfrm>
              <a:off x="5129196" y="2823286"/>
              <a:ext cx="6361" cy="698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22"/>
                </a:cxn>
                <a:cxn ang="0">
                  <a:pos x="2" y="0"/>
                </a:cxn>
                <a:cxn ang="0">
                  <a:pos x="0" y="10"/>
                </a:cxn>
                <a:cxn ang="0">
                  <a:pos x="0" y="13"/>
                </a:cxn>
                <a:cxn ang="0">
                  <a:pos x="1" y="15"/>
                </a:cxn>
                <a:cxn ang="0">
                  <a:pos x="13" y="13"/>
                </a:cxn>
                <a:cxn ang="0">
                  <a:pos x="19" y="10"/>
                </a:cxn>
                <a:cxn ang="0">
                  <a:pos x="19" y="6"/>
                </a:cxn>
                <a:cxn ang="0">
                  <a:pos x="8" y="0"/>
                </a:cxn>
                <a:cxn ang="0">
                  <a:pos x="3" y="0"/>
                </a:cxn>
              </a:cxnLst>
              <a:rect l="0" t="0" r="r" b="b"/>
              <a:pathLst>
                <a:path w="19" h="22">
                  <a:moveTo>
                    <a:pt x="3" y="0"/>
                  </a:moveTo>
                  <a:lnTo>
                    <a:pt x="3" y="22"/>
                  </a:lnTo>
                  <a:lnTo>
                    <a:pt x="2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1" y="15"/>
                  </a:lnTo>
                  <a:lnTo>
                    <a:pt x="13" y="13"/>
                  </a:lnTo>
                  <a:lnTo>
                    <a:pt x="19" y="10"/>
                  </a:lnTo>
                  <a:lnTo>
                    <a:pt x="19" y="6"/>
                  </a:lnTo>
                  <a:lnTo>
                    <a:pt x="8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61" name="Freeform 230"/>
            <p:cNvSpPr>
              <a:spLocks noChangeAspect="1"/>
            </p:cNvSpPr>
            <p:nvPr/>
          </p:nvSpPr>
          <p:spPr bwMode="gray">
            <a:xfrm>
              <a:off x="5467895" y="2189440"/>
              <a:ext cx="46115" cy="48892"/>
            </a:xfrm>
            <a:custGeom>
              <a:avLst/>
              <a:gdLst/>
              <a:ahLst/>
              <a:cxnLst>
                <a:cxn ang="0">
                  <a:pos x="82" y="27"/>
                </a:cxn>
                <a:cxn ang="0">
                  <a:pos x="96" y="46"/>
                </a:cxn>
                <a:cxn ang="0">
                  <a:pos x="118" y="55"/>
                </a:cxn>
                <a:cxn ang="0">
                  <a:pos x="128" y="70"/>
                </a:cxn>
                <a:cxn ang="0">
                  <a:pos x="137" y="68"/>
                </a:cxn>
                <a:cxn ang="0">
                  <a:pos x="141" y="90"/>
                </a:cxn>
                <a:cxn ang="0">
                  <a:pos x="130" y="87"/>
                </a:cxn>
                <a:cxn ang="0">
                  <a:pos x="123" y="82"/>
                </a:cxn>
                <a:cxn ang="0">
                  <a:pos x="107" y="81"/>
                </a:cxn>
                <a:cxn ang="0">
                  <a:pos x="97" y="92"/>
                </a:cxn>
                <a:cxn ang="0">
                  <a:pos x="110" y="101"/>
                </a:cxn>
                <a:cxn ang="0">
                  <a:pos x="118" y="112"/>
                </a:cxn>
                <a:cxn ang="0">
                  <a:pos x="129" y="113"/>
                </a:cxn>
                <a:cxn ang="0">
                  <a:pos x="128" y="138"/>
                </a:cxn>
                <a:cxn ang="0">
                  <a:pos x="121" y="140"/>
                </a:cxn>
                <a:cxn ang="0">
                  <a:pos x="110" y="133"/>
                </a:cxn>
                <a:cxn ang="0">
                  <a:pos x="110" y="122"/>
                </a:cxn>
                <a:cxn ang="0">
                  <a:pos x="97" y="128"/>
                </a:cxn>
                <a:cxn ang="0">
                  <a:pos x="75" y="98"/>
                </a:cxn>
                <a:cxn ang="0">
                  <a:pos x="31" y="76"/>
                </a:cxn>
                <a:cxn ang="0">
                  <a:pos x="24" y="62"/>
                </a:cxn>
                <a:cxn ang="0">
                  <a:pos x="10" y="50"/>
                </a:cxn>
                <a:cxn ang="0">
                  <a:pos x="8" y="39"/>
                </a:cxn>
                <a:cxn ang="0">
                  <a:pos x="4" y="33"/>
                </a:cxn>
                <a:cxn ang="0">
                  <a:pos x="4" y="26"/>
                </a:cxn>
                <a:cxn ang="0">
                  <a:pos x="1" y="11"/>
                </a:cxn>
                <a:cxn ang="0">
                  <a:pos x="0" y="7"/>
                </a:cxn>
                <a:cxn ang="0">
                  <a:pos x="15" y="0"/>
                </a:cxn>
                <a:cxn ang="0">
                  <a:pos x="49" y="9"/>
                </a:cxn>
                <a:cxn ang="0">
                  <a:pos x="58" y="5"/>
                </a:cxn>
                <a:cxn ang="0">
                  <a:pos x="75" y="15"/>
                </a:cxn>
                <a:cxn ang="0">
                  <a:pos x="82" y="27"/>
                </a:cxn>
              </a:cxnLst>
              <a:rect l="0" t="0" r="r" b="b"/>
              <a:pathLst>
                <a:path w="141" h="140">
                  <a:moveTo>
                    <a:pt x="82" y="27"/>
                  </a:moveTo>
                  <a:lnTo>
                    <a:pt x="96" y="46"/>
                  </a:lnTo>
                  <a:lnTo>
                    <a:pt x="118" y="55"/>
                  </a:lnTo>
                  <a:lnTo>
                    <a:pt x="128" y="70"/>
                  </a:lnTo>
                  <a:lnTo>
                    <a:pt x="137" y="68"/>
                  </a:lnTo>
                  <a:lnTo>
                    <a:pt x="141" y="90"/>
                  </a:lnTo>
                  <a:lnTo>
                    <a:pt x="130" y="87"/>
                  </a:lnTo>
                  <a:lnTo>
                    <a:pt x="123" y="82"/>
                  </a:lnTo>
                  <a:lnTo>
                    <a:pt x="107" y="81"/>
                  </a:lnTo>
                  <a:lnTo>
                    <a:pt x="97" y="92"/>
                  </a:lnTo>
                  <a:lnTo>
                    <a:pt x="110" y="101"/>
                  </a:lnTo>
                  <a:lnTo>
                    <a:pt x="118" y="112"/>
                  </a:lnTo>
                  <a:lnTo>
                    <a:pt x="129" y="113"/>
                  </a:lnTo>
                  <a:lnTo>
                    <a:pt x="128" y="138"/>
                  </a:lnTo>
                  <a:lnTo>
                    <a:pt x="121" y="140"/>
                  </a:lnTo>
                  <a:lnTo>
                    <a:pt x="110" y="133"/>
                  </a:lnTo>
                  <a:lnTo>
                    <a:pt x="110" y="122"/>
                  </a:lnTo>
                  <a:lnTo>
                    <a:pt x="97" y="128"/>
                  </a:lnTo>
                  <a:lnTo>
                    <a:pt x="75" y="98"/>
                  </a:lnTo>
                  <a:lnTo>
                    <a:pt x="31" y="76"/>
                  </a:lnTo>
                  <a:lnTo>
                    <a:pt x="24" y="62"/>
                  </a:lnTo>
                  <a:lnTo>
                    <a:pt x="10" y="50"/>
                  </a:lnTo>
                  <a:lnTo>
                    <a:pt x="8" y="39"/>
                  </a:lnTo>
                  <a:lnTo>
                    <a:pt x="4" y="33"/>
                  </a:lnTo>
                  <a:lnTo>
                    <a:pt x="4" y="26"/>
                  </a:lnTo>
                  <a:lnTo>
                    <a:pt x="1" y="11"/>
                  </a:lnTo>
                  <a:lnTo>
                    <a:pt x="0" y="7"/>
                  </a:lnTo>
                  <a:lnTo>
                    <a:pt x="15" y="0"/>
                  </a:lnTo>
                  <a:lnTo>
                    <a:pt x="49" y="9"/>
                  </a:lnTo>
                  <a:lnTo>
                    <a:pt x="58" y="5"/>
                  </a:lnTo>
                  <a:lnTo>
                    <a:pt x="75" y="15"/>
                  </a:lnTo>
                  <a:lnTo>
                    <a:pt x="82" y="2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62" name="Freeform 231"/>
            <p:cNvSpPr>
              <a:spLocks noChangeAspect="1"/>
            </p:cNvSpPr>
            <p:nvPr/>
          </p:nvSpPr>
          <p:spPr bwMode="gray">
            <a:xfrm>
              <a:off x="5407470" y="2302938"/>
              <a:ext cx="46115" cy="34923"/>
            </a:xfrm>
            <a:custGeom>
              <a:avLst/>
              <a:gdLst/>
              <a:ahLst/>
              <a:cxnLst>
                <a:cxn ang="0">
                  <a:pos x="144" y="31"/>
                </a:cxn>
                <a:cxn ang="0">
                  <a:pos x="144" y="51"/>
                </a:cxn>
                <a:cxn ang="0">
                  <a:pos x="146" y="69"/>
                </a:cxn>
                <a:cxn ang="0">
                  <a:pos x="134" y="78"/>
                </a:cxn>
                <a:cxn ang="0">
                  <a:pos x="123" y="79"/>
                </a:cxn>
                <a:cxn ang="0">
                  <a:pos x="116" y="76"/>
                </a:cxn>
                <a:cxn ang="0">
                  <a:pos x="112" y="86"/>
                </a:cxn>
                <a:cxn ang="0">
                  <a:pos x="94" y="80"/>
                </a:cxn>
                <a:cxn ang="0">
                  <a:pos x="76" y="87"/>
                </a:cxn>
                <a:cxn ang="0">
                  <a:pos x="32" y="98"/>
                </a:cxn>
                <a:cxn ang="0">
                  <a:pos x="10" y="102"/>
                </a:cxn>
                <a:cxn ang="0">
                  <a:pos x="0" y="100"/>
                </a:cxn>
                <a:cxn ang="0">
                  <a:pos x="1" y="82"/>
                </a:cxn>
                <a:cxn ang="0">
                  <a:pos x="4" y="70"/>
                </a:cxn>
                <a:cxn ang="0">
                  <a:pos x="25" y="58"/>
                </a:cxn>
                <a:cxn ang="0">
                  <a:pos x="46" y="39"/>
                </a:cxn>
                <a:cxn ang="0">
                  <a:pos x="51" y="33"/>
                </a:cxn>
                <a:cxn ang="0">
                  <a:pos x="91" y="22"/>
                </a:cxn>
                <a:cxn ang="0">
                  <a:pos x="105" y="9"/>
                </a:cxn>
                <a:cxn ang="0">
                  <a:pos x="118" y="0"/>
                </a:cxn>
                <a:cxn ang="0">
                  <a:pos x="123" y="8"/>
                </a:cxn>
                <a:cxn ang="0">
                  <a:pos x="140" y="22"/>
                </a:cxn>
                <a:cxn ang="0">
                  <a:pos x="144" y="31"/>
                </a:cxn>
              </a:cxnLst>
              <a:rect l="0" t="0" r="r" b="b"/>
              <a:pathLst>
                <a:path w="146" h="102">
                  <a:moveTo>
                    <a:pt x="144" y="31"/>
                  </a:moveTo>
                  <a:lnTo>
                    <a:pt x="144" y="51"/>
                  </a:lnTo>
                  <a:lnTo>
                    <a:pt x="146" y="69"/>
                  </a:lnTo>
                  <a:lnTo>
                    <a:pt x="134" y="78"/>
                  </a:lnTo>
                  <a:lnTo>
                    <a:pt x="123" y="79"/>
                  </a:lnTo>
                  <a:lnTo>
                    <a:pt x="116" y="76"/>
                  </a:lnTo>
                  <a:lnTo>
                    <a:pt x="112" y="86"/>
                  </a:lnTo>
                  <a:lnTo>
                    <a:pt x="94" y="80"/>
                  </a:lnTo>
                  <a:lnTo>
                    <a:pt x="76" y="87"/>
                  </a:lnTo>
                  <a:lnTo>
                    <a:pt x="32" y="98"/>
                  </a:lnTo>
                  <a:lnTo>
                    <a:pt x="10" y="102"/>
                  </a:lnTo>
                  <a:lnTo>
                    <a:pt x="0" y="100"/>
                  </a:lnTo>
                  <a:lnTo>
                    <a:pt x="1" y="82"/>
                  </a:lnTo>
                  <a:lnTo>
                    <a:pt x="4" y="70"/>
                  </a:lnTo>
                  <a:lnTo>
                    <a:pt x="25" y="58"/>
                  </a:lnTo>
                  <a:lnTo>
                    <a:pt x="46" y="39"/>
                  </a:lnTo>
                  <a:lnTo>
                    <a:pt x="51" y="33"/>
                  </a:lnTo>
                  <a:lnTo>
                    <a:pt x="91" y="22"/>
                  </a:lnTo>
                  <a:lnTo>
                    <a:pt x="105" y="9"/>
                  </a:lnTo>
                  <a:lnTo>
                    <a:pt x="118" y="0"/>
                  </a:lnTo>
                  <a:lnTo>
                    <a:pt x="123" y="8"/>
                  </a:lnTo>
                  <a:lnTo>
                    <a:pt x="140" y="22"/>
                  </a:lnTo>
                  <a:lnTo>
                    <a:pt x="144" y="3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63" name="Freeform 232"/>
            <p:cNvSpPr>
              <a:spLocks noChangeAspect="1"/>
            </p:cNvSpPr>
            <p:nvPr/>
          </p:nvSpPr>
          <p:spPr bwMode="gray">
            <a:xfrm>
              <a:off x="5130786" y="2818048"/>
              <a:ext cx="14312" cy="5239"/>
            </a:xfrm>
            <a:custGeom>
              <a:avLst/>
              <a:gdLst/>
              <a:ahLst/>
              <a:cxnLst>
                <a:cxn ang="0">
                  <a:pos x="44" y="4"/>
                </a:cxn>
                <a:cxn ang="0">
                  <a:pos x="41" y="6"/>
                </a:cxn>
                <a:cxn ang="0">
                  <a:pos x="14" y="0"/>
                </a:cxn>
                <a:cxn ang="0">
                  <a:pos x="5" y="0"/>
                </a:cxn>
                <a:cxn ang="0">
                  <a:pos x="0" y="3"/>
                </a:cxn>
                <a:cxn ang="0">
                  <a:pos x="1" y="9"/>
                </a:cxn>
                <a:cxn ang="0">
                  <a:pos x="6" y="15"/>
                </a:cxn>
                <a:cxn ang="0">
                  <a:pos x="15" y="15"/>
                </a:cxn>
                <a:cxn ang="0">
                  <a:pos x="25" y="15"/>
                </a:cxn>
                <a:cxn ang="0">
                  <a:pos x="25" y="10"/>
                </a:cxn>
                <a:cxn ang="0">
                  <a:pos x="27" y="6"/>
                </a:cxn>
                <a:cxn ang="0">
                  <a:pos x="41" y="7"/>
                </a:cxn>
                <a:cxn ang="0">
                  <a:pos x="44" y="4"/>
                </a:cxn>
              </a:cxnLst>
              <a:rect l="0" t="0" r="r" b="b"/>
              <a:pathLst>
                <a:path w="44" h="15">
                  <a:moveTo>
                    <a:pt x="44" y="4"/>
                  </a:moveTo>
                  <a:lnTo>
                    <a:pt x="41" y="6"/>
                  </a:lnTo>
                  <a:lnTo>
                    <a:pt x="14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1" y="9"/>
                  </a:lnTo>
                  <a:lnTo>
                    <a:pt x="6" y="15"/>
                  </a:lnTo>
                  <a:lnTo>
                    <a:pt x="15" y="15"/>
                  </a:lnTo>
                  <a:lnTo>
                    <a:pt x="25" y="15"/>
                  </a:lnTo>
                  <a:lnTo>
                    <a:pt x="25" y="10"/>
                  </a:lnTo>
                  <a:lnTo>
                    <a:pt x="27" y="6"/>
                  </a:lnTo>
                  <a:lnTo>
                    <a:pt x="41" y="7"/>
                  </a:lnTo>
                  <a:lnTo>
                    <a:pt x="44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64" name="Freeform 233"/>
            <p:cNvSpPr>
              <a:spLocks noChangeAspect="1"/>
            </p:cNvSpPr>
            <p:nvPr/>
          </p:nvSpPr>
          <p:spPr bwMode="gray">
            <a:xfrm>
              <a:off x="4625121" y="1594008"/>
              <a:ext cx="965216" cy="1225786"/>
            </a:xfrm>
            <a:custGeom>
              <a:avLst/>
              <a:gdLst/>
              <a:ahLst/>
              <a:cxnLst>
                <a:cxn ang="0">
                  <a:pos x="334" y="269"/>
                </a:cxn>
                <a:cxn ang="0">
                  <a:pos x="56" y="423"/>
                </a:cxn>
                <a:cxn ang="0">
                  <a:pos x="87" y="620"/>
                </a:cxn>
                <a:cxn ang="0">
                  <a:pos x="345" y="649"/>
                </a:cxn>
                <a:cxn ang="0">
                  <a:pos x="370" y="802"/>
                </a:cxn>
                <a:cxn ang="0">
                  <a:pos x="203" y="910"/>
                </a:cxn>
                <a:cxn ang="0">
                  <a:pos x="382" y="1005"/>
                </a:cxn>
                <a:cxn ang="0">
                  <a:pos x="663" y="1060"/>
                </a:cxn>
                <a:cxn ang="0">
                  <a:pos x="789" y="1212"/>
                </a:cxn>
                <a:cxn ang="0">
                  <a:pos x="914" y="1457"/>
                </a:cxn>
                <a:cxn ang="0">
                  <a:pos x="957" y="1666"/>
                </a:cxn>
                <a:cxn ang="0">
                  <a:pos x="946" y="1937"/>
                </a:cxn>
                <a:cxn ang="0">
                  <a:pos x="1155" y="1924"/>
                </a:cxn>
                <a:cxn ang="0">
                  <a:pos x="1212" y="2100"/>
                </a:cxn>
                <a:cxn ang="0">
                  <a:pos x="1198" y="2196"/>
                </a:cxn>
                <a:cxn ang="0">
                  <a:pos x="1193" y="2371"/>
                </a:cxn>
                <a:cxn ang="0">
                  <a:pos x="1189" y="2458"/>
                </a:cxn>
                <a:cxn ang="0">
                  <a:pos x="1066" y="2539"/>
                </a:cxn>
                <a:cxn ang="0">
                  <a:pos x="1064" y="2750"/>
                </a:cxn>
                <a:cxn ang="0">
                  <a:pos x="1125" y="2895"/>
                </a:cxn>
                <a:cxn ang="0">
                  <a:pos x="1211" y="2960"/>
                </a:cxn>
                <a:cxn ang="0">
                  <a:pos x="1195" y="3116"/>
                </a:cxn>
                <a:cxn ang="0">
                  <a:pos x="1279" y="3272"/>
                </a:cxn>
                <a:cxn ang="0">
                  <a:pos x="1338" y="3337"/>
                </a:cxn>
                <a:cxn ang="0">
                  <a:pos x="1363" y="3416"/>
                </a:cxn>
                <a:cxn ang="0">
                  <a:pos x="1470" y="3433"/>
                </a:cxn>
                <a:cxn ang="0">
                  <a:pos x="1537" y="3452"/>
                </a:cxn>
                <a:cxn ang="0">
                  <a:pos x="1629" y="3467"/>
                </a:cxn>
                <a:cxn ang="0">
                  <a:pos x="1687" y="3305"/>
                </a:cxn>
                <a:cxn ang="0">
                  <a:pos x="1689" y="3152"/>
                </a:cxn>
                <a:cxn ang="0">
                  <a:pos x="1764" y="3101"/>
                </a:cxn>
                <a:cxn ang="0">
                  <a:pos x="1753" y="2943"/>
                </a:cxn>
                <a:cxn ang="0">
                  <a:pos x="1812" y="2852"/>
                </a:cxn>
                <a:cxn ang="0">
                  <a:pos x="1901" y="2792"/>
                </a:cxn>
                <a:cxn ang="0">
                  <a:pos x="1930" y="2799"/>
                </a:cxn>
                <a:cxn ang="0">
                  <a:pos x="2028" y="2774"/>
                </a:cxn>
                <a:cxn ang="0">
                  <a:pos x="2118" y="2690"/>
                </a:cxn>
                <a:cxn ang="0">
                  <a:pos x="2174" y="2551"/>
                </a:cxn>
                <a:cxn ang="0">
                  <a:pos x="2221" y="2438"/>
                </a:cxn>
                <a:cxn ang="0">
                  <a:pos x="2324" y="2497"/>
                </a:cxn>
                <a:cxn ang="0">
                  <a:pos x="2398" y="2454"/>
                </a:cxn>
                <a:cxn ang="0">
                  <a:pos x="2533" y="2404"/>
                </a:cxn>
                <a:cxn ang="0">
                  <a:pos x="2608" y="2324"/>
                </a:cxn>
                <a:cxn ang="0">
                  <a:pos x="2693" y="2260"/>
                </a:cxn>
                <a:cxn ang="0">
                  <a:pos x="2744" y="2191"/>
                </a:cxn>
                <a:cxn ang="0">
                  <a:pos x="2518" y="2132"/>
                </a:cxn>
                <a:cxn ang="0">
                  <a:pos x="2535" y="1960"/>
                </a:cxn>
                <a:cxn ang="0">
                  <a:pos x="2675" y="2082"/>
                </a:cxn>
                <a:cxn ang="0">
                  <a:pos x="2798" y="2021"/>
                </a:cxn>
                <a:cxn ang="0">
                  <a:pos x="2734" y="1919"/>
                </a:cxn>
                <a:cxn ang="0">
                  <a:pos x="2637" y="1764"/>
                </a:cxn>
                <a:cxn ang="0">
                  <a:pos x="2526" y="1666"/>
                </a:cxn>
                <a:cxn ang="0">
                  <a:pos x="2780" y="1635"/>
                </a:cxn>
                <a:cxn ang="0">
                  <a:pos x="2761" y="1433"/>
                </a:cxn>
                <a:cxn ang="0">
                  <a:pos x="2855" y="1350"/>
                </a:cxn>
                <a:cxn ang="0">
                  <a:pos x="2914" y="1260"/>
                </a:cxn>
                <a:cxn ang="0">
                  <a:pos x="2866" y="1034"/>
                </a:cxn>
                <a:cxn ang="0">
                  <a:pos x="2763" y="931"/>
                </a:cxn>
                <a:cxn ang="0">
                  <a:pos x="3000" y="845"/>
                </a:cxn>
                <a:cxn ang="0">
                  <a:pos x="2868" y="650"/>
                </a:cxn>
                <a:cxn ang="0">
                  <a:pos x="2831" y="472"/>
                </a:cxn>
                <a:cxn ang="0">
                  <a:pos x="2931" y="232"/>
                </a:cxn>
                <a:cxn ang="0">
                  <a:pos x="3035" y="0"/>
                </a:cxn>
              </a:cxnLst>
              <a:rect l="0" t="0" r="r" b="b"/>
              <a:pathLst>
                <a:path w="3035" h="3509">
                  <a:moveTo>
                    <a:pt x="430" y="18"/>
                  </a:moveTo>
                  <a:lnTo>
                    <a:pt x="443" y="28"/>
                  </a:lnTo>
                  <a:lnTo>
                    <a:pt x="454" y="26"/>
                  </a:lnTo>
                  <a:lnTo>
                    <a:pt x="467" y="50"/>
                  </a:lnTo>
                  <a:lnTo>
                    <a:pt x="458" y="63"/>
                  </a:lnTo>
                  <a:lnTo>
                    <a:pt x="442" y="66"/>
                  </a:lnTo>
                  <a:lnTo>
                    <a:pt x="427" y="63"/>
                  </a:lnTo>
                  <a:lnTo>
                    <a:pt x="420" y="93"/>
                  </a:lnTo>
                  <a:lnTo>
                    <a:pt x="430" y="101"/>
                  </a:lnTo>
                  <a:lnTo>
                    <a:pt x="438" y="117"/>
                  </a:lnTo>
                  <a:lnTo>
                    <a:pt x="442" y="131"/>
                  </a:lnTo>
                  <a:lnTo>
                    <a:pt x="442" y="147"/>
                  </a:lnTo>
                  <a:lnTo>
                    <a:pt x="443" y="157"/>
                  </a:lnTo>
                  <a:lnTo>
                    <a:pt x="424" y="183"/>
                  </a:lnTo>
                  <a:lnTo>
                    <a:pt x="416" y="204"/>
                  </a:lnTo>
                  <a:lnTo>
                    <a:pt x="406" y="212"/>
                  </a:lnTo>
                  <a:lnTo>
                    <a:pt x="382" y="255"/>
                  </a:lnTo>
                  <a:lnTo>
                    <a:pt x="377" y="276"/>
                  </a:lnTo>
                  <a:lnTo>
                    <a:pt x="368" y="283"/>
                  </a:lnTo>
                  <a:lnTo>
                    <a:pt x="363" y="278"/>
                  </a:lnTo>
                  <a:lnTo>
                    <a:pt x="351" y="278"/>
                  </a:lnTo>
                  <a:lnTo>
                    <a:pt x="334" y="269"/>
                  </a:lnTo>
                  <a:lnTo>
                    <a:pt x="322" y="278"/>
                  </a:lnTo>
                  <a:lnTo>
                    <a:pt x="311" y="258"/>
                  </a:lnTo>
                  <a:lnTo>
                    <a:pt x="275" y="274"/>
                  </a:lnTo>
                  <a:lnTo>
                    <a:pt x="274" y="284"/>
                  </a:lnTo>
                  <a:lnTo>
                    <a:pt x="263" y="278"/>
                  </a:lnTo>
                  <a:lnTo>
                    <a:pt x="231" y="285"/>
                  </a:lnTo>
                  <a:lnTo>
                    <a:pt x="204" y="305"/>
                  </a:lnTo>
                  <a:lnTo>
                    <a:pt x="195" y="314"/>
                  </a:lnTo>
                  <a:lnTo>
                    <a:pt x="201" y="325"/>
                  </a:lnTo>
                  <a:lnTo>
                    <a:pt x="217" y="330"/>
                  </a:lnTo>
                  <a:lnTo>
                    <a:pt x="216" y="343"/>
                  </a:lnTo>
                  <a:lnTo>
                    <a:pt x="199" y="337"/>
                  </a:lnTo>
                  <a:lnTo>
                    <a:pt x="191" y="341"/>
                  </a:lnTo>
                  <a:lnTo>
                    <a:pt x="189" y="350"/>
                  </a:lnTo>
                  <a:lnTo>
                    <a:pt x="183" y="355"/>
                  </a:lnTo>
                  <a:lnTo>
                    <a:pt x="153" y="357"/>
                  </a:lnTo>
                  <a:lnTo>
                    <a:pt x="140" y="370"/>
                  </a:lnTo>
                  <a:lnTo>
                    <a:pt x="114" y="378"/>
                  </a:lnTo>
                  <a:lnTo>
                    <a:pt x="106" y="411"/>
                  </a:lnTo>
                  <a:lnTo>
                    <a:pt x="87" y="402"/>
                  </a:lnTo>
                  <a:lnTo>
                    <a:pt x="65" y="409"/>
                  </a:lnTo>
                  <a:lnTo>
                    <a:pt x="56" y="423"/>
                  </a:lnTo>
                  <a:lnTo>
                    <a:pt x="32" y="432"/>
                  </a:lnTo>
                  <a:lnTo>
                    <a:pt x="18" y="443"/>
                  </a:lnTo>
                  <a:lnTo>
                    <a:pt x="15" y="458"/>
                  </a:lnTo>
                  <a:lnTo>
                    <a:pt x="16" y="464"/>
                  </a:lnTo>
                  <a:lnTo>
                    <a:pt x="5" y="485"/>
                  </a:lnTo>
                  <a:lnTo>
                    <a:pt x="6" y="494"/>
                  </a:lnTo>
                  <a:lnTo>
                    <a:pt x="26" y="499"/>
                  </a:lnTo>
                  <a:lnTo>
                    <a:pt x="13" y="504"/>
                  </a:lnTo>
                  <a:lnTo>
                    <a:pt x="13" y="510"/>
                  </a:lnTo>
                  <a:lnTo>
                    <a:pt x="10" y="526"/>
                  </a:lnTo>
                  <a:lnTo>
                    <a:pt x="0" y="529"/>
                  </a:lnTo>
                  <a:lnTo>
                    <a:pt x="4" y="540"/>
                  </a:lnTo>
                  <a:lnTo>
                    <a:pt x="18" y="555"/>
                  </a:lnTo>
                  <a:lnTo>
                    <a:pt x="33" y="563"/>
                  </a:lnTo>
                  <a:lnTo>
                    <a:pt x="37" y="572"/>
                  </a:lnTo>
                  <a:lnTo>
                    <a:pt x="37" y="586"/>
                  </a:lnTo>
                  <a:lnTo>
                    <a:pt x="39" y="591"/>
                  </a:lnTo>
                  <a:lnTo>
                    <a:pt x="58" y="601"/>
                  </a:lnTo>
                  <a:lnTo>
                    <a:pt x="65" y="598"/>
                  </a:lnTo>
                  <a:lnTo>
                    <a:pt x="76" y="607"/>
                  </a:lnTo>
                  <a:lnTo>
                    <a:pt x="91" y="608"/>
                  </a:lnTo>
                  <a:lnTo>
                    <a:pt x="87" y="620"/>
                  </a:lnTo>
                  <a:lnTo>
                    <a:pt x="92" y="634"/>
                  </a:lnTo>
                  <a:lnTo>
                    <a:pt x="114" y="630"/>
                  </a:lnTo>
                  <a:lnTo>
                    <a:pt x="155" y="614"/>
                  </a:lnTo>
                  <a:lnTo>
                    <a:pt x="134" y="641"/>
                  </a:lnTo>
                  <a:lnTo>
                    <a:pt x="128" y="660"/>
                  </a:lnTo>
                  <a:lnTo>
                    <a:pt x="160" y="660"/>
                  </a:lnTo>
                  <a:lnTo>
                    <a:pt x="180" y="649"/>
                  </a:lnTo>
                  <a:lnTo>
                    <a:pt x="180" y="657"/>
                  </a:lnTo>
                  <a:lnTo>
                    <a:pt x="153" y="678"/>
                  </a:lnTo>
                  <a:lnTo>
                    <a:pt x="158" y="693"/>
                  </a:lnTo>
                  <a:lnTo>
                    <a:pt x="196" y="709"/>
                  </a:lnTo>
                  <a:lnTo>
                    <a:pt x="214" y="711"/>
                  </a:lnTo>
                  <a:lnTo>
                    <a:pt x="236" y="700"/>
                  </a:lnTo>
                  <a:lnTo>
                    <a:pt x="237" y="685"/>
                  </a:lnTo>
                  <a:lnTo>
                    <a:pt x="230" y="663"/>
                  </a:lnTo>
                  <a:lnTo>
                    <a:pt x="239" y="660"/>
                  </a:lnTo>
                  <a:lnTo>
                    <a:pt x="253" y="678"/>
                  </a:lnTo>
                  <a:lnTo>
                    <a:pt x="258" y="694"/>
                  </a:lnTo>
                  <a:lnTo>
                    <a:pt x="289" y="694"/>
                  </a:lnTo>
                  <a:lnTo>
                    <a:pt x="314" y="688"/>
                  </a:lnTo>
                  <a:lnTo>
                    <a:pt x="329" y="663"/>
                  </a:lnTo>
                  <a:lnTo>
                    <a:pt x="345" y="649"/>
                  </a:lnTo>
                  <a:lnTo>
                    <a:pt x="356" y="646"/>
                  </a:lnTo>
                  <a:lnTo>
                    <a:pt x="354" y="658"/>
                  </a:lnTo>
                  <a:lnTo>
                    <a:pt x="340" y="666"/>
                  </a:lnTo>
                  <a:lnTo>
                    <a:pt x="345" y="673"/>
                  </a:lnTo>
                  <a:lnTo>
                    <a:pt x="352" y="671"/>
                  </a:lnTo>
                  <a:lnTo>
                    <a:pt x="360" y="658"/>
                  </a:lnTo>
                  <a:lnTo>
                    <a:pt x="375" y="655"/>
                  </a:lnTo>
                  <a:lnTo>
                    <a:pt x="379" y="665"/>
                  </a:lnTo>
                  <a:lnTo>
                    <a:pt x="381" y="678"/>
                  </a:lnTo>
                  <a:lnTo>
                    <a:pt x="393" y="688"/>
                  </a:lnTo>
                  <a:lnTo>
                    <a:pt x="389" y="706"/>
                  </a:lnTo>
                  <a:lnTo>
                    <a:pt x="381" y="716"/>
                  </a:lnTo>
                  <a:lnTo>
                    <a:pt x="365" y="714"/>
                  </a:lnTo>
                  <a:lnTo>
                    <a:pt x="356" y="725"/>
                  </a:lnTo>
                  <a:lnTo>
                    <a:pt x="359" y="736"/>
                  </a:lnTo>
                  <a:lnTo>
                    <a:pt x="365" y="747"/>
                  </a:lnTo>
                  <a:lnTo>
                    <a:pt x="395" y="763"/>
                  </a:lnTo>
                  <a:lnTo>
                    <a:pt x="398" y="769"/>
                  </a:lnTo>
                  <a:lnTo>
                    <a:pt x="397" y="776"/>
                  </a:lnTo>
                  <a:lnTo>
                    <a:pt x="391" y="785"/>
                  </a:lnTo>
                  <a:lnTo>
                    <a:pt x="373" y="791"/>
                  </a:lnTo>
                  <a:lnTo>
                    <a:pt x="370" y="802"/>
                  </a:lnTo>
                  <a:lnTo>
                    <a:pt x="360" y="803"/>
                  </a:lnTo>
                  <a:lnTo>
                    <a:pt x="346" y="796"/>
                  </a:lnTo>
                  <a:lnTo>
                    <a:pt x="289" y="781"/>
                  </a:lnTo>
                  <a:lnTo>
                    <a:pt x="258" y="789"/>
                  </a:lnTo>
                  <a:lnTo>
                    <a:pt x="203" y="776"/>
                  </a:lnTo>
                  <a:lnTo>
                    <a:pt x="146" y="774"/>
                  </a:lnTo>
                  <a:lnTo>
                    <a:pt x="117" y="787"/>
                  </a:lnTo>
                  <a:lnTo>
                    <a:pt x="119" y="797"/>
                  </a:lnTo>
                  <a:lnTo>
                    <a:pt x="106" y="800"/>
                  </a:lnTo>
                  <a:lnTo>
                    <a:pt x="88" y="829"/>
                  </a:lnTo>
                  <a:lnTo>
                    <a:pt x="81" y="840"/>
                  </a:lnTo>
                  <a:lnTo>
                    <a:pt x="87" y="838"/>
                  </a:lnTo>
                  <a:lnTo>
                    <a:pt x="110" y="851"/>
                  </a:lnTo>
                  <a:lnTo>
                    <a:pt x="114" y="860"/>
                  </a:lnTo>
                  <a:lnTo>
                    <a:pt x="113" y="872"/>
                  </a:lnTo>
                  <a:lnTo>
                    <a:pt x="129" y="884"/>
                  </a:lnTo>
                  <a:lnTo>
                    <a:pt x="149" y="881"/>
                  </a:lnTo>
                  <a:lnTo>
                    <a:pt x="173" y="828"/>
                  </a:lnTo>
                  <a:lnTo>
                    <a:pt x="179" y="833"/>
                  </a:lnTo>
                  <a:lnTo>
                    <a:pt x="160" y="870"/>
                  </a:lnTo>
                  <a:lnTo>
                    <a:pt x="166" y="894"/>
                  </a:lnTo>
                  <a:lnTo>
                    <a:pt x="203" y="910"/>
                  </a:lnTo>
                  <a:lnTo>
                    <a:pt x="233" y="915"/>
                  </a:lnTo>
                  <a:lnTo>
                    <a:pt x="262" y="909"/>
                  </a:lnTo>
                  <a:lnTo>
                    <a:pt x="260" y="924"/>
                  </a:lnTo>
                  <a:lnTo>
                    <a:pt x="243" y="937"/>
                  </a:lnTo>
                  <a:lnTo>
                    <a:pt x="222" y="937"/>
                  </a:lnTo>
                  <a:lnTo>
                    <a:pt x="185" y="976"/>
                  </a:lnTo>
                  <a:lnTo>
                    <a:pt x="198" y="996"/>
                  </a:lnTo>
                  <a:lnTo>
                    <a:pt x="214" y="1012"/>
                  </a:lnTo>
                  <a:lnTo>
                    <a:pt x="225" y="1031"/>
                  </a:lnTo>
                  <a:lnTo>
                    <a:pt x="262" y="1061"/>
                  </a:lnTo>
                  <a:lnTo>
                    <a:pt x="292" y="1070"/>
                  </a:lnTo>
                  <a:lnTo>
                    <a:pt x="309" y="1081"/>
                  </a:lnTo>
                  <a:lnTo>
                    <a:pt x="336" y="1087"/>
                  </a:lnTo>
                  <a:lnTo>
                    <a:pt x="362" y="1099"/>
                  </a:lnTo>
                  <a:lnTo>
                    <a:pt x="329" y="1048"/>
                  </a:lnTo>
                  <a:lnTo>
                    <a:pt x="313" y="1037"/>
                  </a:lnTo>
                  <a:lnTo>
                    <a:pt x="328" y="1016"/>
                  </a:lnTo>
                  <a:lnTo>
                    <a:pt x="340" y="1016"/>
                  </a:lnTo>
                  <a:lnTo>
                    <a:pt x="357" y="1043"/>
                  </a:lnTo>
                  <a:lnTo>
                    <a:pt x="368" y="1044"/>
                  </a:lnTo>
                  <a:lnTo>
                    <a:pt x="372" y="1024"/>
                  </a:lnTo>
                  <a:lnTo>
                    <a:pt x="382" y="1005"/>
                  </a:lnTo>
                  <a:lnTo>
                    <a:pt x="410" y="1015"/>
                  </a:lnTo>
                  <a:lnTo>
                    <a:pt x="404" y="1028"/>
                  </a:lnTo>
                  <a:lnTo>
                    <a:pt x="402" y="1054"/>
                  </a:lnTo>
                  <a:lnTo>
                    <a:pt x="419" y="1071"/>
                  </a:lnTo>
                  <a:lnTo>
                    <a:pt x="430" y="1062"/>
                  </a:lnTo>
                  <a:lnTo>
                    <a:pt x="440" y="1042"/>
                  </a:lnTo>
                  <a:lnTo>
                    <a:pt x="453" y="1034"/>
                  </a:lnTo>
                  <a:lnTo>
                    <a:pt x="462" y="1038"/>
                  </a:lnTo>
                  <a:lnTo>
                    <a:pt x="465" y="1023"/>
                  </a:lnTo>
                  <a:lnTo>
                    <a:pt x="476" y="1010"/>
                  </a:lnTo>
                  <a:lnTo>
                    <a:pt x="491" y="1001"/>
                  </a:lnTo>
                  <a:lnTo>
                    <a:pt x="491" y="1021"/>
                  </a:lnTo>
                  <a:lnTo>
                    <a:pt x="502" y="1039"/>
                  </a:lnTo>
                  <a:lnTo>
                    <a:pt x="521" y="1022"/>
                  </a:lnTo>
                  <a:lnTo>
                    <a:pt x="534" y="992"/>
                  </a:lnTo>
                  <a:lnTo>
                    <a:pt x="554" y="997"/>
                  </a:lnTo>
                  <a:lnTo>
                    <a:pt x="562" y="1018"/>
                  </a:lnTo>
                  <a:lnTo>
                    <a:pt x="575" y="1024"/>
                  </a:lnTo>
                  <a:lnTo>
                    <a:pt x="581" y="1019"/>
                  </a:lnTo>
                  <a:lnTo>
                    <a:pt x="593" y="1021"/>
                  </a:lnTo>
                  <a:lnTo>
                    <a:pt x="657" y="1040"/>
                  </a:lnTo>
                  <a:lnTo>
                    <a:pt x="663" y="1060"/>
                  </a:lnTo>
                  <a:lnTo>
                    <a:pt x="671" y="1066"/>
                  </a:lnTo>
                  <a:lnTo>
                    <a:pt x="672" y="1075"/>
                  </a:lnTo>
                  <a:lnTo>
                    <a:pt x="672" y="1054"/>
                  </a:lnTo>
                  <a:lnTo>
                    <a:pt x="673" y="1054"/>
                  </a:lnTo>
                  <a:lnTo>
                    <a:pt x="698" y="1075"/>
                  </a:lnTo>
                  <a:lnTo>
                    <a:pt x="715" y="1085"/>
                  </a:lnTo>
                  <a:lnTo>
                    <a:pt x="723" y="1082"/>
                  </a:lnTo>
                  <a:lnTo>
                    <a:pt x="727" y="1092"/>
                  </a:lnTo>
                  <a:lnTo>
                    <a:pt x="725" y="1118"/>
                  </a:lnTo>
                  <a:lnTo>
                    <a:pt x="737" y="1115"/>
                  </a:lnTo>
                  <a:lnTo>
                    <a:pt x="750" y="1099"/>
                  </a:lnTo>
                  <a:lnTo>
                    <a:pt x="758" y="1121"/>
                  </a:lnTo>
                  <a:lnTo>
                    <a:pt x="763" y="1123"/>
                  </a:lnTo>
                  <a:lnTo>
                    <a:pt x="771" y="1132"/>
                  </a:lnTo>
                  <a:lnTo>
                    <a:pt x="787" y="1128"/>
                  </a:lnTo>
                  <a:lnTo>
                    <a:pt x="791" y="1140"/>
                  </a:lnTo>
                  <a:lnTo>
                    <a:pt x="798" y="1153"/>
                  </a:lnTo>
                  <a:lnTo>
                    <a:pt x="800" y="1166"/>
                  </a:lnTo>
                  <a:lnTo>
                    <a:pt x="803" y="1169"/>
                  </a:lnTo>
                  <a:lnTo>
                    <a:pt x="802" y="1180"/>
                  </a:lnTo>
                  <a:lnTo>
                    <a:pt x="792" y="1199"/>
                  </a:lnTo>
                  <a:lnTo>
                    <a:pt x="789" y="1212"/>
                  </a:lnTo>
                  <a:lnTo>
                    <a:pt x="800" y="1200"/>
                  </a:lnTo>
                  <a:lnTo>
                    <a:pt x="802" y="1215"/>
                  </a:lnTo>
                  <a:lnTo>
                    <a:pt x="801" y="1221"/>
                  </a:lnTo>
                  <a:lnTo>
                    <a:pt x="812" y="1241"/>
                  </a:lnTo>
                  <a:lnTo>
                    <a:pt x="814" y="1261"/>
                  </a:lnTo>
                  <a:lnTo>
                    <a:pt x="823" y="1275"/>
                  </a:lnTo>
                  <a:lnTo>
                    <a:pt x="877" y="1314"/>
                  </a:lnTo>
                  <a:lnTo>
                    <a:pt x="878" y="1322"/>
                  </a:lnTo>
                  <a:lnTo>
                    <a:pt x="871" y="1329"/>
                  </a:lnTo>
                  <a:lnTo>
                    <a:pt x="867" y="1336"/>
                  </a:lnTo>
                  <a:lnTo>
                    <a:pt x="872" y="1349"/>
                  </a:lnTo>
                  <a:lnTo>
                    <a:pt x="886" y="1352"/>
                  </a:lnTo>
                  <a:lnTo>
                    <a:pt x="914" y="1392"/>
                  </a:lnTo>
                  <a:lnTo>
                    <a:pt x="906" y="1397"/>
                  </a:lnTo>
                  <a:lnTo>
                    <a:pt x="882" y="1404"/>
                  </a:lnTo>
                  <a:lnTo>
                    <a:pt x="900" y="1409"/>
                  </a:lnTo>
                  <a:lnTo>
                    <a:pt x="913" y="1406"/>
                  </a:lnTo>
                  <a:lnTo>
                    <a:pt x="915" y="1422"/>
                  </a:lnTo>
                  <a:lnTo>
                    <a:pt x="892" y="1422"/>
                  </a:lnTo>
                  <a:lnTo>
                    <a:pt x="915" y="1433"/>
                  </a:lnTo>
                  <a:lnTo>
                    <a:pt x="918" y="1440"/>
                  </a:lnTo>
                  <a:lnTo>
                    <a:pt x="914" y="1457"/>
                  </a:lnTo>
                  <a:lnTo>
                    <a:pt x="911" y="1483"/>
                  </a:lnTo>
                  <a:lnTo>
                    <a:pt x="922" y="1480"/>
                  </a:lnTo>
                  <a:lnTo>
                    <a:pt x="930" y="1489"/>
                  </a:lnTo>
                  <a:lnTo>
                    <a:pt x="921" y="1501"/>
                  </a:lnTo>
                  <a:lnTo>
                    <a:pt x="941" y="1521"/>
                  </a:lnTo>
                  <a:lnTo>
                    <a:pt x="937" y="1542"/>
                  </a:lnTo>
                  <a:lnTo>
                    <a:pt x="938" y="1549"/>
                  </a:lnTo>
                  <a:lnTo>
                    <a:pt x="929" y="1544"/>
                  </a:lnTo>
                  <a:lnTo>
                    <a:pt x="927" y="1555"/>
                  </a:lnTo>
                  <a:lnTo>
                    <a:pt x="929" y="1564"/>
                  </a:lnTo>
                  <a:lnTo>
                    <a:pt x="952" y="1581"/>
                  </a:lnTo>
                  <a:lnTo>
                    <a:pt x="954" y="1587"/>
                  </a:lnTo>
                  <a:lnTo>
                    <a:pt x="956" y="1597"/>
                  </a:lnTo>
                  <a:lnTo>
                    <a:pt x="949" y="1618"/>
                  </a:lnTo>
                  <a:lnTo>
                    <a:pt x="958" y="1616"/>
                  </a:lnTo>
                  <a:lnTo>
                    <a:pt x="975" y="1607"/>
                  </a:lnTo>
                  <a:lnTo>
                    <a:pt x="967" y="1615"/>
                  </a:lnTo>
                  <a:lnTo>
                    <a:pt x="963" y="1624"/>
                  </a:lnTo>
                  <a:lnTo>
                    <a:pt x="960" y="1636"/>
                  </a:lnTo>
                  <a:lnTo>
                    <a:pt x="972" y="1646"/>
                  </a:lnTo>
                  <a:lnTo>
                    <a:pt x="962" y="1652"/>
                  </a:lnTo>
                  <a:lnTo>
                    <a:pt x="957" y="1666"/>
                  </a:lnTo>
                  <a:lnTo>
                    <a:pt x="947" y="1673"/>
                  </a:lnTo>
                  <a:lnTo>
                    <a:pt x="980" y="1683"/>
                  </a:lnTo>
                  <a:lnTo>
                    <a:pt x="999" y="1693"/>
                  </a:lnTo>
                  <a:lnTo>
                    <a:pt x="1006" y="1710"/>
                  </a:lnTo>
                  <a:lnTo>
                    <a:pt x="1005" y="1728"/>
                  </a:lnTo>
                  <a:lnTo>
                    <a:pt x="1000" y="1733"/>
                  </a:lnTo>
                  <a:lnTo>
                    <a:pt x="999" y="1748"/>
                  </a:lnTo>
                  <a:lnTo>
                    <a:pt x="1000" y="1765"/>
                  </a:lnTo>
                  <a:lnTo>
                    <a:pt x="1001" y="1781"/>
                  </a:lnTo>
                  <a:lnTo>
                    <a:pt x="992" y="1785"/>
                  </a:lnTo>
                  <a:lnTo>
                    <a:pt x="996" y="1801"/>
                  </a:lnTo>
                  <a:lnTo>
                    <a:pt x="990" y="1808"/>
                  </a:lnTo>
                  <a:lnTo>
                    <a:pt x="986" y="1825"/>
                  </a:lnTo>
                  <a:lnTo>
                    <a:pt x="981" y="1834"/>
                  </a:lnTo>
                  <a:lnTo>
                    <a:pt x="967" y="1854"/>
                  </a:lnTo>
                  <a:lnTo>
                    <a:pt x="953" y="1860"/>
                  </a:lnTo>
                  <a:lnTo>
                    <a:pt x="969" y="1878"/>
                  </a:lnTo>
                  <a:lnTo>
                    <a:pt x="992" y="1869"/>
                  </a:lnTo>
                  <a:lnTo>
                    <a:pt x="968" y="1898"/>
                  </a:lnTo>
                  <a:lnTo>
                    <a:pt x="951" y="1906"/>
                  </a:lnTo>
                  <a:lnTo>
                    <a:pt x="941" y="1921"/>
                  </a:lnTo>
                  <a:lnTo>
                    <a:pt x="946" y="1937"/>
                  </a:lnTo>
                  <a:lnTo>
                    <a:pt x="963" y="1968"/>
                  </a:lnTo>
                  <a:lnTo>
                    <a:pt x="973" y="1954"/>
                  </a:lnTo>
                  <a:lnTo>
                    <a:pt x="988" y="1970"/>
                  </a:lnTo>
                  <a:lnTo>
                    <a:pt x="1007" y="1976"/>
                  </a:lnTo>
                  <a:lnTo>
                    <a:pt x="1037" y="1960"/>
                  </a:lnTo>
                  <a:lnTo>
                    <a:pt x="1038" y="1943"/>
                  </a:lnTo>
                  <a:lnTo>
                    <a:pt x="1028" y="1931"/>
                  </a:lnTo>
                  <a:lnTo>
                    <a:pt x="1032" y="1919"/>
                  </a:lnTo>
                  <a:lnTo>
                    <a:pt x="1039" y="1926"/>
                  </a:lnTo>
                  <a:lnTo>
                    <a:pt x="1046" y="1917"/>
                  </a:lnTo>
                  <a:lnTo>
                    <a:pt x="1044" y="1908"/>
                  </a:lnTo>
                  <a:lnTo>
                    <a:pt x="1061" y="1895"/>
                  </a:lnTo>
                  <a:lnTo>
                    <a:pt x="1062" y="1865"/>
                  </a:lnTo>
                  <a:lnTo>
                    <a:pt x="1069" y="1882"/>
                  </a:lnTo>
                  <a:lnTo>
                    <a:pt x="1078" y="1899"/>
                  </a:lnTo>
                  <a:lnTo>
                    <a:pt x="1096" y="1883"/>
                  </a:lnTo>
                  <a:lnTo>
                    <a:pt x="1087" y="1904"/>
                  </a:lnTo>
                  <a:lnTo>
                    <a:pt x="1086" y="1919"/>
                  </a:lnTo>
                  <a:lnTo>
                    <a:pt x="1105" y="1926"/>
                  </a:lnTo>
                  <a:lnTo>
                    <a:pt x="1104" y="1930"/>
                  </a:lnTo>
                  <a:lnTo>
                    <a:pt x="1114" y="1930"/>
                  </a:lnTo>
                  <a:lnTo>
                    <a:pt x="1155" y="1924"/>
                  </a:lnTo>
                  <a:lnTo>
                    <a:pt x="1141" y="1941"/>
                  </a:lnTo>
                  <a:lnTo>
                    <a:pt x="1104" y="1953"/>
                  </a:lnTo>
                  <a:lnTo>
                    <a:pt x="1092" y="1969"/>
                  </a:lnTo>
                  <a:lnTo>
                    <a:pt x="1120" y="1973"/>
                  </a:lnTo>
                  <a:lnTo>
                    <a:pt x="1152" y="1962"/>
                  </a:lnTo>
                  <a:lnTo>
                    <a:pt x="1132" y="1975"/>
                  </a:lnTo>
                  <a:lnTo>
                    <a:pt x="1128" y="1994"/>
                  </a:lnTo>
                  <a:lnTo>
                    <a:pt x="1118" y="2011"/>
                  </a:lnTo>
                  <a:lnTo>
                    <a:pt x="1164" y="1981"/>
                  </a:lnTo>
                  <a:lnTo>
                    <a:pt x="1136" y="2017"/>
                  </a:lnTo>
                  <a:lnTo>
                    <a:pt x="1180" y="2012"/>
                  </a:lnTo>
                  <a:lnTo>
                    <a:pt x="1175" y="2025"/>
                  </a:lnTo>
                  <a:lnTo>
                    <a:pt x="1183" y="2033"/>
                  </a:lnTo>
                  <a:lnTo>
                    <a:pt x="1180" y="2041"/>
                  </a:lnTo>
                  <a:lnTo>
                    <a:pt x="1152" y="2029"/>
                  </a:lnTo>
                  <a:lnTo>
                    <a:pt x="1167" y="2045"/>
                  </a:lnTo>
                  <a:lnTo>
                    <a:pt x="1199" y="2059"/>
                  </a:lnTo>
                  <a:lnTo>
                    <a:pt x="1212" y="2075"/>
                  </a:lnTo>
                  <a:lnTo>
                    <a:pt x="1218" y="2091"/>
                  </a:lnTo>
                  <a:lnTo>
                    <a:pt x="1196" y="2082"/>
                  </a:lnTo>
                  <a:lnTo>
                    <a:pt x="1212" y="2092"/>
                  </a:lnTo>
                  <a:lnTo>
                    <a:pt x="1212" y="2100"/>
                  </a:lnTo>
                  <a:lnTo>
                    <a:pt x="1200" y="2103"/>
                  </a:lnTo>
                  <a:lnTo>
                    <a:pt x="1204" y="2111"/>
                  </a:lnTo>
                  <a:lnTo>
                    <a:pt x="1188" y="2105"/>
                  </a:lnTo>
                  <a:lnTo>
                    <a:pt x="1190" y="2121"/>
                  </a:lnTo>
                  <a:lnTo>
                    <a:pt x="1199" y="2132"/>
                  </a:lnTo>
                  <a:lnTo>
                    <a:pt x="1218" y="2124"/>
                  </a:lnTo>
                  <a:lnTo>
                    <a:pt x="1223" y="2136"/>
                  </a:lnTo>
                  <a:lnTo>
                    <a:pt x="1221" y="2148"/>
                  </a:lnTo>
                  <a:lnTo>
                    <a:pt x="1191" y="2142"/>
                  </a:lnTo>
                  <a:lnTo>
                    <a:pt x="1164" y="2131"/>
                  </a:lnTo>
                  <a:lnTo>
                    <a:pt x="1124" y="2094"/>
                  </a:lnTo>
                  <a:lnTo>
                    <a:pt x="1102" y="2080"/>
                  </a:lnTo>
                  <a:lnTo>
                    <a:pt x="1039" y="2071"/>
                  </a:lnTo>
                  <a:lnTo>
                    <a:pt x="1023" y="2073"/>
                  </a:lnTo>
                  <a:lnTo>
                    <a:pt x="1010" y="2091"/>
                  </a:lnTo>
                  <a:lnTo>
                    <a:pt x="1042" y="2138"/>
                  </a:lnTo>
                  <a:lnTo>
                    <a:pt x="1070" y="2147"/>
                  </a:lnTo>
                  <a:lnTo>
                    <a:pt x="1102" y="2162"/>
                  </a:lnTo>
                  <a:lnTo>
                    <a:pt x="1125" y="2190"/>
                  </a:lnTo>
                  <a:lnTo>
                    <a:pt x="1174" y="2201"/>
                  </a:lnTo>
                  <a:lnTo>
                    <a:pt x="1183" y="2194"/>
                  </a:lnTo>
                  <a:lnTo>
                    <a:pt x="1198" y="2196"/>
                  </a:lnTo>
                  <a:lnTo>
                    <a:pt x="1204" y="2202"/>
                  </a:lnTo>
                  <a:lnTo>
                    <a:pt x="1234" y="2200"/>
                  </a:lnTo>
                  <a:lnTo>
                    <a:pt x="1232" y="2216"/>
                  </a:lnTo>
                  <a:lnTo>
                    <a:pt x="1238" y="2232"/>
                  </a:lnTo>
                  <a:lnTo>
                    <a:pt x="1221" y="2238"/>
                  </a:lnTo>
                  <a:lnTo>
                    <a:pt x="1225" y="2255"/>
                  </a:lnTo>
                  <a:lnTo>
                    <a:pt x="1211" y="2261"/>
                  </a:lnTo>
                  <a:lnTo>
                    <a:pt x="1215" y="2276"/>
                  </a:lnTo>
                  <a:lnTo>
                    <a:pt x="1217" y="2281"/>
                  </a:lnTo>
                  <a:lnTo>
                    <a:pt x="1204" y="2288"/>
                  </a:lnTo>
                  <a:lnTo>
                    <a:pt x="1202" y="2313"/>
                  </a:lnTo>
                  <a:lnTo>
                    <a:pt x="1217" y="2324"/>
                  </a:lnTo>
                  <a:lnTo>
                    <a:pt x="1234" y="2312"/>
                  </a:lnTo>
                  <a:lnTo>
                    <a:pt x="1242" y="2326"/>
                  </a:lnTo>
                  <a:lnTo>
                    <a:pt x="1226" y="2337"/>
                  </a:lnTo>
                  <a:lnTo>
                    <a:pt x="1234" y="2349"/>
                  </a:lnTo>
                  <a:lnTo>
                    <a:pt x="1221" y="2350"/>
                  </a:lnTo>
                  <a:lnTo>
                    <a:pt x="1215" y="2337"/>
                  </a:lnTo>
                  <a:lnTo>
                    <a:pt x="1201" y="2334"/>
                  </a:lnTo>
                  <a:lnTo>
                    <a:pt x="1194" y="2341"/>
                  </a:lnTo>
                  <a:lnTo>
                    <a:pt x="1193" y="2356"/>
                  </a:lnTo>
                  <a:lnTo>
                    <a:pt x="1193" y="2371"/>
                  </a:lnTo>
                  <a:lnTo>
                    <a:pt x="1199" y="2378"/>
                  </a:lnTo>
                  <a:lnTo>
                    <a:pt x="1188" y="2392"/>
                  </a:lnTo>
                  <a:lnTo>
                    <a:pt x="1191" y="2398"/>
                  </a:lnTo>
                  <a:lnTo>
                    <a:pt x="1204" y="2395"/>
                  </a:lnTo>
                  <a:lnTo>
                    <a:pt x="1199" y="2404"/>
                  </a:lnTo>
                  <a:lnTo>
                    <a:pt x="1193" y="2421"/>
                  </a:lnTo>
                  <a:lnTo>
                    <a:pt x="1171" y="2428"/>
                  </a:lnTo>
                  <a:lnTo>
                    <a:pt x="1155" y="2421"/>
                  </a:lnTo>
                  <a:lnTo>
                    <a:pt x="1140" y="2420"/>
                  </a:lnTo>
                  <a:lnTo>
                    <a:pt x="1118" y="2426"/>
                  </a:lnTo>
                  <a:lnTo>
                    <a:pt x="1114" y="2436"/>
                  </a:lnTo>
                  <a:lnTo>
                    <a:pt x="1098" y="2452"/>
                  </a:lnTo>
                  <a:lnTo>
                    <a:pt x="1102" y="2462"/>
                  </a:lnTo>
                  <a:lnTo>
                    <a:pt x="1099" y="2463"/>
                  </a:lnTo>
                  <a:lnTo>
                    <a:pt x="1103" y="2474"/>
                  </a:lnTo>
                  <a:lnTo>
                    <a:pt x="1115" y="2468"/>
                  </a:lnTo>
                  <a:lnTo>
                    <a:pt x="1128" y="2476"/>
                  </a:lnTo>
                  <a:lnTo>
                    <a:pt x="1182" y="2459"/>
                  </a:lnTo>
                  <a:lnTo>
                    <a:pt x="1172" y="2442"/>
                  </a:lnTo>
                  <a:lnTo>
                    <a:pt x="1191" y="2443"/>
                  </a:lnTo>
                  <a:lnTo>
                    <a:pt x="1194" y="2447"/>
                  </a:lnTo>
                  <a:lnTo>
                    <a:pt x="1189" y="2458"/>
                  </a:lnTo>
                  <a:lnTo>
                    <a:pt x="1174" y="2466"/>
                  </a:lnTo>
                  <a:lnTo>
                    <a:pt x="1198" y="2479"/>
                  </a:lnTo>
                  <a:lnTo>
                    <a:pt x="1184" y="2476"/>
                  </a:lnTo>
                  <a:lnTo>
                    <a:pt x="1188" y="2485"/>
                  </a:lnTo>
                  <a:lnTo>
                    <a:pt x="1205" y="2493"/>
                  </a:lnTo>
                  <a:lnTo>
                    <a:pt x="1199" y="2498"/>
                  </a:lnTo>
                  <a:lnTo>
                    <a:pt x="1188" y="2493"/>
                  </a:lnTo>
                  <a:lnTo>
                    <a:pt x="1171" y="2500"/>
                  </a:lnTo>
                  <a:lnTo>
                    <a:pt x="1155" y="2502"/>
                  </a:lnTo>
                  <a:lnTo>
                    <a:pt x="1114" y="2481"/>
                  </a:lnTo>
                  <a:lnTo>
                    <a:pt x="1101" y="2487"/>
                  </a:lnTo>
                  <a:lnTo>
                    <a:pt x="1101" y="2492"/>
                  </a:lnTo>
                  <a:lnTo>
                    <a:pt x="1078" y="2485"/>
                  </a:lnTo>
                  <a:lnTo>
                    <a:pt x="1071" y="2491"/>
                  </a:lnTo>
                  <a:lnTo>
                    <a:pt x="1088" y="2491"/>
                  </a:lnTo>
                  <a:lnTo>
                    <a:pt x="1104" y="2508"/>
                  </a:lnTo>
                  <a:lnTo>
                    <a:pt x="1098" y="2513"/>
                  </a:lnTo>
                  <a:lnTo>
                    <a:pt x="1081" y="2503"/>
                  </a:lnTo>
                  <a:lnTo>
                    <a:pt x="1091" y="2516"/>
                  </a:lnTo>
                  <a:lnTo>
                    <a:pt x="1078" y="2516"/>
                  </a:lnTo>
                  <a:lnTo>
                    <a:pt x="1064" y="2525"/>
                  </a:lnTo>
                  <a:lnTo>
                    <a:pt x="1066" y="2539"/>
                  </a:lnTo>
                  <a:lnTo>
                    <a:pt x="1065" y="2555"/>
                  </a:lnTo>
                  <a:lnTo>
                    <a:pt x="1067" y="2556"/>
                  </a:lnTo>
                  <a:lnTo>
                    <a:pt x="1056" y="2570"/>
                  </a:lnTo>
                  <a:lnTo>
                    <a:pt x="1067" y="2578"/>
                  </a:lnTo>
                  <a:lnTo>
                    <a:pt x="1072" y="2575"/>
                  </a:lnTo>
                  <a:lnTo>
                    <a:pt x="1051" y="2590"/>
                  </a:lnTo>
                  <a:lnTo>
                    <a:pt x="1055" y="2600"/>
                  </a:lnTo>
                  <a:lnTo>
                    <a:pt x="1049" y="2605"/>
                  </a:lnTo>
                  <a:lnTo>
                    <a:pt x="1044" y="2615"/>
                  </a:lnTo>
                  <a:lnTo>
                    <a:pt x="1043" y="2640"/>
                  </a:lnTo>
                  <a:lnTo>
                    <a:pt x="1061" y="2653"/>
                  </a:lnTo>
                  <a:lnTo>
                    <a:pt x="1059" y="2667"/>
                  </a:lnTo>
                  <a:lnTo>
                    <a:pt x="1074" y="2664"/>
                  </a:lnTo>
                  <a:lnTo>
                    <a:pt x="1091" y="2665"/>
                  </a:lnTo>
                  <a:lnTo>
                    <a:pt x="1089" y="2685"/>
                  </a:lnTo>
                  <a:lnTo>
                    <a:pt x="1082" y="2690"/>
                  </a:lnTo>
                  <a:lnTo>
                    <a:pt x="1071" y="2705"/>
                  </a:lnTo>
                  <a:lnTo>
                    <a:pt x="1085" y="2719"/>
                  </a:lnTo>
                  <a:lnTo>
                    <a:pt x="1065" y="2716"/>
                  </a:lnTo>
                  <a:lnTo>
                    <a:pt x="1060" y="2728"/>
                  </a:lnTo>
                  <a:lnTo>
                    <a:pt x="1061" y="2742"/>
                  </a:lnTo>
                  <a:lnTo>
                    <a:pt x="1064" y="2750"/>
                  </a:lnTo>
                  <a:lnTo>
                    <a:pt x="1076" y="2750"/>
                  </a:lnTo>
                  <a:lnTo>
                    <a:pt x="1065" y="2764"/>
                  </a:lnTo>
                  <a:lnTo>
                    <a:pt x="1072" y="2767"/>
                  </a:lnTo>
                  <a:lnTo>
                    <a:pt x="1086" y="2767"/>
                  </a:lnTo>
                  <a:lnTo>
                    <a:pt x="1097" y="2764"/>
                  </a:lnTo>
                  <a:lnTo>
                    <a:pt x="1071" y="2787"/>
                  </a:lnTo>
                  <a:lnTo>
                    <a:pt x="1071" y="2797"/>
                  </a:lnTo>
                  <a:lnTo>
                    <a:pt x="1085" y="2802"/>
                  </a:lnTo>
                  <a:lnTo>
                    <a:pt x="1086" y="2810"/>
                  </a:lnTo>
                  <a:lnTo>
                    <a:pt x="1102" y="2802"/>
                  </a:lnTo>
                  <a:lnTo>
                    <a:pt x="1096" y="2805"/>
                  </a:lnTo>
                  <a:lnTo>
                    <a:pt x="1089" y="2815"/>
                  </a:lnTo>
                  <a:lnTo>
                    <a:pt x="1092" y="2823"/>
                  </a:lnTo>
                  <a:lnTo>
                    <a:pt x="1086" y="2834"/>
                  </a:lnTo>
                  <a:lnTo>
                    <a:pt x="1099" y="2830"/>
                  </a:lnTo>
                  <a:lnTo>
                    <a:pt x="1108" y="2825"/>
                  </a:lnTo>
                  <a:lnTo>
                    <a:pt x="1110" y="2856"/>
                  </a:lnTo>
                  <a:lnTo>
                    <a:pt x="1125" y="2855"/>
                  </a:lnTo>
                  <a:lnTo>
                    <a:pt x="1125" y="2864"/>
                  </a:lnTo>
                  <a:lnTo>
                    <a:pt x="1137" y="2864"/>
                  </a:lnTo>
                  <a:lnTo>
                    <a:pt x="1120" y="2882"/>
                  </a:lnTo>
                  <a:lnTo>
                    <a:pt x="1125" y="2895"/>
                  </a:lnTo>
                  <a:lnTo>
                    <a:pt x="1135" y="2880"/>
                  </a:lnTo>
                  <a:lnTo>
                    <a:pt x="1137" y="2896"/>
                  </a:lnTo>
                  <a:lnTo>
                    <a:pt x="1134" y="2900"/>
                  </a:lnTo>
                  <a:lnTo>
                    <a:pt x="1131" y="2916"/>
                  </a:lnTo>
                  <a:lnTo>
                    <a:pt x="1140" y="2920"/>
                  </a:lnTo>
                  <a:lnTo>
                    <a:pt x="1141" y="2932"/>
                  </a:lnTo>
                  <a:lnTo>
                    <a:pt x="1144" y="2945"/>
                  </a:lnTo>
                  <a:lnTo>
                    <a:pt x="1151" y="2937"/>
                  </a:lnTo>
                  <a:lnTo>
                    <a:pt x="1151" y="2941"/>
                  </a:lnTo>
                  <a:lnTo>
                    <a:pt x="1157" y="2943"/>
                  </a:lnTo>
                  <a:lnTo>
                    <a:pt x="1145" y="2957"/>
                  </a:lnTo>
                  <a:lnTo>
                    <a:pt x="1142" y="2965"/>
                  </a:lnTo>
                  <a:lnTo>
                    <a:pt x="1142" y="2979"/>
                  </a:lnTo>
                  <a:lnTo>
                    <a:pt x="1141" y="2990"/>
                  </a:lnTo>
                  <a:lnTo>
                    <a:pt x="1141" y="3002"/>
                  </a:lnTo>
                  <a:lnTo>
                    <a:pt x="1145" y="3017"/>
                  </a:lnTo>
                  <a:lnTo>
                    <a:pt x="1151" y="3013"/>
                  </a:lnTo>
                  <a:lnTo>
                    <a:pt x="1164" y="3013"/>
                  </a:lnTo>
                  <a:lnTo>
                    <a:pt x="1175" y="2990"/>
                  </a:lnTo>
                  <a:lnTo>
                    <a:pt x="1190" y="2961"/>
                  </a:lnTo>
                  <a:lnTo>
                    <a:pt x="1198" y="2965"/>
                  </a:lnTo>
                  <a:lnTo>
                    <a:pt x="1211" y="2960"/>
                  </a:lnTo>
                  <a:lnTo>
                    <a:pt x="1218" y="2944"/>
                  </a:lnTo>
                  <a:lnTo>
                    <a:pt x="1237" y="2954"/>
                  </a:lnTo>
                  <a:lnTo>
                    <a:pt x="1248" y="2952"/>
                  </a:lnTo>
                  <a:lnTo>
                    <a:pt x="1255" y="2968"/>
                  </a:lnTo>
                  <a:lnTo>
                    <a:pt x="1226" y="2960"/>
                  </a:lnTo>
                  <a:lnTo>
                    <a:pt x="1216" y="2970"/>
                  </a:lnTo>
                  <a:lnTo>
                    <a:pt x="1215" y="2977"/>
                  </a:lnTo>
                  <a:lnTo>
                    <a:pt x="1228" y="2988"/>
                  </a:lnTo>
                  <a:lnTo>
                    <a:pt x="1247" y="2988"/>
                  </a:lnTo>
                  <a:lnTo>
                    <a:pt x="1218" y="3000"/>
                  </a:lnTo>
                  <a:lnTo>
                    <a:pt x="1206" y="3002"/>
                  </a:lnTo>
                  <a:lnTo>
                    <a:pt x="1202" y="3018"/>
                  </a:lnTo>
                  <a:lnTo>
                    <a:pt x="1191" y="3025"/>
                  </a:lnTo>
                  <a:lnTo>
                    <a:pt x="1175" y="3027"/>
                  </a:lnTo>
                  <a:lnTo>
                    <a:pt x="1173" y="3036"/>
                  </a:lnTo>
                  <a:lnTo>
                    <a:pt x="1179" y="3057"/>
                  </a:lnTo>
                  <a:lnTo>
                    <a:pt x="1177" y="3082"/>
                  </a:lnTo>
                  <a:lnTo>
                    <a:pt x="1187" y="3078"/>
                  </a:lnTo>
                  <a:lnTo>
                    <a:pt x="1177" y="3093"/>
                  </a:lnTo>
                  <a:lnTo>
                    <a:pt x="1187" y="3110"/>
                  </a:lnTo>
                  <a:lnTo>
                    <a:pt x="1190" y="3119"/>
                  </a:lnTo>
                  <a:lnTo>
                    <a:pt x="1195" y="3116"/>
                  </a:lnTo>
                  <a:lnTo>
                    <a:pt x="1198" y="3136"/>
                  </a:lnTo>
                  <a:lnTo>
                    <a:pt x="1212" y="3160"/>
                  </a:lnTo>
                  <a:lnTo>
                    <a:pt x="1217" y="3162"/>
                  </a:lnTo>
                  <a:lnTo>
                    <a:pt x="1217" y="3165"/>
                  </a:lnTo>
                  <a:lnTo>
                    <a:pt x="1218" y="3170"/>
                  </a:lnTo>
                  <a:lnTo>
                    <a:pt x="1234" y="3173"/>
                  </a:lnTo>
                  <a:lnTo>
                    <a:pt x="1236" y="3186"/>
                  </a:lnTo>
                  <a:lnTo>
                    <a:pt x="1241" y="3195"/>
                  </a:lnTo>
                  <a:lnTo>
                    <a:pt x="1242" y="3203"/>
                  </a:lnTo>
                  <a:lnTo>
                    <a:pt x="1249" y="3196"/>
                  </a:lnTo>
                  <a:lnTo>
                    <a:pt x="1254" y="3195"/>
                  </a:lnTo>
                  <a:lnTo>
                    <a:pt x="1247" y="3212"/>
                  </a:lnTo>
                  <a:lnTo>
                    <a:pt x="1247" y="3226"/>
                  </a:lnTo>
                  <a:lnTo>
                    <a:pt x="1250" y="3232"/>
                  </a:lnTo>
                  <a:lnTo>
                    <a:pt x="1260" y="3233"/>
                  </a:lnTo>
                  <a:lnTo>
                    <a:pt x="1269" y="3238"/>
                  </a:lnTo>
                  <a:lnTo>
                    <a:pt x="1265" y="3246"/>
                  </a:lnTo>
                  <a:lnTo>
                    <a:pt x="1265" y="3255"/>
                  </a:lnTo>
                  <a:lnTo>
                    <a:pt x="1276" y="3260"/>
                  </a:lnTo>
                  <a:lnTo>
                    <a:pt x="1285" y="3260"/>
                  </a:lnTo>
                  <a:lnTo>
                    <a:pt x="1275" y="3265"/>
                  </a:lnTo>
                  <a:lnTo>
                    <a:pt x="1279" y="3272"/>
                  </a:lnTo>
                  <a:lnTo>
                    <a:pt x="1288" y="3270"/>
                  </a:lnTo>
                  <a:lnTo>
                    <a:pt x="1281" y="3275"/>
                  </a:lnTo>
                  <a:lnTo>
                    <a:pt x="1273" y="3277"/>
                  </a:lnTo>
                  <a:lnTo>
                    <a:pt x="1276" y="3282"/>
                  </a:lnTo>
                  <a:lnTo>
                    <a:pt x="1277" y="3288"/>
                  </a:lnTo>
                  <a:lnTo>
                    <a:pt x="1291" y="3286"/>
                  </a:lnTo>
                  <a:lnTo>
                    <a:pt x="1308" y="3272"/>
                  </a:lnTo>
                  <a:lnTo>
                    <a:pt x="1313" y="3276"/>
                  </a:lnTo>
                  <a:lnTo>
                    <a:pt x="1314" y="3283"/>
                  </a:lnTo>
                  <a:lnTo>
                    <a:pt x="1300" y="3292"/>
                  </a:lnTo>
                  <a:lnTo>
                    <a:pt x="1291" y="3298"/>
                  </a:lnTo>
                  <a:lnTo>
                    <a:pt x="1293" y="3304"/>
                  </a:lnTo>
                  <a:lnTo>
                    <a:pt x="1300" y="3313"/>
                  </a:lnTo>
                  <a:lnTo>
                    <a:pt x="1308" y="3319"/>
                  </a:lnTo>
                  <a:lnTo>
                    <a:pt x="1308" y="3324"/>
                  </a:lnTo>
                  <a:lnTo>
                    <a:pt x="1316" y="3325"/>
                  </a:lnTo>
                  <a:lnTo>
                    <a:pt x="1311" y="3332"/>
                  </a:lnTo>
                  <a:lnTo>
                    <a:pt x="1297" y="3339"/>
                  </a:lnTo>
                  <a:lnTo>
                    <a:pt x="1300" y="3343"/>
                  </a:lnTo>
                  <a:lnTo>
                    <a:pt x="1312" y="3350"/>
                  </a:lnTo>
                  <a:lnTo>
                    <a:pt x="1320" y="3347"/>
                  </a:lnTo>
                  <a:lnTo>
                    <a:pt x="1338" y="3337"/>
                  </a:lnTo>
                  <a:lnTo>
                    <a:pt x="1344" y="3337"/>
                  </a:lnTo>
                  <a:lnTo>
                    <a:pt x="1355" y="3342"/>
                  </a:lnTo>
                  <a:lnTo>
                    <a:pt x="1311" y="3358"/>
                  </a:lnTo>
                  <a:lnTo>
                    <a:pt x="1314" y="3361"/>
                  </a:lnTo>
                  <a:lnTo>
                    <a:pt x="1322" y="3358"/>
                  </a:lnTo>
                  <a:lnTo>
                    <a:pt x="1334" y="3358"/>
                  </a:lnTo>
                  <a:lnTo>
                    <a:pt x="1336" y="3361"/>
                  </a:lnTo>
                  <a:lnTo>
                    <a:pt x="1335" y="3364"/>
                  </a:lnTo>
                  <a:lnTo>
                    <a:pt x="1334" y="3373"/>
                  </a:lnTo>
                  <a:lnTo>
                    <a:pt x="1340" y="3378"/>
                  </a:lnTo>
                  <a:lnTo>
                    <a:pt x="1344" y="3379"/>
                  </a:lnTo>
                  <a:lnTo>
                    <a:pt x="1356" y="3374"/>
                  </a:lnTo>
                  <a:lnTo>
                    <a:pt x="1360" y="3379"/>
                  </a:lnTo>
                  <a:lnTo>
                    <a:pt x="1362" y="3386"/>
                  </a:lnTo>
                  <a:lnTo>
                    <a:pt x="1363" y="3388"/>
                  </a:lnTo>
                  <a:lnTo>
                    <a:pt x="1373" y="3390"/>
                  </a:lnTo>
                  <a:lnTo>
                    <a:pt x="1382" y="3395"/>
                  </a:lnTo>
                  <a:lnTo>
                    <a:pt x="1386" y="3394"/>
                  </a:lnTo>
                  <a:lnTo>
                    <a:pt x="1389" y="3397"/>
                  </a:lnTo>
                  <a:lnTo>
                    <a:pt x="1388" y="3400"/>
                  </a:lnTo>
                  <a:lnTo>
                    <a:pt x="1373" y="3411"/>
                  </a:lnTo>
                  <a:lnTo>
                    <a:pt x="1363" y="3416"/>
                  </a:lnTo>
                  <a:lnTo>
                    <a:pt x="1359" y="3422"/>
                  </a:lnTo>
                  <a:lnTo>
                    <a:pt x="1370" y="3420"/>
                  </a:lnTo>
                  <a:lnTo>
                    <a:pt x="1377" y="3421"/>
                  </a:lnTo>
                  <a:lnTo>
                    <a:pt x="1400" y="3420"/>
                  </a:lnTo>
                  <a:lnTo>
                    <a:pt x="1397" y="3410"/>
                  </a:lnTo>
                  <a:lnTo>
                    <a:pt x="1397" y="3407"/>
                  </a:lnTo>
                  <a:lnTo>
                    <a:pt x="1399" y="3406"/>
                  </a:lnTo>
                  <a:lnTo>
                    <a:pt x="1410" y="3410"/>
                  </a:lnTo>
                  <a:lnTo>
                    <a:pt x="1419" y="3407"/>
                  </a:lnTo>
                  <a:lnTo>
                    <a:pt x="1442" y="3410"/>
                  </a:lnTo>
                  <a:lnTo>
                    <a:pt x="1462" y="3397"/>
                  </a:lnTo>
                  <a:lnTo>
                    <a:pt x="1464" y="3401"/>
                  </a:lnTo>
                  <a:lnTo>
                    <a:pt x="1480" y="3394"/>
                  </a:lnTo>
                  <a:lnTo>
                    <a:pt x="1478" y="3401"/>
                  </a:lnTo>
                  <a:lnTo>
                    <a:pt x="1476" y="3407"/>
                  </a:lnTo>
                  <a:lnTo>
                    <a:pt x="1483" y="3410"/>
                  </a:lnTo>
                  <a:lnTo>
                    <a:pt x="1499" y="3404"/>
                  </a:lnTo>
                  <a:lnTo>
                    <a:pt x="1495" y="3409"/>
                  </a:lnTo>
                  <a:lnTo>
                    <a:pt x="1470" y="3422"/>
                  </a:lnTo>
                  <a:lnTo>
                    <a:pt x="1478" y="3422"/>
                  </a:lnTo>
                  <a:lnTo>
                    <a:pt x="1465" y="3431"/>
                  </a:lnTo>
                  <a:lnTo>
                    <a:pt x="1470" y="3433"/>
                  </a:lnTo>
                  <a:lnTo>
                    <a:pt x="1474" y="3432"/>
                  </a:lnTo>
                  <a:lnTo>
                    <a:pt x="1483" y="3426"/>
                  </a:lnTo>
                  <a:lnTo>
                    <a:pt x="1491" y="3427"/>
                  </a:lnTo>
                  <a:lnTo>
                    <a:pt x="1501" y="3418"/>
                  </a:lnTo>
                  <a:lnTo>
                    <a:pt x="1508" y="3407"/>
                  </a:lnTo>
                  <a:lnTo>
                    <a:pt x="1512" y="3410"/>
                  </a:lnTo>
                  <a:lnTo>
                    <a:pt x="1508" y="3421"/>
                  </a:lnTo>
                  <a:lnTo>
                    <a:pt x="1496" y="3429"/>
                  </a:lnTo>
                  <a:lnTo>
                    <a:pt x="1491" y="3437"/>
                  </a:lnTo>
                  <a:lnTo>
                    <a:pt x="1495" y="3442"/>
                  </a:lnTo>
                  <a:lnTo>
                    <a:pt x="1497" y="3450"/>
                  </a:lnTo>
                  <a:lnTo>
                    <a:pt x="1500" y="3455"/>
                  </a:lnTo>
                  <a:lnTo>
                    <a:pt x="1502" y="3461"/>
                  </a:lnTo>
                  <a:lnTo>
                    <a:pt x="1506" y="3455"/>
                  </a:lnTo>
                  <a:lnTo>
                    <a:pt x="1511" y="3444"/>
                  </a:lnTo>
                  <a:lnTo>
                    <a:pt x="1516" y="3440"/>
                  </a:lnTo>
                  <a:lnTo>
                    <a:pt x="1521" y="3440"/>
                  </a:lnTo>
                  <a:lnTo>
                    <a:pt x="1519" y="3448"/>
                  </a:lnTo>
                  <a:lnTo>
                    <a:pt x="1516" y="3461"/>
                  </a:lnTo>
                  <a:lnTo>
                    <a:pt x="1518" y="3465"/>
                  </a:lnTo>
                  <a:lnTo>
                    <a:pt x="1528" y="3461"/>
                  </a:lnTo>
                  <a:lnTo>
                    <a:pt x="1537" y="3452"/>
                  </a:lnTo>
                  <a:lnTo>
                    <a:pt x="1537" y="3458"/>
                  </a:lnTo>
                  <a:lnTo>
                    <a:pt x="1534" y="3474"/>
                  </a:lnTo>
                  <a:lnTo>
                    <a:pt x="1529" y="3477"/>
                  </a:lnTo>
                  <a:lnTo>
                    <a:pt x="1522" y="3487"/>
                  </a:lnTo>
                  <a:lnTo>
                    <a:pt x="1522" y="3493"/>
                  </a:lnTo>
                  <a:lnTo>
                    <a:pt x="1524" y="3493"/>
                  </a:lnTo>
                  <a:lnTo>
                    <a:pt x="1527" y="3501"/>
                  </a:lnTo>
                  <a:lnTo>
                    <a:pt x="1530" y="3502"/>
                  </a:lnTo>
                  <a:lnTo>
                    <a:pt x="1542" y="3501"/>
                  </a:lnTo>
                  <a:lnTo>
                    <a:pt x="1550" y="3510"/>
                  </a:lnTo>
                  <a:lnTo>
                    <a:pt x="1564" y="3507"/>
                  </a:lnTo>
                  <a:lnTo>
                    <a:pt x="1577" y="3492"/>
                  </a:lnTo>
                  <a:lnTo>
                    <a:pt x="1583" y="3482"/>
                  </a:lnTo>
                  <a:lnTo>
                    <a:pt x="1583" y="3487"/>
                  </a:lnTo>
                  <a:lnTo>
                    <a:pt x="1586" y="3497"/>
                  </a:lnTo>
                  <a:lnTo>
                    <a:pt x="1618" y="3499"/>
                  </a:lnTo>
                  <a:lnTo>
                    <a:pt x="1636" y="3498"/>
                  </a:lnTo>
                  <a:lnTo>
                    <a:pt x="1636" y="3497"/>
                  </a:lnTo>
                  <a:lnTo>
                    <a:pt x="1634" y="3490"/>
                  </a:lnTo>
                  <a:lnTo>
                    <a:pt x="1635" y="3485"/>
                  </a:lnTo>
                  <a:lnTo>
                    <a:pt x="1632" y="3476"/>
                  </a:lnTo>
                  <a:lnTo>
                    <a:pt x="1629" y="3467"/>
                  </a:lnTo>
                  <a:lnTo>
                    <a:pt x="1624" y="3466"/>
                  </a:lnTo>
                  <a:lnTo>
                    <a:pt x="1605" y="3454"/>
                  </a:lnTo>
                  <a:lnTo>
                    <a:pt x="1624" y="3458"/>
                  </a:lnTo>
                  <a:lnTo>
                    <a:pt x="1632" y="3458"/>
                  </a:lnTo>
                  <a:lnTo>
                    <a:pt x="1636" y="3453"/>
                  </a:lnTo>
                  <a:lnTo>
                    <a:pt x="1645" y="3454"/>
                  </a:lnTo>
                  <a:lnTo>
                    <a:pt x="1650" y="3449"/>
                  </a:lnTo>
                  <a:lnTo>
                    <a:pt x="1648" y="3432"/>
                  </a:lnTo>
                  <a:lnTo>
                    <a:pt x="1650" y="3420"/>
                  </a:lnTo>
                  <a:lnTo>
                    <a:pt x="1651" y="3412"/>
                  </a:lnTo>
                  <a:lnTo>
                    <a:pt x="1656" y="3405"/>
                  </a:lnTo>
                  <a:lnTo>
                    <a:pt x="1661" y="3379"/>
                  </a:lnTo>
                  <a:lnTo>
                    <a:pt x="1661" y="3373"/>
                  </a:lnTo>
                  <a:lnTo>
                    <a:pt x="1658" y="3372"/>
                  </a:lnTo>
                  <a:lnTo>
                    <a:pt x="1661" y="3367"/>
                  </a:lnTo>
                  <a:lnTo>
                    <a:pt x="1669" y="3358"/>
                  </a:lnTo>
                  <a:lnTo>
                    <a:pt x="1674" y="3348"/>
                  </a:lnTo>
                  <a:lnTo>
                    <a:pt x="1669" y="3348"/>
                  </a:lnTo>
                  <a:lnTo>
                    <a:pt x="1672" y="3340"/>
                  </a:lnTo>
                  <a:lnTo>
                    <a:pt x="1684" y="3318"/>
                  </a:lnTo>
                  <a:lnTo>
                    <a:pt x="1690" y="3311"/>
                  </a:lnTo>
                  <a:lnTo>
                    <a:pt x="1687" y="3305"/>
                  </a:lnTo>
                  <a:lnTo>
                    <a:pt x="1690" y="3296"/>
                  </a:lnTo>
                  <a:lnTo>
                    <a:pt x="1689" y="3287"/>
                  </a:lnTo>
                  <a:lnTo>
                    <a:pt x="1682" y="3282"/>
                  </a:lnTo>
                  <a:lnTo>
                    <a:pt x="1679" y="3239"/>
                  </a:lnTo>
                  <a:lnTo>
                    <a:pt x="1673" y="3235"/>
                  </a:lnTo>
                  <a:lnTo>
                    <a:pt x="1674" y="3230"/>
                  </a:lnTo>
                  <a:lnTo>
                    <a:pt x="1669" y="3216"/>
                  </a:lnTo>
                  <a:lnTo>
                    <a:pt x="1651" y="3210"/>
                  </a:lnTo>
                  <a:lnTo>
                    <a:pt x="1667" y="3205"/>
                  </a:lnTo>
                  <a:lnTo>
                    <a:pt x="1669" y="3201"/>
                  </a:lnTo>
                  <a:lnTo>
                    <a:pt x="1669" y="3195"/>
                  </a:lnTo>
                  <a:lnTo>
                    <a:pt x="1673" y="3191"/>
                  </a:lnTo>
                  <a:lnTo>
                    <a:pt x="1680" y="3190"/>
                  </a:lnTo>
                  <a:lnTo>
                    <a:pt x="1684" y="3192"/>
                  </a:lnTo>
                  <a:lnTo>
                    <a:pt x="1691" y="3192"/>
                  </a:lnTo>
                  <a:lnTo>
                    <a:pt x="1711" y="3189"/>
                  </a:lnTo>
                  <a:lnTo>
                    <a:pt x="1715" y="3180"/>
                  </a:lnTo>
                  <a:lnTo>
                    <a:pt x="1723" y="3179"/>
                  </a:lnTo>
                  <a:lnTo>
                    <a:pt x="1723" y="3169"/>
                  </a:lnTo>
                  <a:lnTo>
                    <a:pt x="1714" y="3170"/>
                  </a:lnTo>
                  <a:lnTo>
                    <a:pt x="1700" y="3160"/>
                  </a:lnTo>
                  <a:lnTo>
                    <a:pt x="1689" y="3152"/>
                  </a:lnTo>
                  <a:lnTo>
                    <a:pt x="1696" y="3152"/>
                  </a:lnTo>
                  <a:lnTo>
                    <a:pt x="1702" y="3158"/>
                  </a:lnTo>
                  <a:lnTo>
                    <a:pt x="1709" y="3160"/>
                  </a:lnTo>
                  <a:lnTo>
                    <a:pt x="1729" y="3162"/>
                  </a:lnTo>
                  <a:lnTo>
                    <a:pt x="1729" y="3156"/>
                  </a:lnTo>
                  <a:lnTo>
                    <a:pt x="1716" y="3154"/>
                  </a:lnTo>
                  <a:lnTo>
                    <a:pt x="1714" y="3146"/>
                  </a:lnTo>
                  <a:lnTo>
                    <a:pt x="1720" y="3144"/>
                  </a:lnTo>
                  <a:lnTo>
                    <a:pt x="1722" y="3140"/>
                  </a:lnTo>
                  <a:lnTo>
                    <a:pt x="1716" y="3133"/>
                  </a:lnTo>
                  <a:lnTo>
                    <a:pt x="1717" y="3130"/>
                  </a:lnTo>
                  <a:lnTo>
                    <a:pt x="1728" y="3138"/>
                  </a:lnTo>
                  <a:lnTo>
                    <a:pt x="1739" y="3141"/>
                  </a:lnTo>
                  <a:lnTo>
                    <a:pt x="1737" y="3131"/>
                  </a:lnTo>
                  <a:lnTo>
                    <a:pt x="1745" y="3130"/>
                  </a:lnTo>
                  <a:lnTo>
                    <a:pt x="1742" y="3124"/>
                  </a:lnTo>
                  <a:lnTo>
                    <a:pt x="1741" y="3117"/>
                  </a:lnTo>
                  <a:lnTo>
                    <a:pt x="1748" y="3121"/>
                  </a:lnTo>
                  <a:lnTo>
                    <a:pt x="1755" y="3119"/>
                  </a:lnTo>
                  <a:lnTo>
                    <a:pt x="1757" y="3115"/>
                  </a:lnTo>
                  <a:lnTo>
                    <a:pt x="1758" y="3103"/>
                  </a:lnTo>
                  <a:lnTo>
                    <a:pt x="1764" y="3101"/>
                  </a:lnTo>
                  <a:lnTo>
                    <a:pt x="1764" y="3090"/>
                  </a:lnTo>
                  <a:lnTo>
                    <a:pt x="1760" y="3085"/>
                  </a:lnTo>
                  <a:lnTo>
                    <a:pt x="1727" y="3077"/>
                  </a:lnTo>
                  <a:lnTo>
                    <a:pt x="1728" y="3071"/>
                  </a:lnTo>
                  <a:lnTo>
                    <a:pt x="1759" y="3079"/>
                  </a:lnTo>
                  <a:lnTo>
                    <a:pt x="1774" y="3077"/>
                  </a:lnTo>
                  <a:lnTo>
                    <a:pt x="1763" y="3045"/>
                  </a:lnTo>
                  <a:lnTo>
                    <a:pt x="1768" y="3041"/>
                  </a:lnTo>
                  <a:lnTo>
                    <a:pt x="1770" y="3036"/>
                  </a:lnTo>
                  <a:lnTo>
                    <a:pt x="1764" y="3027"/>
                  </a:lnTo>
                  <a:lnTo>
                    <a:pt x="1726" y="3022"/>
                  </a:lnTo>
                  <a:lnTo>
                    <a:pt x="1722" y="3008"/>
                  </a:lnTo>
                  <a:lnTo>
                    <a:pt x="1732" y="3011"/>
                  </a:lnTo>
                  <a:lnTo>
                    <a:pt x="1755" y="2997"/>
                  </a:lnTo>
                  <a:lnTo>
                    <a:pt x="1772" y="2997"/>
                  </a:lnTo>
                  <a:lnTo>
                    <a:pt x="1784" y="3002"/>
                  </a:lnTo>
                  <a:lnTo>
                    <a:pt x="1786" y="2998"/>
                  </a:lnTo>
                  <a:lnTo>
                    <a:pt x="1777" y="2995"/>
                  </a:lnTo>
                  <a:lnTo>
                    <a:pt x="1770" y="2987"/>
                  </a:lnTo>
                  <a:lnTo>
                    <a:pt x="1766" y="2966"/>
                  </a:lnTo>
                  <a:lnTo>
                    <a:pt x="1758" y="2958"/>
                  </a:lnTo>
                  <a:lnTo>
                    <a:pt x="1753" y="2943"/>
                  </a:lnTo>
                  <a:lnTo>
                    <a:pt x="1747" y="2938"/>
                  </a:lnTo>
                  <a:lnTo>
                    <a:pt x="1744" y="2928"/>
                  </a:lnTo>
                  <a:lnTo>
                    <a:pt x="1733" y="2931"/>
                  </a:lnTo>
                  <a:lnTo>
                    <a:pt x="1743" y="2906"/>
                  </a:lnTo>
                  <a:lnTo>
                    <a:pt x="1749" y="2912"/>
                  </a:lnTo>
                  <a:lnTo>
                    <a:pt x="1760" y="2911"/>
                  </a:lnTo>
                  <a:lnTo>
                    <a:pt x="1768" y="2916"/>
                  </a:lnTo>
                  <a:lnTo>
                    <a:pt x="1768" y="2905"/>
                  </a:lnTo>
                  <a:lnTo>
                    <a:pt x="1776" y="2907"/>
                  </a:lnTo>
                  <a:lnTo>
                    <a:pt x="1782" y="2915"/>
                  </a:lnTo>
                  <a:lnTo>
                    <a:pt x="1786" y="2909"/>
                  </a:lnTo>
                  <a:lnTo>
                    <a:pt x="1793" y="2917"/>
                  </a:lnTo>
                  <a:lnTo>
                    <a:pt x="1801" y="2909"/>
                  </a:lnTo>
                  <a:lnTo>
                    <a:pt x="1801" y="2901"/>
                  </a:lnTo>
                  <a:lnTo>
                    <a:pt x="1813" y="2885"/>
                  </a:lnTo>
                  <a:lnTo>
                    <a:pt x="1808" y="2877"/>
                  </a:lnTo>
                  <a:lnTo>
                    <a:pt x="1809" y="2871"/>
                  </a:lnTo>
                  <a:lnTo>
                    <a:pt x="1807" y="2863"/>
                  </a:lnTo>
                  <a:lnTo>
                    <a:pt x="1793" y="2855"/>
                  </a:lnTo>
                  <a:lnTo>
                    <a:pt x="1801" y="2852"/>
                  </a:lnTo>
                  <a:lnTo>
                    <a:pt x="1804" y="2848"/>
                  </a:lnTo>
                  <a:lnTo>
                    <a:pt x="1812" y="2852"/>
                  </a:lnTo>
                  <a:lnTo>
                    <a:pt x="1819" y="2832"/>
                  </a:lnTo>
                  <a:lnTo>
                    <a:pt x="1827" y="2836"/>
                  </a:lnTo>
                  <a:lnTo>
                    <a:pt x="1829" y="2845"/>
                  </a:lnTo>
                  <a:lnTo>
                    <a:pt x="1836" y="2846"/>
                  </a:lnTo>
                  <a:lnTo>
                    <a:pt x="1841" y="2830"/>
                  </a:lnTo>
                  <a:lnTo>
                    <a:pt x="1851" y="2839"/>
                  </a:lnTo>
                  <a:lnTo>
                    <a:pt x="1854" y="2845"/>
                  </a:lnTo>
                  <a:lnTo>
                    <a:pt x="1862" y="2842"/>
                  </a:lnTo>
                  <a:lnTo>
                    <a:pt x="1878" y="2841"/>
                  </a:lnTo>
                  <a:lnTo>
                    <a:pt x="1871" y="2831"/>
                  </a:lnTo>
                  <a:lnTo>
                    <a:pt x="1886" y="2831"/>
                  </a:lnTo>
                  <a:lnTo>
                    <a:pt x="1898" y="2837"/>
                  </a:lnTo>
                  <a:lnTo>
                    <a:pt x="1899" y="2828"/>
                  </a:lnTo>
                  <a:lnTo>
                    <a:pt x="1904" y="2828"/>
                  </a:lnTo>
                  <a:lnTo>
                    <a:pt x="1901" y="2818"/>
                  </a:lnTo>
                  <a:lnTo>
                    <a:pt x="1904" y="2815"/>
                  </a:lnTo>
                  <a:lnTo>
                    <a:pt x="1900" y="2812"/>
                  </a:lnTo>
                  <a:lnTo>
                    <a:pt x="1895" y="2812"/>
                  </a:lnTo>
                  <a:lnTo>
                    <a:pt x="1888" y="2803"/>
                  </a:lnTo>
                  <a:lnTo>
                    <a:pt x="1890" y="2788"/>
                  </a:lnTo>
                  <a:lnTo>
                    <a:pt x="1900" y="2801"/>
                  </a:lnTo>
                  <a:lnTo>
                    <a:pt x="1901" y="2792"/>
                  </a:lnTo>
                  <a:lnTo>
                    <a:pt x="1906" y="2796"/>
                  </a:lnTo>
                  <a:lnTo>
                    <a:pt x="1911" y="2796"/>
                  </a:lnTo>
                  <a:lnTo>
                    <a:pt x="1914" y="2782"/>
                  </a:lnTo>
                  <a:lnTo>
                    <a:pt x="1904" y="2774"/>
                  </a:lnTo>
                  <a:lnTo>
                    <a:pt x="1916" y="2767"/>
                  </a:lnTo>
                  <a:lnTo>
                    <a:pt x="1914" y="2761"/>
                  </a:lnTo>
                  <a:lnTo>
                    <a:pt x="1919" y="2755"/>
                  </a:lnTo>
                  <a:lnTo>
                    <a:pt x="1925" y="2756"/>
                  </a:lnTo>
                  <a:lnTo>
                    <a:pt x="1911" y="2745"/>
                  </a:lnTo>
                  <a:lnTo>
                    <a:pt x="1910" y="2739"/>
                  </a:lnTo>
                  <a:lnTo>
                    <a:pt x="1919" y="2744"/>
                  </a:lnTo>
                  <a:lnTo>
                    <a:pt x="1922" y="2731"/>
                  </a:lnTo>
                  <a:lnTo>
                    <a:pt x="1933" y="2746"/>
                  </a:lnTo>
                  <a:lnTo>
                    <a:pt x="1941" y="2744"/>
                  </a:lnTo>
                  <a:lnTo>
                    <a:pt x="1947" y="2746"/>
                  </a:lnTo>
                  <a:lnTo>
                    <a:pt x="1960" y="2745"/>
                  </a:lnTo>
                  <a:lnTo>
                    <a:pt x="1936" y="2765"/>
                  </a:lnTo>
                  <a:lnTo>
                    <a:pt x="1935" y="2777"/>
                  </a:lnTo>
                  <a:lnTo>
                    <a:pt x="1925" y="2787"/>
                  </a:lnTo>
                  <a:lnTo>
                    <a:pt x="1927" y="2793"/>
                  </a:lnTo>
                  <a:lnTo>
                    <a:pt x="1927" y="2797"/>
                  </a:lnTo>
                  <a:lnTo>
                    <a:pt x="1930" y="2799"/>
                  </a:lnTo>
                  <a:lnTo>
                    <a:pt x="1936" y="2799"/>
                  </a:lnTo>
                  <a:lnTo>
                    <a:pt x="1943" y="2803"/>
                  </a:lnTo>
                  <a:lnTo>
                    <a:pt x="1954" y="2812"/>
                  </a:lnTo>
                  <a:lnTo>
                    <a:pt x="1956" y="2804"/>
                  </a:lnTo>
                  <a:lnTo>
                    <a:pt x="1947" y="2796"/>
                  </a:lnTo>
                  <a:lnTo>
                    <a:pt x="1957" y="2801"/>
                  </a:lnTo>
                  <a:lnTo>
                    <a:pt x="1956" y="2788"/>
                  </a:lnTo>
                  <a:lnTo>
                    <a:pt x="1957" y="2775"/>
                  </a:lnTo>
                  <a:lnTo>
                    <a:pt x="1967" y="2785"/>
                  </a:lnTo>
                  <a:lnTo>
                    <a:pt x="1973" y="2802"/>
                  </a:lnTo>
                  <a:lnTo>
                    <a:pt x="1983" y="2801"/>
                  </a:lnTo>
                  <a:lnTo>
                    <a:pt x="1987" y="2810"/>
                  </a:lnTo>
                  <a:lnTo>
                    <a:pt x="1992" y="2794"/>
                  </a:lnTo>
                  <a:lnTo>
                    <a:pt x="1997" y="2782"/>
                  </a:lnTo>
                  <a:lnTo>
                    <a:pt x="2005" y="2781"/>
                  </a:lnTo>
                  <a:lnTo>
                    <a:pt x="2002" y="2797"/>
                  </a:lnTo>
                  <a:lnTo>
                    <a:pt x="2007" y="2793"/>
                  </a:lnTo>
                  <a:lnTo>
                    <a:pt x="2012" y="2797"/>
                  </a:lnTo>
                  <a:lnTo>
                    <a:pt x="2014" y="2793"/>
                  </a:lnTo>
                  <a:lnTo>
                    <a:pt x="2022" y="2801"/>
                  </a:lnTo>
                  <a:lnTo>
                    <a:pt x="2023" y="2788"/>
                  </a:lnTo>
                  <a:lnTo>
                    <a:pt x="2028" y="2774"/>
                  </a:lnTo>
                  <a:lnTo>
                    <a:pt x="2038" y="2778"/>
                  </a:lnTo>
                  <a:lnTo>
                    <a:pt x="2038" y="2767"/>
                  </a:lnTo>
                  <a:lnTo>
                    <a:pt x="2042" y="2758"/>
                  </a:lnTo>
                  <a:lnTo>
                    <a:pt x="2034" y="2746"/>
                  </a:lnTo>
                  <a:lnTo>
                    <a:pt x="2030" y="2740"/>
                  </a:lnTo>
                  <a:lnTo>
                    <a:pt x="2033" y="2731"/>
                  </a:lnTo>
                  <a:lnTo>
                    <a:pt x="2044" y="2744"/>
                  </a:lnTo>
                  <a:lnTo>
                    <a:pt x="2065" y="2753"/>
                  </a:lnTo>
                  <a:lnTo>
                    <a:pt x="2072" y="2753"/>
                  </a:lnTo>
                  <a:lnTo>
                    <a:pt x="2065" y="2740"/>
                  </a:lnTo>
                  <a:lnTo>
                    <a:pt x="2073" y="2728"/>
                  </a:lnTo>
                  <a:lnTo>
                    <a:pt x="2076" y="2740"/>
                  </a:lnTo>
                  <a:lnTo>
                    <a:pt x="2081" y="2744"/>
                  </a:lnTo>
                  <a:lnTo>
                    <a:pt x="2086" y="2739"/>
                  </a:lnTo>
                  <a:lnTo>
                    <a:pt x="2093" y="2739"/>
                  </a:lnTo>
                  <a:lnTo>
                    <a:pt x="2097" y="2734"/>
                  </a:lnTo>
                  <a:lnTo>
                    <a:pt x="2098" y="2724"/>
                  </a:lnTo>
                  <a:lnTo>
                    <a:pt x="2102" y="2717"/>
                  </a:lnTo>
                  <a:lnTo>
                    <a:pt x="2105" y="2700"/>
                  </a:lnTo>
                  <a:lnTo>
                    <a:pt x="2110" y="2685"/>
                  </a:lnTo>
                  <a:lnTo>
                    <a:pt x="2114" y="2700"/>
                  </a:lnTo>
                  <a:lnTo>
                    <a:pt x="2118" y="2690"/>
                  </a:lnTo>
                  <a:lnTo>
                    <a:pt x="2120" y="2702"/>
                  </a:lnTo>
                  <a:lnTo>
                    <a:pt x="2123" y="2691"/>
                  </a:lnTo>
                  <a:lnTo>
                    <a:pt x="2126" y="2683"/>
                  </a:lnTo>
                  <a:lnTo>
                    <a:pt x="2126" y="2679"/>
                  </a:lnTo>
                  <a:lnTo>
                    <a:pt x="2131" y="2680"/>
                  </a:lnTo>
                  <a:lnTo>
                    <a:pt x="2130" y="2672"/>
                  </a:lnTo>
                  <a:lnTo>
                    <a:pt x="2137" y="2678"/>
                  </a:lnTo>
                  <a:lnTo>
                    <a:pt x="2132" y="2664"/>
                  </a:lnTo>
                  <a:lnTo>
                    <a:pt x="2134" y="2660"/>
                  </a:lnTo>
                  <a:lnTo>
                    <a:pt x="2140" y="2656"/>
                  </a:lnTo>
                  <a:lnTo>
                    <a:pt x="2142" y="2649"/>
                  </a:lnTo>
                  <a:lnTo>
                    <a:pt x="2156" y="2642"/>
                  </a:lnTo>
                  <a:lnTo>
                    <a:pt x="2158" y="2619"/>
                  </a:lnTo>
                  <a:lnTo>
                    <a:pt x="2161" y="2615"/>
                  </a:lnTo>
                  <a:lnTo>
                    <a:pt x="2159" y="2604"/>
                  </a:lnTo>
                  <a:lnTo>
                    <a:pt x="2156" y="2599"/>
                  </a:lnTo>
                  <a:lnTo>
                    <a:pt x="2164" y="2599"/>
                  </a:lnTo>
                  <a:lnTo>
                    <a:pt x="2163" y="2590"/>
                  </a:lnTo>
                  <a:lnTo>
                    <a:pt x="2168" y="2573"/>
                  </a:lnTo>
                  <a:lnTo>
                    <a:pt x="2175" y="2571"/>
                  </a:lnTo>
                  <a:lnTo>
                    <a:pt x="2177" y="2560"/>
                  </a:lnTo>
                  <a:lnTo>
                    <a:pt x="2174" y="2551"/>
                  </a:lnTo>
                  <a:lnTo>
                    <a:pt x="2184" y="2555"/>
                  </a:lnTo>
                  <a:lnTo>
                    <a:pt x="2196" y="2547"/>
                  </a:lnTo>
                  <a:lnTo>
                    <a:pt x="2209" y="2534"/>
                  </a:lnTo>
                  <a:lnTo>
                    <a:pt x="2207" y="2528"/>
                  </a:lnTo>
                  <a:lnTo>
                    <a:pt x="2215" y="2519"/>
                  </a:lnTo>
                  <a:lnTo>
                    <a:pt x="2220" y="2528"/>
                  </a:lnTo>
                  <a:lnTo>
                    <a:pt x="2226" y="2522"/>
                  </a:lnTo>
                  <a:lnTo>
                    <a:pt x="2229" y="2525"/>
                  </a:lnTo>
                  <a:lnTo>
                    <a:pt x="2231" y="2518"/>
                  </a:lnTo>
                  <a:lnTo>
                    <a:pt x="2234" y="2514"/>
                  </a:lnTo>
                  <a:lnTo>
                    <a:pt x="2233" y="2501"/>
                  </a:lnTo>
                  <a:lnTo>
                    <a:pt x="2242" y="2498"/>
                  </a:lnTo>
                  <a:lnTo>
                    <a:pt x="2237" y="2489"/>
                  </a:lnTo>
                  <a:lnTo>
                    <a:pt x="2217" y="2477"/>
                  </a:lnTo>
                  <a:lnTo>
                    <a:pt x="2225" y="2475"/>
                  </a:lnTo>
                  <a:lnTo>
                    <a:pt x="2216" y="2454"/>
                  </a:lnTo>
                  <a:lnTo>
                    <a:pt x="2202" y="2436"/>
                  </a:lnTo>
                  <a:lnTo>
                    <a:pt x="2201" y="2428"/>
                  </a:lnTo>
                  <a:lnTo>
                    <a:pt x="2214" y="2427"/>
                  </a:lnTo>
                  <a:lnTo>
                    <a:pt x="2211" y="2415"/>
                  </a:lnTo>
                  <a:lnTo>
                    <a:pt x="2221" y="2425"/>
                  </a:lnTo>
                  <a:lnTo>
                    <a:pt x="2221" y="2438"/>
                  </a:lnTo>
                  <a:lnTo>
                    <a:pt x="2223" y="2448"/>
                  </a:lnTo>
                  <a:lnTo>
                    <a:pt x="2229" y="2436"/>
                  </a:lnTo>
                  <a:lnTo>
                    <a:pt x="2232" y="2439"/>
                  </a:lnTo>
                  <a:lnTo>
                    <a:pt x="2233" y="2449"/>
                  </a:lnTo>
                  <a:lnTo>
                    <a:pt x="2239" y="2458"/>
                  </a:lnTo>
                  <a:lnTo>
                    <a:pt x="2241" y="2465"/>
                  </a:lnTo>
                  <a:lnTo>
                    <a:pt x="2260" y="2471"/>
                  </a:lnTo>
                  <a:lnTo>
                    <a:pt x="2256" y="2480"/>
                  </a:lnTo>
                  <a:lnTo>
                    <a:pt x="2248" y="2476"/>
                  </a:lnTo>
                  <a:lnTo>
                    <a:pt x="2250" y="2489"/>
                  </a:lnTo>
                  <a:lnTo>
                    <a:pt x="2261" y="2495"/>
                  </a:lnTo>
                  <a:lnTo>
                    <a:pt x="2260" y="2501"/>
                  </a:lnTo>
                  <a:lnTo>
                    <a:pt x="2270" y="2493"/>
                  </a:lnTo>
                  <a:lnTo>
                    <a:pt x="2280" y="2493"/>
                  </a:lnTo>
                  <a:lnTo>
                    <a:pt x="2297" y="2501"/>
                  </a:lnTo>
                  <a:lnTo>
                    <a:pt x="2288" y="2490"/>
                  </a:lnTo>
                  <a:lnTo>
                    <a:pt x="2291" y="2486"/>
                  </a:lnTo>
                  <a:lnTo>
                    <a:pt x="2290" y="2481"/>
                  </a:lnTo>
                  <a:lnTo>
                    <a:pt x="2295" y="2481"/>
                  </a:lnTo>
                  <a:lnTo>
                    <a:pt x="2296" y="2485"/>
                  </a:lnTo>
                  <a:lnTo>
                    <a:pt x="2314" y="2497"/>
                  </a:lnTo>
                  <a:lnTo>
                    <a:pt x="2324" y="2497"/>
                  </a:lnTo>
                  <a:lnTo>
                    <a:pt x="2322" y="2486"/>
                  </a:lnTo>
                  <a:lnTo>
                    <a:pt x="2311" y="2481"/>
                  </a:lnTo>
                  <a:lnTo>
                    <a:pt x="2311" y="2468"/>
                  </a:lnTo>
                  <a:lnTo>
                    <a:pt x="2317" y="2473"/>
                  </a:lnTo>
                  <a:lnTo>
                    <a:pt x="2330" y="2474"/>
                  </a:lnTo>
                  <a:lnTo>
                    <a:pt x="2330" y="2484"/>
                  </a:lnTo>
                  <a:lnTo>
                    <a:pt x="2339" y="2493"/>
                  </a:lnTo>
                  <a:lnTo>
                    <a:pt x="2346" y="2484"/>
                  </a:lnTo>
                  <a:lnTo>
                    <a:pt x="2338" y="2475"/>
                  </a:lnTo>
                  <a:lnTo>
                    <a:pt x="2341" y="2469"/>
                  </a:lnTo>
                  <a:lnTo>
                    <a:pt x="2351" y="2474"/>
                  </a:lnTo>
                  <a:lnTo>
                    <a:pt x="2349" y="2460"/>
                  </a:lnTo>
                  <a:lnTo>
                    <a:pt x="2350" y="2452"/>
                  </a:lnTo>
                  <a:lnTo>
                    <a:pt x="2357" y="2448"/>
                  </a:lnTo>
                  <a:lnTo>
                    <a:pt x="2360" y="2448"/>
                  </a:lnTo>
                  <a:lnTo>
                    <a:pt x="2366" y="2460"/>
                  </a:lnTo>
                  <a:lnTo>
                    <a:pt x="2378" y="2473"/>
                  </a:lnTo>
                  <a:lnTo>
                    <a:pt x="2381" y="2471"/>
                  </a:lnTo>
                  <a:lnTo>
                    <a:pt x="2384" y="2466"/>
                  </a:lnTo>
                  <a:lnTo>
                    <a:pt x="2387" y="2459"/>
                  </a:lnTo>
                  <a:lnTo>
                    <a:pt x="2395" y="2465"/>
                  </a:lnTo>
                  <a:lnTo>
                    <a:pt x="2398" y="2454"/>
                  </a:lnTo>
                  <a:lnTo>
                    <a:pt x="2424" y="2450"/>
                  </a:lnTo>
                  <a:lnTo>
                    <a:pt x="2435" y="2441"/>
                  </a:lnTo>
                  <a:lnTo>
                    <a:pt x="2443" y="2446"/>
                  </a:lnTo>
                  <a:lnTo>
                    <a:pt x="2443" y="2436"/>
                  </a:lnTo>
                  <a:lnTo>
                    <a:pt x="2452" y="2441"/>
                  </a:lnTo>
                  <a:lnTo>
                    <a:pt x="2458" y="2438"/>
                  </a:lnTo>
                  <a:lnTo>
                    <a:pt x="2460" y="2426"/>
                  </a:lnTo>
                  <a:lnTo>
                    <a:pt x="2468" y="2430"/>
                  </a:lnTo>
                  <a:lnTo>
                    <a:pt x="2473" y="2439"/>
                  </a:lnTo>
                  <a:lnTo>
                    <a:pt x="2478" y="2438"/>
                  </a:lnTo>
                  <a:lnTo>
                    <a:pt x="2476" y="2428"/>
                  </a:lnTo>
                  <a:lnTo>
                    <a:pt x="2483" y="2426"/>
                  </a:lnTo>
                  <a:lnTo>
                    <a:pt x="2489" y="2425"/>
                  </a:lnTo>
                  <a:lnTo>
                    <a:pt x="2494" y="2431"/>
                  </a:lnTo>
                  <a:lnTo>
                    <a:pt x="2499" y="2428"/>
                  </a:lnTo>
                  <a:lnTo>
                    <a:pt x="2499" y="2422"/>
                  </a:lnTo>
                  <a:lnTo>
                    <a:pt x="2501" y="2420"/>
                  </a:lnTo>
                  <a:lnTo>
                    <a:pt x="2510" y="2419"/>
                  </a:lnTo>
                  <a:lnTo>
                    <a:pt x="2514" y="2423"/>
                  </a:lnTo>
                  <a:lnTo>
                    <a:pt x="2517" y="2411"/>
                  </a:lnTo>
                  <a:lnTo>
                    <a:pt x="2521" y="2407"/>
                  </a:lnTo>
                  <a:lnTo>
                    <a:pt x="2533" y="2404"/>
                  </a:lnTo>
                  <a:lnTo>
                    <a:pt x="2537" y="2411"/>
                  </a:lnTo>
                  <a:lnTo>
                    <a:pt x="2539" y="2406"/>
                  </a:lnTo>
                  <a:lnTo>
                    <a:pt x="2554" y="2406"/>
                  </a:lnTo>
                  <a:lnTo>
                    <a:pt x="2551" y="2400"/>
                  </a:lnTo>
                  <a:lnTo>
                    <a:pt x="2555" y="2393"/>
                  </a:lnTo>
                  <a:lnTo>
                    <a:pt x="2573" y="2389"/>
                  </a:lnTo>
                  <a:lnTo>
                    <a:pt x="2577" y="2383"/>
                  </a:lnTo>
                  <a:lnTo>
                    <a:pt x="2577" y="2378"/>
                  </a:lnTo>
                  <a:lnTo>
                    <a:pt x="2586" y="2378"/>
                  </a:lnTo>
                  <a:lnTo>
                    <a:pt x="2591" y="2363"/>
                  </a:lnTo>
                  <a:lnTo>
                    <a:pt x="2600" y="2363"/>
                  </a:lnTo>
                  <a:lnTo>
                    <a:pt x="2593" y="2360"/>
                  </a:lnTo>
                  <a:lnTo>
                    <a:pt x="2591" y="2353"/>
                  </a:lnTo>
                  <a:lnTo>
                    <a:pt x="2591" y="2345"/>
                  </a:lnTo>
                  <a:lnTo>
                    <a:pt x="2608" y="2353"/>
                  </a:lnTo>
                  <a:lnTo>
                    <a:pt x="2607" y="2342"/>
                  </a:lnTo>
                  <a:lnTo>
                    <a:pt x="2613" y="2340"/>
                  </a:lnTo>
                  <a:lnTo>
                    <a:pt x="2623" y="2345"/>
                  </a:lnTo>
                  <a:lnTo>
                    <a:pt x="2620" y="2337"/>
                  </a:lnTo>
                  <a:lnTo>
                    <a:pt x="2621" y="2334"/>
                  </a:lnTo>
                  <a:lnTo>
                    <a:pt x="2621" y="2329"/>
                  </a:lnTo>
                  <a:lnTo>
                    <a:pt x="2608" y="2324"/>
                  </a:lnTo>
                  <a:lnTo>
                    <a:pt x="2619" y="2314"/>
                  </a:lnTo>
                  <a:lnTo>
                    <a:pt x="2627" y="2318"/>
                  </a:lnTo>
                  <a:lnTo>
                    <a:pt x="2635" y="2324"/>
                  </a:lnTo>
                  <a:lnTo>
                    <a:pt x="2639" y="2320"/>
                  </a:lnTo>
                  <a:lnTo>
                    <a:pt x="2634" y="2319"/>
                  </a:lnTo>
                  <a:lnTo>
                    <a:pt x="2635" y="2314"/>
                  </a:lnTo>
                  <a:lnTo>
                    <a:pt x="2646" y="2310"/>
                  </a:lnTo>
                  <a:lnTo>
                    <a:pt x="2646" y="2301"/>
                  </a:lnTo>
                  <a:lnTo>
                    <a:pt x="2661" y="2296"/>
                  </a:lnTo>
                  <a:lnTo>
                    <a:pt x="2658" y="2288"/>
                  </a:lnTo>
                  <a:lnTo>
                    <a:pt x="2673" y="2294"/>
                  </a:lnTo>
                  <a:lnTo>
                    <a:pt x="2666" y="2283"/>
                  </a:lnTo>
                  <a:lnTo>
                    <a:pt x="2674" y="2286"/>
                  </a:lnTo>
                  <a:lnTo>
                    <a:pt x="2669" y="2276"/>
                  </a:lnTo>
                  <a:lnTo>
                    <a:pt x="2661" y="2272"/>
                  </a:lnTo>
                  <a:lnTo>
                    <a:pt x="2666" y="2267"/>
                  </a:lnTo>
                  <a:lnTo>
                    <a:pt x="2675" y="2269"/>
                  </a:lnTo>
                  <a:lnTo>
                    <a:pt x="2679" y="2264"/>
                  </a:lnTo>
                  <a:lnTo>
                    <a:pt x="2684" y="2271"/>
                  </a:lnTo>
                  <a:lnTo>
                    <a:pt x="2693" y="2276"/>
                  </a:lnTo>
                  <a:lnTo>
                    <a:pt x="2698" y="2265"/>
                  </a:lnTo>
                  <a:lnTo>
                    <a:pt x="2693" y="2260"/>
                  </a:lnTo>
                  <a:lnTo>
                    <a:pt x="2698" y="2259"/>
                  </a:lnTo>
                  <a:lnTo>
                    <a:pt x="2686" y="2245"/>
                  </a:lnTo>
                  <a:lnTo>
                    <a:pt x="2699" y="2239"/>
                  </a:lnTo>
                  <a:lnTo>
                    <a:pt x="2717" y="2236"/>
                  </a:lnTo>
                  <a:lnTo>
                    <a:pt x="2720" y="2226"/>
                  </a:lnTo>
                  <a:lnTo>
                    <a:pt x="2736" y="2236"/>
                  </a:lnTo>
                  <a:lnTo>
                    <a:pt x="2732" y="2229"/>
                  </a:lnTo>
                  <a:lnTo>
                    <a:pt x="2726" y="2228"/>
                  </a:lnTo>
                  <a:lnTo>
                    <a:pt x="2722" y="2223"/>
                  </a:lnTo>
                  <a:lnTo>
                    <a:pt x="2728" y="2222"/>
                  </a:lnTo>
                  <a:lnTo>
                    <a:pt x="2729" y="2212"/>
                  </a:lnTo>
                  <a:lnTo>
                    <a:pt x="2738" y="2216"/>
                  </a:lnTo>
                  <a:lnTo>
                    <a:pt x="2744" y="2208"/>
                  </a:lnTo>
                  <a:lnTo>
                    <a:pt x="2750" y="2212"/>
                  </a:lnTo>
                  <a:lnTo>
                    <a:pt x="2758" y="2212"/>
                  </a:lnTo>
                  <a:lnTo>
                    <a:pt x="2763" y="2205"/>
                  </a:lnTo>
                  <a:lnTo>
                    <a:pt x="2769" y="2212"/>
                  </a:lnTo>
                  <a:lnTo>
                    <a:pt x="2781" y="2193"/>
                  </a:lnTo>
                  <a:lnTo>
                    <a:pt x="2786" y="2178"/>
                  </a:lnTo>
                  <a:lnTo>
                    <a:pt x="2783" y="2178"/>
                  </a:lnTo>
                  <a:lnTo>
                    <a:pt x="2760" y="2190"/>
                  </a:lnTo>
                  <a:lnTo>
                    <a:pt x="2744" y="2191"/>
                  </a:lnTo>
                  <a:lnTo>
                    <a:pt x="2693" y="2184"/>
                  </a:lnTo>
                  <a:lnTo>
                    <a:pt x="2634" y="2154"/>
                  </a:lnTo>
                  <a:lnTo>
                    <a:pt x="2627" y="2157"/>
                  </a:lnTo>
                  <a:lnTo>
                    <a:pt x="2627" y="2145"/>
                  </a:lnTo>
                  <a:lnTo>
                    <a:pt x="2618" y="2148"/>
                  </a:lnTo>
                  <a:lnTo>
                    <a:pt x="2607" y="2154"/>
                  </a:lnTo>
                  <a:lnTo>
                    <a:pt x="2602" y="2142"/>
                  </a:lnTo>
                  <a:lnTo>
                    <a:pt x="2564" y="2161"/>
                  </a:lnTo>
                  <a:lnTo>
                    <a:pt x="2549" y="2173"/>
                  </a:lnTo>
                  <a:lnTo>
                    <a:pt x="2529" y="2164"/>
                  </a:lnTo>
                  <a:lnTo>
                    <a:pt x="2507" y="2174"/>
                  </a:lnTo>
                  <a:lnTo>
                    <a:pt x="2497" y="2201"/>
                  </a:lnTo>
                  <a:lnTo>
                    <a:pt x="2463" y="2200"/>
                  </a:lnTo>
                  <a:lnTo>
                    <a:pt x="2427" y="2195"/>
                  </a:lnTo>
                  <a:lnTo>
                    <a:pt x="2446" y="2179"/>
                  </a:lnTo>
                  <a:lnTo>
                    <a:pt x="2463" y="2186"/>
                  </a:lnTo>
                  <a:lnTo>
                    <a:pt x="2479" y="2180"/>
                  </a:lnTo>
                  <a:lnTo>
                    <a:pt x="2508" y="2156"/>
                  </a:lnTo>
                  <a:lnTo>
                    <a:pt x="2528" y="2154"/>
                  </a:lnTo>
                  <a:lnTo>
                    <a:pt x="2541" y="2147"/>
                  </a:lnTo>
                  <a:lnTo>
                    <a:pt x="2534" y="2135"/>
                  </a:lnTo>
                  <a:lnTo>
                    <a:pt x="2518" y="2132"/>
                  </a:lnTo>
                  <a:lnTo>
                    <a:pt x="2465" y="2141"/>
                  </a:lnTo>
                  <a:lnTo>
                    <a:pt x="2437" y="2138"/>
                  </a:lnTo>
                  <a:lnTo>
                    <a:pt x="2425" y="2127"/>
                  </a:lnTo>
                  <a:lnTo>
                    <a:pt x="2409" y="2126"/>
                  </a:lnTo>
                  <a:lnTo>
                    <a:pt x="2441" y="2111"/>
                  </a:lnTo>
                  <a:lnTo>
                    <a:pt x="2449" y="2099"/>
                  </a:lnTo>
                  <a:lnTo>
                    <a:pt x="2458" y="2073"/>
                  </a:lnTo>
                  <a:lnTo>
                    <a:pt x="2444" y="2055"/>
                  </a:lnTo>
                  <a:lnTo>
                    <a:pt x="2448" y="2046"/>
                  </a:lnTo>
                  <a:lnTo>
                    <a:pt x="2465" y="2044"/>
                  </a:lnTo>
                  <a:lnTo>
                    <a:pt x="2476" y="2050"/>
                  </a:lnTo>
                  <a:lnTo>
                    <a:pt x="2478" y="2029"/>
                  </a:lnTo>
                  <a:lnTo>
                    <a:pt x="2494" y="2045"/>
                  </a:lnTo>
                  <a:lnTo>
                    <a:pt x="2535" y="2045"/>
                  </a:lnTo>
                  <a:lnTo>
                    <a:pt x="2571" y="2024"/>
                  </a:lnTo>
                  <a:lnTo>
                    <a:pt x="2584" y="2008"/>
                  </a:lnTo>
                  <a:lnTo>
                    <a:pt x="2578" y="1991"/>
                  </a:lnTo>
                  <a:lnTo>
                    <a:pt x="2594" y="2001"/>
                  </a:lnTo>
                  <a:lnTo>
                    <a:pt x="2592" y="1975"/>
                  </a:lnTo>
                  <a:lnTo>
                    <a:pt x="2577" y="1959"/>
                  </a:lnTo>
                  <a:lnTo>
                    <a:pt x="2553" y="1955"/>
                  </a:lnTo>
                  <a:lnTo>
                    <a:pt x="2535" y="1960"/>
                  </a:lnTo>
                  <a:lnTo>
                    <a:pt x="2516" y="1949"/>
                  </a:lnTo>
                  <a:lnTo>
                    <a:pt x="2499" y="1958"/>
                  </a:lnTo>
                  <a:lnTo>
                    <a:pt x="2501" y="1944"/>
                  </a:lnTo>
                  <a:lnTo>
                    <a:pt x="2490" y="1938"/>
                  </a:lnTo>
                  <a:lnTo>
                    <a:pt x="2471" y="1931"/>
                  </a:lnTo>
                  <a:lnTo>
                    <a:pt x="2487" y="1927"/>
                  </a:lnTo>
                  <a:lnTo>
                    <a:pt x="2483" y="1912"/>
                  </a:lnTo>
                  <a:lnTo>
                    <a:pt x="2480" y="1898"/>
                  </a:lnTo>
                  <a:lnTo>
                    <a:pt x="2505" y="1915"/>
                  </a:lnTo>
                  <a:lnTo>
                    <a:pt x="2521" y="1938"/>
                  </a:lnTo>
                  <a:lnTo>
                    <a:pt x="2538" y="1942"/>
                  </a:lnTo>
                  <a:lnTo>
                    <a:pt x="2550" y="1932"/>
                  </a:lnTo>
                  <a:lnTo>
                    <a:pt x="2565" y="1941"/>
                  </a:lnTo>
                  <a:lnTo>
                    <a:pt x="2583" y="1944"/>
                  </a:lnTo>
                  <a:lnTo>
                    <a:pt x="2604" y="1964"/>
                  </a:lnTo>
                  <a:lnTo>
                    <a:pt x="2620" y="1984"/>
                  </a:lnTo>
                  <a:lnTo>
                    <a:pt x="2640" y="1982"/>
                  </a:lnTo>
                  <a:lnTo>
                    <a:pt x="2646" y="1990"/>
                  </a:lnTo>
                  <a:lnTo>
                    <a:pt x="2651" y="2008"/>
                  </a:lnTo>
                  <a:lnTo>
                    <a:pt x="2667" y="2027"/>
                  </a:lnTo>
                  <a:lnTo>
                    <a:pt x="2669" y="2049"/>
                  </a:lnTo>
                  <a:lnTo>
                    <a:pt x="2675" y="2082"/>
                  </a:lnTo>
                  <a:lnTo>
                    <a:pt x="2689" y="2107"/>
                  </a:lnTo>
                  <a:lnTo>
                    <a:pt x="2710" y="2124"/>
                  </a:lnTo>
                  <a:lnTo>
                    <a:pt x="2734" y="2134"/>
                  </a:lnTo>
                  <a:lnTo>
                    <a:pt x="2755" y="2130"/>
                  </a:lnTo>
                  <a:lnTo>
                    <a:pt x="2756" y="2087"/>
                  </a:lnTo>
                  <a:lnTo>
                    <a:pt x="2759" y="2068"/>
                  </a:lnTo>
                  <a:lnTo>
                    <a:pt x="2765" y="2070"/>
                  </a:lnTo>
                  <a:lnTo>
                    <a:pt x="2768" y="2099"/>
                  </a:lnTo>
                  <a:lnTo>
                    <a:pt x="2772" y="2123"/>
                  </a:lnTo>
                  <a:lnTo>
                    <a:pt x="2788" y="2119"/>
                  </a:lnTo>
                  <a:lnTo>
                    <a:pt x="2796" y="2132"/>
                  </a:lnTo>
                  <a:lnTo>
                    <a:pt x="2811" y="2126"/>
                  </a:lnTo>
                  <a:lnTo>
                    <a:pt x="2812" y="2108"/>
                  </a:lnTo>
                  <a:lnTo>
                    <a:pt x="2803" y="2104"/>
                  </a:lnTo>
                  <a:lnTo>
                    <a:pt x="2804" y="2087"/>
                  </a:lnTo>
                  <a:lnTo>
                    <a:pt x="2797" y="2070"/>
                  </a:lnTo>
                  <a:lnTo>
                    <a:pt x="2802" y="2064"/>
                  </a:lnTo>
                  <a:lnTo>
                    <a:pt x="2799" y="2045"/>
                  </a:lnTo>
                  <a:lnTo>
                    <a:pt x="2802" y="2038"/>
                  </a:lnTo>
                  <a:lnTo>
                    <a:pt x="2797" y="2027"/>
                  </a:lnTo>
                  <a:lnTo>
                    <a:pt x="2785" y="2029"/>
                  </a:lnTo>
                  <a:lnTo>
                    <a:pt x="2798" y="2021"/>
                  </a:lnTo>
                  <a:lnTo>
                    <a:pt x="2799" y="2003"/>
                  </a:lnTo>
                  <a:lnTo>
                    <a:pt x="2797" y="1991"/>
                  </a:lnTo>
                  <a:lnTo>
                    <a:pt x="2801" y="1984"/>
                  </a:lnTo>
                  <a:lnTo>
                    <a:pt x="2802" y="1955"/>
                  </a:lnTo>
                  <a:lnTo>
                    <a:pt x="2795" y="1952"/>
                  </a:lnTo>
                  <a:lnTo>
                    <a:pt x="2781" y="1965"/>
                  </a:lnTo>
                  <a:lnTo>
                    <a:pt x="2774" y="1963"/>
                  </a:lnTo>
                  <a:lnTo>
                    <a:pt x="2766" y="1989"/>
                  </a:lnTo>
                  <a:lnTo>
                    <a:pt x="2759" y="1991"/>
                  </a:lnTo>
                  <a:lnTo>
                    <a:pt x="2759" y="1962"/>
                  </a:lnTo>
                  <a:lnTo>
                    <a:pt x="2781" y="1930"/>
                  </a:lnTo>
                  <a:lnTo>
                    <a:pt x="2786" y="1915"/>
                  </a:lnTo>
                  <a:lnTo>
                    <a:pt x="2776" y="1915"/>
                  </a:lnTo>
                  <a:lnTo>
                    <a:pt x="2769" y="1922"/>
                  </a:lnTo>
                  <a:lnTo>
                    <a:pt x="2760" y="1936"/>
                  </a:lnTo>
                  <a:lnTo>
                    <a:pt x="2754" y="1939"/>
                  </a:lnTo>
                  <a:lnTo>
                    <a:pt x="2761" y="1920"/>
                  </a:lnTo>
                  <a:lnTo>
                    <a:pt x="2763" y="1905"/>
                  </a:lnTo>
                  <a:lnTo>
                    <a:pt x="2742" y="1920"/>
                  </a:lnTo>
                  <a:lnTo>
                    <a:pt x="2732" y="1936"/>
                  </a:lnTo>
                  <a:lnTo>
                    <a:pt x="2726" y="1939"/>
                  </a:lnTo>
                  <a:lnTo>
                    <a:pt x="2734" y="1919"/>
                  </a:lnTo>
                  <a:lnTo>
                    <a:pt x="2747" y="1904"/>
                  </a:lnTo>
                  <a:lnTo>
                    <a:pt x="2749" y="1894"/>
                  </a:lnTo>
                  <a:lnTo>
                    <a:pt x="2758" y="1882"/>
                  </a:lnTo>
                  <a:lnTo>
                    <a:pt x="2723" y="1867"/>
                  </a:lnTo>
                  <a:lnTo>
                    <a:pt x="2720" y="1855"/>
                  </a:lnTo>
                  <a:lnTo>
                    <a:pt x="2691" y="1844"/>
                  </a:lnTo>
                  <a:lnTo>
                    <a:pt x="2689" y="1834"/>
                  </a:lnTo>
                  <a:lnTo>
                    <a:pt x="2680" y="1822"/>
                  </a:lnTo>
                  <a:lnTo>
                    <a:pt x="2643" y="1792"/>
                  </a:lnTo>
                  <a:lnTo>
                    <a:pt x="2632" y="1790"/>
                  </a:lnTo>
                  <a:lnTo>
                    <a:pt x="2616" y="1799"/>
                  </a:lnTo>
                  <a:lnTo>
                    <a:pt x="2609" y="1813"/>
                  </a:lnTo>
                  <a:lnTo>
                    <a:pt x="2605" y="1834"/>
                  </a:lnTo>
                  <a:lnTo>
                    <a:pt x="2597" y="1850"/>
                  </a:lnTo>
                  <a:lnTo>
                    <a:pt x="2597" y="1835"/>
                  </a:lnTo>
                  <a:lnTo>
                    <a:pt x="2602" y="1819"/>
                  </a:lnTo>
                  <a:lnTo>
                    <a:pt x="2605" y="1801"/>
                  </a:lnTo>
                  <a:lnTo>
                    <a:pt x="2593" y="1797"/>
                  </a:lnTo>
                  <a:lnTo>
                    <a:pt x="2594" y="1790"/>
                  </a:lnTo>
                  <a:lnTo>
                    <a:pt x="2621" y="1785"/>
                  </a:lnTo>
                  <a:lnTo>
                    <a:pt x="2637" y="1779"/>
                  </a:lnTo>
                  <a:lnTo>
                    <a:pt x="2637" y="1764"/>
                  </a:lnTo>
                  <a:lnTo>
                    <a:pt x="2634" y="1743"/>
                  </a:lnTo>
                  <a:lnTo>
                    <a:pt x="2599" y="1721"/>
                  </a:lnTo>
                  <a:lnTo>
                    <a:pt x="2583" y="1725"/>
                  </a:lnTo>
                  <a:lnTo>
                    <a:pt x="2564" y="1739"/>
                  </a:lnTo>
                  <a:lnTo>
                    <a:pt x="2549" y="1755"/>
                  </a:lnTo>
                  <a:lnTo>
                    <a:pt x="2546" y="1755"/>
                  </a:lnTo>
                  <a:lnTo>
                    <a:pt x="2546" y="1736"/>
                  </a:lnTo>
                  <a:lnTo>
                    <a:pt x="2526" y="1741"/>
                  </a:lnTo>
                  <a:lnTo>
                    <a:pt x="2533" y="1732"/>
                  </a:lnTo>
                  <a:lnTo>
                    <a:pt x="2540" y="1729"/>
                  </a:lnTo>
                  <a:lnTo>
                    <a:pt x="2530" y="1720"/>
                  </a:lnTo>
                  <a:lnTo>
                    <a:pt x="2561" y="1723"/>
                  </a:lnTo>
                  <a:lnTo>
                    <a:pt x="2580" y="1717"/>
                  </a:lnTo>
                  <a:lnTo>
                    <a:pt x="2593" y="1706"/>
                  </a:lnTo>
                  <a:lnTo>
                    <a:pt x="2612" y="1701"/>
                  </a:lnTo>
                  <a:lnTo>
                    <a:pt x="2624" y="1678"/>
                  </a:lnTo>
                  <a:lnTo>
                    <a:pt x="2613" y="1672"/>
                  </a:lnTo>
                  <a:lnTo>
                    <a:pt x="2592" y="1669"/>
                  </a:lnTo>
                  <a:lnTo>
                    <a:pt x="2580" y="1657"/>
                  </a:lnTo>
                  <a:lnTo>
                    <a:pt x="2564" y="1648"/>
                  </a:lnTo>
                  <a:lnTo>
                    <a:pt x="2539" y="1655"/>
                  </a:lnTo>
                  <a:lnTo>
                    <a:pt x="2526" y="1666"/>
                  </a:lnTo>
                  <a:lnTo>
                    <a:pt x="2517" y="1656"/>
                  </a:lnTo>
                  <a:lnTo>
                    <a:pt x="2534" y="1648"/>
                  </a:lnTo>
                  <a:lnTo>
                    <a:pt x="2544" y="1639"/>
                  </a:lnTo>
                  <a:lnTo>
                    <a:pt x="2521" y="1627"/>
                  </a:lnTo>
                  <a:lnTo>
                    <a:pt x="2543" y="1623"/>
                  </a:lnTo>
                  <a:lnTo>
                    <a:pt x="2557" y="1639"/>
                  </a:lnTo>
                  <a:lnTo>
                    <a:pt x="2577" y="1640"/>
                  </a:lnTo>
                  <a:lnTo>
                    <a:pt x="2598" y="1619"/>
                  </a:lnTo>
                  <a:lnTo>
                    <a:pt x="2605" y="1607"/>
                  </a:lnTo>
                  <a:lnTo>
                    <a:pt x="2634" y="1592"/>
                  </a:lnTo>
                  <a:lnTo>
                    <a:pt x="2630" y="1582"/>
                  </a:lnTo>
                  <a:lnTo>
                    <a:pt x="2625" y="1561"/>
                  </a:lnTo>
                  <a:lnTo>
                    <a:pt x="2643" y="1575"/>
                  </a:lnTo>
                  <a:lnTo>
                    <a:pt x="2655" y="1577"/>
                  </a:lnTo>
                  <a:lnTo>
                    <a:pt x="2658" y="1540"/>
                  </a:lnTo>
                  <a:lnTo>
                    <a:pt x="2668" y="1535"/>
                  </a:lnTo>
                  <a:lnTo>
                    <a:pt x="2677" y="1537"/>
                  </a:lnTo>
                  <a:lnTo>
                    <a:pt x="2680" y="1564"/>
                  </a:lnTo>
                  <a:lnTo>
                    <a:pt x="2696" y="1587"/>
                  </a:lnTo>
                  <a:lnTo>
                    <a:pt x="2732" y="1620"/>
                  </a:lnTo>
                  <a:lnTo>
                    <a:pt x="2766" y="1636"/>
                  </a:lnTo>
                  <a:lnTo>
                    <a:pt x="2780" y="1635"/>
                  </a:lnTo>
                  <a:lnTo>
                    <a:pt x="2786" y="1619"/>
                  </a:lnTo>
                  <a:lnTo>
                    <a:pt x="2802" y="1612"/>
                  </a:lnTo>
                  <a:lnTo>
                    <a:pt x="2820" y="1591"/>
                  </a:lnTo>
                  <a:lnTo>
                    <a:pt x="2840" y="1598"/>
                  </a:lnTo>
                  <a:lnTo>
                    <a:pt x="2863" y="1597"/>
                  </a:lnTo>
                  <a:lnTo>
                    <a:pt x="2872" y="1588"/>
                  </a:lnTo>
                  <a:lnTo>
                    <a:pt x="2869" y="1577"/>
                  </a:lnTo>
                  <a:lnTo>
                    <a:pt x="2871" y="1546"/>
                  </a:lnTo>
                  <a:lnTo>
                    <a:pt x="2878" y="1530"/>
                  </a:lnTo>
                  <a:lnTo>
                    <a:pt x="2879" y="1522"/>
                  </a:lnTo>
                  <a:lnTo>
                    <a:pt x="2867" y="1514"/>
                  </a:lnTo>
                  <a:lnTo>
                    <a:pt x="2835" y="1503"/>
                  </a:lnTo>
                  <a:lnTo>
                    <a:pt x="2819" y="1496"/>
                  </a:lnTo>
                  <a:lnTo>
                    <a:pt x="2808" y="1484"/>
                  </a:lnTo>
                  <a:lnTo>
                    <a:pt x="2785" y="1490"/>
                  </a:lnTo>
                  <a:lnTo>
                    <a:pt x="2766" y="1484"/>
                  </a:lnTo>
                  <a:lnTo>
                    <a:pt x="2768" y="1475"/>
                  </a:lnTo>
                  <a:lnTo>
                    <a:pt x="2774" y="1474"/>
                  </a:lnTo>
                  <a:lnTo>
                    <a:pt x="2771" y="1460"/>
                  </a:lnTo>
                  <a:lnTo>
                    <a:pt x="2782" y="1448"/>
                  </a:lnTo>
                  <a:lnTo>
                    <a:pt x="2781" y="1436"/>
                  </a:lnTo>
                  <a:lnTo>
                    <a:pt x="2761" y="1433"/>
                  </a:lnTo>
                  <a:lnTo>
                    <a:pt x="2792" y="1420"/>
                  </a:lnTo>
                  <a:lnTo>
                    <a:pt x="2791" y="1404"/>
                  </a:lnTo>
                  <a:lnTo>
                    <a:pt x="2786" y="1383"/>
                  </a:lnTo>
                  <a:lnTo>
                    <a:pt x="2797" y="1387"/>
                  </a:lnTo>
                  <a:lnTo>
                    <a:pt x="2806" y="1398"/>
                  </a:lnTo>
                  <a:lnTo>
                    <a:pt x="2833" y="1395"/>
                  </a:lnTo>
                  <a:lnTo>
                    <a:pt x="2852" y="1400"/>
                  </a:lnTo>
                  <a:lnTo>
                    <a:pt x="2868" y="1398"/>
                  </a:lnTo>
                  <a:lnTo>
                    <a:pt x="2881" y="1404"/>
                  </a:lnTo>
                  <a:lnTo>
                    <a:pt x="2887" y="1425"/>
                  </a:lnTo>
                  <a:lnTo>
                    <a:pt x="2897" y="1440"/>
                  </a:lnTo>
                  <a:lnTo>
                    <a:pt x="2922" y="1446"/>
                  </a:lnTo>
                  <a:lnTo>
                    <a:pt x="2949" y="1408"/>
                  </a:lnTo>
                  <a:lnTo>
                    <a:pt x="2946" y="1392"/>
                  </a:lnTo>
                  <a:lnTo>
                    <a:pt x="2935" y="1379"/>
                  </a:lnTo>
                  <a:lnTo>
                    <a:pt x="2927" y="1358"/>
                  </a:lnTo>
                  <a:lnTo>
                    <a:pt x="2905" y="1371"/>
                  </a:lnTo>
                  <a:lnTo>
                    <a:pt x="2890" y="1361"/>
                  </a:lnTo>
                  <a:lnTo>
                    <a:pt x="2862" y="1356"/>
                  </a:lnTo>
                  <a:lnTo>
                    <a:pt x="2844" y="1358"/>
                  </a:lnTo>
                  <a:lnTo>
                    <a:pt x="2842" y="1355"/>
                  </a:lnTo>
                  <a:lnTo>
                    <a:pt x="2855" y="1350"/>
                  </a:lnTo>
                  <a:lnTo>
                    <a:pt x="2857" y="1334"/>
                  </a:lnTo>
                  <a:lnTo>
                    <a:pt x="2856" y="1318"/>
                  </a:lnTo>
                  <a:lnTo>
                    <a:pt x="2858" y="1298"/>
                  </a:lnTo>
                  <a:lnTo>
                    <a:pt x="2860" y="1284"/>
                  </a:lnTo>
                  <a:lnTo>
                    <a:pt x="2852" y="1276"/>
                  </a:lnTo>
                  <a:lnTo>
                    <a:pt x="2840" y="1274"/>
                  </a:lnTo>
                  <a:lnTo>
                    <a:pt x="2825" y="1285"/>
                  </a:lnTo>
                  <a:lnTo>
                    <a:pt x="2812" y="1288"/>
                  </a:lnTo>
                  <a:lnTo>
                    <a:pt x="2826" y="1269"/>
                  </a:lnTo>
                  <a:lnTo>
                    <a:pt x="2852" y="1258"/>
                  </a:lnTo>
                  <a:lnTo>
                    <a:pt x="2866" y="1260"/>
                  </a:lnTo>
                  <a:lnTo>
                    <a:pt x="2863" y="1243"/>
                  </a:lnTo>
                  <a:lnTo>
                    <a:pt x="2833" y="1215"/>
                  </a:lnTo>
                  <a:lnTo>
                    <a:pt x="2818" y="1196"/>
                  </a:lnTo>
                  <a:lnTo>
                    <a:pt x="2796" y="1195"/>
                  </a:lnTo>
                  <a:lnTo>
                    <a:pt x="2782" y="1184"/>
                  </a:lnTo>
                  <a:lnTo>
                    <a:pt x="2817" y="1187"/>
                  </a:lnTo>
                  <a:lnTo>
                    <a:pt x="2797" y="1166"/>
                  </a:lnTo>
                  <a:lnTo>
                    <a:pt x="2889" y="1216"/>
                  </a:lnTo>
                  <a:lnTo>
                    <a:pt x="2898" y="1231"/>
                  </a:lnTo>
                  <a:lnTo>
                    <a:pt x="2900" y="1252"/>
                  </a:lnTo>
                  <a:lnTo>
                    <a:pt x="2914" y="1260"/>
                  </a:lnTo>
                  <a:lnTo>
                    <a:pt x="2922" y="1257"/>
                  </a:lnTo>
                  <a:lnTo>
                    <a:pt x="2930" y="1225"/>
                  </a:lnTo>
                  <a:lnTo>
                    <a:pt x="2930" y="1194"/>
                  </a:lnTo>
                  <a:lnTo>
                    <a:pt x="2925" y="1160"/>
                  </a:lnTo>
                  <a:lnTo>
                    <a:pt x="2925" y="1130"/>
                  </a:lnTo>
                  <a:lnTo>
                    <a:pt x="2910" y="1105"/>
                  </a:lnTo>
                  <a:lnTo>
                    <a:pt x="2897" y="1090"/>
                  </a:lnTo>
                  <a:lnTo>
                    <a:pt x="2883" y="1093"/>
                  </a:lnTo>
                  <a:lnTo>
                    <a:pt x="2873" y="1090"/>
                  </a:lnTo>
                  <a:lnTo>
                    <a:pt x="2862" y="1081"/>
                  </a:lnTo>
                  <a:lnTo>
                    <a:pt x="2842" y="1078"/>
                  </a:lnTo>
                  <a:lnTo>
                    <a:pt x="2842" y="1070"/>
                  </a:lnTo>
                  <a:lnTo>
                    <a:pt x="2868" y="1070"/>
                  </a:lnTo>
                  <a:lnTo>
                    <a:pt x="2885" y="1066"/>
                  </a:lnTo>
                  <a:lnTo>
                    <a:pt x="2898" y="1059"/>
                  </a:lnTo>
                  <a:lnTo>
                    <a:pt x="2911" y="1056"/>
                  </a:lnTo>
                  <a:lnTo>
                    <a:pt x="2912" y="1045"/>
                  </a:lnTo>
                  <a:lnTo>
                    <a:pt x="2904" y="1019"/>
                  </a:lnTo>
                  <a:lnTo>
                    <a:pt x="2889" y="1016"/>
                  </a:lnTo>
                  <a:lnTo>
                    <a:pt x="2869" y="1021"/>
                  </a:lnTo>
                  <a:lnTo>
                    <a:pt x="2844" y="1001"/>
                  </a:lnTo>
                  <a:lnTo>
                    <a:pt x="2866" y="1034"/>
                  </a:lnTo>
                  <a:lnTo>
                    <a:pt x="2854" y="1033"/>
                  </a:lnTo>
                  <a:lnTo>
                    <a:pt x="2841" y="1016"/>
                  </a:lnTo>
                  <a:lnTo>
                    <a:pt x="2833" y="1010"/>
                  </a:lnTo>
                  <a:lnTo>
                    <a:pt x="2839" y="1029"/>
                  </a:lnTo>
                  <a:lnTo>
                    <a:pt x="2824" y="1024"/>
                  </a:lnTo>
                  <a:lnTo>
                    <a:pt x="2820" y="1016"/>
                  </a:lnTo>
                  <a:lnTo>
                    <a:pt x="2808" y="1015"/>
                  </a:lnTo>
                  <a:lnTo>
                    <a:pt x="2809" y="1004"/>
                  </a:lnTo>
                  <a:lnTo>
                    <a:pt x="2809" y="990"/>
                  </a:lnTo>
                  <a:lnTo>
                    <a:pt x="2811" y="985"/>
                  </a:lnTo>
                  <a:lnTo>
                    <a:pt x="2808" y="973"/>
                  </a:lnTo>
                  <a:lnTo>
                    <a:pt x="2775" y="976"/>
                  </a:lnTo>
                  <a:lnTo>
                    <a:pt x="2759" y="968"/>
                  </a:lnTo>
                  <a:lnTo>
                    <a:pt x="2766" y="962"/>
                  </a:lnTo>
                  <a:lnTo>
                    <a:pt x="2801" y="968"/>
                  </a:lnTo>
                  <a:lnTo>
                    <a:pt x="2792" y="961"/>
                  </a:lnTo>
                  <a:lnTo>
                    <a:pt x="2799" y="951"/>
                  </a:lnTo>
                  <a:lnTo>
                    <a:pt x="2783" y="947"/>
                  </a:lnTo>
                  <a:lnTo>
                    <a:pt x="2779" y="934"/>
                  </a:lnTo>
                  <a:lnTo>
                    <a:pt x="2771" y="931"/>
                  </a:lnTo>
                  <a:lnTo>
                    <a:pt x="2763" y="946"/>
                  </a:lnTo>
                  <a:lnTo>
                    <a:pt x="2763" y="931"/>
                  </a:lnTo>
                  <a:lnTo>
                    <a:pt x="2753" y="906"/>
                  </a:lnTo>
                  <a:lnTo>
                    <a:pt x="2766" y="897"/>
                  </a:lnTo>
                  <a:lnTo>
                    <a:pt x="2768" y="884"/>
                  </a:lnTo>
                  <a:lnTo>
                    <a:pt x="2785" y="881"/>
                  </a:lnTo>
                  <a:lnTo>
                    <a:pt x="2797" y="898"/>
                  </a:lnTo>
                  <a:lnTo>
                    <a:pt x="2806" y="916"/>
                  </a:lnTo>
                  <a:lnTo>
                    <a:pt x="2823" y="903"/>
                  </a:lnTo>
                  <a:lnTo>
                    <a:pt x="2831" y="888"/>
                  </a:lnTo>
                  <a:lnTo>
                    <a:pt x="2855" y="881"/>
                  </a:lnTo>
                  <a:lnTo>
                    <a:pt x="2809" y="868"/>
                  </a:lnTo>
                  <a:lnTo>
                    <a:pt x="2815" y="862"/>
                  </a:lnTo>
                  <a:lnTo>
                    <a:pt x="2852" y="866"/>
                  </a:lnTo>
                  <a:lnTo>
                    <a:pt x="2863" y="859"/>
                  </a:lnTo>
                  <a:lnTo>
                    <a:pt x="2860" y="855"/>
                  </a:lnTo>
                  <a:lnTo>
                    <a:pt x="2807" y="841"/>
                  </a:lnTo>
                  <a:lnTo>
                    <a:pt x="2874" y="844"/>
                  </a:lnTo>
                  <a:lnTo>
                    <a:pt x="2915" y="854"/>
                  </a:lnTo>
                  <a:lnTo>
                    <a:pt x="2943" y="870"/>
                  </a:lnTo>
                  <a:lnTo>
                    <a:pt x="2985" y="884"/>
                  </a:lnTo>
                  <a:lnTo>
                    <a:pt x="2997" y="865"/>
                  </a:lnTo>
                  <a:lnTo>
                    <a:pt x="2997" y="856"/>
                  </a:lnTo>
                  <a:lnTo>
                    <a:pt x="3000" y="845"/>
                  </a:lnTo>
                  <a:lnTo>
                    <a:pt x="3000" y="833"/>
                  </a:lnTo>
                  <a:lnTo>
                    <a:pt x="3000" y="805"/>
                  </a:lnTo>
                  <a:lnTo>
                    <a:pt x="2995" y="757"/>
                  </a:lnTo>
                  <a:lnTo>
                    <a:pt x="2992" y="754"/>
                  </a:lnTo>
                  <a:lnTo>
                    <a:pt x="2986" y="758"/>
                  </a:lnTo>
                  <a:lnTo>
                    <a:pt x="2963" y="741"/>
                  </a:lnTo>
                  <a:lnTo>
                    <a:pt x="2954" y="752"/>
                  </a:lnTo>
                  <a:lnTo>
                    <a:pt x="2955" y="773"/>
                  </a:lnTo>
                  <a:lnTo>
                    <a:pt x="2949" y="775"/>
                  </a:lnTo>
                  <a:lnTo>
                    <a:pt x="2936" y="771"/>
                  </a:lnTo>
                  <a:lnTo>
                    <a:pt x="2935" y="754"/>
                  </a:lnTo>
                  <a:lnTo>
                    <a:pt x="2915" y="738"/>
                  </a:lnTo>
                  <a:lnTo>
                    <a:pt x="2868" y="733"/>
                  </a:lnTo>
                  <a:lnTo>
                    <a:pt x="2889" y="730"/>
                  </a:lnTo>
                  <a:lnTo>
                    <a:pt x="2887" y="720"/>
                  </a:lnTo>
                  <a:lnTo>
                    <a:pt x="2863" y="709"/>
                  </a:lnTo>
                  <a:lnTo>
                    <a:pt x="2873" y="706"/>
                  </a:lnTo>
                  <a:lnTo>
                    <a:pt x="2873" y="695"/>
                  </a:lnTo>
                  <a:lnTo>
                    <a:pt x="2889" y="696"/>
                  </a:lnTo>
                  <a:lnTo>
                    <a:pt x="2862" y="676"/>
                  </a:lnTo>
                  <a:lnTo>
                    <a:pt x="2858" y="667"/>
                  </a:lnTo>
                  <a:lnTo>
                    <a:pt x="2868" y="650"/>
                  </a:lnTo>
                  <a:lnTo>
                    <a:pt x="2884" y="657"/>
                  </a:lnTo>
                  <a:lnTo>
                    <a:pt x="2910" y="657"/>
                  </a:lnTo>
                  <a:lnTo>
                    <a:pt x="2941" y="689"/>
                  </a:lnTo>
                  <a:lnTo>
                    <a:pt x="2955" y="680"/>
                  </a:lnTo>
                  <a:lnTo>
                    <a:pt x="2953" y="660"/>
                  </a:lnTo>
                  <a:lnTo>
                    <a:pt x="2943" y="646"/>
                  </a:lnTo>
                  <a:lnTo>
                    <a:pt x="2884" y="618"/>
                  </a:lnTo>
                  <a:lnTo>
                    <a:pt x="2869" y="607"/>
                  </a:lnTo>
                  <a:lnTo>
                    <a:pt x="2867" y="592"/>
                  </a:lnTo>
                  <a:lnTo>
                    <a:pt x="2857" y="585"/>
                  </a:lnTo>
                  <a:lnTo>
                    <a:pt x="2846" y="593"/>
                  </a:lnTo>
                  <a:lnTo>
                    <a:pt x="2820" y="663"/>
                  </a:lnTo>
                  <a:lnTo>
                    <a:pt x="2807" y="666"/>
                  </a:lnTo>
                  <a:lnTo>
                    <a:pt x="2798" y="646"/>
                  </a:lnTo>
                  <a:lnTo>
                    <a:pt x="2808" y="619"/>
                  </a:lnTo>
                  <a:lnTo>
                    <a:pt x="2811" y="594"/>
                  </a:lnTo>
                  <a:lnTo>
                    <a:pt x="2813" y="579"/>
                  </a:lnTo>
                  <a:lnTo>
                    <a:pt x="2826" y="561"/>
                  </a:lnTo>
                  <a:lnTo>
                    <a:pt x="2829" y="550"/>
                  </a:lnTo>
                  <a:lnTo>
                    <a:pt x="2824" y="537"/>
                  </a:lnTo>
                  <a:lnTo>
                    <a:pt x="2829" y="505"/>
                  </a:lnTo>
                  <a:lnTo>
                    <a:pt x="2831" y="472"/>
                  </a:lnTo>
                  <a:lnTo>
                    <a:pt x="2844" y="425"/>
                  </a:lnTo>
                  <a:lnTo>
                    <a:pt x="2849" y="411"/>
                  </a:lnTo>
                  <a:lnTo>
                    <a:pt x="2833" y="413"/>
                  </a:lnTo>
                  <a:lnTo>
                    <a:pt x="2829" y="404"/>
                  </a:lnTo>
                  <a:lnTo>
                    <a:pt x="2841" y="403"/>
                  </a:lnTo>
                  <a:lnTo>
                    <a:pt x="2842" y="391"/>
                  </a:lnTo>
                  <a:lnTo>
                    <a:pt x="2842" y="376"/>
                  </a:lnTo>
                  <a:lnTo>
                    <a:pt x="2839" y="366"/>
                  </a:lnTo>
                  <a:lnTo>
                    <a:pt x="2842" y="359"/>
                  </a:lnTo>
                  <a:lnTo>
                    <a:pt x="2852" y="362"/>
                  </a:lnTo>
                  <a:lnTo>
                    <a:pt x="2872" y="345"/>
                  </a:lnTo>
                  <a:lnTo>
                    <a:pt x="2890" y="353"/>
                  </a:lnTo>
                  <a:lnTo>
                    <a:pt x="2908" y="333"/>
                  </a:lnTo>
                  <a:lnTo>
                    <a:pt x="2908" y="314"/>
                  </a:lnTo>
                  <a:lnTo>
                    <a:pt x="2904" y="297"/>
                  </a:lnTo>
                  <a:lnTo>
                    <a:pt x="2904" y="270"/>
                  </a:lnTo>
                  <a:lnTo>
                    <a:pt x="2908" y="274"/>
                  </a:lnTo>
                  <a:lnTo>
                    <a:pt x="2919" y="265"/>
                  </a:lnTo>
                  <a:lnTo>
                    <a:pt x="2920" y="273"/>
                  </a:lnTo>
                  <a:lnTo>
                    <a:pt x="2924" y="270"/>
                  </a:lnTo>
                  <a:lnTo>
                    <a:pt x="2924" y="248"/>
                  </a:lnTo>
                  <a:lnTo>
                    <a:pt x="2931" y="232"/>
                  </a:lnTo>
                  <a:lnTo>
                    <a:pt x="2941" y="228"/>
                  </a:lnTo>
                  <a:lnTo>
                    <a:pt x="2941" y="248"/>
                  </a:lnTo>
                  <a:lnTo>
                    <a:pt x="2944" y="240"/>
                  </a:lnTo>
                  <a:lnTo>
                    <a:pt x="2951" y="215"/>
                  </a:lnTo>
                  <a:lnTo>
                    <a:pt x="2924" y="211"/>
                  </a:lnTo>
                  <a:lnTo>
                    <a:pt x="2920" y="235"/>
                  </a:lnTo>
                  <a:lnTo>
                    <a:pt x="2910" y="260"/>
                  </a:lnTo>
                  <a:lnTo>
                    <a:pt x="2909" y="237"/>
                  </a:lnTo>
                  <a:lnTo>
                    <a:pt x="2919" y="211"/>
                  </a:lnTo>
                  <a:lnTo>
                    <a:pt x="2921" y="182"/>
                  </a:lnTo>
                  <a:lnTo>
                    <a:pt x="2916" y="173"/>
                  </a:lnTo>
                  <a:lnTo>
                    <a:pt x="2921" y="154"/>
                  </a:lnTo>
                  <a:lnTo>
                    <a:pt x="2925" y="104"/>
                  </a:lnTo>
                  <a:lnTo>
                    <a:pt x="2936" y="81"/>
                  </a:lnTo>
                  <a:lnTo>
                    <a:pt x="2944" y="74"/>
                  </a:lnTo>
                  <a:lnTo>
                    <a:pt x="2979" y="86"/>
                  </a:lnTo>
                  <a:lnTo>
                    <a:pt x="3005" y="77"/>
                  </a:lnTo>
                  <a:lnTo>
                    <a:pt x="3018" y="54"/>
                  </a:lnTo>
                  <a:lnTo>
                    <a:pt x="3021" y="39"/>
                  </a:lnTo>
                  <a:lnTo>
                    <a:pt x="3030" y="21"/>
                  </a:lnTo>
                  <a:lnTo>
                    <a:pt x="3033" y="5"/>
                  </a:lnTo>
                  <a:lnTo>
                    <a:pt x="3035" y="0"/>
                  </a:lnTo>
                  <a:lnTo>
                    <a:pt x="2920" y="0"/>
                  </a:lnTo>
                  <a:lnTo>
                    <a:pt x="2901" y="25"/>
                  </a:lnTo>
                  <a:lnTo>
                    <a:pt x="2894" y="47"/>
                  </a:lnTo>
                  <a:lnTo>
                    <a:pt x="2894" y="63"/>
                  </a:lnTo>
                  <a:lnTo>
                    <a:pt x="2906" y="65"/>
                  </a:lnTo>
                  <a:lnTo>
                    <a:pt x="2887" y="79"/>
                  </a:lnTo>
                  <a:lnTo>
                    <a:pt x="2877" y="52"/>
                  </a:lnTo>
                  <a:lnTo>
                    <a:pt x="2868" y="48"/>
                  </a:lnTo>
                  <a:lnTo>
                    <a:pt x="2877" y="20"/>
                  </a:lnTo>
                  <a:lnTo>
                    <a:pt x="2877" y="7"/>
                  </a:lnTo>
                  <a:lnTo>
                    <a:pt x="2874" y="0"/>
                  </a:lnTo>
                  <a:lnTo>
                    <a:pt x="451" y="0"/>
                  </a:lnTo>
                  <a:lnTo>
                    <a:pt x="430" y="1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65" name="Freeform 234"/>
            <p:cNvSpPr>
              <a:spLocks noChangeAspect="1"/>
            </p:cNvSpPr>
            <p:nvPr/>
          </p:nvSpPr>
          <p:spPr bwMode="gray">
            <a:xfrm>
              <a:off x="4939969" y="2344846"/>
              <a:ext cx="52475" cy="57623"/>
            </a:xfrm>
            <a:custGeom>
              <a:avLst/>
              <a:gdLst/>
              <a:ahLst/>
              <a:cxnLst>
                <a:cxn ang="0">
                  <a:pos x="29" y="0"/>
                </a:cxn>
                <a:cxn ang="0">
                  <a:pos x="49" y="10"/>
                </a:cxn>
                <a:cxn ang="0">
                  <a:pos x="67" y="13"/>
                </a:cxn>
                <a:cxn ang="0">
                  <a:pos x="92" y="25"/>
                </a:cxn>
                <a:cxn ang="0">
                  <a:pos x="128" y="80"/>
                </a:cxn>
                <a:cxn ang="0">
                  <a:pos x="150" y="86"/>
                </a:cxn>
                <a:cxn ang="0">
                  <a:pos x="163" y="99"/>
                </a:cxn>
                <a:cxn ang="0">
                  <a:pos x="163" y="116"/>
                </a:cxn>
                <a:cxn ang="0">
                  <a:pos x="161" y="126"/>
                </a:cxn>
                <a:cxn ang="0">
                  <a:pos x="146" y="143"/>
                </a:cxn>
                <a:cxn ang="0">
                  <a:pos x="87" y="162"/>
                </a:cxn>
                <a:cxn ang="0">
                  <a:pos x="70" y="166"/>
                </a:cxn>
                <a:cxn ang="0">
                  <a:pos x="60" y="165"/>
                </a:cxn>
                <a:cxn ang="0">
                  <a:pos x="40" y="150"/>
                </a:cxn>
                <a:cxn ang="0">
                  <a:pos x="40" y="142"/>
                </a:cxn>
                <a:cxn ang="0">
                  <a:pos x="53" y="139"/>
                </a:cxn>
                <a:cxn ang="0">
                  <a:pos x="66" y="143"/>
                </a:cxn>
                <a:cxn ang="0">
                  <a:pos x="77" y="139"/>
                </a:cxn>
                <a:cxn ang="0">
                  <a:pos x="77" y="130"/>
                </a:cxn>
                <a:cxn ang="0">
                  <a:pos x="69" y="138"/>
                </a:cxn>
                <a:cxn ang="0">
                  <a:pos x="67" y="130"/>
                </a:cxn>
                <a:cxn ang="0">
                  <a:pos x="55" y="129"/>
                </a:cxn>
                <a:cxn ang="0">
                  <a:pos x="55" y="117"/>
                </a:cxn>
                <a:cxn ang="0">
                  <a:pos x="45" y="126"/>
                </a:cxn>
                <a:cxn ang="0">
                  <a:pos x="22" y="126"/>
                </a:cxn>
                <a:cxn ang="0">
                  <a:pos x="2" y="117"/>
                </a:cxn>
                <a:cxn ang="0">
                  <a:pos x="1" y="103"/>
                </a:cxn>
                <a:cxn ang="0">
                  <a:pos x="11" y="100"/>
                </a:cxn>
                <a:cxn ang="0">
                  <a:pos x="28" y="106"/>
                </a:cxn>
                <a:cxn ang="0">
                  <a:pos x="16" y="91"/>
                </a:cxn>
                <a:cxn ang="0">
                  <a:pos x="0" y="79"/>
                </a:cxn>
                <a:cxn ang="0">
                  <a:pos x="5" y="72"/>
                </a:cxn>
                <a:cxn ang="0">
                  <a:pos x="34" y="69"/>
                </a:cxn>
                <a:cxn ang="0">
                  <a:pos x="19" y="58"/>
                </a:cxn>
                <a:cxn ang="0">
                  <a:pos x="7" y="35"/>
                </a:cxn>
                <a:cxn ang="0">
                  <a:pos x="7" y="15"/>
                </a:cxn>
                <a:cxn ang="0">
                  <a:pos x="29" y="0"/>
                </a:cxn>
              </a:cxnLst>
              <a:rect l="0" t="0" r="r" b="b"/>
              <a:pathLst>
                <a:path w="163" h="166">
                  <a:moveTo>
                    <a:pt x="29" y="0"/>
                  </a:moveTo>
                  <a:lnTo>
                    <a:pt x="49" y="10"/>
                  </a:lnTo>
                  <a:lnTo>
                    <a:pt x="67" y="13"/>
                  </a:lnTo>
                  <a:lnTo>
                    <a:pt x="92" y="25"/>
                  </a:lnTo>
                  <a:lnTo>
                    <a:pt x="128" y="80"/>
                  </a:lnTo>
                  <a:lnTo>
                    <a:pt x="150" y="86"/>
                  </a:lnTo>
                  <a:lnTo>
                    <a:pt x="163" y="99"/>
                  </a:lnTo>
                  <a:lnTo>
                    <a:pt x="163" y="116"/>
                  </a:lnTo>
                  <a:lnTo>
                    <a:pt x="161" y="126"/>
                  </a:lnTo>
                  <a:lnTo>
                    <a:pt x="146" y="143"/>
                  </a:lnTo>
                  <a:lnTo>
                    <a:pt x="87" y="162"/>
                  </a:lnTo>
                  <a:lnTo>
                    <a:pt x="70" y="166"/>
                  </a:lnTo>
                  <a:lnTo>
                    <a:pt x="60" y="165"/>
                  </a:lnTo>
                  <a:lnTo>
                    <a:pt x="40" y="150"/>
                  </a:lnTo>
                  <a:lnTo>
                    <a:pt x="40" y="142"/>
                  </a:lnTo>
                  <a:lnTo>
                    <a:pt x="53" y="139"/>
                  </a:lnTo>
                  <a:lnTo>
                    <a:pt x="66" y="143"/>
                  </a:lnTo>
                  <a:lnTo>
                    <a:pt x="77" y="139"/>
                  </a:lnTo>
                  <a:lnTo>
                    <a:pt x="77" y="130"/>
                  </a:lnTo>
                  <a:lnTo>
                    <a:pt x="69" y="138"/>
                  </a:lnTo>
                  <a:lnTo>
                    <a:pt x="67" y="130"/>
                  </a:lnTo>
                  <a:lnTo>
                    <a:pt x="55" y="129"/>
                  </a:lnTo>
                  <a:lnTo>
                    <a:pt x="55" y="117"/>
                  </a:lnTo>
                  <a:lnTo>
                    <a:pt x="45" y="126"/>
                  </a:lnTo>
                  <a:lnTo>
                    <a:pt x="22" y="126"/>
                  </a:lnTo>
                  <a:lnTo>
                    <a:pt x="2" y="117"/>
                  </a:lnTo>
                  <a:lnTo>
                    <a:pt x="1" y="103"/>
                  </a:lnTo>
                  <a:lnTo>
                    <a:pt x="11" y="100"/>
                  </a:lnTo>
                  <a:lnTo>
                    <a:pt x="28" y="106"/>
                  </a:lnTo>
                  <a:lnTo>
                    <a:pt x="16" y="91"/>
                  </a:lnTo>
                  <a:lnTo>
                    <a:pt x="0" y="79"/>
                  </a:lnTo>
                  <a:lnTo>
                    <a:pt x="5" y="72"/>
                  </a:lnTo>
                  <a:lnTo>
                    <a:pt x="34" y="69"/>
                  </a:lnTo>
                  <a:lnTo>
                    <a:pt x="19" y="58"/>
                  </a:lnTo>
                  <a:lnTo>
                    <a:pt x="7" y="35"/>
                  </a:lnTo>
                  <a:lnTo>
                    <a:pt x="7" y="15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66" name="Freeform 235"/>
            <p:cNvSpPr>
              <a:spLocks noChangeAspect="1"/>
            </p:cNvSpPr>
            <p:nvPr/>
          </p:nvSpPr>
          <p:spPr bwMode="gray">
            <a:xfrm>
              <a:off x="4695087" y="1848944"/>
              <a:ext cx="52475" cy="20954"/>
            </a:xfrm>
            <a:custGeom>
              <a:avLst/>
              <a:gdLst/>
              <a:ahLst/>
              <a:cxnLst>
                <a:cxn ang="0">
                  <a:pos x="0" y="35"/>
                </a:cxn>
                <a:cxn ang="0">
                  <a:pos x="0" y="30"/>
                </a:cxn>
                <a:cxn ang="0">
                  <a:pos x="17" y="20"/>
                </a:cxn>
                <a:cxn ang="0">
                  <a:pos x="31" y="5"/>
                </a:cxn>
                <a:cxn ang="0">
                  <a:pos x="94" y="0"/>
                </a:cxn>
                <a:cxn ang="0">
                  <a:pos x="119" y="6"/>
                </a:cxn>
                <a:cxn ang="0">
                  <a:pos x="131" y="14"/>
                </a:cxn>
                <a:cxn ang="0">
                  <a:pos x="137" y="25"/>
                </a:cxn>
                <a:cxn ang="0">
                  <a:pos x="165" y="38"/>
                </a:cxn>
                <a:cxn ang="0">
                  <a:pos x="167" y="44"/>
                </a:cxn>
                <a:cxn ang="0">
                  <a:pos x="153" y="55"/>
                </a:cxn>
                <a:cxn ang="0">
                  <a:pos x="124" y="61"/>
                </a:cxn>
                <a:cxn ang="0">
                  <a:pos x="67" y="43"/>
                </a:cxn>
                <a:cxn ang="0">
                  <a:pos x="47" y="48"/>
                </a:cxn>
                <a:cxn ang="0">
                  <a:pos x="30" y="46"/>
                </a:cxn>
                <a:cxn ang="0">
                  <a:pos x="0" y="35"/>
                </a:cxn>
              </a:cxnLst>
              <a:rect l="0" t="0" r="r" b="b"/>
              <a:pathLst>
                <a:path w="167" h="61">
                  <a:moveTo>
                    <a:pt x="0" y="35"/>
                  </a:moveTo>
                  <a:lnTo>
                    <a:pt x="0" y="30"/>
                  </a:lnTo>
                  <a:lnTo>
                    <a:pt x="17" y="20"/>
                  </a:lnTo>
                  <a:lnTo>
                    <a:pt x="31" y="5"/>
                  </a:lnTo>
                  <a:lnTo>
                    <a:pt x="94" y="0"/>
                  </a:lnTo>
                  <a:lnTo>
                    <a:pt x="119" y="6"/>
                  </a:lnTo>
                  <a:lnTo>
                    <a:pt x="131" y="14"/>
                  </a:lnTo>
                  <a:lnTo>
                    <a:pt x="137" y="25"/>
                  </a:lnTo>
                  <a:lnTo>
                    <a:pt x="165" y="38"/>
                  </a:lnTo>
                  <a:lnTo>
                    <a:pt x="167" y="44"/>
                  </a:lnTo>
                  <a:lnTo>
                    <a:pt x="153" y="55"/>
                  </a:lnTo>
                  <a:lnTo>
                    <a:pt x="124" y="61"/>
                  </a:lnTo>
                  <a:lnTo>
                    <a:pt x="67" y="43"/>
                  </a:lnTo>
                  <a:lnTo>
                    <a:pt x="47" y="48"/>
                  </a:lnTo>
                  <a:lnTo>
                    <a:pt x="30" y="46"/>
                  </a:lnTo>
                  <a:lnTo>
                    <a:pt x="0" y="3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grpSp>
          <p:nvGrpSpPr>
            <p:cNvPr id="67" name="Group 236"/>
            <p:cNvGrpSpPr>
              <a:grpSpLocks noChangeAspect="1"/>
            </p:cNvGrpSpPr>
            <p:nvPr/>
          </p:nvGrpSpPr>
          <p:grpSpPr>
            <a:xfrm>
              <a:off x="4478828" y="4021134"/>
              <a:ext cx="809382" cy="1501675"/>
              <a:chOff x="1624" y="2350"/>
              <a:chExt cx="509" cy="860"/>
            </a:xfrm>
            <a:grpFill/>
          </p:grpSpPr>
          <p:sp>
            <p:nvSpPr>
              <p:cNvPr id="263" name="Freeform 237"/>
              <p:cNvSpPr>
                <a:spLocks noChangeAspect="1"/>
              </p:cNvSpPr>
              <p:nvPr/>
            </p:nvSpPr>
            <p:spPr bwMode="gray">
              <a:xfrm>
                <a:off x="1709" y="3154"/>
                <a:ext cx="23" cy="27"/>
              </a:xfrm>
              <a:custGeom>
                <a:avLst/>
                <a:gdLst/>
                <a:ahLst/>
                <a:cxnLst>
                  <a:cxn ang="0">
                    <a:pos x="4" y="17"/>
                  </a:cxn>
                  <a:cxn ang="0">
                    <a:pos x="7" y="12"/>
                  </a:cxn>
                  <a:cxn ang="0">
                    <a:pos x="17" y="17"/>
                  </a:cxn>
                  <a:cxn ang="0">
                    <a:pos x="28" y="10"/>
                  </a:cxn>
                  <a:cxn ang="0">
                    <a:pos x="33" y="23"/>
                  </a:cxn>
                  <a:cxn ang="0">
                    <a:pos x="41" y="23"/>
                  </a:cxn>
                  <a:cxn ang="0">
                    <a:pos x="41" y="7"/>
                  </a:cxn>
                  <a:cxn ang="0">
                    <a:pos x="43" y="1"/>
                  </a:cxn>
                  <a:cxn ang="0">
                    <a:pos x="53" y="15"/>
                  </a:cxn>
                  <a:cxn ang="0">
                    <a:pos x="43" y="39"/>
                  </a:cxn>
                  <a:cxn ang="0">
                    <a:pos x="45" y="60"/>
                  </a:cxn>
                  <a:cxn ang="0">
                    <a:pos x="53" y="72"/>
                  </a:cxn>
                  <a:cxn ang="0">
                    <a:pos x="80" y="61"/>
                  </a:cxn>
                  <a:cxn ang="0">
                    <a:pos x="100" y="64"/>
                  </a:cxn>
                  <a:cxn ang="0">
                    <a:pos x="115" y="70"/>
                  </a:cxn>
                  <a:cxn ang="0">
                    <a:pos x="92" y="97"/>
                  </a:cxn>
                  <a:cxn ang="0">
                    <a:pos x="77" y="99"/>
                  </a:cxn>
                  <a:cxn ang="0">
                    <a:pos x="74" y="107"/>
                  </a:cxn>
                  <a:cxn ang="0">
                    <a:pos x="66" y="107"/>
                  </a:cxn>
                  <a:cxn ang="0">
                    <a:pos x="63" y="117"/>
                  </a:cxn>
                  <a:cxn ang="0">
                    <a:pos x="59" y="128"/>
                  </a:cxn>
                  <a:cxn ang="0">
                    <a:pos x="53" y="131"/>
                  </a:cxn>
                  <a:cxn ang="0">
                    <a:pos x="26" y="106"/>
                  </a:cxn>
                  <a:cxn ang="0">
                    <a:pos x="43" y="108"/>
                  </a:cxn>
                  <a:cxn ang="0">
                    <a:pos x="49" y="99"/>
                  </a:cxn>
                  <a:cxn ang="0">
                    <a:pos x="39" y="83"/>
                  </a:cxn>
                  <a:cxn ang="0">
                    <a:pos x="33" y="93"/>
                  </a:cxn>
                  <a:cxn ang="0">
                    <a:pos x="20" y="86"/>
                  </a:cxn>
                  <a:cxn ang="0">
                    <a:pos x="10" y="77"/>
                  </a:cxn>
                  <a:cxn ang="0">
                    <a:pos x="7" y="66"/>
                  </a:cxn>
                  <a:cxn ang="0">
                    <a:pos x="0" y="66"/>
                  </a:cxn>
                  <a:cxn ang="0">
                    <a:pos x="1" y="50"/>
                  </a:cxn>
                  <a:cxn ang="0">
                    <a:pos x="1" y="31"/>
                  </a:cxn>
                </a:cxnLst>
                <a:rect l="0" t="0" r="r" b="b"/>
                <a:pathLst>
                  <a:path w="115" h="134">
                    <a:moveTo>
                      <a:pt x="2" y="17"/>
                    </a:moveTo>
                    <a:lnTo>
                      <a:pt x="4" y="17"/>
                    </a:lnTo>
                    <a:lnTo>
                      <a:pt x="5" y="13"/>
                    </a:lnTo>
                    <a:lnTo>
                      <a:pt x="7" y="12"/>
                    </a:lnTo>
                    <a:lnTo>
                      <a:pt x="12" y="16"/>
                    </a:lnTo>
                    <a:lnTo>
                      <a:pt x="17" y="17"/>
                    </a:lnTo>
                    <a:lnTo>
                      <a:pt x="22" y="12"/>
                    </a:lnTo>
                    <a:lnTo>
                      <a:pt x="28" y="10"/>
                    </a:lnTo>
                    <a:lnTo>
                      <a:pt x="32" y="13"/>
                    </a:lnTo>
                    <a:lnTo>
                      <a:pt x="33" y="23"/>
                    </a:lnTo>
                    <a:lnTo>
                      <a:pt x="36" y="27"/>
                    </a:lnTo>
                    <a:lnTo>
                      <a:pt x="41" y="23"/>
                    </a:lnTo>
                    <a:lnTo>
                      <a:pt x="44" y="11"/>
                    </a:lnTo>
                    <a:lnTo>
                      <a:pt x="41" y="7"/>
                    </a:lnTo>
                    <a:lnTo>
                      <a:pt x="41" y="0"/>
                    </a:lnTo>
                    <a:lnTo>
                      <a:pt x="43" y="1"/>
                    </a:lnTo>
                    <a:lnTo>
                      <a:pt x="50" y="6"/>
                    </a:lnTo>
                    <a:lnTo>
                      <a:pt x="53" y="15"/>
                    </a:lnTo>
                    <a:lnTo>
                      <a:pt x="54" y="27"/>
                    </a:lnTo>
                    <a:lnTo>
                      <a:pt x="43" y="39"/>
                    </a:lnTo>
                    <a:lnTo>
                      <a:pt x="37" y="55"/>
                    </a:lnTo>
                    <a:lnTo>
                      <a:pt x="45" y="60"/>
                    </a:lnTo>
                    <a:lnTo>
                      <a:pt x="52" y="66"/>
                    </a:lnTo>
                    <a:lnTo>
                      <a:pt x="53" y="72"/>
                    </a:lnTo>
                    <a:lnTo>
                      <a:pt x="63" y="80"/>
                    </a:lnTo>
                    <a:lnTo>
                      <a:pt x="80" y="61"/>
                    </a:lnTo>
                    <a:lnTo>
                      <a:pt x="87" y="61"/>
                    </a:lnTo>
                    <a:lnTo>
                      <a:pt x="100" y="64"/>
                    </a:lnTo>
                    <a:lnTo>
                      <a:pt x="112" y="63"/>
                    </a:lnTo>
                    <a:lnTo>
                      <a:pt x="115" y="70"/>
                    </a:lnTo>
                    <a:lnTo>
                      <a:pt x="115" y="79"/>
                    </a:lnTo>
                    <a:lnTo>
                      <a:pt x="92" y="97"/>
                    </a:lnTo>
                    <a:lnTo>
                      <a:pt x="85" y="102"/>
                    </a:lnTo>
                    <a:lnTo>
                      <a:pt x="77" y="99"/>
                    </a:lnTo>
                    <a:lnTo>
                      <a:pt x="74" y="101"/>
                    </a:lnTo>
                    <a:lnTo>
                      <a:pt x="74" y="107"/>
                    </a:lnTo>
                    <a:lnTo>
                      <a:pt x="71" y="109"/>
                    </a:lnTo>
                    <a:lnTo>
                      <a:pt x="66" y="107"/>
                    </a:lnTo>
                    <a:lnTo>
                      <a:pt x="60" y="110"/>
                    </a:lnTo>
                    <a:lnTo>
                      <a:pt x="63" y="117"/>
                    </a:lnTo>
                    <a:lnTo>
                      <a:pt x="59" y="120"/>
                    </a:lnTo>
                    <a:lnTo>
                      <a:pt x="59" y="128"/>
                    </a:lnTo>
                    <a:lnTo>
                      <a:pt x="61" y="134"/>
                    </a:lnTo>
                    <a:lnTo>
                      <a:pt x="53" y="131"/>
                    </a:lnTo>
                    <a:lnTo>
                      <a:pt x="28" y="108"/>
                    </a:lnTo>
                    <a:lnTo>
                      <a:pt x="26" y="106"/>
                    </a:lnTo>
                    <a:lnTo>
                      <a:pt x="34" y="104"/>
                    </a:lnTo>
                    <a:lnTo>
                      <a:pt x="43" y="108"/>
                    </a:lnTo>
                    <a:lnTo>
                      <a:pt x="49" y="106"/>
                    </a:lnTo>
                    <a:lnTo>
                      <a:pt x="49" y="99"/>
                    </a:lnTo>
                    <a:lnTo>
                      <a:pt x="44" y="95"/>
                    </a:lnTo>
                    <a:lnTo>
                      <a:pt x="39" y="83"/>
                    </a:lnTo>
                    <a:lnTo>
                      <a:pt x="37" y="88"/>
                    </a:lnTo>
                    <a:lnTo>
                      <a:pt x="33" y="93"/>
                    </a:lnTo>
                    <a:lnTo>
                      <a:pt x="17" y="92"/>
                    </a:lnTo>
                    <a:lnTo>
                      <a:pt x="20" y="86"/>
                    </a:lnTo>
                    <a:lnTo>
                      <a:pt x="20" y="81"/>
                    </a:lnTo>
                    <a:lnTo>
                      <a:pt x="10" y="77"/>
                    </a:lnTo>
                    <a:lnTo>
                      <a:pt x="7" y="74"/>
                    </a:lnTo>
                    <a:lnTo>
                      <a:pt x="7" y="66"/>
                    </a:lnTo>
                    <a:lnTo>
                      <a:pt x="6" y="65"/>
                    </a:lnTo>
                    <a:lnTo>
                      <a:pt x="0" y="66"/>
                    </a:lnTo>
                    <a:lnTo>
                      <a:pt x="1" y="60"/>
                    </a:lnTo>
                    <a:lnTo>
                      <a:pt x="1" y="50"/>
                    </a:lnTo>
                    <a:lnTo>
                      <a:pt x="2" y="40"/>
                    </a:lnTo>
                    <a:lnTo>
                      <a:pt x="1" y="31"/>
                    </a:lnTo>
                    <a:lnTo>
                      <a:pt x="2" y="1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64" name="Freeform 238"/>
              <p:cNvSpPr>
                <a:spLocks noChangeAspect="1"/>
              </p:cNvSpPr>
              <p:nvPr/>
            </p:nvSpPr>
            <p:spPr bwMode="gray">
              <a:xfrm>
                <a:off x="1712" y="2353"/>
                <a:ext cx="148" cy="126"/>
              </a:xfrm>
              <a:custGeom>
                <a:avLst/>
                <a:gdLst/>
                <a:ahLst/>
                <a:cxnLst>
                  <a:cxn ang="0">
                    <a:pos x="84" y="47"/>
                  </a:cxn>
                  <a:cxn ang="0">
                    <a:pos x="97" y="77"/>
                  </a:cxn>
                  <a:cxn ang="0">
                    <a:pos x="73" y="133"/>
                  </a:cxn>
                  <a:cxn ang="0">
                    <a:pos x="98" y="176"/>
                  </a:cxn>
                  <a:cxn ang="0">
                    <a:pos x="126" y="148"/>
                  </a:cxn>
                  <a:cxn ang="0">
                    <a:pos x="108" y="74"/>
                  </a:cxn>
                  <a:cxn ang="0">
                    <a:pos x="196" y="42"/>
                  </a:cxn>
                  <a:cxn ang="0">
                    <a:pos x="169" y="27"/>
                  </a:cxn>
                  <a:cxn ang="0">
                    <a:pos x="191" y="2"/>
                  </a:cxn>
                  <a:cxn ang="0">
                    <a:pos x="243" y="46"/>
                  </a:cxn>
                  <a:cxn ang="0">
                    <a:pos x="285" y="88"/>
                  </a:cxn>
                  <a:cxn ang="0">
                    <a:pos x="366" y="88"/>
                  </a:cxn>
                  <a:cxn ang="0">
                    <a:pos x="411" y="106"/>
                  </a:cxn>
                  <a:cxn ang="0">
                    <a:pos x="495" y="99"/>
                  </a:cxn>
                  <a:cxn ang="0">
                    <a:pos x="499" y="88"/>
                  </a:cxn>
                  <a:cxn ang="0">
                    <a:pos x="621" y="86"/>
                  </a:cxn>
                  <a:cxn ang="0">
                    <a:pos x="573" y="95"/>
                  </a:cxn>
                  <a:cxn ang="0">
                    <a:pos x="593" y="117"/>
                  </a:cxn>
                  <a:cxn ang="0">
                    <a:pos x="663" y="150"/>
                  </a:cxn>
                  <a:cxn ang="0">
                    <a:pos x="689" y="197"/>
                  </a:cxn>
                  <a:cxn ang="0">
                    <a:pos x="695" y="211"/>
                  </a:cxn>
                  <a:cxn ang="0">
                    <a:pos x="737" y="209"/>
                  </a:cxn>
                  <a:cxn ang="0">
                    <a:pos x="728" y="231"/>
                  </a:cxn>
                  <a:cxn ang="0">
                    <a:pos x="689" y="252"/>
                  </a:cxn>
                  <a:cxn ang="0">
                    <a:pos x="702" y="279"/>
                  </a:cxn>
                  <a:cxn ang="0">
                    <a:pos x="673" y="321"/>
                  </a:cxn>
                  <a:cxn ang="0">
                    <a:pos x="674" y="359"/>
                  </a:cxn>
                  <a:cxn ang="0">
                    <a:pos x="699" y="401"/>
                  </a:cxn>
                  <a:cxn ang="0">
                    <a:pos x="646" y="432"/>
                  </a:cxn>
                  <a:cxn ang="0">
                    <a:pos x="568" y="459"/>
                  </a:cxn>
                  <a:cxn ang="0">
                    <a:pos x="474" y="437"/>
                  </a:cxn>
                  <a:cxn ang="0">
                    <a:pos x="497" y="467"/>
                  </a:cxn>
                  <a:cxn ang="0">
                    <a:pos x="501" y="524"/>
                  </a:cxn>
                  <a:cxn ang="0">
                    <a:pos x="546" y="550"/>
                  </a:cxn>
                  <a:cxn ang="0">
                    <a:pos x="518" y="565"/>
                  </a:cxn>
                  <a:cxn ang="0">
                    <a:pos x="486" y="593"/>
                  </a:cxn>
                  <a:cxn ang="0">
                    <a:pos x="452" y="607"/>
                  </a:cxn>
                  <a:cxn ang="0">
                    <a:pos x="402" y="631"/>
                  </a:cxn>
                  <a:cxn ang="0">
                    <a:pos x="361" y="612"/>
                  </a:cxn>
                  <a:cxn ang="0">
                    <a:pos x="321" y="532"/>
                  </a:cxn>
                  <a:cxn ang="0">
                    <a:pos x="328" y="492"/>
                  </a:cxn>
                  <a:cxn ang="0">
                    <a:pos x="315" y="459"/>
                  </a:cxn>
                  <a:cxn ang="0">
                    <a:pos x="299" y="419"/>
                  </a:cxn>
                  <a:cxn ang="0">
                    <a:pos x="314" y="357"/>
                  </a:cxn>
                  <a:cxn ang="0">
                    <a:pos x="314" y="330"/>
                  </a:cxn>
                  <a:cxn ang="0">
                    <a:pos x="253" y="337"/>
                  </a:cxn>
                  <a:cxn ang="0">
                    <a:pos x="217" y="338"/>
                  </a:cxn>
                  <a:cxn ang="0">
                    <a:pos x="169" y="289"/>
                  </a:cxn>
                  <a:cxn ang="0">
                    <a:pos x="90" y="287"/>
                  </a:cxn>
                  <a:cxn ang="0">
                    <a:pos x="52" y="229"/>
                  </a:cxn>
                  <a:cxn ang="0">
                    <a:pos x="31" y="196"/>
                  </a:cxn>
                  <a:cxn ang="0">
                    <a:pos x="14" y="140"/>
                  </a:cxn>
                  <a:cxn ang="0">
                    <a:pos x="79" y="29"/>
                  </a:cxn>
                </a:cxnLst>
                <a:rect l="0" t="0" r="r" b="b"/>
                <a:pathLst>
                  <a:path w="743" h="631">
                    <a:moveTo>
                      <a:pt x="109" y="21"/>
                    </a:moveTo>
                    <a:lnTo>
                      <a:pt x="99" y="29"/>
                    </a:lnTo>
                    <a:lnTo>
                      <a:pt x="88" y="31"/>
                    </a:lnTo>
                    <a:lnTo>
                      <a:pt x="82" y="35"/>
                    </a:lnTo>
                    <a:lnTo>
                      <a:pt x="82" y="39"/>
                    </a:lnTo>
                    <a:lnTo>
                      <a:pt x="84" y="47"/>
                    </a:lnTo>
                    <a:lnTo>
                      <a:pt x="87" y="56"/>
                    </a:lnTo>
                    <a:lnTo>
                      <a:pt x="94" y="66"/>
                    </a:lnTo>
                    <a:lnTo>
                      <a:pt x="95" y="69"/>
                    </a:lnTo>
                    <a:lnTo>
                      <a:pt x="93" y="72"/>
                    </a:lnTo>
                    <a:lnTo>
                      <a:pt x="93" y="73"/>
                    </a:lnTo>
                    <a:lnTo>
                      <a:pt x="97" y="77"/>
                    </a:lnTo>
                    <a:lnTo>
                      <a:pt x="97" y="83"/>
                    </a:lnTo>
                    <a:lnTo>
                      <a:pt x="93" y="95"/>
                    </a:lnTo>
                    <a:lnTo>
                      <a:pt x="78" y="109"/>
                    </a:lnTo>
                    <a:lnTo>
                      <a:pt x="76" y="111"/>
                    </a:lnTo>
                    <a:lnTo>
                      <a:pt x="73" y="118"/>
                    </a:lnTo>
                    <a:lnTo>
                      <a:pt x="73" y="133"/>
                    </a:lnTo>
                    <a:lnTo>
                      <a:pt x="74" y="140"/>
                    </a:lnTo>
                    <a:lnTo>
                      <a:pt x="78" y="145"/>
                    </a:lnTo>
                    <a:lnTo>
                      <a:pt x="87" y="152"/>
                    </a:lnTo>
                    <a:lnTo>
                      <a:pt x="93" y="165"/>
                    </a:lnTo>
                    <a:lnTo>
                      <a:pt x="95" y="174"/>
                    </a:lnTo>
                    <a:lnTo>
                      <a:pt x="98" y="176"/>
                    </a:lnTo>
                    <a:lnTo>
                      <a:pt x="105" y="176"/>
                    </a:lnTo>
                    <a:lnTo>
                      <a:pt x="113" y="174"/>
                    </a:lnTo>
                    <a:lnTo>
                      <a:pt x="119" y="169"/>
                    </a:lnTo>
                    <a:lnTo>
                      <a:pt x="125" y="161"/>
                    </a:lnTo>
                    <a:lnTo>
                      <a:pt x="126" y="159"/>
                    </a:lnTo>
                    <a:lnTo>
                      <a:pt x="126" y="148"/>
                    </a:lnTo>
                    <a:lnTo>
                      <a:pt x="125" y="134"/>
                    </a:lnTo>
                    <a:lnTo>
                      <a:pt x="115" y="117"/>
                    </a:lnTo>
                    <a:lnTo>
                      <a:pt x="109" y="110"/>
                    </a:lnTo>
                    <a:lnTo>
                      <a:pt x="104" y="101"/>
                    </a:lnTo>
                    <a:lnTo>
                      <a:pt x="104" y="77"/>
                    </a:lnTo>
                    <a:lnTo>
                      <a:pt x="108" y="74"/>
                    </a:lnTo>
                    <a:lnTo>
                      <a:pt x="110" y="70"/>
                    </a:lnTo>
                    <a:lnTo>
                      <a:pt x="111" y="68"/>
                    </a:lnTo>
                    <a:lnTo>
                      <a:pt x="120" y="66"/>
                    </a:lnTo>
                    <a:lnTo>
                      <a:pt x="140" y="53"/>
                    </a:lnTo>
                    <a:lnTo>
                      <a:pt x="173" y="43"/>
                    </a:lnTo>
                    <a:lnTo>
                      <a:pt x="196" y="42"/>
                    </a:lnTo>
                    <a:lnTo>
                      <a:pt x="196" y="36"/>
                    </a:lnTo>
                    <a:lnTo>
                      <a:pt x="195" y="32"/>
                    </a:lnTo>
                    <a:lnTo>
                      <a:pt x="190" y="30"/>
                    </a:lnTo>
                    <a:lnTo>
                      <a:pt x="174" y="29"/>
                    </a:lnTo>
                    <a:lnTo>
                      <a:pt x="172" y="27"/>
                    </a:lnTo>
                    <a:lnTo>
                      <a:pt x="169" y="27"/>
                    </a:lnTo>
                    <a:lnTo>
                      <a:pt x="168" y="25"/>
                    </a:lnTo>
                    <a:lnTo>
                      <a:pt x="169" y="18"/>
                    </a:lnTo>
                    <a:lnTo>
                      <a:pt x="175" y="5"/>
                    </a:lnTo>
                    <a:lnTo>
                      <a:pt x="181" y="0"/>
                    </a:lnTo>
                    <a:lnTo>
                      <a:pt x="186" y="0"/>
                    </a:lnTo>
                    <a:lnTo>
                      <a:pt x="191" y="2"/>
                    </a:lnTo>
                    <a:lnTo>
                      <a:pt x="192" y="4"/>
                    </a:lnTo>
                    <a:lnTo>
                      <a:pt x="201" y="29"/>
                    </a:lnTo>
                    <a:lnTo>
                      <a:pt x="201" y="29"/>
                    </a:lnTo>
                    <a:lnTo>
                      <a:pt x="207" y="40"/>
                    </a:lnTo>
                    <a:lnTo>
                      <a:pt x="223" y="42"/>
                    </a:lnTo>
                    <a:lnTo>
                      <a:pt x="243" y="46"/>
                    </a:lnTo>
                    <a:lnTo>
                      <a:pt x="246" y="46"/>
                    </a:lnTo>
                    <a:lnTo>
                      <a:pt x="260" y="50"/>
                    </a:lnTo>
                    <a:lnTo>
                      <a:pt x="271" y="56"/>
                    </a:lnTo>
                    <a:lnTo>
                      <a:pt x="276" y="61"/>
                    </a:lnTo>
                    <a:lnTo>
                      <a:pt x="280" y="77"/>
                    </a:lnTo>
                    <a:lnTo>
                      <a:pt x="285" y="88"/>
                    </a:lnTo>
                    <a:lnTo>
                      <a:pt x="286" y="90"/>
                    </a:lnTo>
                    <a:lnTo>
                      <a:pt x="292" y="95"/>
                    </a:lnTo>
                    <a:lnTo>
                      <a:pt x="303" y="95"/>
                    </a:lnTo>
                    <a:lnTo>
                      <a:pt x="329" y="90"/>
                    </a:lnTo>
                    <a:lnTo>
                      <a:pt x="340" y="91"/>
                    </a:lnTo>
                    <a:lnTo>
                      <a:pt x="366" y="88"/>
                    </a:lnTo>
                    <a:lnTo>
                      <a:pt x="395" y="88"/>
                    </a:lnTo>
                    <a:lnTo>
                      <a:pt x="398" y="89"/>
                    </a:lnTo>
                    <a:lnTo>
                      <a:pt x="401" y="91"/>
                    </a:lnTo>
                    <a:lnTo>
                      <a:pt x="405" y="97"/>
                    </a:lnTo>
                    <a:lnTo>
                      <a:pt x="405" y="101"/>
                    </a:lnTo>
                    <a:lnTo>
                      <a:pt x="411" y="106"/>
                    </a:lnTo>
                    <a:lnTo>
                      <a:pt x="422" y="112"/>
                    </a:lnTo>
                    <a:lnTo>
                      <a:pt x="432" y="115"/>
                    </a:lnTo>
                    <a:lnTo>
                      <a:pt x="450" y="115"/>
                    </a:lnTo>
                    <a:lnTo>
                      <a:pt x="476" y="110"/>
                    </a:lnTo>
                    <a:lnTo>
                      <a:pt x="484" y="106"/>
                    </a:lnTo>
                    <a:lnTo>
                      <a:pt x="495" y="99"/>
                    </a:lnTo>
                    <a:lnTo>
                      <a:pt x="512" y="99"/>
                    </a:lnTo>
                    <a:lnTo>
                      <a:pt x="523" y="96"/>
                    </a:lnTo>
                    <a:lnTo>
                      <a:pt x="527" y="94"/>
                    </a:lnTo>
                    <a:lnTo>
                      <a:pt x="525" y="91"/>
                    </a:lnTo>
                    <a:lnTo>
                      <a:pt x="506" y="90"/>
                    </a:lnTo>
                    <a:lnTo>
                      <a:pt x="499" y="88"/>
                    </a:lnTo>
                    <a:lnTo>
                      <a:pt x="499" y="88"/>
                    </a:lnTo>
                    <a:lnTo>
                      <a:pt x="506" y="84"/>
                    </a:lnTo>
                    <a:lnTo>
                      <a:pt x="520" y="83"/>
                    </a:lnTo>
                    <a:lnTo>
                      <a:pt x="608" y="83"/>
                    </a:lnTo>
                    <a:lnTo>
                      <a:pt x="620" y="86"/>
                    </a:lnTo>
                    <a:lnTo>
                      <a:pt x="621" y="86"/>
                    </a:lnTo>
                    <a:lnTo>
                      <a:pt x="619" y="88"/>
                    </a:lnTo>
                    <a:lnTo>
                      <a:pt x="606" y="90"/>
                    </a:lnTo>
                    <a:lnTo>
                      <a:pt x="605" y="93"/>
                    </a:lnTo>
                    <a:lnTo>
                      <a:pt x="600" y="95"/>
                    </a:lnTo>
                    <a:lnTo>
                      <a:pt x="587" y="93"/>
                    </a:lnTo>
                    <a:lnTo>
                      <a:pt x="573" y="95"/>
                    </a:lnTo>
                    <a:lnTo>
                      <a:pt x="570" y="99"/>
                    </a:lnTo>
                    <a:lnTo>
                      <a:pt x="571" y="102"/>
                    </a:lnTo>
                    <a:lnTo>
                      <a:pt x="579" y="106"/>
                    </a:lnTo>
                    <a:lnTo>
                      <a:pt x="583" y="107"/>
                    </a:lnTo>
                    <a:lnTo>
                      <a:pt x="590" y="111"/>
                    </a:lnTo>
                    <a:lnTo>
                      <a:pt x="593" y="117"/>
                    </a:lnTo>
                    <a:lnTo>
                      <a:pt x="599" y="122"/>
                    </a:lnTo>
                    <a:lnTo>
                      <a:pt x="600" y="129"/>
                    </a:lnTo>
                    <a:lnTo>
                      <a:pt x="604" y="134"/>
                    </a:lnTo>
                    <a:lnTo>
                      <a:pt x="621" y="132"/>
                    </a:lnTo>
                    <a:lnTo>
                      <a:pt x="638" y="136"/>
                    </a:lnTo>
                    <a:lnTo>
                      <a:pt x="663" y="150"/>
                    </a:lnTo>
                    <a:lnTo>
                      <a:pt x="670" y="152"/>
                    </a:lnTo>
                    <a:lnTo>
                      <a:pt x="678" y="159"/>
                    </a:lnTo>
                    <a:lnTo>
                      <a:pt x="686" y="172"/>
                    </a:lnTo>
                    <a:lnTo>
                      <a:pt x="687" y="177"/>
                    </a:lnTo>
                    <a:lnTo>
                      <a:pt x="689" y="193"/>
                    </a:lnTo>
                    <a:lnTo>
                      <a:pt x="689" y="197"/>
                    </a:lnTo>
                    <a:lnTo>
                      <a:pt x="686" y="199"/>
                    </a:lnTo>
                    <a:lnTo>
                      <a:pt x="676" y="203"/>
                    </a:lnTo>
                    <a:lnTo>
                      <a:pt x="676" y="206"/>
                    </a:lnTo>
                    <a:lnTo>
                      <a:pt x="679" y="207"/>
                    </a:lnTo>
                    <a:lnTo>
                      <a:pt x="689" y="208"/>
                    </a:lnTo>
                    <a:lnTo>
                      <a:pt x="695" y="211"/>
                    </a:lnTo>
                    <a:lnTo>
                      <a:pt x="701" y="211"/>
                    </a:lnTo>
                    <a:lnTo>
                      <a:pt x="705" y="209"/>
                    </a:lnTo>
                    <a:lnTo>
                      <a:pt x="712" y="202"/>
                    </a:lnTo>
                    <a:lnTo>
                      <a:pt x="721" y="201"/>
                    </a:lnTo>
                    <a:lnTo>
                      <a:pt x="727" y="203"/>
                    </a:lnTo>
                    <a:lnTo>
                      <a:pt x="737" y="209"/>
                    </a:lnTo>
                    <a:lnTo>
                      <a:pt x="741" y="214"/>
                    </a:lnTo>
                    <a:lnTo>
                      <a:pt x="743" y="217"/>
                    </a:lnTo>
                    <a:lnTo>
                      <a:pt x="743" y="225"/>
                    </a:lnTo>
                    <a:lnTo>
                      <a:pt x="739" y="228"/>
                    </a:lnTo>
                    <a:lnTo>
                      <a:pt x="734" y="228"/>
                    </a:lnTo>
                    <a:lnTo>
                      <a:pt x="728" y="231"/>
                    </a:lnTo>
                    <a:lnTo>
                      <a:pt x="724" y="234"/>
                    </a:lnTo>
                    <a:lnTo>
                      <a:pt x="708" y="241"/>
                    </a:lnTo>
                    <a:lnTo>
                      <a:pt x="705" y="245"/>
                    </a:lnTo>
                    <a:lnTo>
                      <a:pt x="702" y="247"/>
                    </a:lnTo>
                    <a:lnTo>
                      <a:pt x="691" y="250"/>
                    </a:lnTo>
                    <a:lnTo>
                      <a:pt x="689" y="252"/>
                    </a:lnTo>
                    <a:lnTo>
                      <a:pt x="686" y="258"/>
                    </a:lnTo>
                    <a:lnTo>
                      <a:pt x="686" y="267"/>
                    </a:lnTo>
                    <a:lnTo>
                      <a:pt x="689" y="279"/>
                    </a:lnTo>
                    <a:lnTo>
                      <a:pt x="694" y="281"/>
                    </a:lnTo>
                    <a:lnTo>
                      <a:pt x="700" y="279"/>
                    </a:lnTo>
                    <a:lnTo>
                      <a:pt x="702" y="279"/>
                    </a:lnTo>
                    <a:lnTo>
                      <a:pt x="707" y="284"/>
                    </a:lnTo>
                    <a:lnTo>
                      <a:pt x="702" y="290"/>
                    </a:lnTo>
                    <a:lnTo>
                      <a:pt x="691" y="298"/>
                    </a:lnTo>
                    <a:lnTo>
                      <a:pt x="674" y="304"/>
                    </a:lnTo>
                    <a:lnTo>
                      <a:pt x="673" y="306"/>
                    </a:lnTo>
                    <a:lnTo>
                      <a:pt x="673" y="321"/>
                    </a:lnTo>
                    <a:lnTo>
                      <a:pt x="669" y="327"/>
                    </a:lnTo>
                    <a:lnTo>
                      <a:pt x="663" y="336"/>
                    </a:lnTo>
                    <a:lnTo>
                      <a:pt x="662" y="337"/>
                    </a:lnTo>
                    <a:lnTo>
                      <a:pt x="662" y="341"/>
                    </a:lnTo>
                    <a:lnTo>
                      <a:pt x="662" y="343"/>
                    </a:lnTo>
                    <a:lnTo>
                      <a:pt x="674" y="359"/>
                    </a:lnTo>
                    <a:lnTo>
                      <a:pt x="685" y="370"/>
                    </a:lnTo>
                    <a:lnTo>
                      <a:pt x="689" y="378"/>
                    </a:lnTo>
                    <a:lnTo>
                      <a:pt x="695" y="384"/>
                    </a:lnTo>
                    <a:lnTo>
                      <a:pt x="699" y="386"/>
                    </a:lnTo>
                    <a:lnTo>
                      <a:pt x="699" y="389"/>
                    </a:lnTo>
                    <a:lnTo>
                      <a:pt x="699" y="401"/>
                    </a:lnTo>
                    <a:lnTo>
                      <a:pt x="687" y="414"/>
                    </a:lnTo>
                    <a:lnTo>
                      <a:pt x="680" y="421"/>
                    </a:lnTo>
                    <a:lnTo>
                      <a:pt x="676" y="423"/>
                    </a:lnTo>
                    <a:lnTo>
                      <a:pt x="660" y="424"/>
                    </a:lnTo>
                    <a:lnTo>
                      <a:pt x="654" y="428"/>
                    </a:lnTo>
                    <a:lnTo>
                      <a:pt x="646" y="432"/>
                    </a:lnTo>
                    <a:lnTo>
                      <a:pt x="640" y="440"/>
                    </a:lnTo>
                    <a:lnTo>
                      <a:pt x="635" y="443"/>
                    </a:lnTo>
                    <a:lnTo>
                      <a:pt x="606" y="445"/>
                    </a:lnTo>
                    <a:lnTo>
                      <a:pt x="590" y="449"/>
                    </a:lnTo>
                    <a:lnTo>
                      <a:pt x="572" y="455"/>
                    </a:lnTo>
                    <a:lnTo>
                      <a:pt x="568" y="459"/>
                    </a:lnTo>
                    <a:lnTo>
                      <a:pt x="567" y="460"/>
                    </a:lnTo>
                    <a:lnTo>
                      <a:pt x="542" y="459"/>
                    </a:lnTo>
                    <a:lnTo>
                      <a:pt x="524" y="454"/>
                    </a:lnTo>
                    <a:lnTo>
                      <a:pt x="503" y="441"/>
                    </a:lnTo>
                    <a:lnTo>
                      <a:pt x="481" y="439"/>
                    </a:lnTo>
                    <a:lnTo>
                      <a:pt x="474" y="437"/>
                    </a:lnTo>
                    <a:lnTo>
                      <a:pt x="470" y="437"/>
                    </a:lnTo>
                    <a:lnTo>
                      <a:pt x="469" y="437"/>
                    </a:lnTo>
                    <a:lnTo>
                      <a:pt x="470" y="446"/>
                    </a:lnTo>
                    <a:lnTo>
                      <a:pt x="474" y="455"/>
                    </a:lnTo>
                    <a:lnTo>
                      <a:pt x="485" y="460"/>
                    </a:lnTo>
                    <a:lnTo>
                      <a:pt x="497" y="467"/>
                    </a:lnTo>
                    <a:lnTo>
                      <a:pt x="499" y="470"/>
                    </a:lnTo>
                    <a:lnTo>
                      <a:pt x="498" y="482"/>
                    </a:lnTo>
                    <a:lnTo>
                      <a:pt x="495" y="495"/>
                    </a:lnTo>
                    <a:lnTo>
                      <a:pt x="495" y="502"/>
                    </a:lnTo>
                    <a:lnTo>
                      <a:pt x="496" y="507"/>
                    </a:lnTo>
                    <a:lnTo>
                      <a:pt x="501" y="524"/>
                    </a:lnTo>
                    <a:lnTo>
                      <a:pt x="502" y="532"/>
                    </a:lnTo>
                    <a:lnTo>
                      <a:pt x="503" y="538"/>
                    </a:lnTo>
                    <a:lnTo>
                      <a:pt x="518" y="541"/>
                    </a:lnTo>
                    <a:lnTo>
                      <a:pt x="522" y="542"/>
                    </a:lnTo>
                    <a:lnTo>
                      <a:pt x="546" y="541"/>
                    </a:lnTo>
                    <a:lnTo>
                      <a:pt x="546" y="550"/>
                    </a:lnTo>
                    <a:lnTo>
                      <a:pt x="546" y="551"/>
                    </a:lnTo>
                    <a:lnTo>
                      <a:pt x="544" y="554"/>
                    </a:lnTo>
                    <a:lnTo>
                      <a:pt x="533" y="556"/>
                    </a:lnTo>
                    <a:lnTo>
                      <a:pt x="525" y="559"/>
                    </a:lnTo>
                    <a:lnTo>
                      <a:pt x="524" y="562"/>
                    </a:lnTo>
                    <a:lnTo>
                      <a:pt x="518" y="565"/>
                    </a:lnTo>
                    <a:lnTo>
                      <a:pt x="511" y="565"/>
                    </a:lnTo>
                    <a:lnTo>
                      <a:pt x="506" y="573"/>
                    </a:lnTo>
                    <a:lnTo>
                      <a:pt x="499" y="588"/>
                    </a:lnTo>
                    <a:lnTo>
                      <a:pt x="496" y="591"/>
                    </a:lnTo>
                    <a:lnTo>
                      <a:pt x="491" y="593"/>
                    </a:lnTo>
                    <a:lnTo>
                      <a:pt x="486" y="593"/>
                    </a:lnTo>
                    <a:lnTo>
                      <a:pt x="480" y="596"/>
                    </a:lnTo>
                    <a:lnTo>
                      <a:pt x="477" y="597"/>
                    </a:lnTo>
                    <a:lnTo>
                      <a:pt x="475" y="602"/>
                    </a:lnTo>
                    <a:lnTo>
                      <a:pt x="466" y="602"/>
                    </a:lnTo>
                    <a:lnTo>
                      <a:pt x="454" y="607"/>
                    </a:lnTo>
                    <a:lnTo>
                      <a:pt x="452" y="607"/>
                    </a:lnTo>
                    <a:lnTo>
                      <a:pt x="444" y="611"/>
                    </a:lnTo>
                    <a:lnTo>
                      <a:pt x="436" y="615"/>
                    </a:lnTo>
                    <a:lnTo>
                      <a:pt x="431" y="618"/>
                    </a:lnTo>
                    <a:lnTo>
                      <a:pt x="423" y="626"/>
                    </a:lnTo>
                    <a:lnTo>
                      <a:pt x="421" y="627"/>
                    </a:lnTo>
                    <a:lnTo>
                      <a:pt x="402" y="631"/>
                    </a:lnTo>
                    <a:lnTo>
                      <a:pt x="385" y="631"/>
                    </a:lnTo>
                    <a:lnTo>
                      <a:pt x="383" y="629"/>
                    </a:lnTo>
                    <a:lnTo>
                      <a:pt x="380" y="629"/>
                    </a:lnTo>
                    <a:lnTo>
                      <a:pt x="368" y="621"/>
                    </a:lnTo>
                    <a:lnTo>
                      <a:pt x="364" y="617"/>
                    </a:lnTo>
                    <a:lnTo>
                      <a:pt x="361" y="612"/>
                    </a:lnTo>
                    <a:lnTo>
                      <a:pt x="358" y="607"/>
                    </a:lnTo>
                    <a:lnTo>
                      <a:pt x="353" y="600"/>
                    </a:lnTo>
                    <a:lnTo>
                      <a:pt x="348" y="591"/>
                    </a:lnTo>
                    <a:lnTo>
                      <a:pt x="346" y="580"/>
                    </a:lnTo>
                    <a:lnTo>
                      <a:pt x="330" y="543"/>
                    </a:lnTo>
                    <a:lnTo>
                      <a:pt x="321" y="532"/>
                    </a:lnTo>
                    <a:lnTo>
                      <a:pt x="304" y="519"/>
                    </a:lnTo>
                    <a:lnTo>
                      <a:pt x="304" y="515"/>
                    </a:lnTo>
                    <a:lnTo>
                      <a:pt x="316" y="504"/>
                    </a:lnTo>
                    <a:lnTo>
                      <a:pt x="321" y="497"/>
                    </a:lnTo>
                    <a:lnTo>
                      <a:pt x="324" y="495"/>
                    </a:lnTo>
                    <a:lnTo>
                      <a:pt x="328" y="492"/>
                    </a:lnTo>
                    <a:lnTo>
                      <a:pt x="330" y="491"/>
                    </a:lnTo>
                    <a:lnTo>
                      <a:pt x="331" y="488"/>
                    </a:lnTo>
                    <a:lnTo>
                      <a:pt x="330" y="481"/>
                    </a:lnTo>
                    <a:lnTo>
                      <a:pt x="328" y="476"/>
                    </a:lnTo>
                    <a:lnTo>
                      <a:pt x="323" y="467"/>
                    </a:lnTo>
                    <a:lnTo>
                      <a:pt x="315" y="459"/>
                    </a:lnTo>
                    <a:lnTo>
                      <a:pt x="308" y="454"/>
                    </a:lnTo>
                    <a:lnTo>
                      <a:pt x="307" y="451"/>
                    </a:lnTo>
                    <a:lnTo>
                      <a:pt x="305" y="441"/>
                    </a:lnTo>
                    <a:lnTo>
                      <a:pt x="303" y="435"/>
                    </a:lnTo>
                    <a:lnTo>
                      <a:pt x="303" y="427"/>
                    </a:lnTo>
                    <a:lnTo>
                      <a:pt x="299" y="419"/>
                    </a:lnTo>
                    <a:lnTo>
                      <a:pt x="299" y="407"/>
                    </a:lnTo>
                    <a:lnTo>
                      <a:pt x="303" y="401"/>
                    </a:lnTo>
                    <a:lnTo>
                      <a:pt x="305" y="391"/>
                    </a:lnTo>
                    <a:lnTo>
                      <a:pt x="305" y="380"/>
                    </a:lnTo>
                    <a:lnTo>
                      <a:pt x="314" y="370"/>
                    </a:lnTo>
                    <a:lnTo>
                      <a:pt x="314" y="357"/>
                    </a:lnTo>
                    <a:lnTo>
                      <a:pt x="316" y="352"/>
                    </a:lnTo>
                    <a:lnTo>
                      <a:pt x="323" y="346"/>
                    </a:lnTo>
                    <a:lnTo>
                      <a:pt x="323" y="341"/>
                    </a:lnTo>
                    <a:lnTo>
                      <a:pt x="320" y="332"/>
                    </a:lnTo>
                    <a:lnTo>
                      <a:pt x="318" y="330"/>
                    </a:lnTo>
                    <a:lnTo>
                      <a:pt x="314" y="330"/>
                    </a:lnTo>
                    <a:lnTo>
                      <a:pt x="304" y="330"/>
                    </a:lnTo>
                    <a:lnTo>
                      <a:pt x="285" y="338"/>
                    </a:lnTo>
                    <a:lnTo>
                      <a:pt x="273" y="341"/>
                    </a:lnTo>
                    <a:lnTo>
                      <a:pt x="266" y="341"/>
                    </a:lnTo>
                    <a:lnTo>
                      <a:pt x="257" y="338"/>
                    </a:lnTo>
                    <a:lnTo>
                      <a:pt x="253" y="337"/>
                    </a:lnTo>
                    <a:lnTo>
                      <a:pt x="248" y="335"/>
                    </a:lnTo>
                    <a:lnTo>
                      <a:pt x="242" y="333"/>
                    </a:lnTo>
                    <a:lnTo>
                      <a:pt x="234" y="336"/>
                    </a:lnTo>
                    <a:lnTo>
                      <a:pt x="232" y="338"/>
                    </a:lnTo>
                    <a:lnTo>
                      <a:pt x="226" y="338"/>
                    </a:lnTo>
                    <a:lnTo>
                      <a:pt x="217" y="338"/>
                    </a:lnTo>
                    <a:lnTo>
                      <a:pt x="213" y="336"/>
                    </a:lnTo>
                    <a:lnTo>
                      <a:pt x="212" y="336"/>
                    </a:lnTo>
                    <a:lnTo>
                      <a:pt x="184" y="295"/>
                    </a:lnTo>
                    <a:lnTo>
                      <a:pt x="183" y="293"/>
                    </a:lnTo>
                    <a:lnTo>
                      <a:pt x="180" y="290"/>
                    </a:lnTo>
                    <a:lnTo>
                      <a:pt x="169" y="289"/>
                    </a:lnTo>
                    <a:lnTo>
                      <a:pt x="163" y="285"/>
                    </a:lnTo>
                    <a:lnTo>
                      <a:pt x="151" y="281"/>
                    </a:lnTo>
                    <a:lnTo>
                      <a:pt x="133" y="282"/>
                    </a:lnTo>
                    <a:lnTo>
                      <a:pt x="115" y="287"/>
                    </a:lnTo>
                    <a:lnTo>
                      <a:pt x="105" y="288"/>
                    </a:lnTo>
                    <a:lnTo>
                      <a:pt x="90" y="287"/>
                    </a:lnTo>
                    <a:lnTo>
                      <a:pt x="73" y="279"/>
                    </a:lnTo>
                    <a:lnTo>
                      <a:pt x="70" y="272"/>
                    </a:lnTo>
                    <a:lnTo>
                      <a:pt x="66" y="271"/>
                    </a:lnTo>
                    <a:lnTo>
                      <a:pt x="54" y="265"/>
                    </a:lnTo>
                    <a:lnTo>
                      <a:pt x="52" y="262"/>
                    </a:lnTo>
                    <a:lnTo>
                      <a:pt x="52" y="229"/>
                    </a:lnTo>
                    <a:lnTo>
                      <a:pt x="50" y="220"/>
                    </a:lnTo>
                    <a:lnTo>
                      <a:pt x="47" y="214"/>
                    </a:lnTo>
                    <a:lnTo>
                      <a:pt x="43" y="211"/>
                    </a:lnTo>
                    <a:lnTo>
                      <a:pt x="41" y="208"/>
                    </a:lnTo>
                    <a:lnTo>
                      <a:pt x="34" y="199"/>
                    </a:lnTo>
                    <a:lnTo>
                      <a:pt x="31" y="196"/>
                    </a:lnTo>
                    <a:lnTo>
                      <a:pt x="28" y="176"/>
                    </a:lnTo>
                    <a:lnTo>
                      <a:pt x="25" y="170"/>
                    </a:lnTo>
                    <a:lnTo>
                      <a:pt x="24" y="168"/>
                    </a:lnTo>
                    <a:lnTo>
                      <a:pt x="0" y="169"/>
                    </a:lnTo>
                    <a:lnTo>
                      <a:pt x="6" y="155"/>
                    </a:lnTo>
                    <a:lnTo>
                      <a:pt x="14" y="140"/>
                    </a:lnTo>
                    <a:lnTo>
                      <a:pt x="27" y="95"/>
                    </a:lnTo>
                    <a:lnTo>
                      <a:pt x="40" y="73"/>
                    </a:lnTo>
                    <a:lnTo>
                      <a:pt x="65" y="50"/>
                    </a:lnTo>
                    <a:lnTo>
                      <a:pt x="68" y="45"/>
                    </a:lnTo>
                    <a:lnTo>
                      <a:pt x="73" y="35"/>
                    </a:lnTo>
                    <a:lnTo>
                      <a:pt x="79" y="29"/>
                    </a:lnTo>
                    <a:lnTo>
                      <a:pt x="94" y="23"/>
                    </a:lnTo>
                    <a:lnTo>
                      <a:pt x="109" y="2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65" name="Freeform 239"/>
              <p:cNvSpPr>
                <a:spLocks noChangeAspect="1"/>
              </p:cNvSpPr>
              <p:nvPr/>
            </p:nvSpPr>
            <p:spPr bwMode="gray">
              <a:xfrm>
                <a:off x="1629" y="2473"/>
                <a:ext cx="62" cy="69"/>
              </a:xfrm>
              <a:custGeom>
                <a:avLst/>
                <a:gdLst/>
                <a:ahLst/>
                <a:cxnLst>
                  <a:cxn ang="0">
                    <a:pos x="112" y="2"/>
                  </a:cxn>
                  <a:cxn ang="0">
                    <a:pos x="147" y="18"/>
                  </a:cxn>
                  <a:cxn ang="0">
                    <a:pos x="189" y="41"/>
                  </a:cxn>
                  <a:cxn ang="0">
                    <a:pos x="194" y="57"/>
                  </a:cxn>
                  <a:cxn ang="0">
                    <a:pos x="209" y="62"/>
                  </a:cxn>
                  <a:cxn ang="0">
                    <a:pos x="222" y="60"/>
                  </a:cxn>
                  <a:cxn ang="0">
                    <a:pos x="253" y="62"/>
                  </a:cxn>
                  <a:cxn ang="0">
                    <a:pos x="259" y="54"/>
                  </a:cxn>
                  <a:cxn ang="0">
                    <a:pos x="271" y="56"/>
                  </a:cxn>
                  <a:cxn ang="0">
                    <a:pos x="284" y="65"/>
                  </a:cxn>
                  <a:cxn ang="0">
                    <a:pos x="304" y="76"/>
                  </a:cxn>
                  <a:cxn ang="0">
                    <a:pos x="291" y="78"/>
                  </a:cxn>
                  <a:cxn ang="0">
                    <a:pos x="295" y="89"/>
                  </a:cxn>
                  <a:cxn ang="0">
                    <a:pos x="302" y="103"/>
                  </a:cxn>
                  <a:cxn ang="0">
                    <a:pos x="311" y="125"/>
                  </a:cxn>
                  <a:cxn ang="0">
                    <a:pos x="302" y="126"/>
                  </a:cxn>
                  <a:cxn ang="0">
                    <a:pos x="280" y="165"/>
                  </a:cxn>
                  <a:cxn ang="0">
                    <a:pos x="260" y="186"/>
                  </a:cxn>
                  <a:cxn ang="0">
                    <a:pos x="241" y="207"/>
                  </a:cxn>
                  <a:cxn ang="0">
                    <a:pos x="216" y="221"/>
                  </a:cxn>
                  <a:cxn ang="0">
                    <a:pos x="162" y="239"/>
                  </a:cxn>
                  <a:cxn ang="0">
                    <a:pos x="152" y="247"/>
                  </a:cxn>
                  <a:cxn ang="0">
                    <a:pos x="146" y="266"/>
                  </a:cxn>
                  <a:cxn ang="0">
                    <a:pos x="140" y="269"/>
                  </a:cxn>
                  <a:cxn ang="0">
                    <a:pos x="134" y="265"/>
                  </a:cxn>
                  <a:cxn ang="0">
                    <a:pos x="120" y="286"/>
                  </a:cxn>
                  <a:cxn ang="0">
                    <a:pos x="118" y="320"/>
                  </a:cxn>
                  <a:cxn ang="0">
                    <a:pos x="114" y="329"/>
                  </a:cxn>
                  <a:cxn ang="0">
                    <a:pos x="97" y="340"/>
                  </a:cxn>
                  <a:cxn ang="0">
                    <a:pos x="78" y="344"/>
                  </a:cxn>
                  <a:cxn ang="0">
                    <a:pos x="71" y="330"/>
                  </a:cxn>
                  <a:cxn ang="0">
                    <a:pos x="60" y="321"/>
                  </a:cxn>
                  <a:cxn ang="0">
                    <a:pos x="46" y="318"/>
                  </a:cxn>
                  <a:cxn ang="0">
                    <a:pos x="33" y="314"/>
                  </a:cxn>
                  <a:cxn ang="0">
                    <a:pos x="21" y="320"/>
                  </a:cxn>
                  <a:cxn ang="0">
                    <a:pos x="17" y="304"/>
                  </a:cxn>
                  <a:cxn ang="0">
                    <a:pos x="15" y="297"/>
                  </a:cxn>
                  <a:cxn ang="0">
                    <a:pos x="28" y="290"/>
                  </a:cxn>
                  <a:cxn ang="0">
                    <a:pos x="32" y="276"/>
                  </a:cxn>
                  <a:cxn ang="0">
                    <a:pos x="28" y="264"/>
                  </a:cxn>
                  <a:cxn ang="0">
                    <a:pos x="27" y="261"/>
                  </a:cxn>
                  <a:cxn ang="0">
                    <a:pos x="40" y="254"/>
                  </a:cxn>
                  <a:cxn ang="0">
                    <a:pos x="53" y="243"/>
                  </a:cxn>
                  <a:cxn ang="0">
                    <a:pos x="59" y="213"/>
                  </a:cxn>
                  <a:cxn ang="0">
                    <a:pos x="53" y="205"/>
                  </a:cxn>
                  <a:cxn ang="0">
                    <a:pos x="45" y="197"/>
                  </a:cxn>
                  <a:cxn ang="0">
                    <a:pos x="30" y="217"/>
                  </a:cxn>
                  <a:cxn ang="0">
                    <a:pos x="21" y="210"/>
                  </a:cxn>
                  <a:cxn ang="0">
                    <a:pos x="2" y="199"/>
                  </a:cxn>
                  <a:cxn ang="0">
                    <a:pos x="0" y="164"/>
                  </a:cxn>
                  <a:cxn ang="0">
                    <a:pos x="1" y="130"/>
                  </a:cxn>
                  <a:cxn ang="0">
                    <a:pos x="17" y="120"/>
                  </a:cxn>
                  <a:cxn ang="0">
                    <a:pos x="26" y="97"/>
                  </a:cxn>
                  <a:cxn ang="0">
                    <a:pos x="40" y="72"/>
                  </a:cxn>
                  <a:cxn ang="0">
                    <a:pos x="44" y="60"/>
                  </a:cxn>
                  <a:cxn ang="0">
                    <a:pos x="42" y="33"/>
                  </a:cxn>
                  <a:cxn ang="0">
                    <a:pos x="66" y="27"/>
                  </a:cxn>
                  <a:cxn ang="0">
                    <a:pos x="71" y="24"/>
                  </a:cxn>
                  <a:cxn ang="0">
                    <a:pos x="88" y="9"/>
                  </a:cxn>
                  <a:cxn ang="0">
                    <a:pos x="103" y="7"/>
                  </a:cxn>
                  <a:cxn ang="0">
                    <a:pos x="109" y="0"/>
                  </a:cxn>
                </a:cxnLst>
                <a:rect l="0" t="0" r="r" b="b"/>
                <a:pathLst>
                  <a:path w="311" h="345">
                    <a:moveTo>
                      <a:pt x="109" y="0"/>
                    </a:moveTo>
                    <a:lnTo>
                      <a:pt x="112" y="2"/>
                    </a:lnTo>
                    <a:lnTo>
                      <a:pt x="115" y="5"/>
                    </a:lnTo>
                    <a:lnTo>
                      <a:pt x="147" y="18"/>
                    </a:lnTo>
                    <a:lnTo>
                      <a:pt x="177" y="33"/>
                    </a:lnTo>
                    <a:lnTo>
                      <a:pt x="189" y="41"/>
                    </a:lnTo>
                    <a:lnTo>
                      <a:pt x="191" y="46"/>
                    </a:lnTo>
                    <a:lnTo>
                      <a:pt x="194" y="57"/>
                    </a:lnTo>
                    <a:lnTo>
                      <a:pt x="196" y="61"/>
                    </a:lnTo>
                    <a:lnTo>
                      <a:pt x="209" y="62"/>
                    </a:lnTo>
                    <a:lnTo>
                      <a:pt x="217" y="60"/>
                    </a:lnTo>
                    <a:lnTo>
                      <a:pt x="222" y="60"/>
                    </a:lnTo>
                    <a:lnTo>
                      <a:pt x="243" y="62"/>
                    </a:lnTo>
                    <a:lnTo>
                      <a:pt x="253" y="62"/>
                    </a:lnTo>
                    <a:lnTo>
                      <a:pt x="254" y="60"/>
                    </a:lnTo>
                    <a:lnTo>
                      <a:pt x="259" y="54"/>
                    </a:lnTo>
                    <a:lnTo>
                      <a:pt x="264" y="54"/>
                    </a:lnTo>
                    <a:lnTo>
                      <a:pt x="271" y="56"/>
                    </a:lnTo>
                    <a:lnTo>
                      <a:pt x="277" y="62"/>
                    </a:lnTo>
                    <a:lnTo>
                      <a:pt x="284" y="65"/>
                    </a:lnTo>
                    <a:lnTo>
                      <a:pt x="298" y="76"/>
                    </a:lnTo>
                    <a:lnTo>
                      <a:pt x="304" y="76"/>
                    </a:lnTo>
                    <a:lnTo>
                      <a:pt x="302" y="78"/>
                    </a:lnTo>
                    <a:lnTo>
                      <a:pt x="291" y="78"/>
                    </a:lnTo>
                    <a:lnTo>
                      <a:pt x="290" y="87"/>
                    </a:lnTo>
                    <a:lnTo>
                      <a:pt x="295" y="89"/>
                    </a:lnTo>
                    <a:lnTo>
                      <a:pt x="297" y="92"/>
                    </a:lnTo>
                    <a:lnTo>
                      <a:pt x="302" y="103"/>
                    </a:lnTo>
                    <a:lnTo>
                      <a:pt x="303" y="108"/>
                    </a:lnTo>
                    <a:lnTo>
                      <a:pt x="311" y="125"/>
                    </a:lnTo>
                    <a:lnTo>
                      <a:pt x="311" y="126"/>
                    </a:lnTo>
                    <a:lnTo>
                      <a:pt x="302" y="126"/>
                    </a:lnTo>
                    <a:lnTo>
                      <a:pt x="295" y="141"/>
                    </a:lnTo>
                    <a:lnTo>
                      <a:pt x="280" y="165"/>
                    </a:lnTo>
                    <a:lnTo>
                      <a:pt x="268" y="180"/>
                    </a:lnTo>
                    <a:lnTo>
                      <a:pt x="260" y="186"/>
                    </a:lnTo>
                    <a:lnTo>
                      <a:pt x="250" y="195"/>
                    </a:lnTo>
                    <a:lnTo>
                      <a:pt x="241" y="207"/>
                    </a:lnTo>
                    <a:lnTo>
                      <a:pt x="232" y="213"/>
                    </a:lnTo>
                    <a:lnTo>
                      <a:pt x="216" y="221"/>
                    </a:lnTo>
                    <a:lnTo>
                      <a:pt x="180" y="232"/>
                    </a:lnTo>
                    <a:lnTo>
                      <a:pt x="162" y="239"/>
                    </a:lnTo>
                    <a:lnTo>
                      <a:pt x="155" y="244"/>
                    </a:lnTo>
                    <a:lnTo>
                      <a:pt x="152" y="247"/>
                    </a:lnTo>
                    <a:lnTo>
                      <a:pt x="147" y="256"/>
                    </a:lnTo>
                    <a:lnTo>
                      <a:pt x="146" y="266"/>
                    </a:lnTo>
                    <a:lnTo>
                      <a:pt x="142" y="269"/>
                    </a:lnTo>
                    <a:lnTo>
                      <a:pt x="140" y="269"/>
                    </a:lnTo>
                    <a:lnTo>
                      <a:pt x="136" y="265"/>
                    </a:lnTo>
                    <a:lnTo>
                      <a:pt x="134" y="265"/>
                    </a:lnTo>
                    <a:lnTo>
                      <a:pt x="134" y="266"/>
                    </a:lnTo>
                    <a:lnTo>
                      <a:pt x="120" y="286"/>
                    </a:lnTo>
                    <a:lnTo>
                      <a:pt x="118" y="299"/>
                    </a:lnTo>
                    <a:lnTo>
                      <a:pt x="118" y="320"/>
                    </a:lnTo>
                    <a:lnTo>
                      <a:pt x="115" y="328"/>
                    </a:lnTo>
                    <a:lnTo>
                      <a:pt x="114" y="329"/>
                    </a:lnTo>
                    <a:lnTo>
                      <a:pt x="104" y="333"/>
                    </a:lnTo>
                    <a:lnTo>
                      <a:pt x="97" y="340"/>
                    </a:lnTo>
                    <a:lnTo>
                      <a:pt x="86" y="345"/>
                    </a:lnTo>
                    <a:lnTo>
                      <a:pt x="78" y="344"/>
                    </a:lnTo>
                    <a:lnTo>
                      <a:pt x="73" y="336"/>
                    </a:lnTo>
                    <a:lnTo>
                      <a:pt x="71" y="330"/>
                    </a:lnTo>
                    <a:lnTo>
                      <a:pt x="66" y="321"/>
                    </a:lnTo>
                    <a:lnTo>
                      <a:pt x="60" y="321"/>
                    </a:lnTo>
                    <a:lnTo>
                      <a:pt x="50" y="321"/>
                    </a:lnTo>
                    <a:lnTo>
                      <a:pt x="46" y="318"/>
                    </a:lnTo>
                    <a:lnTo>
                      <a:pt x="43" y="314"/>
                    </a:lnTo>
                    <a:lnTo>
                      <a:pt x="33" y="314"/>
                    </a:lnTo>
                    <a:lnTo>
                      <a:pt x="26" y="319"/>
                    </a:lnTo>
                    <a:lnTo>
                      <a:pt x="21" y="320"/>
                    </a:lnTo>
                    <a:lnTo>
                      <a:pt x="18" y="318"/>
                    </a:lnTo>
                    <a:lnTo>
                      <a:pt x="17" y="304"/>
                    </a:lnTo>
                    <a:lnTo>
                      <a:pt x="15" y="299"/>
                    </a:lnTo>
                    <a:lnTo>
                      <a:pt x="15" y="297"/>
                    </a:lnTo>
                    <a:lnTo>
                      <a:pt x="18" y="292"/>
                    </a:lnTo>
                    <a:lnTo>
                      <a:pt x="28" y="290"/>
                    </a:lnTo>
                    <a:lnTo>
                      <a:pt x="33" y="285"/>
                    </a:lnTo>
                    <a:lnTo>
                      <a:pt x="32" y="276"/>
                    </a:lnTo>
                    <a:lnTo>
                      <a:pt x="30" y="274"/>
                    </a:lnTo>
                    <a:lnTo>
                      <a:pt x="28" y="264"/>
                    </a:lnTo>
                    <a:lnTo>
                      <a:pt x="27" y="264"/>
                    </a:lnTo>
                    <a:lnTo>
                      <a:pt x="27" y="261"/>
                    </a:lnTo>
                    <a:lnTo>
                      <a:pt x="30" y="258"/>
                    </a:lnTo>
                    <a:lnTo>
                      <a:pt x="40" y="254"/>
                    </a:lnTo>
                    <a:lnTo>
                      <a:pt x="46" y="250"/>
                    </a:lnTo>
                    <a:lnTo>
                      <a:pt x="53" y="243"/>
                    </a:lnTo>
                    <a:lnTo>
                      <a:pt x="55" y="237"/>
                    </a:lnTo>
                    <a:lnTo>
                      <a:pt x="59" y="213"/>
                    </a:lnTo>
                    <a:lnTo>
                      <a:pt x="56" y="207"/>
                    </a:lnTo>
                    <a:lnTo>
                      <a:pt x="53" y="205"/>
                    </a:lnTo>
                    <a:lnTo>
                      <a:pt x="51" y="191"/>
                    </a:lnTo>
                    <a:lnTo>
                      <a:pt x="45" y="197"/>
                    </a:lnTo>
                    <a:lnTo>
                      <a:pt x="37" y="210"/>
                    </a:lnTo>
                    <a:lnTo>
                      <a:pt x="30" y="217"/>
                    </a:lnTo>
                    <a:lnTo>
                      <a:pt x="26" y="215"/>
                    </a:lnTo>
                    <a:lnTo>
                      <a:pt x="21" y="210"/>
                    </a:lnTo>
                    <a:lnTo>
                      <a:pt x="11" y="206"/>
                    </a:lnTo>
                    <a:lnTo>
                      <a:pt x="2" y="199"/>
                    </a:lnTo>
                    <a:lnTo>
                      <a:pt x="0" y="173"/>
                    </a:lnTo>
                    <a:lnTo>
                      <a:pt x="0" y="164"/>
                    </a:lnTo>
                    <a:lnTo>
                      <a:pt x="2" y="156"/>
                    </a:lnTo>
                    <a:lnTo>
                      <a:pt x="1" y="130"/>
                    </a:lnTo>
                    <a:lnTo>
                      <a:pt x="3" y="126"/>
                    </a:lnTo>
                    <a:lnTo>
                      <a:pt x="17" y="120"/>
                    </a:lnTo>
                    <a:lnTo>
                      <a:pt x="24" y="111"/>
                    </a:lnTo>
                    <a:lnTo>
                      <a:pt x="26" y="97"/>
                    </a:lnTo>
                    <a:lnTo>
                      <a:pt x="28" y="89"/>
                    </a:lnTo>
                    <a:lnTo>
                      <a:pt x="40" y="72"/>
                    </a:lnTo>
                    <a:lnTo>
                      <a:pt x="44" y="66"/>
                    </a:lnTo>
                    <a:lnTo>
                      <a:pt x="44" y="60"/>
                    </a:lnTo>
                    <a:lnTo>
                      <a:pt x="42" y="46"/>
                    </a:lnTo>
                    <a:lnTo>
                      <a:pt x="42" y="33"/>
                    </a:lnTo>
                    <a:lnTo>
                      <a:pt x="46" y="27"/>
                    </a:lnTo>
                    <a:lnTo>
                      <a:pt x="66" y="27"/>
                    </a:lnTo>
                    <a:lnTo>
                      <a:pt x="67" y="27"/>
                    </a:lnTo>
                    <a:lnTo>
                      <a:pt x="71" y="24"/>
                    </a:lnTo>
                    <a:lnTo>
                      <a:pt x="82" y="13"/>
                    </a:lnTo>
                    <a:lnTo>
                      <a:pt x="88" y="9"/>
                    </a:lnTo>
                    <a:lnTo>
                      <a:pt x="97" y="8"/>
                    </a:lnTo>
                    <a:lnTo>
                      <a:pt x="103" y="7"/>
                    </a:lnTo>
                    <a:lnTo>
                      <a:pt x="108" y="2"/>
                    </a:lnTo>
                    <a:lnTo>
                      <a:pt x="109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66" name="Freeform 240"/>
              <p:cNvSpPr>
                <a:spLocks noChangeAspect="1"/>
              </p:cNvSpPr>
              <p:nvPr/>
            </p:nvSpPr>
            <p:spPr bwMode="gray">
              <a:xfrm>
                <a:off x="1828" y="2701"/>
                <a:ext cx="92" cy="98"/>
              </a:xfrm>
              <a:custGeom>
                <a:avLst/>
                <a:gdLst/>
                <a:ahLst/>
                <a:cxnLst>
                  <a:cxn ang="0">
                    <a:pos x="8" y="164"/>
                  </a:cxn>
                  <a:cxn ang="0">
                    <a:pos x="19" y="117"/>
                  </a:cxn>
                  <a:cxn ang="0">
                    <a:pos x="18" y="87"/>
                  </a:cxn>
                  <a:cxn ang="0">
                    <a:pos x="29" y="66"/>
                  </a:cxn>
                  <a:cxn ang="0">
                    <a:pos x="43" y="35"/>
                  </a:cxn>
                  <a:cxn ang="0">
                    <a:pos x="64" y="25"/>
                  </a:cxn>
                  <a:cxn ang="0">
                    <a:pos x="121" y="8"/>
                  </a:cxn>
                  <a:cxn ang="0">
                    <a:pos x="156" y="0"/>
                  </a:cxn>
                  <a:cxn ang="0">
                    <a:pos x="212" y="3"/>
                  </a:cxn>
                  <a:cxn ang="0">
                    <a:pos x="232" y="19"/>
                  </a:cxn>
                  <a:cxn ang="0">
                    <a:pos x="248" y="44"/>
                  </a:cxn>
                  <a:cxn ang="0">
                    <a:pos x="252" y="55"/>
                  </a:cxn>
                  <a:cxn ang="0">
                    <a:pos x="260" y="71"/>
                  </a:cxn>
                  <a:cxn ang="0">
                    <a:pos x="261" y="121"/>
                  </a:cxn>
                  <a:cxn ang="0">
                    <a:pos x="265" y="163"/>
                  </a:cxn>
                  <a:cxn ang="0">
                    <a:pos x="286" y="169"/>
                  </a:cxn>
                  <a:cxn ang="0">
                    <a:pos x="311" y="175"/>
                  </a:cxn>
                  <a:cxn ang="0">
                    <a:pos x="335" y="174"/>
                  </a:cxn>
                  <a:cxn ang="0">
                    <a:pos x="349" y="168"/>
                  </a:cxn>
                  <a:cxn ang="0">
                    <a:pos x="378" y="180"/>
                  </a:cxn>
                  <a:cxn ang="0">
                    <a:pos x="386" y="195"/>
                  </a:cxn>
                  <a:cxn ang="0">
                    <a:pos x="392" y="230"/>
                  </a:cxn>
                  <a:cxn ang="0">
                    <a:pos x="392" y="260"/>
                  </a:cxn>
                  <a:cxn ang="0">
                    <a:pos x="404" y="272"/>
                  </a:cxn>
                  <a:cxn ang="0">
                    <a:pos x="421" y="275"/>
                  </a:cxn>
                  <a:cxn ang="0">
                    <a:pos x="440" y="272"/>
                  </a:cxn>
                  <a:cxn ang="0">
                    <a:pos x="454" y="275"/>
                  </a:cxn>
                  <a:cxn ang="0">
                    <a:pos x="459" y="308"/>
                  </a:cxn>
                  <a:cxn ang="0">
                    <a:pos x="454" y="327"/>
                  </a:cxn>
                  <a:cxn ang="0">
                    <a:pos x="449" y="374"/>
                  </a:cxn>
                  <a:cxn ang="0">
                    <a:pos x="443" y="420"/>
                  </a:cxn>
                  <a:cxn ang="0">
                    <a:pos x="433" y="438"/>
                  </a:cxn>
                  <a:cxn ang="0">
                    <a:pos x="411" y="458"/>
                  </a:cxn>
                  <a:cxn ang="0">
                    <a:pos x="404" y="463"/>
                  </a:cxn>
                  <a:cxn ang="0">
                    <a:pos x="388" y="479"/>
                  </a:cxn>
                  <a:cxn ang="0">
                    <a:pos x="378" y="482"/>
                  </a:cxn>
                  <a:cxn ang="0">
                    <a:pos x="356" y="483"/>
                  </a:cxn>
                  <a:cxn ang="0">
                    <a:pos x="345" y="491"/>
                  </a:cxn>
                  <a:cxn ang="0">
                    <a:pos x="333" y="488"/>
                  </a:cxn>
                  <a:cxn ang="0">
                    <a:pos x="313" y="487"/>
                  </a:cxn>
                  <a:cxn ang="0">
                    <a:pos x="290" y="474"/>
                  </a:cxn>
                  <a:cxn ang="0">
                    <a:pos x="236" y="469"/>
                  </a:cxn>
                  <a:cxn ang="0">
                    <a:pos x="233" y="459"/>
                  </a:cxn>
                  <a:cxn ang="0">
                    <a:pos x="238" y="442"/>
                  </a:cxn>
                  <a:cxn ang="0">
                    <a:pos x="264" y="395"/>
                  </a:cxn>
                  <a:cxn ang="0">
                    <a:pos x="273" y="372"/>
                  </a:cxn>
                  <a:cxn ang="0">
                    <a:pos x="269" y="358"/>
                  </a:cxn>
                  <a:cxn ang="0">
                    <a:pos x="260" y="348"/>
                  </a:cxn>
                  <a:cxn ang="0">
                    <a:pos x="238" y="339"/>
                  </a:cxn>
                  <a:cxn ang="0">
                    <a:pos x="214" y="319"/>
                  </a:cxn>
                  <a:cxn ang="0">
                    <a:pos x="173" y="293"/>
                  </a:cxn>
                  <a:cxn ang="0">
                    <a:pos x="155" y="287"/>
                  </a:cxn>
                  <a:cxn ang="0">
                    <a:pos x="118" y="283"/>
                  </a:cxn>
                  <a:cxn ang="0">
                    <a:pos x="102" y="276"/>
                  </a:cxn>
                  <a:cxn ang="0">
                    <a:pos x="89" y="256"/>
                  </a:cxn>
                  <a:cxn ang="0">
                    <a:pos x="74" y="246"/>
                  </a:cxn>
                  <a:cxn ang="0">
                    <a:pos x="46" y="223"/>
                  </a:cxn>
                  <a:cxn ang="0">
                    <a:pos x="22" y="189"/>
                  </a:cxn>
                  <a:cxn ang="0">
                    <a:pos x="0" y="179"/>
                  </a:cxn>
                </a:cxnLst>
                <a:rect l="0" t="0" r="r" b="b"/>
                <a:pathLst>
                  <a:path w="459" h="491">
                    <a:moveTo>
                      <a:pt x="0" y="179"/>
                    </a:moveTo>
                    <a:lnTo>
                      <a:pt x="8" y="164"/>
                    </a:lnTo>
                    <a:lnTo>
                      <a:pt x="19" y="124"/>
                    </a:lnTo>
                    <a:lnTo>
                      <a:pt x="19" y="117"/>
                    </a:lnTo>
                    <a:lnTo>
                      <a:pt x="18" y="113"/>
                    </a:lnTo>
                    <a:lnTo>
                      <a:pt x="18" y="87"/>
                    </a:lnTo>
                    <a:lnTo>
                      <a:pt x="18" y="84"/>
                    </a:lnTo>
                    <a:lnTo>
                      <a:pt x="29" y="66"/>
                    </a:lnTo>
                    <a:lnTo>
                      <a:pt x="40" y="50"/>
                    </a:lnTo>
                    <a:lnTo>
                      <a:pt x="43" y="35"/>
                    </a:lnTo>
                    <a:lnTo>
                      <a:pt x="45" y="29"/>
                    </a:lnTo>
                    <a:lnTo>
                      <a:pt x="64" y="25"/>
                    </a:lnTo>
                    <a:lnTo>
                      <a:pt x="118" y="8"/>
                    </a:lnTo>
                    <a:lnTo>
                      <a:pt x="121" y="8"/>
                    </a:lnTo>
                    <a:lnTo>
                      <a:pt x="152" y="0"/>
                    </a:lnTo>
                    <a:lnTo>
                      <a:pt x="156" y="0"/>
                    </a:lnTo>
                    <a:lnTo>
                      <a:pt x="199" y="0"/>
                    </a:lnTo>
                    <a:lnTo>
                      <a:pt x="212" y="3"/>
                    </a:lnTo>
                    <a:lnTo>
                      <a:pt x="222" y="11"/>
                    </a:lnTo>
                    <a:lnTo>
                      <a:pt x="232" y="19"/>
                    </a:lnTo>
                    <a:lnTo>
                      <a:pt x="247" y="40"/>
                    </a:lnTo>
                    <a:lnTo>
                      <a:pt x="248" y="44"/>
                    </a:lnTo>
                    <a:lnTo>
                      <a:pt x="254" y="50"/>
                    </a:lnTo>
                    <a:lnTo>
                      <a:pt x="252" y="55"/>
                    </a:lnTo>
                    <a:lnTo>
                      <a:pt x="252" y="57"/>
                    </a:lnTo>
                    <a:lnTo>
                      <a:pt x="260" y="71"/>
                    </a:lnTo>
                    <a:lnTo>
                      <a:pt x="261" y="73"/>
                    </a:lnTo>
                    <a:lnTo>
                      <a:pt x="261" y="121"/>
                    </a:lnTo>
                    <a:lnTo>
                      <a:pt x="261" y="154"/>
                    </a:lnTo>
                    <a:lnTo>
                      <a:pt x="265" y="163"/>
                    </a:lnTo>
                    <a:lnTo>
                      <a:pt x="271" y="165"/>
                    </a:lnTo>
                    <a:lnTo>
                      <a:pt x="286" y="169"/>
                    </a:lnTo>
                    <a:lnTo>
                      <a:pt x="293" y="173"/>
                    </a:lnTo>
                    <a:lnTo>
                      <a:pt x="311" y="175"/>
                    </a:lnTo>
                    <a:lnTo>
                      <a:pt x="323" y="175"/>
                    </a:lnTo>
                    <a:lnTo>
                      <a:pt x="335" y="174"/>
                    </a:lnTo>
                    <a:lnTo>
                      <a:pt x="340" y="171"/>
                    </a:lnTo>
                    <a:lnTo>
                      <a:pt x="349" y="168"/>
                    </a:lnTo>
                    <a:lnTo>
                      <a:pt x="355" y="173"/>
                    </a:lnTo>
                    <a:lnTo>
                      <a:pt x="378" y="180"/>
                    </a:lnTo>
                    <a:lnTo>
                      <a:pt x="384" y="189"/>
                    </a:lnTo>
                    <a:lnTo>
                      <a:pt x="386" y="195"/>
                    </a:lnTo>
                    <a:lnTo>
                      <a:pt x="388" y="218"/>
                    </a:lnTo>
                    <a:lnTo>
                      <a:pt x="392" y="230"/>
                    </a:lnTo>
                    <a:lnTo>
                      <a:pt x="390" y="255"/>
                    </a:lnTo>
                    <a:lnTo>
                      <a:pt x="392" y="260"/>
                    </a:lnTo>
                    <a:lnTo>
                      <a:pt x="397" y="267"/>
                    </a:lnTo>
                    <a:lnTo>
                      <a:pt x="404" y="272"/>
                    </a:lnTo>
                    <a:lnTo>
                      <a:pt x="411" y="275"/>
                    </a:lnTo>
                    <a:lnTo>
                      <a:pt x="421" y="275"/>
                    </a:lnTo>
                    <a:lnTo>
                      <a:pt x="426" y="272"/>
                    </a:lnTo>
                    <a:lnTo>
                      <a:pt x="440" y="272"/>
                    </a:lnTo>
                    <a:lnTo>
                      <a:pt x="449" y="270"/>
                    </a:lnTo>
                    <a:lnTo>
                      <a:pt x="454" y="275"/>
                    </a:lnTo>
                    <a:lnTo>
                      <a:pt x="459" y="283"/>
                    </a:lnTo>
                    <a:lnTo>
                      <a:pt x="459" y="308"/>
                    </a:lnTo>
                    <a:lnTo>
                      <a:pt x="458" y="311"/>
                    </a:lnTo>
                    <a:lnTo>
                      <a:pt x="454" y="327"/>
                    </a:lnTo>
                    <a:lnTo>
                      <a:pt x="451" y="353"/>
                    </a:lnTo>
                    <a:lnTo>
                      <a:pt x="449" y="374"/>
                    </a:lnTo>
                    <a:lnTo>
                      <a:pt x="446" y="404"/>
                    </a:lnTo>
                    <a:lnTo>
                      <a:pt x="443" y="420"/>
                    </a:lnTo>
                    <a:lnTo>
                      <a:pt x="440" y="428"/>
                    </a:lnTo>
                    <a:lnTo>
                      <a:pt x="433" y="438"/>
                    </a:lnTo>
                    <a:lnTo>
                      <a:pt x="425" y="447"/>
                    </a:lnTo>
                    <a:lnTo>
                      <a:pt x="411" y="458"/>
                    </a:lnTo>
                    <a:lnTo>
                      <a:pt x="409" y="461"/>
                    </a:lnTo>
                    <a:lnTo>
                      <a:pt x="404" y="463"/>
                    </a:lnTo>
                    <a:lnTo>
                      <a:pt x="390" y="475"/>
                    </a:lnTo>
                    <a:lnTo>
                      <a:pt x="388" y="479"/>
                    </a:lnTo>
                    <a:lnTo>
                      <a:pt x="386" y="480"/>
                    </a:lnTo>
                    <a:lnTo>
                      <a:pt x="378" y="482"/>
                    </a:lnTo>
                    <a:lnTo>
                      <a:pt x="363" y="480"/>
                    </a:lnTo>
                    <a:lnTo>
                      <a:pt x="356" y="483"/>
                    </a:lnTo>
                    <a:lnTo>
                      <a:pt x="352" y="488"/>
                    </a:lnTo>
                    <a:lnTo>
                      <a:pt x="345" y="491"/>
                    </a:lnTo>
                    <a:lnTo>
                      <a:pt x="338" y="491"/>
                    </a:lnTo>
                    <a:lnTo>
                      <a:pt x="333" y="488"/>
                    </a:lnTo>
                    <a:lnTo>
                      <a:pt x="323" y="490"/>
                    </a:lnTo>
                    <a:lnTo>
                      <a:pt x="313" y="487"/>
                    </a:lnTo>
                    <a:lnTo>
                      <a:pt x="296" y="476"/>
                    </a:lnTo>
                    <a:lnTo>
                      <a:pt x="290" y="474"/>
                    </a:lnTo>
                    <a:lnTo>
                      <a:pt x="258" y="469"/>
                    </a:lnTo>
                    <a:lnTo>
                      <a:pt x="236" y="469"/>
                    </a:lnTo>
                    <a:lnTo>
                      <a:pt x="233" y="465"/>
                    </a:lnTo>
                    <a:lnTo>
                      <a:pt x="233" y="459"/>
                    </a:lnTo>
                    <a:lnTo>
                      <a:pt x="236" y="450"/>
                    </a:lnTo>
                    <a:lnTo>
                      <a:pt x="238" y="442"/>
                    </a:lnTo>
                    <a:lnTo>
                      <a:pt x="249" y="417"/>
                    </a:lnTo>
                    <a:lnTo>
                      <a:pt x="264" y="395"/>
                    </a:lnTo>
                    <a:lnTo>
                      <a:pt x="273" y="382"/>
                    </a:lnTo>
                    <a:lnTo>
                      <a:pt x="273" y="372"/>
                    </a:lnTo>
                    <a:lnTo>
                      <a:pt x="271" y="363"/>
                    </a:lnTo>
                    <a:lnTo>
                      <a:pt x="269" y="358"/>
                    </a:lnTo>
                    <a:lnTo>
                      <a:pt x="265" y="357"/>
                    </a:lnTo>
                    <a:lnTo>
                      <a:pt x="260" y="348"/>
                    </a:lnTo>
                    <a:lnTo>
                      <a:pt x="252" y="342"/>
                    </a:lnTo>
                    <a:lnTo>
                      <a:pt x="238" y="339"/>
                    </a:lnTo>
                    <a:lnTo>
                      <a:pt x="230" y="327"/>
                    </a:lnTo>
                    <a:lnTo>
                      <a:pt x="214" y="319"/>
                    </a:lnTo>
                    <a:lnTo>
                      <a:pt x="199" y="311"/>
                    </a:lnTo>
                    <a:lnTo>
                      <a:pt x="173" y="293"/>
                    </a:lnTo>
                    <a:lnTo>
                      <a:pt x="167" y="291"/>
                    </a:lnTo>
                    <a:lnTo>
                      <a:pt x="155" y="287"/>
                    </a:lnTo>
                    <a:lnTo>
                      <a:pt x="126" y="286"/>
                    </a:lnTo>
                    <a:lnTo>
                      <a:pt x="118" y="283"/>
                    </a:lnTo>
                    <a:lnTo>
                      <a:pt x="107" y="280"/>
                    </a:lnTo>
                    <a:lnTo>
                      <a:pt x="102" y="276"/>
                    </a:lnTo>
                    <a:lnTo>
                      <a:pt x="101" y="275"/>
                    </a:lnTo>
                    <a:lnTo>
                      <a:pt x="89" y="256"/>
                    </a:lnTo>
                    <a:lnTo>
                      <a:pt x="85" y="253"/>
                    </a:lnTo>
                    <a:lnTo>
                      <a:pt x="74" y="246"/>
                    </a:lnTo>
                    <a:lnTo>
                      <a:pt x="49" y="228"/>
                    </a:lnTo>
                    <a:lnTo>
                      <a:pt x="46" y="223"/>
                    </a:lnTo>
                    <a:lnTo>
                      <a:pt x="33" y="210"/>
                    </a:lnTo>
                    <a:lnTo>
                      <a:pt x="22" y="189"/>
                    </a:lnTo>
                    <a:lnTo>
                      <a:pt x="16" y="184"/>
                    </a:lnTo>
                    <a:lnTo>
                      <a:pt x="0" y="17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67" name="Freeform 241"/>
              <p:cNvSpPr>
                <a:spLocks noChangeAspect="1"/>
              </p:cNvSpPr>
              <p:nvPr/>
            </p:nvSpPr>
            <p:spPr bwMode="gray">
              <a:xfrm>
                <a:off x="1687" y="2681"/>
                <a:ext cx="93" cy="506"/>
              </a:xfrm>
              <a:custGeom>
                <a:avLst/>
                <a:gdLst/>
                <a:ahLst/>
                <a:cxnLst>
                  <a:cxn ang="0">
                    <a:pos x="375" y="93"/>
                  </a:cxn>
                  <a:cxn ang="0">
                    <a:pos x="368" y="149"/>
                  </a:cxn>
                  <a:cxn ang="0">
                    <a:pos x="398" y="209"/>
                  </a:cxn>
                  <a:cxn ang="0">
                    <a:pos x="429" y="311"/>
                  </a:cxn>
                  <a:cxn ang="0">
                    <a:pos x="436" y="385"/>
                  </a:cxn>
                  <a:cxn ang="0">
                    <a:pos x="387" y="508"/>
                  </a:cxn>
                  <a:cxn ang="0">
                    <a:pos x="329" y="628"/>
                  </a:cxn>
                  <a:cxn ang="0">
                    <a:pos x="300" y="766"/>
                  </a:cxn>
                  <a:cxn ang="0">
                    <a:pos x="284" y="863"/>
                  </a:cxn>
                  <a:cxn ang="0">
                    <a:pos x="298" y="1032"/>
                  </a:cxn>
                  <a:cxn ang="0">
                    <a:pos x="269" y="1148"/>
                  </a:cxn>
                  <a:cxn ang="0">
                    <a:pos x="242" y="1290"/>
                  </a:cxn>
                  <a:cxn ang="0">
                    <a:pos x="208" y="1440"/>
                  </a:cxn>
                  <a:cxn ang="0">
                    <a:pos x="190" y="1597"/>
                  </a:cxn>
                  <a:cxn ang="0">
                    <a:pos x="201" y="1739"/>
                  </a:cxn>
                  <a:cxn ang="0">
                    <a:pos x="214" y="1785"/>
                  </a:cxn>
                  <a:cxn ang="0">
                    <a:pos x="212" y="1915"/>
                  </a:cxn>
                  <a:cxn ang="0">
                    <a:pos x="171" y="2027"/>
                  </a:cxn>
                  <a:cxn ang="0">
                    <a:pos x="137" y="2139"/>
                  </a:cxn>
                  <a:cxn ang="0">
                    <a:pos x="129" y="2264"/>
                  </a:cxn>
                  <a:cxn ang="0">
                    <a:pos x="179" y="2283"/>
                  </a:cxn>
                  <a:cxn ang="0">
                    <a:pos x="306" y="2367"/>
                  </a:cxn>
                  <a:cxn ang="0">
                    <a:pos x="355" y="2386"/>
                  </a:cxn>
                  <a:cxn ang="0">
                    <a:pos x="268" y="2429"/>
                  </a:cxn>
                  <a:cxn ang="0">
                    <a:pos x="214" y="2525"/>
                  </a:cxn>
                  <a:cxn ang="0">
                    <a:pos x="208" y="2477"/>
                  </a:cxn>
                  <a:cxn ang="0">
                    <a:pos x="189" y="2413"/>
                  </a:cxn>
                  <a:cxn ang="0">
                    <a:pos x="171" y="2376"/>
                  </a:cxn>
                  <a:cxn ang="0">
                    <a:pos x="160" y="2345"/>
                  </a:cxn>
                  <a:cxn ang="0">
                    <a:pos x="125" y="2343"/>
                  </a:cxn>
                  <a:cxn ang="0">
                    <a:pos x="81" y="2285"/>
                  </a:cxn>
                  <a:cxn ang="0">
                    <a:pos x="79" y="2240"/>
                  </a:cxn>
                  <a:cxn ang="0">
                    <a:pos x="70" y="2173"/>
                  </a:cxn>
                  <a:cxn ang="0">
                    <a:pos x="93" y="2117"/>
                  </a:cxn>
                  <a:cxn ang="0">
                    <a:pos x="70" y="2076"/>
                  </a:cxn>
                  <a:cxn ang="0">
                    <a:pos x="59" y="2042"/>
                  </a:cxn>
                  <a:cxn ang="0">
                    <a:pos x="109" y="2032"/>
                  </a:cxn>
                  <a:cxn ang="0">
                    <a:pos x="63" y="1979"/>
                  </a:cxn>
                  <a:cxn ang="0">
                    <a:pos x="66" y="1920"/>
                  </a:cxn>
                  <a:cxn ang="0">
                    <a:pos x="15" y="1930"/>
                  </a:cxn>
                  <a:cxn ang="0">
                    <a:pos x="44" y="1871"/>
                  </a:cxn>
                  <a:cxn ang="0">
                    <a:pos x="72" y="1856"/>
                  </a:cxn>
                  <a:cxn ang="0">
                    <a:pos x="91" y="1888"/>
                  </a:cxn>
                  <a:cxn ang="0">
                    <a:pos x="118" y="1879"/>
                  </a:cxn>
                  <a:cxn ang="0">
                    <a:pos x="114" y="1849"/>
                  </a:cxn>
                  <a:cxn ang="0">
                    <a:pos x="117" y="1818"/>
                  </a:cxn>
                  <a:cxn ang="0">
                    <a:pos x="120" y="1806"/>
                  </a:cxn>
                  <a:cxn ang="0">
                    <a:pos x="149" y="1740"/>
                  </a:cxn>
                  <a:cxn ang="0">
                    <a:pos x="146" y="1691"/>
                  </a:cxn>
                  <a:cxn ang="0">
                    <a:pos x="158" y="1601"/>
                  </a:cxn>
                  <a:cxn ang="0">
                    <a:pos x="153" y="1558"/>
                  </a:cxn>
                  <a:cxn ang="0">
                    <a:pos x="141" y="1525"/>
                  </a:cxn>
                  <a:cxn ang="0">
                    <a:pos x="92" y="1504"/>
                  </a:cxn>
                  <a:cxn ang="0">
                    <a:pos x="115" y="1329"/>
                  </a:cxn>
                  <a:cxn ang="0">
                    <a:pos x="122" y="1219"/>
                  </a:cxn>
                  <a:cxn ang="0">
                    <a:pos x="166" y="1105"/>
                  </a:cxn>
                  <a:cxn ang="0">
                    <a:pos x="221" y="928"/>
                  </a:cxn>
                  <a:cxn ang="0">
                    <a:pos x="226" y="719"/>
                  </a:cxn>
                  <a:cxn ang="0">
                    <a:pos x="253" y="565"/>
                  </a:cxn>
                  <a:cxn ang="0">
                    <a:pos x="275" y="461"/>
                  </a:cxn>
                  <a:cxn ang="0">
                    <a:pos x="279" y="317"/>
                  </a:cxn>
                  <a:cxn ang="0">
                    <a:pos x="292" y="142"/>
                  </a:cxn>
                  <a:cxn ang="0">
                    <a:pos x="312" y="25"/>
                  </a:cxn>
                </a:cxnLst>
                <a:rect l="0" t="0" r="r" b="b"/>
                <a:pathLst>
                  <a:path w="462" h="2531">
                    <a:moveTo>
                      <a:pt x="325" y="0"/>
                    </a:moveTo>
                    <a:lnTo>
                      <a:pt x="328" y="0"/>
                    </a:lnTo>
                    <a:lnTo>
                      <a:pt x="339" y="14"/>
                    </a:lnTo>
                    <a:lnTo>
                      <a:pt x="343" y="18"/>
                    </a:lnTo>
                    <a:lnTo>
                      <a:pt x="350" y="27"/>
                    </a:lnTo>
                    <a:lnTo>
                      <a:pt x="350" y="37"/>
                    </a:lnTo>
                    <a:lnTo>
                      <a:pt x="354" y="69"/>
                    </a:lnTo>
                    <a:lnTo>
                      <a:pt x="357" y="78"/>
                    </a:lnTo>
                    <a:lnTo>
                      <a:pt x="362" y="83"/>
                    </a:lnTo>
                    <a:lnTo>
                      <a:pt x="375" y="93"/>
                    </a:lnTo>
                    <a:lnTo>
                      <a:pt x="382" y="100"/>
                    </a:lnTo>
                    <a:lnTo>
                      <a:pt x="383" y="110"/>
                    </a:lnTo>
                    <a:lnTo>
                      <a:pt x="379" y="115"/>
                    </a:lnTo>
                    <a:lnTo>
                      <a:pt x="378" y="121"/>
                    </a:lnTo>
                    <a:lnTo>
                      <a:pt x="382" y="127"/>
                    </a:lnTo>
                    <a:lnTo>
                      <a:pt x="382" y="131"/>
                    </a:lnTo>
                    <a:lnTo>
                      <a:pt x="379" y="132"/>
                    </a:lnTo>
                    <a:lnTo>
                      <a:pt x="372" y="136"/>
                    </a:lnTo>
                    <a:lnTo>
                      <a:pt x="371" y="137"/>
                    </a:lnTo>
                    <a:lnTo>
                      <a:pt x="368" y="149"/>
                    </a:lnTo>
                    <a:lnTo>
                      <a:pt x="368" y="155"/>
                    </a:lnTo>
                    <a:lnTo>
                      <a:pt x="376" y="159"/>
                    </a:lnTo>
                    <a:lnTo>
                      <a:pt x="379" y="164"/>
                    </a:lnTo>
                    <a:lnTo>
                      <a:pt x="379" y="172"/>
                    </a:lnTo>
                    <a:lnTo>
                      <a:pt x="379" y="180"/>
                    </a:lnTo>
                    <a:lnTo>
                      <a:pt x="382" y="183"/>
                    </a:lnTo>
                    <a:lnTo>
                      <a:pt x="387" y="185"/>
                    </a:lnTo>
                    <a:lnTo>
                      <a:pt x="394" y="192"/>
                    </a:lnTo>
                    <a:lnTo>
                      <a:pt x="395" y="196"/>
                    </a:lnTo>
                    <a:lnTo>
                      <a:pt x="398" y="209"/>
                    </a:lnTo>
                    <a:lnTo>
                      <a:pt x="398" y="218"/>
                    </a:lnTo>
                    <a:lnTo>
                      <a:pt x="404" y="228"/>
                    </a:lnTo>
                    <a:lnTo>
                      <a:pt x="407" y="250"/>
                    </a:lnTo>
                    <a:lnTo>
                      <a:pt x="407" y="268"/>
                    </a:lnTo>
                    <a:lnTo>
                      <a:pt x="411" y="290"/>
                    </a:lnTo>
                    <a:lnTo>
                      <a:pt x="411" y="294"/>
                    </a:lnTo>
                    <a:lnTo>
                      <a:pt x="415" y="306"/>
                    </a:lnTo>
                    <a:lnTo>
                      <a:pt x="415" y="308"/>
                    </a:lnTo>
                    <a:lnTo>
                      <a:pt x="422" y="311"/>
                    </a:lnTo>
                    <a:lnTo>
                      <a:pt x="429" y="311"/>
                    </a:lnTo>
                    <a:lnTo>
                      <a:pt x="441" y="311"/>
                    </a:lnTo>
                    <a:lnTo>
                      <a:pt x="447" y="309"/>
                    </a:lnTo>
                    <a:lnTo>
                      <a:pt x="457" y="309"/>
                    </a:lnTo>
                    <a:lnTo>
                      <a:pt x="457" y="311"/>
                    </a:lnTo>
                    <a:lnTo>
                      <a:pt x="458" y="311"/>
                    </a:lnTo>
                    <a:lnTo>
                      <a:pt x="458" y="314"/>
                    </a:lnTo>
                    <a:lnTo>
                      <a:pt x="463" y="319"/>
                    </a:lnTo>
                    <a:lnTo>
                      <a:pt x="463" y="331"/>
                    </a:lnTo>
                    <a:lnTo>
                      <a:pt x="454" y="378"/>
                    </a:lnTo>
                    <a:lnTo>
                      <a:pt x="436" y="385"/>
                    </a:lnTo>
                    <a:lnTo>
                      <a:pt x="388" y="407"/>
                    </a:lnTo>
                    <a:lnTo>
                      <a:pt x="387" y="414"/>
                    </a:lnTo>
                    <a:lnTo>
                      <a:pt x="387" y="422"/>
                    </a:lnTo>
                    <a:lnTo>
                      <a:pt x="389" y="432"/>
                    </a:lnTo>
                    <a:lnTo>
                      <a:pt x="389" y="441"/>
                    </a:lnTo>
                    <a:lnTo>
                      <a:pt x="383" y="449"/>
                    </a:lnTo>
                    <a:lnTo>
                      <a:pt x="382" y="451"/>
                    </a:lnTo>
                    <a:lnTo>
                      <a:pt x="382" y="467"/>
                    </a:lnTo>
                    <a:lnTo>
                      <a:pt x="387" y="482"/>
                    </a:lnTo>
                    <a:lnTo>
                      <a:pt x="387" y="508"/>
                    </a:lnTo>
                    <a:lnTo>
                      <a:pt x="389" y="519"/>
                    </a:lnTo>
                    <a:lnTo>
                      <a:pt x="393" y="534"/>
                    </a:lnTo>
                    <a:lnTo>
                      <a:pt x="395" y="548"/>
                    </a:lnTo>
                    <a:lnTo>
                      <a:pt x="394" y="551"/>
                    </a:lnTo>
                    <a:lnTo>
                      <a:pt x="389" y="554"/>
                    </a:lnTo>
                    <a:lnTo>
                      <a:pt x="379" y="558"/>
                    </a:lnTo>
                    <a:lnTo>
                      <a:pt x="364" y="573"/>
                    </a:lnTo>
                    <a:lnTo>
                      <a:pt x="361" y="575"/>
                    </a:lnTo>
                    <a:lnTo>
                      <a:pt x="354" y="600"/>
                    </a:lnTo>
                    <a:lnTo>
                      <a:pt x="329" y="628"/>
                    </a:lnTo>
                    <a:lnTo>
                      <a:pt x="323" y="654"/>
                    </a:lnTo>
                    <a:lnTo>
                      <a:pt x="318" y="675"/>
                    </a:lnTo>
                    <a:lnTo>
                      <a:pt x="317" y="682"/>
                    </a:lnTo>
                    <a:lnTo>
                      <a:pt x="311" y="696"/>
                    </a:lnTo>
                    <a:lnTo>
                      <a:pt x="308" y="704"/>
                    </a:lnTo>
                    <a:lnTo>
                      <a:pt x="307" y="729"/>
                    </a:lnTo>
                    <a:lnTo>
                      <a:pt x="308" y="739"/>
                    </a:lnTo>
                    <a:lnTo>
                      <a:pt x="308" y="749"/>
                    </a:lnTo>
                    <a:lnTo>
                      <a:pt x="305" y="762"/>
                    </a:lnTo>
                    <a:lnTo>
                      <a:pt x="300" y="766"/>
                    </a:lnTo>
                    <a:lnTo>
                      <a:pt x="300" y="769"/>
                    </a:lnTo>
                    <a:lnTo>
                      <a:pt x="298" y="776"/>
                    </a:lnTo>
                    <a:lnTo>
                      <a:pt x="292" y="782"/>
                    </a:lnTo>
                    <a:lnTo>
                      <a:pt x="289" y="796"/>
                    </a:lnTo>
                    <a:lnTo>
                      <a:pt x="281" y="811"/>
                    </a:lnTo>
                    <a:lnTo>
                      <a:pt x="280" y="814"/>
                    </a:lnTo>
                    <a:lnTo>
                      <a:pt x="276" y="825"/>
                    </a:lnTo>
                    <a:lnTo>
                      <a:pt x="274" y="841"/>
                    </a:lnTo>
                    <a:lnTo>
                      <a:pt x="274" y="854"/>
                    </a:lnTo>
                    <a:lnTo>
                      <a:pt x="284" y="863"/>
                    </a:lnTo>
                    <a:lnTo>
                      <a:pt x="284" y="892"/>
                    </a:lnTo>
                    <a:lnTo>
                      <a:pt x="296" y="925"/>
                    </a:lnTo>
                    <a:lnTo>
                      <a:pt x="297" y="935"/>
                    </a:lnTo>
                    <a:lnTo>
                      <a:pt x="296" y="947"/>
                    </a:lnTo>
                    <a:lnTo>
                      <a:pt x="303" y="955"/>
                    </a:lnTo>
                    <a:lnTo>
                      <a:pt x="306" y="960"/>
                    </a:lnTo>
                    <a:lnTo>
                      <a:pt x="309" y="979"/>
                    </a:lnTo>
                    <a:lnTo>
                      <a:pt x="311" y="997"/>
                    </a:lnTo>
                    <a:lnTo>
                      <a:pt x="311" y="1013"/>
                    </a:lnTo>
                    <a:lnTo>
                      <a:pt x="298" y="1032"/>
                    </a:lnTo>
                    <a:lnTo>
                      <a:pt x="292" y="1045"/>
                    </a:lnTo>
                    <a:lnTo>
                      <a:pt x="290" y="1052"/>
                    </a:lnTo>
                    <a:lnTo>
                      <a:pt x="286" y="1075"/>
                    </a:lnTo>
                    <a:lnTo>
                      <a:pt x="285" y="1078"/>
                    </a:lnTo>
                    <a:lnTo>
                      <a:pt x="274" y="1088"/>
                    </a:lnTo>
                    <a:lnTo>
                      <a:pt x="275" y="1117"/>
                    </a:lnTo>
                    <a:lnTo>
                      <a:pt x="278" y="1134"/>
                    </a:lnTo>
                    <a:lnTo>
                      <a:pt x="278" y="1142"/>
                    </a:lnTo>
                    <a:lnTo>
                      <a:pt x="275" y="1144"/>
                    </a:lnTo>
                    <a:lnTo>
                      <a:pt x="269" y="1148"/>
                    </a:lnTo>
                    <a:lnTo>
                      <a:pt x="266" y="1151"/>
                    </a:lnTo>
                    <a:lnTo>
                      <a:pt x="265" y="1159"/>
                    </a:lnTo>
                    <a:lnTo>
                      <a:pt x="263" y="1161"/>
                    </a:lnTo>
                    <a:lnTo>
                      <a:pt x="257" y="1161"/>
                    </a:lnTo>
                    <a:lnTo>
                      <a:pt x="253" y="1164"/>
                    </a:lnTo>
                    <a:lnTo>
                      <a:pt x="247" y="1172"/>
                    </a:lnTo>
                    <a:lnTo>
                      <a:pt x="242" y="1186"/>
                    </a:lnTo>
                    <a:lnTo>
                      <a:pt x="238" y="1225"/>
                    </a:lnTo>
                    <a:lnTo>
                      <a:pt x="238" y="1262"/>
                    </a:lnTo>
                    <a:lnTo>
                      <a:pt x="242" y="1290"/>
                    </a:lnTo>
                    <a:lnTo>
                      <a:pt x="247" y="1301"/>
                    </a:lnTo>
                    <a:lnTo>
                      <a:pt x="247" y="1314"/>
                    </a:lnTo>
                    <a:lnTo>
                      <a:pt x="243" y="1323"/>
                    </a:lnTo>
                    <a:lnTo>
                      <a:pt x="235" y="1332"/>
                    </a:lnTo>
                    <a:lnTo>
                      <a:pt x="230" y="1337"/>
                    </a:lnTo>
                    <a:lnTo>
                      <a:pt x="227" y="1343"/>
                    </a:lnTo>
                    <a:lnTo>
                      <a:pt x="225" y="1358"/>
                    </a:lnTo>
                    <a:lnTo>
                      <a:pt x="208" y="1419"/>
                    </a:lnTo>
                    <a:lnTo>
                      <a:pt x="206" y="1424"/>
                    </a:lnTo>
                    <a:lnTo>
                      <a:pt x="208" y="1440"/>
                    </a:lnTo>
                    <a:lnTo>
                      <a:pt x="199" y="1481"/>
                    </a:lnTo>
                    <a:lnTo>
                      <a:pt x="196" y="1510"/>
                    </a:lnTo>
                    <a:lnTo>
                      <a:pt x="200" y="1525"/>
                    </a:lnTo>
                    <a:lnTo>
                      <a:pt x="209" y="1533"/>
                    </a:lnTo>
                    <a:lnTo>
                      <a:pt x="210" y="1537"/>
                    </a:lnTo>
                    <a:lnTo>
                      <a:pt x="210" y="1549"/>
                    </a:lnTo>
                    <a:lnTo>
                      <a:pt x="209" y="1554"/>
                    </a:lnTo>
                    <a:lnTo>
                      <a:pt x="205" y="1563"/>
                    </a:lnTo>
                    <a:lnTo>
                      <a:pt x="195" y="1576"/>
                    </a:lnTo>
                    <a:lnTo>
                      <a:pt x="190" y="1597"/>
                    </a:lnTo>
                    <a:lnTo>
                      <a:pt x="190" y="1633"/>
                    </a:lnTo>
                    <a:lnTo>
                      <a:pt x="193" y="1639"/>
                    </a:lnTo>
                    <a:lnTo>
                      <a:pt x="196" y="1641"/>
                    </a:lnTo>
                    <a:lnTo>
                      <a:pt x="198" y="1646"/>
                    </a:lnTo>
                    <a:lnTo>
                      <a:pt x="196" y="1673"/>
                    </a:lnTo>
                    <a:lnTo>
                      <a:pt x="198" y="1678"/>
                    </a:lnTo>
                    <a:lnTo>
                      <a:pt x="203" y="1688"/>
                    </a:lnTo>
                    <a:lnTo>
                      <a:pt x="205" y="1703"/>
                    </a:lnTo>
                    <a:lnTo>
                      <a:pt x="201" y="1732"/>
                    </a:lnTo>
                    <a:lnTo>
                      <a:pt x="201" y="1739"/>
                    </a:lnTo>
                    <a:lnTo>
                      <a:pt x="209" y="1739"/>
                    </a:lnTo>
                    <a:lnTo>
                      <a:pt x="223" y="1742"/>
                    </a:lnTo>
                    <a:lnTo>
                      <a:pt x="231" y="1751"/>
                    </a:lnTo>
                    <a:lnTo>
                      <a:pt x="232" y="1759"/>
                    </a:lnTo>
                    <a:lnTo>
                      <a:pt x="230" y="1768"/>
                    </a:lnTo>
                    <a:lnTo>
                      <a:pt x="216" y="1769"/>
                    </a:lnTo>
                    <a:lnTo>
                      <a:pt x="200" y="1767"/>
                    </a:lnTo>
                    <a:lnTo>
                      <a:pt x="196" y="1769"/>
                    </a:lnTo>
                    <a:lnTo>
                      <a:pt x="200" y="1779"/>
                    </a:lnTo>
                    <a:lnTo>
                      <a:pt x="214" y="1785"/>
                    </a:lnTo>
                    <a:lnTo>
                      <a:pt x="223" y="1797"/>
                    </a:lnTo>
                    <a:lnTo>
                      <a:pt x="223" y="1807"/>
                    </a:lnTo>
                    <a:lnTo>
                      <a:pt x="219" y="1812"/>
                    </a:lnTo>
                    <a:lnTo>
                      <a:pt x="215" y="1817"/>
                    </a:lnTo>
                    <a:lnTo>
                      <a:pt x="214" y="1827"/>
                    </a:lnTo>
                    <a:lnTo>
                      <a:pt x="214" y="1853"/>
                    </a:lnTo>
                    <a:lnTo>
                      <a:pt x="212" y="1858"/>
                    </a:lnTo>
                    <a:lnTo>
                      <a:pt x="212" y="1871"/>
                    </a:lnTo>
                    <a:lnTo>
                      <a:pt x="214" y="1879"/>
                    </a:lnTo>
                    <a:lnTo>
                      <a:pt x="212" y="1915"/>
                    </a:lnTo>
                    <a:lnTo>
                      <a:pt x="206" y="1930"/>
                    </a:lnTo>
                    <a:lnTo>
                      <a:pt x="200" y="1945"/>
                    </a:lnTo>
                    <a:lnTo>
                      <a:pt x="199" y="1955"/>
                    </a:lnTo>
                    <a:lnTo>
                      <a:pt x="189" y="1973"/>
                    </a:lnTo>
                    <a:lnTo>
                      <a:pt x="176" y="1992"/>
                    </a:lnTo>
                    <a:lnTo>
                      <a:pt x="172" y="1998"/>
                    </a:lnTo>
                    <a:lnTo>
                      <a:pt x="171" y="2004"/>
                    </a:lnTo>
                    <a:lnTo>
                      <a:pt x="169" y="2019"/>
                    </a:lnTo>
                    <a:lnTo>
                      <a:pt x="171" y="2019"/>
                    </a:lnTo>
                    <a:lnTo>
                      <a:pt x="171" y="2027"/>
                    </a:lnTo>
                    <a:lnTo>
                      <a:pt x="173" y="2033"/>
                    </a:lnTo>
                    <a:lnTo>
                      <a:pt x="176" y="2044"/>
                    </a:lnTo>
                    <a:lnTo>
                      <a:pt x="176" y="2053"/>
                    </a:lnTo>
                    <a:lnTo>
                      <a:pt x="172" y="2055"/>
                    </a:lnTo>
                    <a:lnTo>
                      <a:pt x="171" y="2059"/>
                    </a:lnTo>
                    <a:lnTo>
                      <a:pt x="168" y="2080"/>
                    </a:lnTo>
                    <a:lnTo>
                      <a:pt x="165" y="2093"/>
                    </a:lnTo>
                    <a:lnTo>
                      <a:pt x="162" y="2098"/>
                    </a:lnTo>
                    <a:lnTo>
                      <a:pt x="151" y="2112"/>
                    </a:lnTo>
                    <a:lnTo>
                      <a:pt x="137" y="2139"/>
                    </a:lnTo>
                    <a:lnTo>
                      <a:pt x="133" y="2143"/>
                    </a:lnTo>
                    <a:lnTo>
                      <a:pt x="128" y="2154"/>
                    </a:lnTo>
                    <a:lnTo>
                      <a:pt x="120" y="2186"/>
                    </a:lnTo>
                    <a:lnTo>
                      <a:pt x="120" y="2198"/>
                    </a:lnTo>
                    <a:lnTo>
                      <a:pt x="119" y="2208"/>
                    </a:lnTo>
                    <a:lnTo>
                      <a:pt x="119" y="2238"/>
                    </a:lnTo>
                    <a:lnTo>
                      <a:pt x="120" y="2241"/>
                    </a:lnTo>
                    <a:lnTo>
                      <a:pt x="123" y="2256"/>
                    </a:lnTo>
                    <a:lnTo>
                      <a:pt x="125" y="2263"/>
                    </a:lnTo>
                    <a:lnTo>
                      <a:pt x="129" y="2264"/>
                    </a:lnTo>
                    <a:lnTo>
                      <a:pt x="133" y="2261"/>
                    </a:lnTo>
                    <a:lnTo>
                      <a:pt x="136" y="2253"/>
                    </a:lnTo>
                    <a:lnTo>
                      <a:pt x="144" y="2248"/>
                    </a:lnTo>
                    <a:lnTo>
                      <a:pt x="163" y="2252"/>
                    </a:lnTo>
                    <a:lnTo>
                      <a:pt x="168" y="2246"/>
                    </a:lnTo>
                    <a:lnTo>
                      <a:pt x="169" y="2246"/>
                    </a:lnTo>
                    <a:lnTo>
                      <a:pt x="173" y="2247"/>
                    </a:lnTo>
                    <a:lnTo>
                      <a:pt x="176" y="2249"/>
                    </a:lnTo>
                    <a:lnTo>
                      <a:pt x="178" y="2268"/>
                    </a:lnTo>
                    <a:lnTo>
                      <a:pt x="179" y="2283"/>
                    </a:lnTo>
                    <a:lnTo>
                      <a:pt x="178" y="2340"/>
                    </a:lnTo>
                    <a:lnTo>
                      <a:pt x="179" y="2345"/>
                    </a:lnTo>
                    <a:lnTo>
                      <a:pt x="185" y="2359"/>
                    </a:lnTo>
                    <a:lnTo>
                      <a:pt x="190" y="2364"/>
                    </a:lnTo>
                    <a:lnTo>
                      <a:pt x="204" y="2370"/>
                    </a:lnTo>
                    <a:lnTo>
                      <a:pt x="259" y="2370"/>
                    </a:lnTo>
                    <a:lnTo>
                      <a:pt x="264" y="2371"/>
                    </a:lnTo>
                    <a:lnTo>
                      <a:pt x="269" y="2371"/>
                    </a:lnTo>
                    <a:lnTo>
                      <a:pt x="289" y="2371"/>
                    </a:lnTo>
                    <a:lnTo>
                      <a:pt x="306" y="2367"/>
                    </a:lnTo>
                    <a:lnTo>
                      <a:pt x="317" y="2369"/>
                    </a:lnTo>
                    <a:lnTo>
                      <a:pt x="343" y="2377"/>
                    </a:lnTo>
                    <a:lnTo>
                      <a:pt x="375" y="2383"/>
                    </a:lnTo>
                    <a:lnTo>
                      <a:pt x="389" y="2391"/>
                    </a:lnTo>
                    <a:lnTo>
                      <a:pt x="394" y="2392"/>
                    </a:lnTo>
                    <a:lnTo>
                      <a:pt x="394" y="2396"/>
                    </a:lnTo>
                    <a:lnTo>
                      <a:pt x="391" y="2397"/>
                    </a:lnTo>
                    <a:lnTo>
                      <a:pt x="379" y="2393"/>
                    </a:lnTo>
                    <a:lnTo>
                      <a:pt x="368" y="2393"/>
                    </a:lnTo>
                    <a:lnTo>
                      <a:pt x="355" y="2386"/>
                    </a:lnTo>
                    <a:lnTo>
                      <a:pt x="348" y="2385"/>
                    </a:lnTo>
                    <a:lnTo>
                      <a:pt x="333" y="2392"/>
                    </a:lnTo>
                    <a:lnTo>
                      <a:pt x="330" y="2399"/>
                    </a:lnTo>
                    <a:lnTo>
                      <a:pt x="327" y="2405"/>
                    </a:lnTo>
                    <a:lnTo>
                      <a:pt x="311" y="2409"/>
                    </a:lnTo>
                    <a:lnTo>
                      <a:pt x="294" y="2419"/>
                    </a:lnTo>
                    <a:lnTo>
                      <a:pt x="290" y="2424"/>
                    </a:lnTo>
                    <a:lnTo>
                      <a:pt x="281" y="2426"/>
                    </a:lnTo>
                    <a:lnTo>
                      <a:pt x="275" y="2425"/>
                    </a:lnTo>
                    <a:lnTo>
                      <a:pt x="268" y="2429"/>
                    </a:lnTo>
                    <a:lnTo>
                      <a:pt x="259" y="2431"/>
                    </a:lnTo>
                    <a:lnTo>
                      <a:pt x="259" y="2455"/>
                    </a:lnTo>
                    <a:lnTo>
                      <a:pt x="253" y="2479"/>
                    </a:lnTo>
                    <a:lnTo>
                      <a:pt x="251" y="2512"/>
                    </a:lnTo>
                    <a:lnTo>
                      <a:pt x="249" y="2521"/>
                    </a:lnTo>
                    <a:lnTo>
                      <a:pt x="246" y="2527"/>
                    </a:lnTo>
                    <a:lnTo>
                      <a:pt x="243" y="2531"/>
                    </a:lnTo>
                    <a:lnTo>
                      <a:pt x="237" y="2531"/>
                    </a:lnTo>
                    <a:lnTo>
                      <a:pt x="222" y="2526"/>
                    </a:lnTo>
                    <a:lnTo>
                      <a:pt x="214" y="2525"/>
                    </a:lnTo>
                    <a:lnTo>
                      <a:pt x="194" y="2515"/>
                    </a:lnTo>
                    <a:lnTo>
                      <a:pt x="183" y="2505"/>
                    </a:lnTo>
                    <a:lnTo>
                      <a:pt x="178" y="2495"/>
                    </a:lnTo>
                    <a:lnTo>
                      <a:pt x="179" y="2485"/>
                    </a:lnTo>
                    <a:lnTo>
                      <a:pt x="188" y="2480"/>
                    </a:lnTo>
                    <a:lnTo>
                      <a:pt x="190" y="2488"/>
                    </a:lnTo>
                    <a:lnTo>
                      <a:pt x="189" y="2494"/>
                    </a:lnTo>
                    <a:lnTo>
                      <a:pt x="198" y="2490"/>
                    </a:lnTo>
                    <a:lnTo>
                      <a:pt x="201" y="2483"/>
                    </a:lnTo>
                    <a:lnTo>
                      <a:pt x="208" y="2477"/>
                    </a:lnTo>
                    <a:lnTo>
                      <a:pt x="220" y="2475"/>
                    </a:lnTo>
                    <a:lnTo>
                      <a:pt x="231" y="2468"/>
                    </a:lnTo>
                    <a:lnTo>
                      <a:pt x="238" y="2461"/>
                    </a:lnTo>
                    <a:lnTo>
                      <a:pt x="243" y="2450"/>
                    </a:lnTo>
                    <a:lnTo>
                      <a:pt x="244" y="2442"/>
                    </a:lnTo>
                    <a:lnTo>
                      <a:pt x="233" y="2436"/>
                    </a:lnTo>
                    <a:lnTo>
                      <a:pt x="227" y="2428"/>
                    </a:lnTo>
                    <a:lnTo>
                      <a:pt x="222" y="2417"/>
                    </a:lnTo>
                    <a:lnTo>
                      <a:pt x="211" y="2414"/>
                    </a:lnTo>
                    <a:lnTo>
                      <a:pt x="189" y="2413"/>
                    </a:lnTo>
                    <a:lnTo>
                      <a:pt x="176" y="2418"/>
                    </a:lnTo>
                    <a:lnTo>
                      <a:pt x="171" y="2424"/>
                    </a:lnTo>
                    <a:lnTo>
                      <a:pt x="171" y="2417"/>
                    </a:lnTo>
                    <a:lnTo>
                      <a:pt x="168" y="2412"/>
                    </a:lnTo>
                    <a:lnTo>
                      <a:pt x="153" y="2414"/>
                    </a:lnTo>
                    <a:lnTo>
                      <a:pt x="153" y="2409"/>
                    </a:lnTo>
                    <a:lnTo>
                      <a:pt x="156" y="2404"/>
                    </a:lnTo>
                    <a:lnTo>
                      <a:pt x="168" y="2398"/>
                    </a:lnTo>
                    <a:lnTo>
                      <a:pt x="171" y="2388"/>
                    </a:lnTo>
                    <a:lnTo>
                      <a:pt x="171" y="2376"/>
                    </a:lnTo>
                    <a:lnTo>
                      <a:pt x="160" y="2364"/>
                    </a:lnTo>
                    <a:lnTo>
                      <a:pt x="168" y="2360"/>
                    </a:lnTo>
                    <a:lnTo>
                      <a:pt x="169" y="2354"/>
                    </a:lnTo>
                    <a:lnTo>
                      <a:pt x="168" y="2345"/>
                    </a:lnTo>
                    <a:lnTo>
                      <a:pt x="160" y="2335"/>
                    </a:lnTo>
                    <a:lnTo>
                      <a:pt x="145" y="2322"/>
                    </a:lnTo>
                    <a:lnTo>
                      <a:pt x="134" y="2316"/>
                    </a:lnTo>
                    <a:lnTo>
                      <a:pt x="129" y="2316"/>
                    </a:lnTo>
                    <a:lnTo>
                      <a:pt x="160" y="2338"/>
                    </a:lnTo>
                    <a:lnTo>
                      <a:pt x="160" y="2345"/>
                    </a:lnTo>
                    <a:lnTo>
                      <a:pt x="153" y="2348"/>
                    </a:lnTo>
                    <a:lnTo>
                      <a:pt x="146" y="2344"/>
                    </a:lnTo>
                    <a:lnTo>
                      <a:pt x="137" y="2335"/>
                    </a:lnTo>
                    <a:lnTo>
                      <a:pt x="135" y="2338"/>
                    </a:lnTo>
                    <a:lnTo>
                      <a:pt x="141" y="2351"/>
                    </a:lnTo>
                    <a:lnTo>
                      <a:pt x="137" y="2361"/>
                    </a:lnTo>
                    <a:lnTo>
                      <a:pt x="133" y="2365"/>
                    </a:lnTo>
                    <a:lnTo>
                      <a:pt x="130" y="2360"/>
                    </a:lnTo>
                    <a:lnTo>
                      <a:pt x="126" y="2353"/>
                    </a:lnTo>
                    <a:lnTo>
                      <a:pt x="125" y="2343"/>
                    </a:lnTo>
                    <a:lnTo>
                      <a:pt x="119" y="2329"/>
                    </a:lnTo>
                    <a:lnTo>
                      <a:pt x="125" y="2344"/>
                    </a:lnTo>
                    <a:lnTo>
                      <a:pt x="126" y="2359"/>
                    </a:lnTo>
                    <a:lnTo>
                      <a:pt x="125" y="2371"/>
                    </a:lnTo>
                    <a:lnTo>
                      <a:pt x="119" y="2370"/>
                    </a:lnTo>
                    <a:lnTo>
                      <a:pt x="114" y="2367"/>
                    </a:lnTo>
                    <a:lnTo>
                      <a:pt x="110" y="2355"/>
                    </a:lnTo>
                    <a:lnTo>
                      <a:pt x="113" y="2332"/>
                    </a:lnTo>
                    <a:lnTo>
                      <a:pt x="106" y="2312"/>
                    </a:lnTo>
                    <a:lnTo>
                      <a:pt x="81" y="2285"/>
                    </a:lnTo>
                    <a:lnTo>
                      <a:pt x="79" y="2274"/>
                    </a:lnTo>
                    <a:lnTo>
                      <a:pt x="81" y="2267"/>
                    </a:lnTo>
                    <a:lnTo>
                      <a:pt x="92" y="2267"/>
                    </a:lnTo>
                    <a:lnTo>
                      <a:pt x="102" y="2263"/>
                    </a:lnTo>
                    <a:lnTo>
                      <a:pt x="101" y="2252"/>
                    </a:lnTo>
                    <a:lnTo>
                      <a:pt x="97" y="2249"/>
                    </a:lnTo>
                    <a:lnTo>
                      <a:pt x="94" y="2256"/>
                    </a:lnTo>
                    <a:lnTo>
                      <a:pt x="90" y="2256"/>
                    </a:lnTo>
                    <a:lnTo>
                      <a:pt x="83" y="2251"/>
                    </a:lnTo>
                    <a:lnTo>
                      <a:pt x="79" y="2240"/>
                    </a:lnTo>
                    <a:lnTo>
                      <a:pt x="82" y="2234"/>
                    </a:lnTo>
                    <a:lnTo>
                      <a:pt x="93" y="2237"/>
                    </a:lnTo>
                    <a:lnTo>
                      <a:pt x="92" y="2234"/>
                    </a:lnTo>
                    <a:lnTo>
                      <a:pt x="86" y="2227"/>
                    </a:lnTo>
                    <a:lnTo>
                      <a:pt x="74" y="2225"/>
                    </a:lnTo>
                    <a:lnTo>
                      <a:pt x="66" y="2221"/>
                    </a:lnTo>
                    <a:lnTo>
                      <a:pt x="60" y="2214"/>
                    </a:lnTo>
                    <a:lnTo>
                      <a:pt x="55" y="2204"/>
                    </a:lnTo>
                    <a:lnTo>
                      <a:pt x="69" y="2189"/>
                    </a:lnTo>
                    <a:lnTo>
                      <a:pt x="70" y="2173"/>
                    </a:lnTo>
                    <a:lnTo>
                      <a:pt x="72" y="2170"/>
                    </a:lnTo>
                    <a:lnTo>
                      <a:pt x="72" y="2164"/>
                    </a:lnTo>
                    <a:lnTo>
                      <a:pt x="87" y="2154"/>
                    </a:lnTo>
                    <a:lnTo>
                      <a:pt x="93" y="2156"/>
                    </a:lnTo>
                    <a:lnTo>
                      <a:pt x="97" y="2156"/>
                    </a:lnTo>
                    <a:lnTo>
                      <a:pt x="97" y="2154"/>
                    </a:lnTo>
                    <a:lnTo>
                      <a:pt x="92" y="2150"/>
                    </a:lnTo>
                    <a:lnTo>
                      <a:pt x="90" y="2144"/>
                    </a:lnTo>
                    <a:lnTo>
                      <a:pt x="97" y="2116"/>
                    </a:lnTo>
                    <a:lnTo>
                      <a:pt x="93" y="2117"/>
                    </a:lnTo>
                    <a:lnTo>
                      <a:pt x="85" y="2125"/>
                    </a:lnTo>
                    <a:lnTo>
                      <a:pt x="82" y="2134"/>
                    </a:lnTo>
                    <a:lnTo>
                      <a:pt x="77" y="2144"/>
                    </a:lnTo>
                    <a:lnTo>
                      <a:pt x="72" y="2141"/>
                    </a:lnTo>
                    <a:lnTo>
                      <a:pt x="70" y="2134"/>
                    </a:lnTo>
                    <a:lnTo>
                      <a:pt x="69" y="2119"/>
                    </a:lnTo>
                    <a:lnTo>
                      <a:pt x="69" y="2089"/>
                    </a:lnTo>
                    <a:lnTo>
                      <a:pt x="72" y="2082"/>
                    </a:lnTo>
                    <a:lnTo>
                      <a:pt x="77" y="2084"/>
                    </a:lnTo>
                    <a:lnTo>
                      <a:pt x="70" y="2076"/>
                    </a:lnTo>
                    <a:lnTo>
                      <a:pt x="72" y="2065"/>
                    </a:lnTo>
                    <a:lnTo>
                      <a:pt x="88" y="2064"/>
                    </a:lnTo>
                    <a:lnTo>
                      <a:pt x="98" y="2073"/>
                    </a:lnTo>
                    <a:lnTo>
                      <a:pt x="96" y="2064"/>
                    </a:lnTo>
                    <a:lnTo>
                      <a:pt x="93" y="2052"/>
                    </a:lnTo>
                    <a:lnTo>
                      <a:pt x="90" y="2057"/>
                    </a:lnTo>
                    <a:lnTo>
                      <a:pt x="69" y="2062"/>
                    </a:lnTo>
                    <a:lnTo>
                      <a:pt x="65" y="2058"/>
                    </a:lnTo>
                    <a:lnTo>
                      <a:pt x="63" y="2048"/>
                    </a:lnTo>
                    <a:lnTo>
                      <a:pt x="59" y="2042"/>
                    </a:lnTo>
                    <a:lnTo>
                      <a:pt x="59" y="2021"/>
                    </a:lnTo>
                    <a:lnTo>
                      <a:pt x="66" y="2022"/>
                    </a:lnTo>
                    <a:lnTo>
                      <a:pt x="72" y="2032"/>
                    </a:lnTo>
                    <a:lnTo>
                      <a:pt x="76" y="2042"/>
                    </a:lnTo>
                    <a:lnTo>
                      <a:pt x="75" y="2027"/>
                    </a:lnTo>
                    <a:lnTo>
                      <a:pt x="79" y="2025"/>
                    </a:lnTo>
                    <a:lnTo>
                      <a:pt x="99" y="2028"/>
                    </a:lnTo>
                    <a:lnTo>
                      <a:pt x="115" y="2041"/>
                    </a:lnTo>
                    <a:lnTo>
                      <a:pt x="122" y="2041"/>
                    </a:lnTo>
                    <a:lnTo>
                      <a:pt x="109" y="2032"/>
                    </a:lnTo>
                    <a:lnTo>
                      <a:pt x="102" y="2019"/>
                    </a:lnTo>
                    <a:lnTo>
                      <a:pt x="99" y="2005"/>
                    </a:lnTo>
                    <a:lnTo>
                      <a:pt x="97" y="1999"/>
                    </a:lnTo>
                    <a:lnTo>
                      <a:pt x="94" y="2006"/>
                    </a:lnTo>
                    <a:lnTo>
                      <a:pt x="81" y="2005"/>
                    </a:lnTo>
                    <a:lnTo>
                      <a:pt x="76" y="2000"/>
                    </a:lnTo>
                    <a:lnTo>
                      <a:pt x="77" y="1995"/>
                    </a:lnTo>
                    <a:lnTo>
                      <a:pt x="85" y="1989"/>
                    </a:lnTo>
                    <a:lnTo>
                      <a:pt x="76" y="1987"/>
                    </a:lnTo>
                    <a:lnTo>
                      <a:pt x="63" y="1979"/>
                    </a:lnTo>
                    <a:lnTo>
                      <a:pt x="60" y="1976"/>
                    </a:lnTo>
                    <a:lnTo>
                      <a:pt x="65" y="1966"/>
                    </a:lnTo>
                    <a:lnTo>
                      <a:pt x="76" y="1961"/>
                    </a:lnTo>
                    <a:lnTo>
                      <a:pt x="85" y="1958"/>
                    </a:lnTo>
                    <a:lnTo>
                      <a:pt x="77" y="1951"/>
                    </a:lnTo>
                    <a:lnTo>
                      <a:pt x="87" y="1941"/>
                    </a:lnTo>
                    <a:lnTo>
                      <a:pt x="83" y="1939"/>
                    </a:lnTo>
                    <a:lnTo>
                      <a:pt x="81" y="1931"/>
                    </a:lnTo>
                    <a:lnTo>
                      <a:pt x="74" y="1925"/>
                    </a:lnTo>
                    <a:lnTo>
                      <a:pt x="66" y="1920"/>
                    </a:lnTo>
                    <a:lnTo>
                      <a:pt x="59" y="1920"/>
                    </a:lnTo>
                    <a:lnTo>
                      <a:pt x="54" y="1926"/>
                    </a:lnTo>
                    <a:lnTo>
                      <a:pt x="48" y="1929"/>
                    </a:lnTo>
                    <a:lnTo>
                      <a:pt x="33" y="1922"/>
                    </a:lnTo>
                    <a:lnTo>
                      <a:pt x="28" y="1914"/>
                    </a:lnTo>
                    <a:lnTo>
                      <a:pt x="22" y="1909"/>
                    </a:lnTo>
                    <a:lnTo>
                      <a:pt x="13" y="1914"/>
                    </a:lnTo>
                    <a:lnTo>
                      <a:pt x="7" y="1919"/>
                    </a:lnTo>
                    <a:lnTo>
                      <a:pt x="12" y="1923"/>
                    </a:lnTo>
                    <a:lnTo>
                      <a:pt x="15" y="1930"/>
                    </a:lnTo>
                    <a:lnTo>
                      <a:pt x="12" y="1939"/>
                    </a:lnTo>
                    <a:lnTo>
                      <a:pt x="1" y="1937"/>
                    </a:lnTo>
                    <a:lnTo>
                      <a:pt x="0" y="1929"/>
                    </a:lnTo>
                    <a:lnTo>
                      <a:pt x="4" y="1908"/>
                    </a:lnTo>
                    <a:lnTo>
                      <a:pt x="12" y="1903"/>
                    </a:lnTo>
                    <a:lnTo>
                      <a:pt x="20" y="1896"/>
                    </a:lnTo>
                    <a:lnTo>
                      <a:pt x="27" y="1885"/>
                    </a:lnTo>
                    <a:lnTo>
                      <a:pt x="36" y="1883"/>
                    </a:lnTo>
                    <a:lnTo>
                      <a:pt x="44" y="1879"/>
                    </a:lnTo>
                    <a:lnTo>
                      <a:pt x="44" y="1871"/>
                    </a:lnTo>
                    <a:lnTo>
                      <a:pt x="42" y="1870"/>
                    </a:lnTo>
                    <a:lnTo>
                      <a:pt x="36" y="1871"/>
                    </a:lnTo>
                    <a:lnTo>
                      <a:pt x="32" y="1869"/>
                    </a:lnTo>
                    <a:lnTo>
                      <a:pt x="29" y="1865"/>
                    </a:lnTo>
                    <a:lnTo>
                      <a:pt x="29" y="1856"/>
                    </a:lnTo>
                    <a:lnTo>
                      <a:pt x="47" y="1853"/>
                    </a:lnTo>
                    <a:lnTo>
                      <a:pt x="55" y="1855"/>
                    </a:lnTo>
                    <a:lnTo>
                      <a:pt x="59" y="1859"/>
                    </a:lnTo>
                    <a:lnTo>
                      <a:pt x="66" y="1853"/>
                    </a:lnTo>
                    <a:lnTo>
                      <a:pt x="72" y="1856"/>
                    </a:lnTo>
                    <a:lnTo>
                      <a:pt x="79" y="1860"/>
                    </a:lnTo>
                    <a:lnTo>
                      <a:pt x="76" y="1867"/>
                    </a:lnTo>
                    <a:lnTo>
                      <a:pt x="77" y="1874"/>
                    </a:lnTo>
                    <a:lnTo>
                      <a:pt x="82" y="1869"/>
                    </a:lnTo>
                    <a:lnTo>
                      <a:pt x="82" y="1876"/>
                    </a:lnTo>
                    <a:lnTo>
                      <a:pt x="76" y="1883"/>
                    </a:lnTo>
                    <a:lnTo>
                      <a:pt x="74" y="1890"/>
                    </a:lnTo>
                    <a:lnTo>
                      <a:pt x="79" y="1897"/>
                    </a:lnTo>
                    <a:lnTo>
                      <a:pt x="86" y="1898"/>
                    </a:lnTo>
                    <a:lnTo>
                      <a:pt x="91" y="1888"/>
                    </a:lnTo>
                    <a:lnTo>
                      <a:pt x="96" y="1882"/>
                    </a:lnTo>
                    <a:lnTo>
                      <a:pt x="97" y="1888"/>
                    </a:lnTo>
                    <a:lnTo>
                      <a:pt x="94" y="1899"/>
                    </a:lnTo>
                    <a:lnTo>
                      <a:pt x="94" y="1906"/>
                    </a:lnTo>
                    <a:lnTo>
                      <a:pt x="99" y="1903"/>
                    </a:lnTo>
                    <a:lnTo>
                      <a:pt x="101" y="1896"/>
                    </a:lnTo>
                    <a:lnTo>
                      <a:pt x="104" y="1892"/>
                    </a:lnTo>
                    <a:lnTo>
                      <a:pt x="112" y="1886"/>
                    </a:lnTo>
                    <a:lnTo>
                      <a:pt x="118" y="1882"/>
                    </a:lnTo>
                    <a:lnTo>
                      <a:pt x="118" y="1879"/>
                    </a:lnTo>
                    <a:lnTo>
                      <a:pt x="120" y="1870"/>
                    </a:lnTo>
                    <a:lnTo>
                      <a:pt x="125" y="1859"/>
                    </a:lnTo>
                    <a:lnTo>
                      <a:pt x="125" y="1852"/>
                    </a:lnTo>
                    <a:lnTo>
                      <a:pt x="120" y="1855"/>
                    </a:lnTo>
                    <a:lnTo>
                      <a:pt x="117" y="1860"/>
                    </a:lnTo>
                    <a:lnTo>
                      <a:pt x="115" y="1866"/>
                    </a:lnTo>
                    <a:lnTo>
                      <a:pt x="108" y="1880"/>
                    </a:lnTo>
                    <a:lnTo>
                      <a:pt x="110" y="1855"/>
                    </a:lnTo>
                    <a:lnTo>
                      <a:pt x="113" y="1850"/>
                    </a:lnTo>
                    <a:lnTo>
                      <a:pt x="114" y="1849"/>
                    </a:lnTo>
                    <a:lnTo>
                      <a:pt x="128" y="1847"/>
                    </a:lnTo>
                    <a:lnTo>
                      <a:pt x="119" y="1844"/>
                    </a:lnTo>
                    <a:lnTo>
                      <a:pt x="119" y="1839"/>
                    </a:lnTo>
                    <a:lnTo>
                      <a:pt x="124" y="1834"/>
                    </a:lnTo>
                    <a:lnTo>
                      <a:pt x="131" y="1831"/>
                    </a:lnTo>
                    <a:lnTo>
                      <a:pt x="131" y="1827"/>
                    </a:lnTo>
                    <a:lnTo>
                      <a:pt x="124" y="1828"/>
                    </a:lnTo>
                    <a:lnTo>
                      <a:pt x="112" y="1833"/>
                    </a:lnTo>
                    <a:lnTo>
                      <a:pt x="113" y="1823"/>
                    </a:lnTo>
                    <a:lnTo>
                      <a:pt x="117" y="1818"/>
                    </a:lnTo>
                    <a:lnTo>
                      <a:pt x="122" y="1813"/>
                    </a:lnTo>
                    <a:lnTo>
                      <a:pt x="126" y="1812"/>
                    </a:lnTo>
                    <a:lnTo>
                      <a:pt x="134" y="1818"/>
                    </a:lnTo>
                    <a:lnTo>
                      <a:pt x="140" y="1821"/>
                    </a:lnTo>
                    <a:lnTo>
                      <a:pt x="144" y="1824"/>
                    </a:lnTo>
                    <a:lnTo>
                      <a:pt x="150" y="1823"/>
                    </a:lnTo>
                    <a:lnTo>
                      <a:pt x="150" y="1816"/>
                    </a:lnTo>
                    <a:lnTo>
                      <a:pt x="142" y="1816"/>
                    </a:lnTo>
                    <a:lnTo>
                      <a:pt x="129" y="1807"/>
                    </a:lnTo>
                    <a:lnTo>
                      <a:pt x="120" y="1806"/>
                    </a:lnTo>
                    <a:lnTo>
                      <a:pt x="122" y="1795"/>
                    </a:lnTo>
                    <a:lnTo>
                      <a:pt x="122" y="1789"/>
                    </a:lnTo>
                    <a:lnTo>
                      <a:pt x="126" y="1786"/>
                    </a:lnTo>
                    <a:lnTo>
                      <a:pt x="136" y="1786"/>
                    </a:lnTo>
                    <a:lnTo>
                      <a:pt x="145" y="1784"/>
                    </a:lnTo>
                    <a:lnTo>
                      <a:pt x="156" y="1773"/>
                    </a:lnTo>
                    <a:lnTo>
                      <a:pt x="157" y="1767"/>
                    </a:lnTo>
                    <a:lnTo>
                      <a:pt x="157" y="1750"/>
                    </a:lnTo>
                    <a:lnTo>
                      <a:pt x="153" y="1742"/>
                    </a:lnTo>
                    <a:lnTo>
                      <a:pt x="149" y="1740"/>
                    </a:lnTo>
                    <a:lnTo>
                      <a:pt x="136" y="1729"/>
                    </a:lnTo>
                    <a:lnTo>
                      <a:pt x="130" y="1726"/>
                    </a:lnTo>
                    <a:lnTo>
                      <a:pt x="126" y="1723"/>
                    </a:lnTo>
                    <a:lnTo>
                      <a:pt x="126" y="1720"/>
                    </a:lnTo>
                    <a:lnTo>
                      <a:pt x="128" y="1720"/>
                    </a:lnTo>
                    <a:lnTo>
                      <a:pt x="129" y="1718"/>
                    </a:lnTo>
                    <a:lnTo>
                      <a:pt x="135" y="1711"/>
                    </a:lnTo>
                    <a:lnTo>
                      <a:pt x="137" y="1704"/>
                    </a:lnTo>
                    <a:lnTo>
                      <a:pt x="141" y="1697"/>
                    </a:lnTo>
                    <a:lnTo>
                      <a:pt x="146" y="1691"/>
                    </a:lnTo>
                    <a:lnTo>
                      <a:pt x="144" y="1686"/>
                    </a:lnTo>
                    <a:lnTo>
                      <a:pt x="146" y="1680"/>
                    </a:lnTo>
                    <a:lnTo>
                      <a:pt x="140" y="1675"/>
                    </a:lnTo>
                    <a:lnTo>
                      <a:pt x="139" y="1667"/>
                    </a:lnTo>
                    <a:lnTo>
                      <a:pt x="140" y="1661"/>
                    </a:lnTo>
                    <a:lnTo>
                      <a:pt x="142" y="1656"/>
                    </a:lnTo>
                    <a:lnTo>
                      <a:pt x="149" y="1651"/>
                    </a:lnTo>
                    <a:lnTo>
                      <a:pt x="153" y="1633"/>
                    </a:lnTo>
                    <a:lnTo>
                      <a:pt x="151" y="1612"/>
                    </a:lnTo>
                    <a:lnTo>
                      <a:pt x="158" y="1601"/>
                    </a:lnTo>
                    <a:lnTo>
                      <a:pt x="166" y="1603"/>
                    </a:lnTo>
                    <a:lnTo>
                      <a:pt x="161" y="1597"/>
                    </a:lnTo>
                    <a:lnTo>
                      <a:pt x="155" y="1587"/>
                    </a:lnTo>
                    <a:lnTo>
                      <a:pt x="160" y="1578"/>
                    </a:lnTo>
                    <a:lnTo>
                      <a:pt x="167" y="1580"/>
                    </a:lnTo>
                    <a:lnTo>
                      <a:pt x="172" y="1594"/>
                    </a:lnTo>
                    <a:lnTo>
                      <a:pt x="172" y="1583"/>
                    </a:lnTo>
                    <a:lnTo>
                      <a:pt x="171" y="1562"/>
                    </a:lnTo>
                    <a:lnTo>
                      <a:pt x="162" y="1562"/>
                    </a:lnTo>
                    <a:lnTo>
                      <a:pt x="153" y="1558"/>
                    </a:lnTo>
                    <a:lnTo>
                      <a:pt x="156" y="1548"/>
                    </a:lnTo>
                    <a:lnTo>
                      <a:pt x="166" y="1541"/>
                    </a:lnTo>
                    <a:lnTo>
                      <a:pt x="172" y="1540"/>
                    </a:lnTo>
                    <a:lnTo>
                      <a:pt x="178" y="1533"/>
                    </a:lnTo>
                    <a:lnTo>
                      <a:pt x="178" y="1532"/>
                    </a:lnTo>
                    <a:lnTo>
                      <a:pt x="169" y="1536"/>
                    </a:lnTo>
                    <a:lnTo>
                      <a:pt x="163" y="1536"/>
                    </a:lnTo>
                    <a:lnTo>
                      <a:pt x="157" y="1533"/>
                    </a:lnTo>
                    <a:lnTo>
                      <a:pt x="151" y="1525"/>
                    </a:lnTo>
                    <a:lnTo>
                      <a:pt x="141" y="1525"/>
                    </a:lnTo>
                    <a:lnTo>
                      <a:pt x="135" y="1528"/>
                    </a:lnTo>
                    <a:lnTo>
                      <a:pt x="134" y="1535"/>
                    </a:lnTo>
                    <a:lnTo>
                      <a:pt x="130" y="1540"/>
                    </a:lnTo>
                    <a:lnTo>
                      <a:pt x="117" y="1543"/>
                    </a:lnTo>
                    <a:lnTo>
                      <a:pt x="103" y="1537"/>
                    </a:lnTo>
                    <a:lnTo>
                      <a:pt x="104" y="1531"/>
                    </a:lnTo>
                    <a:lnTo>
                      <a:pt x="101" y="1525"/>
                    </a:lnTo>
                    <a:lnTo>
                      <a:pt x="97" y="1524"/>
                    </a:lnTo>
                    <a:lnTo>
                      <a:pt x="93" y="1516"/>
                    </a:lnTo>
                    <a:lnTo>
                      <a:pt x="92" y="1504"/>
                    </a:lnTo>
                    <a:lnTo>
                      <a:pt x="93" y="1489"/>
                    </a:lnTo>
                    <a:lnTo>
                      <a:pt x="96" y="1466"/>
                    </a:lnTo>
                    <a:lnTo>
                      <a:pt x="101" y="1454"/>
                    </a:lnTo>
                    <a:lnTo>
                      <a:pt x="102" y="1407"/>
                    </a:lnTo>
                    <a:lnTo>
                      <a:pt x="112" y="1402"/>
                    </a:lnTo>
                    <a:lnTo>
                      <a:pt x="113" y="1396"/>
                    </a:lnTo>
                    <a:lnTo>
                      <a:pt x="118" y="1390"/>
                    </a:lnTo>
                    <a:lnTo>
                      <a:pt x="122" y="1379"/>
                    </a:lnTo>
                    <a:lnTo>
                      <a:pt x="120" y="1349"/>
                    </a:lnTo>
                    <a:lnTo>
                      <a:pt x="115" y="1329"/>
                    </a:lnTo>
                    <a:lnTo>
                      <a:pt x="108" y="1314"/>
                    </a:lnTo>
                    <a:lnTo>
                      <a:pt x="108" y="1311"/>
                    </a:lnTo>
                    <a:lnTo>
                      <a:pt x="109" y="1311"/>
                    </a:lnTo>
                    <a:lnTo>
                      <a:pt x="112" y="1285"/>
                    </a:lnTo>
                    <a:lnTo>
                      <a:pt x="109" y="1274"/>
                    </a:lnTo>
                    <a:lnTo>
                      <a:pt x="104" y="1261"/>
                    </a:lnTo>
                    <a:lnTo>
                      <a:pt x="106" y="1244"/>
                    </a:lnTo>
                    <a:lnTo>
                      <a:pt x="106" y="1225"/>
                    </a:lnTo>
                    <a:lnTo>
                      <a:pt x="113" y="1215"/>
                    </a:lnTo>
                    <a:lnTo>
                      <a:pt x="122" y="1219"/>
                    </a:lnTo>
                    <a:lnTo>
                      <a:pt x="130" y="1215"/>
                    </a:lnTo>
                    <a:lnTo>
                      <a:pt x="129" y="1182"/>
                    </a:lnTo>
                    <a:lnTo>
                      <a:pt x="134" y="1178"/>
                    </a:lnTo>
                    <a:lnTo>
                      <a:pt x="137" y="1182"/>
                    </a:lnTo>
                    <a:lnTo>
                      <a:pt x="141" y="1180"/>
                    </a:lnTo>
                    <a:lnTo>
                      <a:pt x="149" y="1161"/>
                    </a:lnTo>
                    <a:lnTo>
                      <a:pt x="152" y="1139"/>
                    </a:lnTo>
                    <a:lnTo>
                      <a:pt x="158" y="1132"/>
                    </a:lnTo>
                    <a:lnTo>
                      <a:pt x="162" y="1116"/>
                    </a:lnTo>
                    <a:lnTo>
                      <a:pt x="166" y="1105"/>
                    </a:lnTo>
                    <a:lnTo>
                      <a:pt x="182" y="1076"/>
                    </a:lnTo>
                    <a:lnTo>
                      <a:pt x="183" y="1068"/>
                    </a:lnTo>
                    <a:lnTo>
                      <a:pt x="194" y="1037"/>
                    </a:lnTo>
                    <a:lnTo>
                      <a:pt x="195" y="1025"/>
                    </a:lnTo>
                    <a:lnTo>
                      <a:pt x="196" y="1024"/>
                    </a:lnTo>
                    <a:lnTo>
                      <a:pt x="204" y="994"/>
                    </a:lnTo>
                    <a:lnTo>
                      <a:pt x="210" y="987"/>
                    </a:lnTo>
                    <a:lnTo>
                      <a:pt x="210" y="950"/>
                    </a:lnTo>
                    <a:lnTo>
                      <a:pt x="217" y="939"/>
                    </a:lnTo>
                    <a:lnTo>
                      <a:pt x="221" y="928"/>
                    </a:lnTo>
                    <a:lnTo>
                      <a:pt x="221" y="903"/>
                    </a:lnTo>
                    <a:lnTo>
                      <a:pt x="216" y="882"/>
                    </a:lnTo>
                    <a:lnTo>
                      <a:pt x="215" y="855"/>
                    </a:lnTo>
                    <a:lnTo>
                      <a:pt x="210" y="821"/>
                    </a:lnTo>
                    <a:lnTo>
                      <a:pt x="209" y="789"/>
                    </a:lnTo>
                    <a:lnTo>
                      <a:pt x="211" y="763"/>
                    </a:lnTo>
                    <a:lnTo>
                      <a:pt x="223" y="756"/>
                    </a:lnTo>
                    <a:lnTo>
                      <a:pt x="228" y="737"/>
                    </a:lnTo>
                    <a:lnTo>
                      <a:pt x="226" y="731"/>
                    </a:lnTo>
                    <a:lnTo>
                      <a:pt x="226" y="719"/>
                    </a:lnTo>
                    <a:lnTo>
                      <a:pt x="219" y="698"/>
                    </a:lnTo>
                    <a:lnTo>
                      <a:pt x="216" y="694"/>
                    </a:lnTo>
                    <a:lnTo>
                      <a:pt x="217" y="685"/>
                    </a:lnTo>
                    <a:lnTo>
                      <a:pt x="220" y="678"/>
                    </a:lnTo>
                    <a:lnTo>
                      <a:pt x="231" y="664"/>
                    </a:lnTo>
                    <a:lnTo>
                      <a:pt x="236" y="643"/>
                    </a:lnTo>
                    <a:lnTo>
                      <a:pt x="242" y="606"/>
                    </a:lnTo>
                    <a:lnTo>
                      <a:pt x="251" y="591"/>
                    </a:lnTo>
                    <a:lnTo>
                      <a:pt x="251" y="572"/>
                    </a:lnTo>
                    <a:lnTo>
                      <a:pt x="253" y="565"/>
                    </a:lnTo>
                    <a:lnTo>
                      <a:pt x="257" y="562"/>
                    </a:lnTo>
                    <a:lnTo>
                      <a:pt x="262" y="548"/>
                    </a:lnTo>
                    <a:lnTo>
                      <a:pt x="263" y="530"/>
                    </a:lnTo>
                    <a:lnTo>
                      <a:pt x="265" y="521"/>
                    </a:lnTo>
                    <a:lnTo>
                      <a:pt x="265" y="511"/>
                    </a:lnTo>
                    <a:lnTo>
                      <a:pt x="262" y="497"/>
                    </a:lnTo>
                    <a:lnTo>
                      <a:pt x="262" y="483"/>
                    </a:lnTo>
                    <a:lnTo>
                      <a:pt x="264" y="475"/>
                    </a:lnTo>
                    <a:lnTo>
                      <a:pt x="268" y="467"/>
                    </a:lnTo>
                    <a:lnTo>
                      <a:pt x="275" y="461"/>
                    </a:lnTo>
                    <a:lnTo>
                      <a:pt x="275" y="452"/>
                    </a:lnTo>
                    <a:lnTo>
                      <a:pt x="275" y="438"/>
                    </a:lnTo>
                    <a:lnTo>
                      <a:pt x="274" y="423"/>
                    </a:lnTo>
                    <a:lnTo>
                      <a:pt x="274" y="375"/>
                    </a:lnTo>
                    <a:lnTo>
                      <a:pt x="276" y="363"/>
                    </a:lnTo>
                    <a:lnTo>
                      <a:pt x="276" y="351"/>
                    </a:lnTo>
                    <a:lnTo>
                      <a:pt x="270" y="343"/>
                    </a:lnTo>
                    <a:lnTo>
                      <a:pt x="270" y="337"/>
                    </a:lnTo>
                    <a:lnTo>
                      <a:pt x="274" y="324"/>
                    </a:lnTo>
                    <a:lnTo>
                      <a:pt x="279" y="317"/>
                    </a:lnTo>
                    <a:lnTo>
                      <a:pt x="284" y="317"/>
                    </a:lnTo>
                    <a:lnTo>
                      <a:pt x="286" y="310"/>
                    </a:lnTo>
                    <a:lnTo>
                      <a:pt x="289" y="268"/>
                    </a:lnTo>
                    <a:lnTo>
                      <a:pt x="292" y="256"/>
                    </a:lnTo>
                    <a:lnTo>
                      <a:pt x="292" y="244"/>
                    </a:lnTo>
                    <a:lnTo>
                      <a:pt x="296" y="233"/>
                    </a:lnTo>
                    <a:lnTo>
                      <a:pt x="297" y="224"/>
                    </a:lnTo>
                    <a:lnTo>
                      <a:pt x="296" y="222"/>
                    </a:lnTo>
                    <a:lnTo>
                      <a:pt x="290" y="195"/>
                    </a:lnTo>
                    <a:lnTo>
                      <a:pt x="292" y="142"/>
                    </a:lnTo>
                    <a:lnTo>
                      <a:pt x="290" y="132"/>
                    </a:lnTo>
                    <a:lnTo>
                      <a:pt x="287" y="122"/>
                    </a:lnTo>
                    <a:lnTo>
                      <a:pt x="285" y="95"/>
                    </a:lnTo>
                    <a:lnTo>
                      <a:pt x="279" y="57"/>
                    </a:lnTo>
                    <a:lnTo>
                      <a:pt x="274" y="39"/>
                    </a:lnTo>
                    <a:lnTo>
                      <a:pt x="284" y="30"/>
                    </a:lnTo>
                    <a:lnTo>
                      <a:pt x="286" y="30"/>
                    </a:lnTo>
                    <a:lnTo>
                      <a:pt x="303" y="29"/>
                    </a:lnTo>
                    <a:lnTo>
                      <a:pt x="311" y="26"/>
                    </a:lnTo>
                    <a:lnTo>
                      <a:pt x="312" y="25"/>
                    </a:lnTo>
                    <a:lnTo>
                      <a:pt x="313" y="16"/>
                    </a:lnTo>
                    <a:lnTo>
                      <a:pt x="318" y="7"/>
                    </a:lnTo>
                    <a:lnTo>
                      <a:pt x="323" y="2"/>
                    </a:lnTo>
                    <a:lnTo>
                      <a:pt x="325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68" name="Freeform 242"/>
              <p:cNvSpPr>
                <a:spLocks noChangeAspect="1"/>
              </p:cNvSpPr>
              <p:nvPr/>
            </p:nvSpPr>
            <p:spPr bwMode="gray">
              <a:xfrm>
                <a:off x="1733" y="3162"/>
                <a:ext cx="31" cy="47"/>
              </a:xfrm>
              <a:custGeom>
                <a:avLst/>
                <a:gdLst/>
                <a:ahLst/>
                <a:cxnLst>
                  <a:cxn ang="0">
                    <a:pos x="141" y="225"/>
                  </a:cxn>
                  <a:cxn ang="0">
                    <a:pos x="135" y="231"/>
                  </a:cxn>
                  <a:cxn ang="0">
                    <a:pos x="115" y="225"/>
                  </a:cxn>
                  <a:cxn ang="0">
                    <a:pos x="77" y="221"/>
                  </a:cxn>
                  <a:cxn ang="0">
                    <a:pos x="61" y="225"/>
                  </a:cxn>
                  <a:cxn ang="0">
                    <a:pos x="35" y="220"/>
                  </a:cxn>
                  <a:cxn ang="0">
                    <a:pos x="30" y="215"/>
                  </a:cxn>
                  <a:cxn ang="0">
                    <a:pos x="23" y="213"/>
                  </a:cxn>
                  <a:cxn ang="0">
                    <a:pos x="30" y="205"/>
                  </a:cxn>
                  <a:cxn ang="0">
                    <a:pos x="12" y="205"/>
                  </a:cxn>
                  <a:cxn ang="0">
                    <a:pos x="5" y="202"/>
                  </a:cxn>
                  <a:cxn ang="0">
                    <a:pos x="0" y="189"/>
                  </a:cxn>
                  <a:cxn ang="0">
                    <a:pos x="16" y="181"/>
                  </a:cxn>
                  <a:cxn ang="0">
                    <a:pos x="29" y="176"/>
                  </a:cxn>
                  <a:cxn ang="0">
                    <a:pos x="36" y="176"/>
                  </a:cxn>
                  <a:cxn ang="0">
                    <a:pos x="23" y="160"/>
                  </a:cxn>
                  <a:cxn ang="0">
                    <a:pos x="38" y="165"/>
                  </a:cxn>
                  <a:cxn ang="0">
                    <a:pos x="64" y="184"/>
                  </a:cxn>
                  <a:cxn ang="0">
                    <a:pos x="73" y="178"/>
                  </a:cxn>
                  <a:cxn ang="0">
                    <a:pos x="62" y="171"/>
                  </a:cxn>
                  <a:cxn ang="0">
                    <a:pos x="81" y="178"/>
                  </a:cxn>
                  <a:cxn ang="0">
                    <a:pos x="92" y="170"/>
                  </a:cxn>
                  <a:cxn ang="0">
                    <a:pos x="100" y="176"/>
                  </a:cxn>
                  <a:cxn ang="0">
                    <a:pos x="106" y="167"/>
                  </a:cxn>
                  <a:cxn ang="0">
                    <a:pos x="72" y="151"/>
                  </a:cxn>
                  <a:cxn ang="0">
                    <a:pos x="70" y="113"/>
                  </a:cxn>
                  <a:cxn ang="0">
                    <a:pos x="82" y="108"/>
                  </a:cxn>
                  <a:cxn ang="0">
                    <a:pos x="111" y="89"/>
                  </a:cxn>
                  <a:cxn ang="0">
                    <a:pos x="99" y="79"/>
                  </a:cxn>
                  <a:cxn ang="0">
                    <a:pos x="66" y="90"/>
                  </a:cxn>
                  <a:cxn ang="0">
                    <a:pos x="49" y="73"/>
                  </a:cxn>
                  <a:cxn ang="0">
                    <a:pos x="50" y="51"/>
                  </a:cxn>
                  <a:cxn ang="0">
                    <a:pos x="60" y="53"/>
                  </a:cxn>
                  <a:cxn ang="0">
                    <a:pos x="68" y="43"/>
                  </a:cxn>
                  <a:cxn ang="0">
                    <a:pos x="62" y="30"/>
                  </a:cxn>
                  <a:cxn ang="0">
                    <a:pos x="67" y="25"/>
                  </a:cxn>
                  <a:cxn ang="0">
                    <a:pos x="78" y="29"/>
                  </a:cxn>
                  <a:cxn ang="0">
                    <a:pos x="94" y="5"/>
                  </a:cxn>
                  <a:cxn ang="0">
                    <a:pos x="115" y="16"/>
                  </a:cxn>
                  <a:cxn ang="0">
                    <a:pos x="135" y="15"/>
                  </a:cxn>
                  <a:cxn ang="0">
                    <a:pos x="148" y="17"/>
                  </a:cxn>
                  <a:cxn ang="0">
                    <a:pos x="152" y="213"/>
                  </a:cxn>
                </a:cxnLst>
                <a:rect l="0" t="0" r="r" b="b"/>
                <a:pathLst>
                  <a:path w="152" h="235">
                    <a:moveTo>
                      <a:pt x="152" y="225"/>
                    </a:moveTo>
                    <a:lnTo>
                      <a:pt x="141" y="225"/>
                    </a:lnTo>
                    <a:lnTo>
                      <a:pt x="143" y="231"/>
                    </a:lnTo>
                    <a:lnTo>
                      <a:pt x="135" y="231"/>
                    </a:lnTo>
                    <a:lnTo>
                      <a:pt x="129" y="235"/>
                    </a:lnTo>
                    <a:lnTo>
                      <a:pt x="115" y="225"/>
                    </a:lnTo>
                    <a:lnTo>
                      <a:pt x="99" y="221"/>
                    </a:lnTo>
                    <a:lnTo>
                      <a:pt x="77" y="221"/>
                    </a:lnTo>
                    <a:lnTo>
                      <a:pt x="75" y="225"/>
                    </a:lnTo>
                    <a:lnTo>
                      <a:pt x="61" y="225"/>
                    </a:lnTo>
                    <a:lnTo>
                      <a:pt x="41" y="216"/>
                    </a:lnTo>
                    <a:lnTo>
                      <a:pt x="35" y="220"/>
                    </a:lnTo>
                    <a:lnTo>
                      <a:pt x="25" y="219"/>
                    </a:lnTo>
                    <a:lnTo>
                      <a:pt x="30" y="215"/>
                    </a:lnTo>
                    <a:lnTo>
                      <a:pt x="30" y="213"/>
                    </a:lnTo>
                    <a:lnTo>
                      <a:pt x="23" y="213"/>
                    </a:lnTo>
                    <a:lnTo>
                      <a:pt x="24" y="209"/>
                    </a:lnTo>
                    <a:lnTo>
                      <a:pt x="30" y="205"/>
                    </a:lnTo>
                    <a:lnTo>
                      <a:pt x="16" y="202"/>
                    </a:lnTo>
                    <a:lnTo>
                      <a:pt x="12" y="205"/>
                    </a:lnTo>
                    <a:lnTo>
                      <a:pt x="3" y="205"/>
                    </a:lnTo>
                    <a:lnTo>
                      <a:pt x="5" y="202"/>
                    </a:lnTo>
                    <a:lnTo>
                      <a:pt x="5" y="194"/>
                    </a:lnTo>
                    <a:lnTo>
                      <a:pt x="0" y="189"/>
                    </a:lnTo>
                    <a:lnTo>
                      <a:pt x="16" y="186"/>
                    </a:lnTo>
                    <a:lnTo>
                      <a:pt x="16" y="181"/>
                    </a:lnTo>
                    <a:lnTo>
                      <a:pt x="24" y="181"/>
                    </a:lnTo>
                    <a:lnTo>
                      <a:pt x="29" y="176"/>
                    </a:lnTo>
                    <a:lnTo>
                      <a:pt x="34" y="177"/>
                    </a:lnTo>
                    <a:lnTo>
                      <a:pt x="36" y="176"/>
                    </a:lnTo>
                    <a:lnTo>
                      <a:pt x="34" y="167"/>
                    </a:lnTo>
                    <a:lnTo>
                      <a:pt x="23" y="160"/>
                    </a:lnTo>
                    <a:lnTo>
                      <a:pt x="23" y="151"/>
                    </a:lnTo>
                    <a:lnTo>
                      <a:pt x="38" y="165"/>
                    </a:lnTo>
                    <a:lnTo>
                      <a:pt x="59" y="177"/>
                    </a:lnTo>
                    <a:lnTo>
                      <a:pt x="64" y="184"/>
                    </a:lnTo>
                    <a:lnTo>
                      <a:pt x="67" y="181"/>
                    </a:lnTo>
                    <a:lnTo>
                      <a:pt x="73" y="178"/>
                    </a:lnTo>
                    <a:lnTo>
                      <a:pt x="64" y="176"/>
                    </a:lnTo>
                    <a:lnTo>
                      <a:pt x="62" y="171"/>
                    </a:lnTo>
                    <a:lnTo>
                      <a:pt x="68" y="165"/>
                    </a:lnTo>
                    <a:lnTo>
                      <a:pt x="81" y="178"/>
                    </a:lnTo>
                    <a:lnTo>
                      <a:pt x="82" y="167"/>
                    </a:lnTo>
                    <a:lnTo>
                      <a:pt x="92" y="170"/>
                    </a:lnTo>
                    <a:lnTo>
                      <a:pt x="99" y="181"/>
                    </a:lnTo>
                    <a:lnTo>
                      <a:pt x="100" y="176"/>
                    </a:lnTo>
                    <a:lnTo>
                      <a:pt x="110" y="176"/>
                    </a:lnTo>
                    <a:lnTo>
                      <a:pt x="106" y="167"/>
                    </a:lnTo>
                    <a:lnTo>
                      <a:pt x="75" y="156"/>
                    </a:lnTo>
                    <a:lnTo>
                      <a:pt x="72" y="151"/>
                    </a:lnTo>
                    <a:lnTo>
                      <a:pt x="67" y="121"/>
                    </a:lnTo>
                    <a:lnTo>
                      <a:pt x="70" y="113"/>
                    </a:lnTo>
                    <a:lnTo>
                      <a:pt x="79" y="113"/>
                    </a:lnTo>
                    <a:lnTo>
                      <a:pt x="82" y="108"/>
                    </a:lnTo>
                    <a:lnTo>
                      <a:pt x="109" y="101"/>
                    </a:lnTo>
                    <a:lnTo>
                      <a:pt x="111" y="89"/>
                    </a:lnTo>
                    <a:lnTo>
                      <a:pt x="106" y="80"/>
                    </a:lnTo>
                    <a:lnTo>
                      <a:pt x="99" y="79"/>
                    </a:lnTo>
                    <a:lnTo>
                      <a:pt x="87" y="80"/>
                    </a:lnTo>
                    <a:lnTo>
                      <a:pt x="66" y="90"/>
                    </a:lnTo>
                    <a:lnTo>
                      <a:pt x="52" y="80"/>
                    </a:lnTo>
                    <a:lnTo>
                      <a:pt x="49" y="73"/>
                    </a:lnTo>
                    <a:lnTo>
                      <a:pt x="50" y="62"/>
                    </a:lnTo>
                    <a:lnTo>
                      <a:pt x="50" y="51"/>
                    </a:lnTo>
                    <a:lnTo>
                      <a:pt x="55" y="48"/>
                    </a:lnTo>
                    <a:lnTo>
                      <a:pt x="60" y="53"/>
                    </a:lnTo>
                    <a:lnTo>
                      <a:pt x="66" y="52"/>
                    </a:lnTo>
                    <a:lnTo>
                      <a:pt x="68" y="43"/>
                    </a:lnTo>
                    <a:lnTo>
                      <a:pt x="64" y="36"/>
                    </a:lnTo>
                    <a:lnTo>
                      <a:pt x="62" y="30"/>
                    </a:lnTo>
                    <a:lnTo>
                      <a:pt x="52" y="27"/>
                    </a:lnTo>
                    <a:lnTo>
                      <a:pt x="67" y="25"/>
                    </a:lnTo>
                    <a:lnTo>
                      <a:pt x="75" y="31"/>
                    </a:lnTo>
                    <a:lnTo>
                      <a:pt x="78" y="29"/>
                    </a:lnTo>
                    <a:lnTo>
                      <a:pt x="88" y="25"/>
                    </a:lnTo>
                    <a:lnTo>
                      <a:pt x="94" y="5"/>
                    </a:lnTo>
                    <a:lnTo>
                      <a:pt x="106" y="0"/>
                    </a:lnTo>
                    <a:lnTo>
                      <a:pt x="115" y="16"/>
                    </a:lnTo>
                    <a:lnTo>
                      <a:pt x="124" y="17"/>
                    </a:lnTo>
                    <a:lnTo>
                      <a:pt x="135" y="15"/>
                    </a:lnTo>
                    <a:lnTo>
                      <a:pt x="143" y="8"/>
                    </a:lnTo>
                    <a:lnTo>
                      <a:pt x="148" y="17"/>
                    </a:lnTo>
                    <a:lnTo>
                      <a:pt x="151" y="209"/>
                    </a:lnTo>
                    <a:lnTo>
                      <a:pt x="152" y="213"/>
                    </a:lnTo>
                    <a:lnTo>
                      <a:pt x="152" y="22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69" name="Freeform 243"/>
              <p:cNvSpPr>
                <a:spLocks noChangeAspect="1"/>
              </p:cNvSpPr>
              <p:nvPr/>
            </p:nvSpPr>
            <p:spPr bwMode="gray">
              <a:xfrm>
                <a:off x="1964" y="2482"/>
                <a:ext cx="6" cy="5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6" y="22"/>
                  </a:cxn>
                  <a:cxn ang="0">
                    <a:pos x="16" y="23"/>
                  </a:cxn>
                  <a:cxn ang="0">
                    <a:pos x="23" y="27"/>
                  </a:cxn>
                  <a:cxn ang="0">
                    <a:pos x="31" y="26"/>
                  </a:cxn>
                  <a:cxn ang="0">
                    <a:pos x="32" y="19"/>
                  </a:cxn>
                  <a:cxn ang="0">
                    <a:pos x="26" y="14"/>
                  </a:cxn>
                  <a:cxn ang="0">
                    <a:pos x="19" y="12"/>
                  </a:cxn>
                  <a:cxn ang="0">
                    <a:pos x="11" y="7"/>
                  </a:cxn>
                  <a:cxn ang="0">
                    <a:pos x="7" y="0"/>
                  </a:cxn>
                </a:cxnLst>
                <a:rect l="0" t="0" r="r" b="b"/>
                <a:pathLst>
                  <a:path w="32" h="27">
                    <a:moveTo>
                      <a:pt x="7" y="0"/>
                    </a:moveTo>
                    <a:lnTo>
                      <a:pt x="0" y="9"/>
                    </a:lnTo>
                    <a:lnTo>
                      <a:pt x="0" y="15"/>
                    </a:lnTo>
                    <a:lnTo>
                      <a:pt x="6" y="22"/>
                    </a:lnTo>
                    <a:lnTo>
                      <a:pt x="16" y="23"/>
                    </a:lnTo>
                    <a:lnTo>
                      <a:pt x="23" y="27"/>
                    </a:lnTo>
                    <a:lnTo>
                      <a:pt x="31" y="26"/>
                    </a:lnTo>
                    <a:lnTo>
                      <a:pt x="32" y="19"/>
                    </a:lnTo>
                    <a:lnTo>
                      <a:pt x="26" y="14"/>
                    </a:lnTo>
                    <a:lnTo>
                      <a:pt x="19" y="12"/>
                    </a:lnTo>
                    <a:lnTo>
                      <a:pt x="11" y="7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70" name="Freeform 244"/>
              <p:cNvSpPr>
                <a:spLocks noChangeAspect="1"/>
              </p:cNvSpPr>
              <p:nvPr/>
            </p:nvSpPr>
            <p:spPr bwMode="gray">
              <a:xfrm>
                <a:off x="1971" y="2487"/>
                <a:ext cx="4" cy="2"/>
              </a:xfrm>
              <a:custGeom>
                <a:avLst/>
                <a:gdLst/>
                <a:ahLst/>
                <a:cxnLst>
                  <a:cxn ang="0">
                    <a:pos x="17" y="8"/>
                  </a:cxn>
                  <a:cxn ang="0">
                    <a:pos x="11" y="12"/>
                  </a:cxn>
                  <a:cxn ang="0">
                    <a:pos x="1" y="12"/>
                  </a:cxn>
                  <a:cxn ang="0">
                    <a:pos x="0" y="11"/>
                  </a:cxn>
                  <a:cxn ang="0">
                    <a:pos x="0" y="8"/>
                  </a:cxn>
                  <a:cxn ang="0">
                    <a:pos x="1" y="6"/>
                  </a:cxn>
                  <a:cxn ang="0">
                    <a:pos x="2" y="6"/>
                  </a:cxn>
                  <a:cxn ang="0">
                    <a:pos x="8" y="1"/>
                  </a:cxn>
                  <a:cxn ang="0">
                    <a:pos x="11" y="0"/>
                  </a:cxn>
                  <a:cxn ang="0">
                    <a:pos x="14" y="0"/>
                  </a:cxn>
                  <a:cxn ang="0">
                    <a:pos x="18" y="1"/>
                  </a:cxn>
                  <a:cxn ang="0">
                    <a:pos x="18" y="6"/>
                  </a:cxn>
                  <a:cxn ang="0">
                    <a:pos x="17" y="8"/>
                  </a:cxn>
                </a:cxnLst>
                <a:rect l="0" t="0" r="r" b="b"/>
                <a:pathLst>
                  <a:path w="18" h="12">
                    <a:moveTo>
                      <a:pt x="17" y="8"/>
                    </a:moveTo>
                    <a:lnTo>
                      <a:pt x="11" y="12"/>
                    </a:lnTo>
                    <a:lnTo>
                      <a:pt x="1" y="12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1" y="6"/>
                    </a:lnTo>
                    <a:lnTo>
                      <a:pt x="2" y="6"/>
                    </a:lnTo>
                    <a:lnTo>
                      <a:pt x="8" y="1"/>
                    </a:lnTo>
                    <a:lnTo>
                      <a:pt x="11" y="0"/>
                    </a:lnTo>
                    <a:lnTo>
                      <a:pt x="14" y="0"/>
                    </a:lnTo>
                    <a:lnTo>
                      <a:pt x="18" y="1"/>
                    </a:lnTo>
                    <a:lnTo>
                      <a:pt x="18" y="6"/>
                    </a:lnTo>
                    <a:lnTo>
                      <a:pt x="17" y="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71" name="Freeform 245"/>
              <p:cNvSpPr>
                <a:spLocks noChangeAspect="1"/>
              </p:cNvSpPr>
              <p:nvPr/>
            </p:nvSpPr>
            <p:spPr bwMode="gray">
              <a:xfrm>
                <a:off x="1962" y="2489"/>
                <a:ext cx="23" cy="17"/>
              </a:xfrm>
              <a:custGeom>
                <a:avLst/>
                <a:gdLst/>
                <a:ahLst/>
                <a:cxnLst>
                  <a:cxn ang="0">
                    <a:pos x="116" y="9"/>
                  </a:cxn>
                  <a:cxn ang="0">
                    <a:pos x="116" y="33"/>
                  </a:cxn>
                  <a:cxn ang="0">
                    <a:pos x="116" y="38"/>
                  </a:cxn>
                  <a:cxn ang="0">
                    <a:pos x="96" y="64"/>
                  </a:cxn>
                  <a:cxn ang="0">
                    <a:pos x="82" y="75"/>
                  </a:cxn>
                  <a:cxn ang="0">
                    <a:pos x="70" y="80"/>
                  </a:cxn>
                  <a:cxn ang="0">
                    <a:pos x="42" y="87"/>
                  </a:cxn>
                  <a:cxn ang="0">
                    <a:pos x="37" y="86"/>
                  </a:cxn>
                  <a:cxn ang="0">
                    <a:pos x="16" y="86"/>
                  </a:cxn>
                  <a:cxn ang="0">
                    <a:pos x="7" y="82"/>
                  </a:cxn>
                  <a:cxn ang="0">
                    <a:pos x="4" y="77"/>
                  </a:cxn>
                  <a:cxn ang="0">
                    <a:pos x="4" y="64"/>
                  </a:cxn>
                  <a:cxn ang="0">
                    <a:pos x="3" y="54"/>
                  </a:cxn>
                  <a:cxn ang="0">
                    <a:pos x="3" y="48"/>
                  </a:cxn>
                  <a:cxn ang="0">
                    <a:pos x="0" y="39"/>
                  </a:cxn>
                  <a:cxn ang="0">
                    <a:pos x="0" y="16"/>
                  </a:cxn>
                  <a:cxn ang="0">
                    <a:pos x="4" y="11"/>
                  </a:cxn>
                  <a:cxn ang="0">
                    <a:pos x="14" y="7"/>
                  </a:cxn>
                  <a:cxn ang="0">
                    <a:pos x="15" y="4"/>
                  </a:cxn>
                  <a:cxn ang="0">
                    <a:pos x="25" y="1"/>
                  </a:cxn>
                  <a:cxn ang="0">
                    <a:pos x="37" y="1"/>
                  </a:cxn>
                  <a:cxn ang="0">
                    <a:pos x="43" y="1"/>
                  </a:cxn>
                  <a:cxn ang="0">
                    <a:pos x="55" y="5"/>
                  </a:cxn>
                  <a:cxn ang="0">
                    <a:pos x="63" y="5"/>
                  </a:cxn>
                  <a:cxn ang="0">
                    <a:pos x="76" y="1"/>
                  </a:cxn>
                  <a:cxn ang="0">
                    <a:pos x="95" y="0"/>
                  </a:cxn>
                  <a:cxn ang="0">
                    <a:pos x="107" y="1"/>
                  </a:cxn>
                  <a:cxn ang="0">
                    <a:pos x="111" y="4"/>
                  </a:cxn>
                  <a:cxn ang="0">
                    <a:pos x="114" y="7"/>
                  </a:cxn>
                  <a:cxn ang="0">
                    <a:pos x="114" y="9"/>
                  </a:cxn>
                  <a:cxn ang="0">
                    <a:pos x="116" y="9"/>
                  </a:cxn>
                </a:cxnLst>
                <a:rect l="0" t="0" r="r" b="b"/>
                <a:pathLst>
                  <a:path w="115" h="87">
                    <a:moveTo>
                      <a:pt x="116" y="9"/>
                    </a:moveTo>
                    <a:lnTo>
                      <a:pt x="116" y="33"/>
                    </a:lnTo>
                    <a:lnTo>
                      <a:pt x="116" y="38"/>
                    </a:lnTo>
                    <a:lnTo>
                      <a:pt x="96" y="64"/>
                    </a:lnTo>
                    <a:lnTo>
                      <a:pt x="82" y="75"/>
                    </a:lnTo>
                    <a:lnTo>
                      <a:pt x="70" y="80"/>
                    </a:lnTo>
                    <a:lnTo>
                      <a:pt x="42" y="87"/>
                    </a:lnTo>
                    <a:lnTo>
                      <a:pt x="37" y="86"/>
                    </a:lnTo>
                    <a:lnTo>
                      <a:pt x="16" y="86"/>
                    </a:lnTo>
                    <a:lnTo>
                      <a:pt x="7" y="82"/>
                    </a:lnTo>
                    <a:lnTo>
                      <a:pt x="4" y="77"/>
                    </a:lnTo>
                    <a:lnTo>
                      <a:pt x="4" y="64"/>
                    </a:lnTo>
                    <a:lnTo>
                      <a:pt x="3" y="54"/>
                    </a:lnTo>
                    <a:lnTo>
                      <a:pt x="3" y="48"/>
                    </a:lnTo>
                    <a:lnTo>
                      <a:pt x="0" y="39"/>
                    </a:lnTo>
                    <a:lnTo>
                      <a:pt x="0" y="16"/>
                    </a:lnTo>
                    <a:lnTo>
                      <a:pt x="4" y="11"/>
                    </a:lnTo>
                    <a:lnTo>
                      <a:pt x="14" y="7"/>
                    </a:lnTo>
                    <a:lnTo>
                      <a:pt x="15" y="4"/>
                    </a:lnTo>
                    <a:lnTo>
                      <a:pt x="25" y="1"/>
                    </a:lnTo>
                    <a:lnTo>
                      <a:pt x="37" y="1"/>
                    </a:lnTo>
                    <a:lnTo>
                      <a:pt x="43" y="1"/>
                    </a:lnTo>
                    <a:lnTo>
                      <a:pt x="55" y="5"/>
                    </a:lnTo>
                    <a:lnTo>
                      <a:pt x="63" y="5"/>
                    </a:lnTo>
                    <a:lnTo>
                      <a:pt x="76" y="1"/>
                    </a:lnTo>
                    <a:lnTo>
                      <a:pt x="95" y="0"/>
                    </a:lnTo>
                    <a:lnTo>
                      <a:pt x="107" y="1"/>
                    </a:lnTo>
                    <a:lnTo>
                      <a:pt x="111" y="4"/>
                    </a:lnTo>
                    <a:lnTo>
                      <a:pt x="114" y="7"/>
                    </a:lnTo>
                    <a:lnTo>
                      <a:pt x="114" y="9"/>
                    </a:lnTo>
                    <a:lnTo>
                      <a:pt x="116" y="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72" name="Freeform 246"/>
              <p:cNvSpPr>
                <a:spLocks noChangeAspect="1"/>
              </p:cNvSpPr>
              <p:nvPr/>
            </p:nvSpPr>
            <p:spPr bwMode="gray">
              <a:xfrm>
                <a:off x="1955" y="2487"/>
                <a:ext cx="7" cy="8"/>
              </a:xfrm>
              <a:custGeom>
                <a:avLst/>
                <a:gdLst/>
                <a:ahLst/>
                <a:cxnLst>
                  <a:cxn ang="0">
                    <a:pos x="31" y="16"/>
                  </a:cxn>
                  <a:cxn ang="0">
                    <a:pos x="31" y="18"/>
                  </a:cxn>
                  <a:cxn ang="0">
                    <a:pos x="24" y="25"/>
                  </a:cxn>
                  <a:cxn ang="0">
                    <a:pos x="24" y="27"/>
                  </a:cxn>
                  <a:cxn ang="0">
                    <a:pos x="13" y="38"/>
                  </a:cxn>
                  <a:cxn ang="0">
                    <a:pos x="5" y="38"/>
                  </a:cxn>
                  <a:cxn ang="0">
                    <a:pos x="5" y="34"/>
                  </a:cxn>
                  <a:cxn ang="0">
                    <a:pos x="0" y="30"/>
                  </a:cxn>
                  <a:cxn ang="0">
                    <a:pos x="0" y="27"/>
                  </a:cxn>
                  <a:cxn ang="0">
                    <a:pos x="2" y="22"/>
                  </a:cxn>
                  <a:cxn ang="0">
                    <a:pos x="9" y="15"/>
                  </a:cxn>
                  <a:cxn ang="0">
                    <a:pos x="10" y="10"/>
                  </a:cxn>
                  <a:cxn ang="0">
                    <a:pos x="11" y="6"/>
                  </a:cxn>
                  <a:cxn ang="0">
                    <a:pos x="15" y="5"/>
                  </a:cxn>
                  <a:cxn ang="0">
                    <a:pos x="24" y="3"/>
                  </a:cxn>
                  <a:cxn ang="0">
                    <a:pos x="24" y="2"/>
                  </a:cxn>
                  <a:cxn ang="0">
                    <a:pos x="31" y="0"/>
                  </a:cxn>
                  <a:cxn ang="0">
                    <a:pos x="31" y="3"/>
                  </a:cxn>
                  <a:cxn ang="0">
                    <a:pos x="24" y="6"/>
                  </a:cxn>
                  <a:cxn ang="0">
                    <a:pos x="20" y="10"/>
                  </a:cxn>
                  <a:cxn ang="0">
                    <a:pos x="20" y="13"/>
                  </a:cxn>
                  <a:cxn ang="0">
                    <a:pos x="30" y="11"/>
                  </a:cxn>
                  <a:cxn ang="0">
                    <a:pos x="30" y="15"/>
                  </a:cxn>
                  <a:cxn ang="0">
                    <a:pos x="31" y="16"/>
                  </a:cxn>
                </a:cxnLst>
                <a:rect l="0" t="0" r="r" b="b"/>
                <a:pathLst>
                  <a:path w="31" h="38">
                    <a:moveTo>
                      <a:pt x="31" y="16"/>
                    </a:moveTo>
                    <a:lnTo>
                      <a:pt x="31" y="18"/>
                    </a:lnTo>
                    <a:lnTo>
                      <a:pt x="24" y="25"/>
                    </a:lnTo>
                    <a:lnTo>
                      <a:pt x="24" y="27"/>
                    </a:lnTo>
                    <a:lnTo>
                      <a:pt x="13" y="38"/>
                    </a:lnTo>
                    <a:lnTo>
                      <a:pt x="5" y="38"/>
                    </a:lnTo>
                    <a:lnTo>
                      <a:pt x="5" y="34"/>
                    </a:lnTo>
                    <a:lnTo>
                      <a:pt x="0" y="30"/>
                    </a:lnTo>
                    <a:lnTo>
                      <a:pt x="0" y="27"/>
                    </a:lnTo>
                    <a:lnTo>
                      <a:pt x="2" y="22"/>
                    </a:lnTo>
                    <a:lnTo>
                      <a:pt x="9" y="15"/>
                    </a:lnTo>
                    <a:lnTo>
                      <a:pt x="10" y="10"/>
                    </a:lnTo>
                    <a:lnTo>
                      <a:pt x="11" y="6"/>
                    </a:lnTo>
                    <a:lnTo>
                      <a:pt x="15" y="5"/>
                    </a:lnTo>
                    <a:lnTo>
                      <a:pt x="24" y="3"/>
                    </a:lnTo>
                    <a:lnTo>
                      <a:pt x="24" y="2"/>
                    </a:lnTo>
                    <a:lnTo>
                      <a:pt x="31" y="0"/>
                    </a:lnTo>
                    <a:lnTo>
                      <a:pt x="31" y="3"/>
                    </a:lnTo>
                    <a:lnTo>
                      <a:pt x="24" y="6"/>
                    </a:lnTo>
                    <a:lnTo>
                      <a:pt x="20" y="10"/>
                    </a:lnTo>
                    <a:lnTo>
                      <a:pt x="20" y="13"/>
                    </a:lnTo>
                    <a:lnTo>
                      <a:pt x="30" y="11"/>
                    </a:lnTo>
                    <a:lnTo>
                      <a:pt x="30" y="15"/>
                    </a:lnTo>
                    <a:lnTo>
                      <a:pt x="31" y="1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73" name="Freeform 247"/>
              <p:cNvSpPr>
                <a:spLocks noChangeAspect="1"/>
              </p:cNvSpPr>
              <p:nvPr/>
            </p:nvSpPr>
            <p:spPr bwMode="gray">
              <a:xfrm>
                <a:off x="1967" y="2482"/>
                <a:ext cx="1" cy="1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6" y="5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0" y="7"/>
                  </a:cxn>
                  <a:cxn ang="0">
                    <a:pos x="0" y="3"/>
                  </a:cxn>
                  <a:cxn ang="0">
                    <a:pos x="1" y="1"/>
                  </a:cxn>
                  <a:cxn ang="0">
                    <a:pos x="5" y="0"/>
                  </a:cxn>
                </a:cxnLst>
                <a:rect l="0" t="0" r="r" b="b"/>
                <a:pathLst>
                  <a:path w="6" h="7">
                    <a:moveTo>
                      <a:pt x="5" y="0"/>
                    </a:moveTo>
                    <a:lnTo>
                      <a:pt x="6" y="5"/>
                    </a:lnTo>
                    <a:lnTo>
                      <a:pt x="5" y="7"/>
                    </a:lnTo>
                    <a:lnTo>
                      <a:pt x="3" y="7"/>
                    </a:lnTo>
                    <a:lnTo>
                      <a:pt x="0" y="7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74" name="Freeform 248"/>
              <p:cNvSpPr>
                <a:spLocks noChangeAspect="1"/>
              </p:cNvSpPr>
              <p:nvPr/>
            </p:nvSpPr>
            <p:spPr bwMode="gray">
              <a:xfrm>
                <a:off x="1963" y="2487"/>
                <a:ext cx="2" cy="1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8" y="2"/>
                  </a:cxn>
                  <a:cxn ang="0">
                    <a:pos x="8" y="6"/>
                  </a:cxn>
                  <a:cxn ang="0">
                    <a:pos x="3" y="6"/>
                  </a:cxn>
                  <a:cxn ang="0">
                    <a:pos x="0" y="1"/>
                  </a:cxn>
                  <a:cxn ang="0">
                    <a:pos x="7" y="0"/>
                  </a:cxn>
                </a:cxnLst>
                <a:rect l="0" t="0" r="r" b="b"/>
                <a:pathLst>
                  <a:path w="8" h="6">
                    <a:moveTo>
                      <a:pt x="7" y="0"/>
                    </a:moveTo>
                    <a:lnTo>
                      <a:pt x="8" y="2"/>
                    </a:lnTo>
                    <a:lnTo>
                      <a:pt x="8" y="6"/>
                    </a:lnTo>
                    <a:lnTo>
                      <a:pt x="3" y="6"/>
                    </a:lnTo>
                    <a:lnTo>
                      <a:pt x="0" y="1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75" name="Freeform 249"/>
              <p:cNvSpPr>
                <a:spLocks noChangeAspect="1"/>
              </p:cNvSpPr>
              <p:nvPr/>
            </p:nvSpPr>
            <p:spPr bwMode="gray">
              <a:xfrm>
                <a:off x="1706" y="2430"/>
                <a:ext cx="427" cy="448"/>
              </a:xfrm>
              <a:custGeom>
                <a:avLst/>
                <a:gdLst/>
                <a:ahLst/>
                <a:cxnLst>
                  <a:cxn ang="0">
                    <a:pos x="598" y="69"/>
                  </a:cxn>
                  <a:cxn ang="0">
                    <a:pos x="523" y="81"/>
                  </a:cxn>
                  <a:cxn ang="0">
                    <a:pos x="572" y="165"/>
                  </a:cxn>
                  <a:cxn ang="0">
                    <a:pos x="503" y="211"/>
                  </a:cxn>
                  <a:cxn ang="0">
                    <a:pos x="408" y="243"/>
                  </a:cxn>
                  <a:cxn ang="0">
                    <a:pos x="317" y="186"/>
                  </a:cxn>
                  <a:cxn ang="0">
                    <a:pos x="225" y="231"/>
                  </a:cxn>
                  <a:cxn ang="0">
                    <a:pos x="210" y="254"/>
                  </a:cxn>
                  <a:cxn ang="0">
                    <a:pos x="220" y="460"/>
                  </a:cxn>
                  <a:cxn ang="0">
                    <a:pos x="83" y="554"/>
                  </a:cxn>
                  <a:cxn ang="0">
                    <a:pos x="0" y="698"/>
                  </a:cxn>
                  <a:cxn ang="0">
                    <a:pos x="82" y="806"/>
                  </a:cxn>
                  <a:cxn ang="0">
                    <a:pos x="180" y="853"/>
                  </a:cxn>
                  <a:cxn ang="0">
                    <a:pos x="303" y="883"/>
                  </a:cxn>
                  <a:cxn ang="0">
                    <a:pos x="468" y="840"/>
                  </a:cxn>
                  <a:cxn ang="0">
                    <a:pos x="573" y="973"/>
                  </a:cxn>
                  <a:cxn ang="0">
                    <a:pos x="720" y="1039"/>
                  </a:cxn>
                  <a:cxn ang="0">
                    <a:pos x="749" y="1181"/>
                  </a:cxn>
                  <a:cxn ang="0">
                    <a:pos x="863" y="1243"/>
                  </a:cxn>
                  <a:cxn ang="0">
                    <a:pos x="872" y="1398"/>
                  </a:cxn>
                  <a:cxn ang="0">
                    <a:pos x="901" y="1526"/>
                  </a:cxn>
                  <a:cxn ang="0">
                    <a:pos x="1000" y="1613"/>
                  </a:cxn>
                  <a:cxn ang="0">
                    <a:pos x="1059" y="1706"/>
                  </a:cxn>
                  <a:cxn ang="0">
                    <a:pos x="1054" y="1841"/>
                  </a:cxn>
                  <a:cxn ang="0">
                    <a:pos x="904" y="2000"/>
                  </a:cxn>
                  <a:cxn ang="0">
                    <a:pos x="973" y="2055"/>
                  </a:cxn>
                  <a:cxn ang="0">
                    <a:pos x="1052" y="2092"/>
                  </a:cxn>
                  <a:cxn ang="0">
                    <a:pos x="1126" y="2180"/>
                  </a:cxn>
                  <a:cxn ang="0">
                    <a:pos x="1156" y="2196"/>
                  </a:cxn>
                  <a:cxn ang="0">
                    <a:pos x="1275" y="2045"/>
                  </a:cxn>
                  <a:cxn ang="0">
                    <a:pos x="1377" y="1895"/>
                  </a:cxn>
                  <a:cxn ang="0">
                    <a:pos x="1376" y="1762"/>
                  </a:cxn>
                  <a:cxn ang="0">
                    <a:pos x="1474" y="1650"/>
                  </a:cxn>
                  <a:cxn ang="0">
                    <a:pos x="1598" y="1588"/>
                  </a:cxn>
                  <a:cxn ang="0">
                    <a:pos x="1657" y="1570"/>
                  </a:cxn>
                  <a:cxn ang="0">
                    <a:pos x="1787" y="1512"/>
                  </a:cxn>
                  <a:cxn ang="0">
                    <a:pos x="1868" y="1305"/>
                  </a:cxn>
                  <a:cxn ang="0">
                    <a:pos x="1901" y="1102"/>
                  </a:cxn>
                  <a:cxn ang="0">
                    <a:pos x="1975" y="947"/>
                  </a:cxn>
                  <a:cxn ang="0">
                    <a:pos x="2115" y="776"/>
                  </a:cxn>
                  <a:cxn ang="0">
                    <a:pos x="2040" y="565"/>
                  </a:cxn>
                  <a:cxn ang="0">
                    <a:pos x="1896" y="463"/>
                  </a:cxn>
                  <a:cxn ang="0">
                    <a:pos x="1659" y="413"/>
                  </a:cxn>
                  <a:cxn ang="0">
                    <a:pos x="1605" y="404"/>
                  </a:cxn>
                  <a:cxn ang="0">
                    <a:pos x="1561" y="364"/>
                  </a:cxn>
                  <a:cxn ang="0">
                    <a:pos x="1403" y="342"/>
                  </a:cxn>
                  <a:cxn ang="0">
                    <a:pos x="1344" y="419"/>
                  </a:cxn>
                  <a:cxn ang="0">
                    <a:pos x="1277" y="387"/>
                  </a:cxn>
                  <a:cxn ang="0">
                    <a:pos x="1238" y="381"/>
                  </a:cxn>
                  <a:cxn ang="0">
                    <a:pos x="1261" y="339"/>
                  </a:cxn>
                  <a:cxn ang="0">
                    <a:pos x="1231" y="308"/>
                  </a:cxn>
                  <a:cxn ang="0">
                    <a:pos x="1312" y="195"/>
                  </a:cxn>
                  <a:cxn ang="0">
                    <a:pos x="1247" y="69"/>
                  </a:cxn>
                  <a:cxn ang="0">
                    <a:pos x="1141" y="170"/>
                  </a:cxn>
                  <a:cxn ang="0">
                    <a:pos x="1034" y="149"/>
                  </a:cxn>
                  <a:cxn ang="0">
                    <a:pos x="921" y="177"/>
                  </a:cxn>
                  <a:cxn ang="0">
                    <a:pos x="812" y="213"/>
                  </a:cxn>
                  <a:cxn ang="0">
                    <a:pos x="774" y="96"/>
                  </a:cxn>
                  <a:cxn ang="0">
                    <a:pos x="755" y="0"/>
                  </a:cxn>
                </a:cxnLst>
                <a:rect l="0" t="0" r="r" b="b"/>
                <a:pathLst>
                  <a:path w="2135" h="2241">
                    <a:moveTo>
                      <a:pt x="725" y="3"/>
                    </a:moveTo>
                    <a:lnTo>
                      <a:pt x="725" y="15"/>
                    </a:lnTo>
                    <a:lnTo>
                      <a:pt x="713" y="28"/>
                    </a:lnTo>
                    <a:lnTo>
                      <a:pt x="706" y="35"/>
                    </a:lnTo>
                    <a:lnTo>
                      <a:pt x="702" y="37"/>
                    </a:lnTo>
                    <a:lnTo>
                      <a:pt x="686" y="38"/>
                    </a:lnTo>
                    <a:lnTo>
                      <a:pt x="680" y="42"/>
                    </a:lnTo>
                    <a:lnTo>
                      <a:pt x="672" y="46"/>
                    </a:lnTo>
                    <a:lnTo>
                      <a:pt x="666" y="54"/>
                    </a:lnTo>
                    <a:lnTo>
                      <a:pt x="661" y="57"/>
                    </a:lnTo>
                    <a:lnTo>
                      <a:pt x="632" y="59"/>
                    </a:lnTo>
                    <a:lnTo>
                      <a:pt x="616" y="63"/>
                    </a:lnTo>
                    <a:lnTo>
                      <a:pt x="598" y="69"/>
                    </a:lnTo>
                    <a:lnTo>
                      <a:pt x="594" y="73"/>
                    </a:lnTo>
                    <a:lnTo>
                      <a:pt x="593" y="74"/>
                    </a:lnTo>
                    <a:lnTo>
                      <a:pt x="568" y="73"/>
                    </a:lnTo>
                    <a:lnTo>
                      <a:pt x="550" y="68"/>
                    </a:lnTo>
                    <a:lnTo>
                      <a:pt x="529" y="55"/>
                    </a:lnTo>
                    <a:lnTo>
                      <a:pt x="507" y="53"/>
                    </a:lnTo>
                    <a:lnTo>
                      <a:pt x="500" y="51"/>
                    </a:lnTo>
                    <a:lnTo>
                      <a:pt x="496" y="51"/>
                    </a:lnTo>
                    <a:lnTo>
                      <a:pt x="495" y="51"/>
                    </a:lnTo>
                    <a:lnTo>
                      <a:pt x="496" y="60"/>
                    </a:lnTo>
                    <a:lnTo>
                      <a:pt x="500" y="69"/>
                    </a:lnTo>
                    <a:lnTo>
                      <a:pt x="511" y="74"/>
                    </a:lnTo>
                    <a:lnTo>
                      <a:pt x="523" y="81"/>
                    </a:lnTo>
                    <a:lnTo>
                      <a:pt x="525" y="84"/>
                    </a:lnTo>
                    <a:lnTo>
                      <a:pt x="524" y="96"/>
                    </a:lnTo>
                    <a:lnTo>
                      <a:pt x="521" y="109"/>
                    </a:lnTo>
                    <a:lnTo>
                      <a:pt x="521" y="116"/>
                    </a:lnTo>
                    <a:lnTo>
                      <a:pt x="522" y="121"/>
                    </a:lnTo>
                    <a:lnTo>
                      <a:pt x="527" y="138"/>
                    </a:lnTo>
                    <a:lnTo>
                      <a:pt x="528" y="146"/>
                    </a:lnTo>
                    <a:lnTo>
                      <a:pt x="530" y="152"/>
                    </a:lnTo>
                    <a:lnTo>
                      <a:pt x="545" y="155"/>
                    </a:lnTo>
                    <a:lnTo>
                      <a:pt x="548" y="156"/>
                    </a:lnTo>
                    <a:lnTo>
                      <a:pt x="572" y="155"/>
                    </a:lnTo>
                    <a:lnTo>
                      <a:pt x="572" y="164"/>
                    </a:lnTo>
                    <a:lnTo>
                      <a:pt x="572" y="165"/>
                    </a:lnTo>
                    <a:lnTo>
                      <a:pt x="570" y="168"/>
                    </a:lnTo>
                    <a:lnTo>
                      <a:pt x="559" y="170"/>
                    </a:lnTo>
                    <a:lnTo>
                      <a:pt x="551" y="173"/>
                    </a:lnTo>
                    <a:lnTo>
                      <a:pt x="550" y="176"/>
                    </a:lnTo>
                    <a:lnTo>
                      <a:pt x="545" y="179"/>
                    </a:lnTo>
                    <a:lnTo>
                      <a:pt x="537" y="179"/>
                    </a:lnTo>
                    <a:lnTo>
                      <a:pt x="532" y="187"/>
                    </a:lnTo>
                    <a:lnTo>
                      <a:pt x="527" y="202"/>
                    </a:lnTo>
                    <a:lnTo>
                      <a:pt x="522" y="205"/>
                    </a:lnTo>
                    <a:lnTo>
                      <a:pt x="517" y="207"/>
                    </a:lnTo>
                    <a:lnTo>
                      <a:pt x="512" y="207"/>
                    </a:lnTo>
                    <a:lnTo>
                      <a:pt x="506" y="210"/>
                    </a:lnTo>
                    <a:lnTo>
                      <a:pt x="503" y="211"/>
                    </a:lnTo>
                    <a:lnTo>
                      <a:pt x="501" y="216"/>
                    </a:lnTo>
                    <a:lnTo>
                      <a:pt x="492" y="216"/>
                    </a:lnTo>
                    <a:lnTo>
                      <a:pt x="480" y="221"/>
                    </a:lnTo>
                    <a:lnTo>
                      <a:pt x="478" y="221"/>
                    </a:lnTo>
                    <a:lnTo>
                      <a:pt x="470" y="225"/>
                    </a:lnTo>
                    <a:lnTo>
                      <a:pt x="462" y="229"/>
                    </a:lnTo>
                    <a:lnTo>
                      <a:pt x="457" y="232"/>
                    </a:lnTo>
                    <a:lnTo>
                      <a:pt x="449" y="240"/>
                    </a:lnTo>
                    <a:lnTo>
                      <a:pt x="447" y="241"/>
                    </a:lnTo>
                    <a:lnTo>
                      <a:pt x="428" y="245"/>
                    </a:lnTo>
                    <a:lnTo>
                      <a:pt x="411" y="245"/>
                    </a:lnTo>
                    <a:lnTo>
                      <a:pt x="409" y="243"/>
                    </a:lnTo>
                    <a:lnTo>
                      <a:pt x="408" y="243"/>
                    </a:lnTo>
                    <a:lnTo>
                      <a:pt x="394" y="235"/>
                    </a:lnTo>
                    <a:lnTo>
                      <a:pt x="390" y="231"/>
                    </a:lnTo>
                    <a:lnTo>
                      <a:pt x="387" y="226"/>
                    </a:lnTo>
                    <a:lnTo>
                      <a:pt x="384" y="221"/>
                    </a:lnTo>
                    <a:lnTo>
                      <a:pt x="379" y="214"/>
                    </a:lnTo>
                    <a:lnTo>
                      <a:pt x="379" y="216"/>
                    </a:lnTo>
                    <a:lnTo>
                      <a:pt x="368" y="221"/>
                    </a:lnTo>
                    <a:lnTo>
                      <a:pt x="362" y="192"/>
                    </a:lnTo>
                    <a:lnTo>
                      <a:pt x="354" y="181"/>
                    </a:lnTo>
                    <a:lnTo>
                      <a:pt x="349" y="176"/>
                    </a:lnTo>
                    <a:lnTo>
                      <a:pt x="338" y="176"/>
                    </a:lnTo>
                    <a:lnTo>
                      <a:pt x="319" y="186"/>
                    </a:lnTo>
                    <a:lnTo>
                      <a:pt x="317" y="186"/>
                    </a:lnTo>
                    <a:lnTo>
                      <a:pt x="313" y="179"/>
                    </a:lnTo>
                    <a:lnTo>
                      <a:pt x="309" y="177"/>
                    </a:lnTo>
                    <a:lnTo>
                      <a:pt x="307" y="177"/>
                    </a:lnTo>
                    <a:lnTo>
                      <a:pt x="303" y="182"/>
                    </a:lnTo>
                    <a:lnTo>
                      <a:pt x="302" y="188"/>
                    </a:lnTo>
                    <a:lnTo>
                      <a:pt x="298" y="192"/>
                    </a:lnTo>
                    <a:lnTo>
                      <a:pt x="218" y="192"/>
                    </a:lnTo>
                    <a:lnTo>
                      <a:pt x="217" y="191"/>
                    </a:lnTo>
                    <a:lnTo>
                      <a:pt x="217" y="222"/>
                    </a:lnTo>
                    <a:lnTo>
                      <a:pt x="217" y="222"/>
                    </a:lnTo>
                    <a:lnTo>
                      <a:pt x="217" y="225"/>
                    </a:lnTo>
                    <a:lnTo>
                      <a:pt x="221" y="226"/>
                    </a:lnTo>
                    <a:lnTo>
                      <a:pt x="225" y="231"/>
                    </a:lnTo>
                    <a:lnTo>
                      <a:pt x="232" y="231"/>
                    </a:lnTo>
                    <a:lnTo>
                      <a:pt x="234" y="229"/>
                    </a:lnTo>
                    <a:lnTo>
                      <a:pt x="244" y="227"/>
                    </a:lnTo>
                    <a:lnTo>
                      <a:pt x="249" y="235"/>
                    </a:lnTo>
                    <a:lnTo>
                      <a:pt x="250" y="242"/>
                    </a:lnTo>
                    <a:lnTo>
                      <a:pt x="254" y="252"/>
                    </a:lnTo>
                    <a:lnTo>
                      <a:pt x="254" y="253"/>
                    </a:lnTo>
                    <a:lnTo>
                      <a:pt x="249" y="254"/>
                    </a:lnTo>
                    <a:lnTo>
                      <a:pt x="248" y="252"/>
                    </a:lnTo>
                    <a:lnTo>
                      <a:pt x="244" y="251"/>
                    </a:lnTo>
                    <a:lnTo>
                      <a:pt x="234" y="249"/>
                    </a:lnTo>
                    <a:lnTo>
                      <a:pt x="227" y="252"/>
                    </a:lnTo>
                    <a:lnTo>
                      <a:pt x="210" y="254"/>
                    </a:lnTo>
                    <a:lnTo>
                      <a:pt x="205" y="257"/>
                    </a:lnTo>
                    <a:lnTo>
                      <a:pt x="205" y="295"/>
                    </a:lnTo>
                    <a:lnTo>
                      <a:pt x="210" y="300"/>
                    </a:lnTo>
                    <a:lnTo>
                      <a:pt x="222" y="310"/>
                    </a:lnTo>
                    <a:lnTo>
                      <a:pt x="228" y="316"/>
                    </a:lnTo>
                    <a:lnTo>
                      <a:pt x="233" y="326"/>
                    </a:lnTo>
                    <a:lnTo>
                      <a:pt x="240" y="354"/>
                    </a:lnTo>
                    <a:lnTo>
                      <a:pt x="239" y="360"/>
                    </a:lnTo>
                    <a:lnTo>
                      <a:pt x="238" y="370"/>
                    </a:lnTo>
                    <a:lnTo>
                      <a:pt x="228" y="433"/>
                    </a:lnTo>
                    <a:lnTo>
                      <a:pt x="227" y="434"/>
                    </a:lnTo>
                    <a:lnTo>
                      <a:pt x="223" y="452"/>
                    </a:lnTo>
                    <a:lnTo>
                      <a:pt x="220" y="460"/>
                    </a:lnTo>
                    <a:lnTo>
                      <a:pt x="218" y="472"/>
                    </a:lnTo>
                    <a:lnTo>
                      <a:pt x="217" y="475"/>
                    </a:lnTo>
                    <a:lnTo>
                      <a:pt x="216" y="483"/>
                    </a:lnTo>
                    <a:lnTo>
                      <a:pt x="213" y="498"/>
                    </a:lnTo>
                    <a:lnTo>
                      <a:pt x="211" y="504"/>
                    </a:lnTo>
                    <a:lnTo>
                      <a:pt x="210" y="511"/>
                    </a:lnTo>
                    <a:lnTo>
                      <a:pt x="209" y="514"/>
                    </a:lnTo>
                    <a:lnTo>
                      <a:pt x="202" y="517"/>
                    </a:lnTo>
                    <a:lnTo>
                      <a:pt x="182" y="516"/>
                    </a:lnTo>
                    <a:lnTo>
                      <a:pt x="169" y="521"/>
                    </a:lnTo>
                    <a:lnTo>
                      <a:pt x="118" y="536"/>
                    </a:lnTo>
                    <a:lnTo>
                      <a:pt x="99" y="543"/>
                    </a:lnTo>
                    <a:lnTo>
                      <a:pt x="83" y="554"/>
                    </a:lnTo>
                    <a:lnTo>
                      <a:pt x="72" y="563"/>
                    </a:lnTo>
                    <a:lnTo>
                      <a:pt x="59" y="579"/>
                    </a:lnTo>
                    <a:lnTo>
                      <a:pt x="50" y="591"/>
                    </a:lnTo>
                    <a:lnTo>
                      <a:pt x="41" y="607"/>
                    </a:lnTo>
                    <a:lnTo>
                      <a:pt x="39" y="613"/>
                    </a:lnTo>
                    <a:lnTo>
                      <a:pt x="39" y="643"/>
                    </a:lnTo>
                    <a:lnTo>
                      <a:pt x="30" y="644"/>
                    </a:lnTo>
                    <a:lnTo>
                      <a:pt x="21" y="646"/>
                    </a:lnTo>
                    <a:lnTo>
                      <a:pt x="17" y="651"/>
                    </a:lnTo>
                    <a:lnTo>
                      <a:pt x="13" y="668"/>
                    </a:lnTo>
                    <a:lnTo>
                      <a:pt x="1" y="690"/>
                    </a:lnTo>
                    <a:lnTo>
                      <a:pt x="0" y="694"/>
                    </a:lnTo>
                    <a:lnTo>
                      <a:pt x="0" y="698"/>
                    </a:lnTo>
                    <a:lnTo>
                      <a:pt x="11" y="721"/>
                    </a:lnTo>
                    <a:lnTo>
                      <a:pt x="13" y="733"/>
                    </a:lnTo>
                    <a:lnTo>
                      <a:pt x="14" y="737"/>
                    </a:lnTo>
                    <a:lnTo>
                      <a:pt x="23" y="748"/>
                    </a:lnTo>
                    <a:lnTo>
                      <a:pt x="27" y="756"/>
                    </a:lnTo>
                    <a:lnTo>
                      <a:pt x="39" y="769"/>
                    </a:lnTo>
                    <a:lnTo>
                      <a:pt x="49" y="775"/>
                    </a:lnTo>
                    <a:lnTo>
                      <a:pt x="50" y="784"/>
                    </a:lnTo>
                    <a:lnTo>
                      <a:pt x="44" y="794"/>
                    </a:lnTo>
                    <a:lnTo>
                      <a:pt x="45" y="797"/>
                    </a:lnTo>
                    <a:lnTo>
                      <a:pt x="57" y="801"/>
                    </a:lnTo>
                    <a:lnTo>
                      <a:pt x="77" y="802"/>
                    </a:lnTo>
                    <a:lnTo>
                      <a:pt x="82" y="806"/>
                    </a:lnTo>
                    <a:lnTo>
                      <a:pt x="86" y="811"/>
                    </a:lnTo>
                    <a:lnTo>
                      <a:pt x="88" y="822"/>
                    </a:lnTo>
                    <a:lnTo>
                      <a:pt x="91" y="826"/>
                    </a:lnTo>
                    <a:lnTo>
                      <a:pt x="104" y="829"/>
                    </a:lnTo>
                    <a:lnTo>
                      <a:pt x="119" y="830"/>
                    </a:lnTo>
                    <a:lnTo>
                      <a:pt x="127" y="829"/>
                    </a:lnTo>
                    <a:lnTo>
                      <a:pt x="145" y="819"/>
                    </a:lnTo>
                    <a:lnTo>
                      <a:pt x="167" y="803"/>
                    </a:lnTo>
                    <a:lnTo>
                      <a:pt x="177" y="794"/>
                    </a:lnTo>
                    <a:lnTo>
                      <a:pt x="180" y="792"/>
                    </a:lnTo>
                    <a:lnTo>
                      <a:pt x="180" y="795"/>
                    </a:lnTo>
                    <a:lnTo>
                      <a:pt x="180" y="849"/>
                    </a:lnTo>
                    <a:lnTo>
                      <a:pt x="180" y="853"/>
                    </a:lnTo>
                    <a:lnTo>
                      <a:pt x="180" y="882"/>
                    </a:lnTo>
                    <a:lnTo>
                      <a:pt x="183" y="886"/>
                    </a:lnTo>
                    <a:lnTo>
                      <a:pt x="189" y="889"/>
                    </a:lnTo>
                    <a:lnTo>
                      <a:pt x="194" y="889"/>
                    </a:lnTo>
                    <a:lnTo>
                      <a:pt x="201" y="887"/>
                    </a:lnTo>
                    <a:lnTo>
                      <a:pt x="201" y="887"/>
                    </a:lnTo>
                    <a:lnTo>
                      <a:pt x="209" y="883"/>
                    </a:lnTo>
                    <a:lnTo>
                      <a:pt x="226" y="882"/>
                    </a:lnTo>
                    <a:lnTo>
                      <a:pt x="228" y="880"/>
                    </a:lnTo>
                    <a:lnTo>
                      <a:pt x="236" y="880"/>
                    </a:lnTo>
                    <a:lnTo>
                      <a:pt x="254" y="886"/>
                    </a:lnTo>
                    <a:lnTo>
                      <a:pt x="295" y="887"/>
                    </a:lnTo>
                    <a:lnTo>
                      <a:pt x="303" y="883"/>
                    </a:lnTo>
                    <a:lnTo>
                      <a:pt x="308" y="880"/>
                    </a:lnTo>
                    <a:lnTo>
                      <a:pt x="334" y="871"/>
                    </a:lnTo>
                    <a:lnTo>
                      <a:pt x="341" y="867"/>
                    </a:lnTo>
                    <a:lnTo>
                      <a:pt x="366" y="845"/>
                    </a:lnTo>
                    <a:lnTo>
                      <a:pt x="383" y="826"/>
                    </a:lnTo>
                    <a:lnTo>
                      <a:pt x="389" y="819"/>
                    </a:lnTo>
                    <a:lnTo>
                      <a:pt x="405" y="816"/>
                    </a:lnTo>
                    <a:lnTo>
                      <a:pt x="411" y="816"/>
                    </a:lnTo>
                    <a:lnTo>
                      <a:pt x="438" y="812"/>
                    </a:lnTo>
                    <a:lnTo>
                      <a:pt x="457" y="813"/>
                    </a:lnTo>
                    <a:lnTo>
                      <a:pt x="460" y="816"/>
                    </a:lnTo>
                    <a:lnTo>
                      <a:pt x="465" y="823"/>
                    </a:lnTo>
                    <a:lnTo>
                      <a:pt x="468" y="840"/>
                    </a:lnTo>
                    <a:lnTo>
                      <a:pt x="468" y="872"/>
                    </a:lnTo>
                    <a:lnTo>
                      <a:pt x="467" y="882"/>
                    </a:lnTo>
                    <a:lnTo>
                      <a:pt x="462" y="889"/>
                    </a:lnTo>
                    <a:lnTo>
                      <a:pt x="460" y="893"/>
                    </a:lnTo>
                    <a:lnTo>
                      <a:pt x="459" y="900"/>
                    </a:lnTo>
                    <a:lnTo>
                      <a:pt x="465" y="924"/>
                    </a:lnTo>
                    <a:lnTo>
                      <a:pt x="474" y="937"/>
                    </a:lnTo>
                    <a:lnTo>
                      <a:pt x="481" y="943"/>
                    </a:lnTo>
                    <a:lnTo>
                      <a:pt x="508" y="963"/>
                    </a:lnTo>
                    <a:lnTo>
                      <a:pt x="521" y="967"/>
                    </a:lnTo>
                    <a:lnTo>
                      <a:pt x="538" y="969"/>
                    </a:lnTo>
                    <a:lnTo>
                      <a:pt x="557" y="969"/>
                    </a:lnTo>
                    <a:lnTo>
                      <a:pt x="573" y="973"/>
                    </a:lnTo>
                    <a:lnTo>
                      <a:pt x="580" y="979"/>
                    </a:lnTo>
                    <a:lnTo>
                      <a:pt x="582" y="983"/>
                    </a:lnTo>
                    <a:lnTo>
                      <a:pt x="589" y="991"/>
                    </a:lnTo>
                    <a:lnTo>
                      <a:pt x="597" y="995"/>
                    </a:lnTo>
                    <a:lnTo>
                      <a:pt x="635" y="1005"/>
                    </a:lnTo>
                    <a:lnTo>
                      <a:pt x="651" y="1020"/>
                    </a:lnTo>
                    <a:lnTo>
                      <a:pt x="656" y="1023"/>
                    </a:lnTo>
                    <a:lnTo>
                      <a:pt x="666" y="1023"/>
                    </a:lnTo>
                    <a:lnTo>
                      <a:pt x="675" y="1021"/>
                    </a:lnTo>
                    <a:lnTo>
                      <a:pt x="680" y="1021"/>
                    </a:lnTo>
                    <a:lnTo>
                      <a:pt x="693" y="1023"/>
                    </a:lnTo>
                    <a:lnTo>
                      <a:pt x="712" y="1034"/>
                    </a:lnTo>
                    <a:lnTo>
                      <a:pt x="720" y="1039"/>
                    </a:lnTo>
                    <a:lnTo>
                      <a:pt x="726" y="1050"/>
                    </a:lnTo>
                    <a:lnTo>
                      <a:pt x="731" y="1065"/>
                    </a:lnTo>
                    <a:lnTo>
                      <a:pt x="732" y="1080"/>
                    </a:lnTo>
                    <a:lnTo>
                      <a:pt x="736" y="1088"/>
                    </a:lnTo>
                    <a:lnTo>
                      <a:pt x="739" y="1093"/>
                    </a:lnTo>
                    <a:lnTo>
                      <a:pt x="739" y="1102"/>
                    </a:lnTo>
                    <a:lnTo>
                      <a:pt x="737" y="1119"/>
                    </a:lnTo>
                    <a:lnTo>
                      <a:pt x="729" y="1120"/>
                    </a:lnTo>
                    <a:lnTo>
                      <a:pt x="729" y="1124"/>
                    </a:lnTo>
                    <a:lnTo>
                      <a:pt x="729" y="1129"/>
                    </a:lnTo>
                    <a:lnTo>
                      <a:pt x="736" y="1145"/>
                    </a:lnTo>
                    <a:lnTo>
                      <a:pt x="743" y="1168"/>
                    </a:lnTo>
                    <a:lnTo>
                      <a:pt x="749" y="1181"/>
                    </a:lnTo>
                    <a:lnTo>
                      <a:pt x="764" y="1181"/>
                    </a:lnTo>
                    <a:lnTo>
                      <a:pt x="775" y="1182"/>
                    </a:lnTo>
                    <a:lnTo>
                      <a:pt x="788" y="1182"/>
                    </a:lnTo>
                    <a:lnTo>
                      <a:pt x="793" y="1184"/>
                    </a:lnTo>
                    <a:lnTo>
                      <a:pt x="836" y="1184"/>
                    </a:lnTo>
                    <a:lnTo>
                      <a:pt x="841" y="1185"/>
                    </a:lnTo>
                    <a:lnTo>
                      <a:pt x="844" y="1188"/>
                    </a:lnTo>
                    <a:lnTo>
                      <a:pt x="846" y="1193"/>
                    </a:lnTo>
                    <a:lnTo>
                      <a:pt x="844" y="1203"/>
                    </a:lnTo>
                    <a:lnTo>
                      <a:pt x="841" y="1211"/>
                    </a:lnTo>
                    <a:lnTo>
                      <a:pt x="841" y="1217"/>
                    </a:lnTo>
                    <a:lnTo>
                      <a:pt x="846" y="1237"/>
                    </a:lnTo>
                    <a:lnTo>
                      <a:pt x="863" y="1243"/>
                    </a:lnTo>
                    <a:lnTo>
                      <a:pt x="866" y="1246"/>
                    </a:lnTo>
                    <a:lnTo>
                      <a:pt x="871" y="1260"/>
                    </a:lnTo>
                    <a:lnTo>
                      <a:pt x="881" y="1279"/>
                    </a:lnTo>
                    <a:lnTo>
                      <a:pt x="883" y="1289"/>
                    </a:lnTo>
                    <a:lnTo>
                      <a:pt x="883" y="1312"/>
                    </a:lnTo>
                    <a:lnTo>
                      <a:pt x="882" y="1341"/>
                    </a:lnTo>
                    <a:lnTo>
                      <a:pt x="881" y="1345"/>
                    </a:lnTo>
                    <a:lnTo>
                      <a:pt x="876" y="1356"/>
                    </a:lnTo>
                    <a:lnTo>
                      <a:pt x="871" y="1367"/>
                    </a:lnTo>
                    <a:lnTo>
                      <a:pt x="869" y="1373"/>
                    </a:lnTo>
                    <a:lnTo>
                      <a:pt x="869" y="1381"/>
                    </a:lnTo>
                    <a:lnTo>
                      <a:pt x="871" y="1386"/>
                    </a:lnTo>
                    <a:lnTo>
                      <a:pt x="872" y="1398"/>
                    </a:lnTo>
                    <a:lnTo>
                      <a:pt x="871" y="1399"/>
                    </a:lnTo>
                    <a:lnTo>
                      <a:pt x="863" y="1402"/>
                    </a:lnTo>
                    <a:lnTo>
                      <a:pt x="862" y="1403"/>
                    </a:lnTo>
                    <a:lnTo>
                      <a:pt x="861" y="1408"/>
                    </a:lnTo>
                    <a:lnTo>
                      <a:pt x="861" y="1410"/>
                    </a:lnTo>
                    <a:lnTo>
                      <a:pt x="868" y="1424"/>
                    </a:lnTo>
                    <a:lnTo>
                      <a:pt x="869" y="1426"/>
                    </a:lnTo>
                    <a:lnTo>
                      <a:pt x="871" y="1474"/>
                    </a:lnTo>
                    <a:lnTo>
                      <a:pt x="869" y="1507"/>
                    </a:lnTo>
                    <a:lnTo>
                      <a:pt x="873" y="1516"/>
                    </a:lnTo>
                    <a:lnTo>
                      <a:pt x="879" y="1518"/>
                    </a:lnTo>
                    <a:lnTo>
                      <a:pt x="894" y="1522"/>
                    </a:lnTo>
                    <a:lnTo>
                      <a:pt x="901" y="1526"/>
                    </a:lnTo>
                    <a:lnTo>
                      <a:pt x="919" y="1528"/>
                    </a:lnTo>
                    <a:lnTo>
                      <a:pt x="931" y="1528"/>
                    </a:lnTo>
                    <a:lnTo>
                      <a:pt x="943" y="1527"/>
                    </a:lnTo>
                    <a:lnTo>
                      <a:pt x="948" y="1524"/>
                    </a:lnTo>
                    <a:lnTo>
                      <a:pt x="957" y="1521"/>
                    </a:lnTo>
                    <a:lnTo>
                      <a:pt x="963" y="1526"/>
                    </a:lnTo>
                    <a:lnTo>
                      <a:pt x="986" y="1533"/>
                    </a:lnTo>
                    <a:lnTo>
                      <a:pt x="992" y="1542"/>
                    </a:lnTo>
                    <a:lnTo>
                      <a:pt x="994" y="1548"/>
                    </a:lnTo>
                    <a:lnTo>
                      <a:pt x="996" y="1571"/>
                    </a:lnTo>
                    <a:lnTo>
                      <a:pt x="1000" y="1583"/>
                    </a:lnTo>
                    <a:lnTo>
                      <a:pt x="998" y="1608"/>
                    </a:lnTo>
                    <a:lnTo>
                      <a:pt x="1000" y="1613"/>
                    </a:lnTo>
                    <a:lnTo>
                      <a:pt x="1006" y="1620"/>
                    </a:lnTo>
                    <a:lnTo>
                      <a:pt x="1013" y="1625"/>
                    </a:lnTo>
                    <a:lnTo>
                      <a:pt x="1019" y="1628"/>
                    </a:lnTo>
                    <a:lnTo>
                      <a:pt x="1029" y="1628"/>
                    </a:lnTo>
                    <a:lnTo>
                      <a:pt x="1035" y="1625"/>
                    </a:lnTo>
                    <a:lnTo>
                      <a:pt x="1048" y="1625"/>
                    </a:lnTo>
                    <a:lnTo>
                      <a:pt x="1057" y="1623"/>
                    </a:lnTo>
                    <a:lnTo>
                      <a:pt x="1062" y="1628"/>
                    </a:lnTo>
                    <a:lnTo>
                      <a:pt x="1067" y="1636"/>
                    </a:lnTo>
                    <a:lnTo>
                      <a:pt x="1067" y="1661"/>
                    </a:lnTo>
                    <a:lnTo>
                      <a:pt x="1066" y="1664"/>
                    </a:lnTo>
                    <a:lnTo>
                      <a:pt x="1062" y="1680"/>
                    </a:lnTo>
                    <a:lnTo>
                      <a:pt x="1059" y="1706"/>
                    </a:lnTo>
                    <a:lnTo>
                      <a:pt x="1057" y="1726"/>
                    </a:lnTo>
                    <a:lnTo>
                      <a:pt x="1066" y="1726"/>
                    </a:lnTo>
                    <a:lnTo>
                      <a:pt x="1070" y="1725"/>
                    </a:lnTo>
                    <a:lnTo>
                      <a:pt x="1084" y="1725"/>
                    </a:lnTo>
                    <a:lnTo>
                      <a:pt x="1091" y="1732"/>
                    </a:lnTo>
                    <a:lnTo>
                      <a:pt x="1103" y="1771"/>
                    </a:lnTo>
                    <a:lnTo>
                      <a:pt x="1103" y="1803"/>
                    </a:lnTo>
                    <a:lnTo>
                      <a:pt x="1102" y="1814"/>
                    </a:lnTo>
                    <a:lnTo>
                      <a:pt x="1099" y="1818"/>
                    </a:lnTo>
                    <a:lnTo>
                      <a:pt x="1097" y="1822"/>
                    </a:lnTo>
                    <a:lnTo>
                      <a:pt x="1073" y="1838"/>
                    </a:lnTo>
                    <a:lnTo>
                      <a:pt x="1066" y="1840"/>
                    </a:lnTo>
                    <a:lnTo>
                      <a:pt x="1054" y="1841"/>
                    </a:lnTo>
                    <a:lnTo>
                      <a:pt x="1046" y="1845"/>
                    </a:lnTo>
                    <a:lnTo>
                      <a:pt x="1037" y="1857"/>
                    </a:lnTo>
                    <a:lnTo>
                      <a:pt x="1028" y="1867"/>
                    </a:lnTo>
                    <a:lnTo>
                      <a:pt x="984" y="1905"/>
                    </a:lnTo>
                    <a:lnTo>
                      <a:pt x="982" y="1909"/>
                    </a:lnTo>
                    <a:lnTo>
                      <a:pt x="978" y="1916"/>
                    </a:lnTo>
                    <a:lnTo>
                      <a:pt x="958" y="1941"/>
                    </a:lnTo>
                    <a:lnTo>
                      <a:pt x="955" y="1947"/>
                    </a:lnTo>
                    <a:lnTo>
                      <a:pt x="937" y="1968"/>
                    </a:lnTo>
                    <a:lnTo>
                      <a:pt x="922" y="1980"/>
                    </a:lnTo>
                    <a:lnTo>
                      <a:pt x="915" y="1989"/>
                    </a:lnTo>
                    <a:lnTo>
                      <a:pt x="906" y="1995"/>
                    </a:lnTo>
                    <a:lnTo>
                      <a:pt x="904" y="2000"/>
                    </a:lnTo>
                    <a:lnTo>
                      <a:pt x="895" y="2010"/>
                    </a:lnTo>
                    <a:lnTo>
                      <a:pt x="885" y="2015"/>
                    </a:lnTo>
                    <a:lnTo>
                      <a:pt x="904" y="2017"/>
                    </a:lnTo>
                    <a:lnTo>
                      <a:pt x="911" y="2013"/>
                    </a:lnTo>
                    <a:lnTo>
                      <a:pt x="915" y="2007"/>
                    </a:lnTo>
                    <a:lnTo>
                      <a:pt x="920" y="2005"/>
                    </a:lnTo>
                    <a:lnTo>
                      <a:pt x="925" y="2005"/>
                    </a:lnTo>
                    <a:lnTo>
                      <a:pt x="931" y="2007"/>
                    </a:lnTo>
                    <a:lnTo>
                      <a:pt x="943" y="2017"/>
                    </a:lnTo>
                    <a:lnTo>
                      <a:pt x="948" y="2022"/>
                    </a:lnTo>
                    <a:lnTo>
                      <a:pt x="959" y="2032"/>
                    </a:lnTo>
                    <a:lnTo>
                      <a:pt x="968" y="2040"/>
                    </a:lnTo>
                    <a:lnTo>
                      <a:pt x="973" y="2055"/>
                    </a:lnTo>
                    <a:lnTo>
                      <a:pt x="974" y="2064"/>
                    </a:lnTo>
                    <a:lnTo>
                      <a:pt x="982" y="2065"/>
                    </a:lnTo>
                    <a:lnTo>
                      <a:pt x="986" y="2064"/>
                    </a:lnTo>
                    <a:lnTo>
                      <a:pt x="1000" y="2053"/>
                    </a:lnTo>
                    <a:lnTo>
                      <a:pt x="1005" y="2056"/>
                    </a:lnTo>
                    <a:lnTo>
                      <a:pt x="1006" y="2060"/>
                    </a:lnTo>
                    <a:lnTo>
                      <a:pt x="1011" y="2070"/>
                    </a:lnTo>
                    <a:lnTo>
                      <a:pt x="1018" y="2078"/>
                    </a:lnTo>
                    <a:lnTo>
                      <a:pt x="1021" y="2081"/>
                    </a:lnTo>
                    <a:lnTo>
                      <a:pt x="1025" y="2082"/>
                    </a:lnTo>
                    <a:lnTo>
                      <a:pt x="1033" y="2082"/>
                    </a:lnTo>
                    <a:lnTo>
                      <a:pt x="1040" y="2091"/>
                    </a:lnTo>
                    <a:lnTo>
                      <a:pt x="1052" y="2092"/>
                    </a:lnTo>
                    <a:lnTo>
                      <a:pt x="1055" y="2096"/>
                    </a:lnTo>
                    <a:lnTo>
                      <a:pt x="1062" y="2107"/>
                    </a:lnTo>
                    <a:lnTo>
                      <a:pt x="1068" y="2112"/>
                    </a:lnTo>
                    <a:lnTo>
                      <a:pt x="1077" y="2117"/>
                    </a:lnTo>
                    <a:lnTo>
                      <a:pt x="1082" y="2118"/>
                    </a:lnTo>
                    <a:lnTo>
                      <a:pt x="1097" y="2125"/>
                    </a:lnTo>
                    <a:lnTo>
                      <a:pt x="1100" y="2131"/>
                    </a:lnTo>
                    <a:lnTo>
                      <a:pt x="1104" y="2150"/>
                    </a:lnTo>
                    <a:lnTo>
                      <a:pt x="1107" y="2153"/>
                    </a:lnTo>
                    <a:lnTo>
                      <a:pt x="1127" y="2168"/>
                    </a:lnTo>
                    <a:lnTo>
                      <a:pt x="1132" y="2177"/>
                    </a:lnTo>
                    <a:lnTo>
                      <a:pt x="1131" y="2179"/>
                    </a:lnTo>
                    <a:lnTo>
                      <a:pt x="1126" y="2180"/>
                    </a:lnTo>
                    <a:lnTo>
                      <a:pt x="1124" y="2188"/>
                    </a:lnTo>
                    <a:lnTo>
                      <a:pt x="1121" y="2189"/>
                    </a:lnTo>
                    <a:lnTo>
                      <a:pt x="1116" y="2196"/>
                    </a:lnTo>
                    <a:lnTo>
                      <a:pt x="1114" y="2204"/>
                    </a:lnTo>
                    <a:lnTo>
                      <a:pt x="1114" y="2220"/>
                    </a:lnTo>
                    <a:lnTo>
                      <a:pt x="1111" y="2234"/>
                    </a:lnTo>
                    <a:lnTo>
                      <a:pt x="1113" y="2236"/>
                    </a:lnTo>
                    <a:lnTo>
                      <a:pt x="1116" y="2241"/>
                    </a:lnTo>
                    <a:lnTo>
                      <a:pt x="1116" y="2237"/>
                    </a:lnTo>
                    <a:lnTo>
                      <a:pt x="1121" y="2232"/>
                    </a:lnTo>
                    <a:lnTo>
                      <a:pt x="1130" y="2227"/>
                    </a:lnTo>
                    <a:lnTo>
                      <a:pt x="1145" y="2215"/>
                    </a:lnTo>
                    <a:lnTo>
                      <a:pt x="1156" y="2196"/>
                    </a:lnTo>
                    <a:lnTo>
                      <a:pt x="1167" y="2184"/>
                    </a:lnTo>
                    <a:lnTo>
                      <a:pt x="1173" y="2156"/>
                    </a:lnTo>
                    <a:lnTo>
                      <a:pt x="1178" y="2148"/>
                    </a:lnTo>
                    <a:lnTo>
                      <a:pt x="1193" y="2132"/>
                    </a:lnTo>
                    <a:lnTo>
                      <a:pt x="1199" y="2129"/>
                    </a:lnTo>
                    <a:lnTo>
                      <a:pt x="1221" y="2112"/>
                    </a:lnTo>
                    <a:lnTo>
                      <a:pt x="1229" y="2108"/>
                    </a:lnTo>
                    <a:lnTo>
                      <a:pt x="1238" y="2102"/>
                    </a:lnTo>
                    <a:lnTo>
                      <a:pt x="1244" y="2096"/>
                    </a:lnTo>
                    <a:lnTo>
                      <a:pt x="1247" y="2088"/>
                    </a:lnTo>
                    <a:lnTo>
                      <a:pt x="1253" y="2078"/>
                    </a:lnTo>
                    <a:lnTo>
                      <a:pt x="1267" y="2059"/>
                    </a:lnTo>
                    <a:lnTo>
                      <a:pt x="1275" y="2045"/>
                    </a:lnTo>
                    <a:lnTo>
                      <a:pt x="1286" y="2032"/>
                    </a:lnTo>
                    <a:lnTo>
                      <a:pt x="1291" y="2010"/>
                    </a:lnTo>
                    <a:lnTo>
                      <a:pt x="1303" y="1981"/>
                    </a:lnTo>
                    <a:lnTo>
                      <a:pt x="1309" y="1973"/>
                    </a:lnTo>
                    <a:lnTo>
                      <a:pt x="1314" y="1963"/>
                    </a:lnTo>
                    <a:lnTo>
                      <a:pt x="1318" y="1956"/>
                    </a:lnTo>
                    <a:lnTo>
                      <a:pt x="1324" y="1951"/>
                    </a:lnTo>
                    <a:lnTo>
                      <a:pt x="1339" y="1930"/>
                    </a:lnTo>
                    <a:lnTo>
                      <a:pt x="1346" y="1922"/>
                    </a:lnTo>
                    <a:lnTo>
                      <a:pt x="1352" y="1919"/>
                    </a:lnTo>
                    <a:lnTo>
                      <a:pt x="1363" y="1915"/>
                    </a:lnTo>
                    <a:lnTo>
                      <a:pt x="1368" y="1902"/>
                    </a:lnTo>
                    <a:lnTo>
                      <a:pt x="1377" y="1895"/>
                    </a:lnTo>
                    <a:lnTo>
                      <a:pt x="1380" y="1873"/>
                    </a:lnTo>
                    <a:lnTo>
                      <a:pt x="1382" y="1834"/>
                    </a:lnTo>
                    <a:lnTo>
                      <a:pt x="1384" y="1829"/>
                    </a:lnTo>
                    <a:lnTo>
                      <a:pt x="1390" y="1829"/>
                    </a:lnTo>
                    <a:lnTo>
                      <a:pt x="1392" y="1825"/>
                    </a:lnTo>
                    <a:lnTo>
                      <a:pt x="1389" y="1820"/>
                    </a:lnTo>
                    <a:lnTo>
                      <a:pt x="1382" y="1813"/>
                    </a:lnTo>
                    <a:lnTo>
                      <a:pt x="1380" y="1809"/>
                    </a:lnTo>
                    <a:lnTo>
                      <a:pt x="1380" y="1795"/>
                    </a:lnTo>
                    <a:lnTo>
                      <a:pt x="1378" y="1792"/>
                    </a:lnTo>
                    <a:lnTo>
                      <a:pt x="1378" y="1777"/>
                    </a:lnTo>
                    <a:lnTo>
                      <a:pt x="1376" y="1769"/>
                    </a:lnTo>
                    <a:lnTo>
                      <a:pt x="1376" y="1762"/>
                    </a:lnTo>
                    <a:lnTo>
                      <a:pt x="1378" y="1758"/>
                    </a:lnTo>
                    <a:lnTo>
                      <a:pt x="1380" y="1752"/>
                    </a:lnTo>
                    <a:lnTo>
                      <a:pt x="1380" y="1742"/>
                    </a:lnTo>
                    <a:lnTo>
                      <a:pt x="1390" y="1726"/>
                    </a:lnTo>
                    <a:lnTo>
                      <a:pt x="1395" y="1719"/>
                    </a:lnTo>
                    <a:lnTo>
                      <a:pt x="1409" y="1706"/>
                    </a:lnTo>
                    <a:lnTo>
                      <a:pt x="1428" y="1684"/>
                    </a:lnTo>
                    <a:lnTo>
                      <a:pt x="1431" y="1684"/>
                    </a:lnTo>
                    <a:lnTo>
                      <a:pt x="1436" y="1680"/>
                    </a:lnTo>
                    <a:lnTo>
                      <a:pt x="1446" y="1672"/>
                    </a:lnTo>
                    <a:lnTo>
                      <a:pt x="1459" y="1662"/>
                    </a:lnTo>
                    <a:lnTo>
                      <a:pt x="1464" y="1656"/>
                    </a:lnTo>
                    <a:lnTo>
                      <a:pt x="1474" y="1650"/>
                    </a:lnTo>
                    <a:lnTo>
                      <a:pt x="1487" y="1636"/>
                    </a:lnTo>
                    <a:lnTo>
                      <a:pt x="1501" y="1628"/>
                    </a:lnTo>
                    <a:lnTo>
                      <a:pt x="1511" y="1628"/>
                    </a:lnTo>
                    <a:lnTo>
                      <a:pt x="1516" y="1625"/>
                    </a:lnTo>
                    <a:lnTo>
                      <a:pt x="1522" y="1618"/>
                    </a:lnTo>
                    <a:lnTo>
                      <a:pt x="1533" y="1614"/>
                    </a:lnTo>
                    <a:lnTo>
                      <a:pt x="1550" y="1614"/>
                    </a:lnTo>
                    <a:lnTo>
                      <a:pt x="1561" y="1606"/>
                    </a:lnTo>
                    <a:lnTo>
                      <a:pt x="1565" y="1604"/>
                    </a:lnTo>
                    <a:lnTo>
                      <a:pt x="1573" y="1593"/>
                    </a:lnTo>
                    <a:lnTo>
                      <a:pt x="1578" y="1591"/>
                    </a:lnTo>
                    <a:lnTo>
                      <a:pt x="1591" y="1588"/>
                    </a:lnTo>
                    <a:lnTo>
                      <a:pt x="1598" y="1588"/>
                    </a:lnTo>
                    <a:lnTo>
                      <a:pt x="1600" y="1585"/>
                    </a:lnTo>
                    <a:lnTo>
                      <a:pt x="1600" y="1581"/>
                    </a:lnTo>
                    <a:lnTo>
                      <a:pt x="1597" y="1579"/>
                    </a:lnTo>
                    <a:lnTo>
                      <a:pt x="1597" y="1576"/>
                    </a:lnTo>
                    <a:lnTo>
                      <a:pt x="1605" y="1569"/>
                    </a:lnTo>
                    <a:lnTo>
                      <a:pt x="1608" y="1569"/>
                    </a:lnTo>
                    <a:lnTo>
                      <a:pt x="1608" y="1567"/>
                    </a:lnTo>
                    <a:lnTo>
                      <a:pt x="1609" y="1571"/>
                    </a:lnTo>
                    <a:lnTo>
                      <a:pt x="1615" y="1572"/>
                    </a:lnTo>
                    <a:lnTo>
                      <a:pt x="1638" y="1566"/>
                    </a:lnTo>
                    <a:lnTo>
                      <a:pt x="1643" y="1566"/>
                    </a:lnTo>
                    <a:lnTo>
                      <a:pt x="1647" y="1569"/>
                    </a:lnTo>
                    <a:lnTo>
                      <a:pt x="1657" y="1570"/>
                    </a:lnTo>
                    <a:lnTo>
                      <a:pt x="1673" y="1564"/>
                    </a:lnTo>
                    <a:lnTo>
                      <a:pt x="1680" y="1564"/>
                    </a:lnTo>
                    <a:lnTo>
                      <a:pt x="1686" y="1566"/>
                    </a:lnTo>
                    <a:lnTo>
                      <a:pt x="1697" y="1567"/>
                    </a:lnTo>
                    <a:lnTo>
                      <a:pt x="1708" y="1567"/>
                    </a:lnTo>
                    <a:lnTo>
                      <a:pt x="1732" y="1564"/>
                    </a:lnTo>
                    <a:lnTo>
                      <a:pt x="1736" y="1563"/>
                    </a:lnTo>
                    <a:lnTo>
                      <a:pt x="1740" y="1554"/>
                    </a:lnTo>
                    <a:lnTo>
                      <a:pt x="1743" y="1542"/>
                    </a:lnTo>
                    <a:lnTo>
                      <a:pt x="1751" y="1533"/>
                    </a:lnTo>
                    <a:lnTo>
                      <a:pt x="1759" y="1529"/>
                    </a:lnTo>
                    <a:lnTo>
                      <a:pt x="1778" y="1521"/>
                    </a:lnTo>
                    <a:lnTo>
                      <a:pt x="1787" y="1512"/>
                    </a:lnTo>
                    <a:lnTo>
                      <a:pt x="1791" y="1505"/>
                    </a:lnTo>
                    <a:lnTo>
                      <a:pt x="1792" y="1497"/>
                    </a:lnTo>
                    <a:lnTo>
                      <a:pt x="1793" y="1483"/>
                    </a:lnTo>
                    <a:lnTo>
                      <a:pt x="1796" y="1469"/>
                    </a:lnTo>
                    <a:lnTo>
                      <a:pt x="1808" y="1452"/>
                    </a:lnTo>
                    <a:lnTo>
                      <a:pt x="1825" y="1431"/>
                    </a:lnTo>
                    <a:lnTo>
                      <a:pt x="1834" y="1416"/>
                    </a:lnTo>
                    <a:lnTo>
                      <a:pt x="1845" y="1388"/>
                    </a:lnTo>
                    <a:lnTo>
                      <a:pt x="1858" y="1373"/>
                    </a:lnTo>
                    <a:lnTo>
                      <a:pt x="1864" y="1365"/>
                    </a:lnTo>
                    <a:lnTo>
                      <a:pt x="1867" y="1335"/>
                    </a:lnTo>
                    <a:lnTo>
                      <a:pt x="1867" y="1318"/>
                    </a:lnTo>
                    <a:lnTo>
                      <a:pt x="1868" y="1305"/>
                    </a:lnTo>
                    <a:lnTo>
                      <a:pt x="1872" y="1291"/>
                    </a:lnTo>
                    <a:lnTo>
                      <a:pt x="1878" y="1282"/>
                    </a:lnTo>
                    <a:lnTo>
                      <a:pt x="1890" y="1268"/>
                    </a:lnTo>
                    <a:lnTo>
                      <a:pt x="1894" y="1260"/>
                    </a:lnTo>
                    <a:lnTo>
                      <a:pt x="1894" y="1244"/>
                    </a:lnTo>
                    <a:lnTo>
                      <a:pt x="1898" y="1206"/>
                    </a:lnTo>
                    <a:lnTo>
                      <a:pt x="1900" y="1199"/>
                    </a:lnTo>
                    <a:lnTo>
                      <a:pt x="1904" y="1173"/>
                    </a:lnTo>
                    <a:lnTo>
                      <a:pt x="1907" y="1156"/>
                    </a:lnTo>
                    <a:lnTo>
                      <a:pt x="1906" y="1144"/>
                    </a:lnTo>
                    <a:lnTo>
                      <a:pt x="1904" y="1134"/>
                    </a:lnTo>
                    <a:lnTo>
                      <a:pt x="1904" y="1111"/>
                    </a:lnTo>
                    <a:lnTo>
                      <a:pt x="1901" y="1102"/>
                    </a:lnTo>
                    <a:lnTo>
                      <a:pt x="1901" y="1080"/>
                    </a:lnTo>
                    <a:lnTo>
                      <a:pt x="1904" y="1052"/>
                    </a:lnTo>
                    <a:lnTo>
                      <a:pt x="1907" y="1034"/>
                    </a:lnTo>
                    <a:lnTo>
                      <a:pt x="1907" y="1022"/>
                    </a:lnTo>
                    <a:lnTo>
                      <a:pt x="1910" y="1009"/>
                    </a:lnTo>
                    <a:lnTo>
                      <a:pt x="1911" y="1006"/>
                    </a:lnTo>
                    <a:lnTo>
                      <a:pt x="1922" y="995"/>
                    </a:lnTo>
                    <a:lnTo>
                      <a:pt x="1926" y="995"/>
                    </a:lnTo>
                    <a:lnTo>
                      <a:pt x="1935" y="998"/>
                    </a:lnTo>
                    <a:lnTo>
                      <a:pt x="1937" y="998"/>
                    </a:lnTo>
                    <a:lnTo>
                      <a:pt x="1952" y="984"/>
                    </a:lnTo>
                    <a:lnTo>
                      <a:pt x="1963" y="969"/>
                    </a:lnTo>
                    <a:lnTo>
                      <a:pt x="1975" y="947"/>
                    </a:lnTo>
                    <a:lnTo>
                      <a:pt x="1981" y="929"/>
                    </a:lnTo>
                    <a:lnTo>
                      <a:pt x="1989" y="914"/>
                    </a:lnTo>
                    <a:lnTo>
                      <a:pt x="1997" y="902"/>
                    </a:lnTo>
                    <a:lnTo>
                      <a:pt x="2013" y="889"/>
                    </a:lnTo>
                    <a:lnTo>
                      <a:pt x="2018" y="881"/>
                    </a:lnTo>
                    <a:lnTo>
                      <a:pt x="2028" y="871"/>
                    </a:lnTo>
                    <a:lnTo>
                      <a:pt x="2049" y="860"/>
                    </a:lnTo>
                    <a:lnTo>
                      <a:pt x="2055" y="853"/>
                    </a:lnTo>
                    <a:lnTo>
                      <a:pt x="2063" y="840"/>
                    </a:lnTo>
                    <a:lnTo>
                      <a:pt x="2076" y="824"/>
                    </a:lnTo>
                    <a:lnTo>
                      <a:pt x="2094" y="805"/>
                    </a:lnTo>
                    <a:lnTo>
                      <a:pt x="2111" y="779"/>
                    </a:lnTo>
                    <a:lnTo>
                      <a:pt x="2115" y="776"/>
                    </a:lnTo>
                    <a:lnTo>
                      <a:pt x="2120" y="767"/>
                    </a:lnTo>
                    <a:lnTo>
                      <a:pt x="2120" y="767"/>
                    </a:lnTo>
                    <a:lnTo>
                      <a:pt x="2130" y="724"/>
                    </a:lnTo>
                    <a:lnTo>
                      <a:pt x="2132" y="709"/>
                    </a:lnTo>
                    <a:lnTo>
                      <a:pt x="2135" y="673"/>
                    </a:lnTo>
                    <a:lnTo>
                      <a:pt x="2135" y="650"/>
                    </a:lnTo>
                    <a:lnTo>
                      <a:pt x="2126" y="629"/>
                    </a:lnTo>
                    <a:lnTo>
                      <a:pt x="2120" y="597"/>
                    </a:lnTo>
                    <a:lnTo>
                      <a:pt x="2111" y="582"/>
                    </a:lnTo>
                    <a:lnTo>
                      <a:pt x="2102" y="570"/>
                    </a:lnTo>
                    <a:lnTo>
                      <a:pt x="2093" y="565"/>
                    </a:lnTo>
                    <a:lnTo>
                      <a:pt x="2046" y="565"/>
                    </a:lnTo>
                    <a:lnTo>
                      <a:pt x="2040" y="565"/>
                    </a:lnTo>
                    <a:lnTo>
                      <a:pt x="2034" y="564"/>
                    </a:lnTo>
                    <a:lnTo>
                      <a:pt x="2030" y="560"/>
                    </a:lnTo>
                    <a:lnTo>
                      <a:pt x="2022" y="558"/>
                    </a:lnTo>
                    <a:lnTo>
                      <a:pt x="2014" y="558"/>
                    </a:lnTo>
                    <a:lnTo>
                      <a:pt x="2009" y="550"/>
                    </a:lnTo>
                    <a:lnTo>
                      <a:pt x="2000" y="542"/>
                    </a:lnTo>
                    <a:lnTo>
                      <a:pt x="1993" y="538"/>
                    </a:lnTo>
                    <a:lnTo>
                      <a:pt x="1985" y="534"/>
                    </a:lnTo>
                    <a:lnTo>
                      <a:pt x="1971" y="526"/>
                    </a:lnTo>
                    <a:lnTo>
                      <a:pt x="1942" y="496"/>
                    </a:lnTo>
                    <a:lnTo>
                      <a:pt x="1930" y="485"/>
                    </a:lnTo>
                    <a:lnTo>
                      <a:pt x="1915" y="474"/>
                    </a:lnTo>
                    <a:lnTo>
                      <a:pt x="1896" y="463"/>
                    </a:lnTo>
                    <a:lnTo>
                      <a:pt x="1883" y="455"/>
                    </a:lnTo>
                    <a:lnTo>
                      <a:pt x="1872" y="448"/>
                    </a:lnTo>
                    <a:lnTo>
                      <a:pt x="1860" y="445"/>
                    </a:lnTo>
                    <a:lnTo>
                      <a:pt x="1808" y="444"/>
                    </a:lnTo>
                    <a:lnTo>
                      <a:pt x="1799" y="445"/>
                    </a:lnTo>
                    <a:lnTo>
                      <a:pt x="1790" y="445"/>
                    </a:lnTo>
                    <a:lnTo>
                      <a:pt x="1760" y="444"/>
                    </a:lnTo>
                    <a:lnTo>
                      <a:pt x="1751" y="442"/>
                    </a:lnTo>
                    <a:lnTo>
                      <a:pt x="1731" y="437"/>
                    </a:lnTo>
                    <a:lnTo>
                      <a:pt x="1678" y="420"/>
                    </a:lnTo>
                    <a:lnTo>
                      <a:pt x="1668" y="420"/>
                    </a:lnTo>
                    <a:lnTo>
                      <a:pt x="1665" y="420"/>
                    </a:lnTo>
                    <a:lnTo>
                      <a:pt x="1659" y="413"/>
                    </a:lnTo>
                    <a:lnTo>
                      <a:pt x="1652" y="417"/>
                    </a:lnTo>
                    <a:lnTo>
                      <a:pt x="1645" y="423"/>
                    </a:lnTo>
                    <a:lnTo>
                      <a:pt x="1636" y="426"/>
                    </a:lnTo>
                    <a:lnTo>
                      <a:pt x="1620" y="433"/>
                    </a:lnTo>
                    <a:lnTo>
                      <a:pt x="1611" y="434"/>
                    </a:lnTo>
                    <a:lnTo>
                      <a:pt x="1610" y="428"/>
                    </a:lnTo>
                    <a:lnTo>
                      <a:pt x="1613" y="421"/>
                    </a:lnTo>
                    <a:lnTo>
                      <a:pt x="1619" y="415"/>
                    </a:lnTo>
                    <a:lnTo>
                      <a:pt x="1619" y="410"/>
                    </a:lnTo>
                    <a:lnTo>
                      <a:pt x="1616" y="405"/>
                    </a:lnTo>
                    <a:lnTo>
                      <a:pt x="1611" y="403"/>
                    </a:lnTo>
                    <a:lnTo>
                      <a:pt x="1609" y="403"/>
                    </a:lnTo>
                    <a:lnTo>
                      <a:pt x="1605" y="404"/>
                    </a:lnTo>
                    <a:lnTo>
                      <a:pt x="1602" y="404"/>
                    </a:lnTo>
                    <a:lnTo>
                      <a:pt x="1600" y="403"/>
                    </a:lnTo>
                    <a:lnTo>
                      <a:pt x="1600" y="399"/>
                    </a:lnTo>
                    <a:lnTo>
                      <a:pt x="1604" y="397"/>
                    </a:lnTo>
                    <a:lnTo>
                      <a:pt x="1605" y="387"/>
                    </a:lnTo>
                    <a:lnTo>
                      <a:pt x="1598" y="375"/>
                    </a:lnTo>
                    <a:lnTo>
                      <a:pt x="1587" y="366"/>
                    </a:lnTo>
                    <a:lnTo>
                      <a:pt x="1582" y="367"/>
                    </a:lnTo>
                    <a:lnTo>
                      <a:pt x="1576" y="370"/>
                    </a:lnTo>
                    <a:lnTo>
                      <a:pt x="1570" y="375"/>
                    </a:lnTo>
                    <a:lnTo>
                      <a:pt x="1564" y="378"/>
                    </a:lnTo>
                    <a:lnTo>
                      <a:pt x="1564" y="369"/>
                    </a:lnTo>
                    <a:lnTo>
                      <a:pt x="1561" y="364"/>
                    </a:lnTo>
                    <a:lnTo>
                      <a:pt x="1555" y="355"/>
                    </a:lnTo>
                    <a:lnTo>
                      <a:pt x="1543" y="353"/>
                    </a:lnTo>
                    <a:lnTo>
                      <a:pt x="1533" y="347"/>
                    </a:lnTo>
                    <a:lnTo>
                      <a:pt x="1522" y="345"/>
                    </a:lnTo>
                    <a:lnTo>
                      <a:pt x="1517" y="340"/>
                    </a:lnTo>
                    <a:lnTo>
                      <a:pt x="1502" y="340"/>
                    </a:lnTo>
                    <a:lnTo>
                      <a:pt x="1497" y="339"/>
                    </a:lnTo>
                    <a:lnTo>
                      <a:pt x="1465" y="322"/>
                    </a:lnTo>
                    <a:lnTo>
                      <a:pt x="1454" y="318"/>
                    </a:lnTo>
                    <a:lnTo>
                      <a:pt x="1425" y="320"/>
                    </a:lnTo>
                    <a:lnTo>
                      <a:pt x="1416" y="324"/>
                    </a:lnTo>
                    <a:lnTo>
                      <a:pt x="1409" y="339"/>
                    </a:lnTo>
                    <a:lnTo>
                      <a:pt x="1403" y="342"/>
                    </a:lnTo>
                    <a:lnTo>
                      <a:pt x="1399" y="350"/>
                    </a:lnTo>
                    <a:lnTo>
                      <a:pt x="1396" y="359"/>
                    </a:lnTo>
                    <a:lnTo>
                      <a:pt x="1392" y="366"/>
                    </a:lnTo>
                    <a:lnTo>
                      <a:pt x="1383" y="366"/>
                    </a:lnTo>
                    <a:lnTo>
                      <a:pt x="1374" y="370"/>
                    </a:lnTo>
                    <a:lnTo>
                      <a:pt x="1371" y="371"/>
                    </a:lnTo>
                    <a:lnTo>
                      <a:pt x="1365" y="376"/>
                    </a:lnTo>
                    <a:lnTo>
                      <a:pt x="1358" y="396"/>
                    </a:lnTo>
                    <a:lnTo>
                      <a:pt x="1355" y="403"/>
                    </a:lnTo>
                    <a:lnTo>
                      <a:pt x="1352" y="404"/>
                    </a:lnTo>
                    <a:lnTo>
                      <a:pt x="1351" y="408"/>
                    </a:lnTo>
                    <a:lnTo>
                      <a:pt x="1349" y="418"/>
                    </a:lnTo>
                    <a:lnTo>
                      <a:pt x="1344" y="419"/>
                    </a:lnTo>
                    <a:lnTo>
                      <a:pt x="1344" y="419"/>
                    </a:lnTo>
                    <a:lnTo>
                      <a:pt x="1341" y="412"/>
                    </a:lnTo>
                    <a:lnTo>
                      <a:pt x="1341" y="401"/>
                    </a:lnTo>
                    <a:lnTo>
                      <a:pt x="1345" y="386"/>
                    </a:lnTo>
                    <a:lnTo>
                      <a:pt x="1342" y="386"/>
                    </a:lnTo>
                    <a:lnTo>
                      <a:pt x="1334" y="386"/>
                    </a:lnTo>
                    <a:lnTo>
                      <a:pt x="1326" y="388"/>
                    </a:lnTo>
                    <a:lnTo>
                      <a:pt x="1319" y="387"/>
                    </a:lnTo>
                    <a:lnTo>
                      <a:pt x="1296" y="388"/>
                    </a:lnTo>
                    <a:lnTo>
                      <a:pt x="1287" y="387"/>
                    </a:lnTo>
                    <a:lnTo>
                      <a:pt x="1286" y="388"/>
                    </a:lnTo>
                    <a:lnTo>
                      <a:pt x="1280" y="388"/>
                    </a:lnTo>
                    <a:lnTo>
                      <a:pt x="1277" y="387"/>
                    </a:lnTo>
                    <a:lnTo>
                      <a:pt x="1271" y="387"/>
                    </a:lnTo>
                    <a:lnTo>
                      <a:pt x="1256" y="392"/>
                    </a:lnTo>
                    <a:lnTo>
                      <a:pt x="1250" y="392"/>
                    </a:lnTo>
                    <a:lnTo>
                      <a:pt x="1238" y="387"/>
                    </a:lnTo>
                    <a:lnTo>
                      <a:pt x="1234" y="387"/>
                    </a:lnTo>
                    <a:lnTo>
                      <a:pt x="1232" y="388"/>
                    </a:lnTo>
                    <a:lnTo>
                      <a:pt x="1229" y="397"/>
                    </a:lnTo>
                    <a:lnTo>
                      <a:pt x="1228" y="399"/>
                    </a:lnTo>
                    <a:lnTo>
                      <a:pt x="1226" y="397"/>
                    </a:lnTo>
                    <a:lnTo>
                      <a:pt x="1224" y="390"/>
                    </a:lnTo>
                    <a:lnTo>
                      <a:pt x="1226" y="387"/>
                    </a:lnTo>
                    <a:lnTo>
                      <a:pt x="1232" y="381"/>
                    </a:lnTo>
                    <a:lnTo>
                      <a:pt x="1238" y="381"/>
                    </a:lnTo>
                    <a:lnTo>
                      <a:pt x="1247" y="385"/>
                    </a:lnTo>
                    <a:lnTo>
                      <a:pt x="1259" y="386"/>
                    </a:lnTo>
                    <a:lnTo>
                      <a:pt x="1269" y="382"/>
                    </a:lnTo>
                    <a:lnTo>
                      <a:pt x="1271" y="380"/>
                    </a:lnTo>
                    <a:lnTo>
                      <a:pt x="1272" y="377"/>
                    </a:lnTo>
                    <a:lnTo>
                      <a:pt x="1272" y="355"/>
                    </a:lnTo>
                    <a:lnTo>
                      <a:pt x="1271" y="353"/>
                    </a:lnTo>
                    <a:lnTo>
                      <a:pt x="1265" y="353"/>
                    </a:lnTo>
                    <a:lnTo>
                      <a:pt x="1264" y="349"/>
                    </a:lnTo>
                    <a:lnTo>
                      <a:pt x="1258" y="345"/>
                    </a:lnTo>
                    <a:lnTo>
                      <a:pt x="1256" y="344"/>
                    </a:lnTo>
                    <a:lnTo>
                      <a:pt x="1256" y="340"/>
                    </a:lnTo>
                    <a:lnTo>
                      <a:pt x="1261" y="339"/>
                    </a:lnTo>
                    <a:lnTo>
                      <a:pt x="1266" y="334"/>
                    </a:lnTo>
                    <a:lnTo>
                      <a:pt x="1267" y="329"/>
                    </a:lnTo>
                    <a:lnTo>
                      <a:pt x="1261" y="329"/>
                    </a:lnTo>
                    <a:lnTo>
                      <a:pt x="1258" y="332"/>
                    </a:lnTo>
                    <a:lnTo>
                      <a:pt x="1254" y="332"/>
                    </a:lnTo>
                    <a:lnTo>
                      <a:pt x="1249" y="340"/>
                    </a:lnTo>
                    <a:lnTo>
                      <a:pt x="1247" y="348"/>
                    </a:lnTo>
                    <a:lnTo>
                      <a:pt x="1236" y="348"/>
                    </a:lnTo>
                    <a:lnTo>
                      <a:pt x="1234" y="345"/>
                    </a:lnTo>
                    <a:lnTo>
                      <a:pt x="1234" y="343"/>
                    </a:lnTo>
                    <a:lnTo>
                      <a:pt x="1234" y="327"/>
                    </a:lnTo>
                    <a:lnTo>
                      <a:pt x="1231" y="317"/>
                    </a:lnTo>
                    <a:lnTo>
                      <a:pt x="1231" y="308"/>
                    </a:lnTo>
                    <a:lnTo>
                      <a:pt x="1232" y="306"/>
                    </a:lnTo>
                    <a:lnTo>
                      <a:pt x="1238" y="299"/>
                    </a:lnTo>
                    <a:lnTo>
                      <a:pt x="1243" y="292"/>
                    </a:lnTo>
                    <a:lnTo>
                      <a:pt x="1253" y="281"/>
                    </a:lnTo>
                    <a:lnTo>
                      <a:pt x="1266" y="267"/>
                    </a:lnTo>
                    <a:lnTo>
                      <a:pt x="1283" y="254"/>
                    </a:lnTo>
                    <a:lnTo>
                      <a:pt x="1291" y="242"/>
                    </a:lnTo>
                    <a:lnTo>
                      <a:pt x="1297" y="238"/>
                    </a:lnTo>
                    <a:lnTo>
                      <a:pt x="1303" y="232"/>
                    </a:lnTo>
                    <a:lnTo>
                      <a:pt x="1306" y="222"/>
                    </a:lnTo>
                    <a:lnTo>
                      <a:pt x="1306" y="218"/>
                    </a:lnTo>
                    <a:lnTo>
                      <a:pt x="1312" y="199"/>
                    </a:lnTo>
                    <a:lnTo>
                      <a:pt x="1312" y="195"/>
                    </a:lnTo>
                    <a:lnTo>
                      <a:pt x="1308" y="192"/>
                    </a:lnTo>
                    <a:lnTo>
                      <a:pt x="1301" y="192"/>
                    </a:lnTo>
                    <a:lnTo>
                      <a:pt x="1285" y="187"/>
                    </a:lnTo>
                    <a:lnTo>
                      <a:pt x="1279" y="175"/>
                    </a:lnTo>
                    <a:lnTo>
                      <a:pt x="1272" y="152"/>
                    </a:lnTo>
                    <a:lnTo>
                      <a:pt x="1271" y="150"/>
                    </a:lnTo>
                    <a:lnTo>
                      <a:pt x="1269" y="138"/>
                    </a:lnTo>
                    <a:lnTo>
                      <a:pt x="1264" y="129"/>
                    </a:lnTo>
                    <a:lnTo>
                      <a:pt x="1260" y="116"/>
                    </a:lnTo>
                    <a:lnTo>
                      <a:pt x="1256" y="105"/>
                    </a:lnTo>
                    <a:lnTo>
                      <a:pt x="1253" y="91"/>
                    </a:lnTo>
                    <a:lnTo>
                      <a:pt x="1253" y="80"/>
                    </a:lnTo>
                    <a:lnTo>
                      <a:pt x="1247" y="69"/>
                    </a:lnTo>
                    <a:lnTo>
                      <a:pt x="1237" y="57"/>
                    </a:lnTo>
                    <a:lnTo>
                      <a:pt x="1232" y="53"/>
                    </a:lnTo>
                    <a:lnTo>
                      <a:pt x="1229" y="54"/>
                    </a:lnTo>
                    <a:lnTo>
                      <a:pt x="1227" y="62"/>
                    </a:lnTo>
                    <a:lnTo>
                      <a:pt x="1222" y="63"/>
                    </a:lnTo>
                    <a:lnTo>
                      <a:pt x="1209" y="76"/>
                    </a:lnTo>
                    <a:lnTo>
                      <a:pt x="1206" y="84"/>
                    </a:lnTo>
                    <a:lnTo>
                      <a:pt x="1193" y="102"/>
                    </a:lnTo>
                    <a:lnTo>
                      <a:pt x="1183" y="114"/>
                    </a:lnTo>
                    <a:lnTo>
                      <a:pt x="1179" y="121"/>
                    </a:lnTo>
                    <a:lnTo>
                      <a:pt x="1170" y="143"/>
                    </a:lnTo>
                    <a:lnTo>
                      <a:pt x="1143" y="167"/>
                    </a:lnTo>
                    <a:lnTo>
                      <a:pt x="1141" y="170"/>
                    </a:lnTo>
                    <a:lnTo>
                      <a:pt x="1136" y="172"/>
                    </a:lnTo>
                    <a:lnTo>
                      <a:pt x="1126" y="172"/>
                    </a:lnTo>
                    <a:lnTo>
                      <a:pt x="1119" y="168"/>
                    </a:lnTo>
                    <a:lnTo>
                      <a:pt x="1113" y="168"/>
                    </a:lnTo>
                    <a:lnTo>
                      <a:pt x="1109" y="170"/>
                    </a:lnTo>
                    <a:lnTo>
                      <a:pt x="1093" y="177"/>
                    </a:lnTo>
                    <a:lnTo>
                      <a:pt x="1087" y="177"/>
                    </a:lnTo>
                    <a:lnTo>
                      <a:pt x="1084" y="176"/>
                    </a:lnTo>
                    <a:lnTo>
                      <a:pt x="1075" y="170"/>
                    </a:lnTo>
                    <a:lnTo>
                      <a:pt x="1065" y="159"/>
                    </a:lnTo>
                    <a:lnTo>
                      <a:pt x="1059" y="157"/>
                    </a:lnTo>
                    <a:lnTo>
                      <a:pt x="1055" y="155"/>
                    </a:lnTo>
                    <a:lnTo>
                      <a:pt x="1034" y="149"/>
                    </a:lnTo>
                    <a:lnTo>
                      <a:pt x="1012" y="155"/>
                    </a:lnTo>
                    <a:lnTo>
                      <a:pt x="1008" y="155"/>
                    </a:lnTo>
                    <a:lnTo>
                      <a:pt x="998" y="152"/>
                    </a:lnTo>
                    <a:lnTo>
                      <a:pt x="991" y="152"/>
                    </a:lnTo>
                    <a:lnTo>
                      <a:pt x="985" y="155"/>
                    </a:lnTo>
                    <a:lnTo>
                      <a:pt x="986" y="179"/>
                    </a:lnTo>
                    <a:lnTo>
                      <a:pt x="982" y="183"/>
                    </a:lnTo>
                    <a:lnTo>
                      <a:pt x="965" y="183"/>
                    </a:lnTo>
                    <a:lnTo>
                      <a:pt x="953" y="178"/>
                    </a:lnTo>
                    <a:lnTo>
                      <a:pt x="942" y="179"/>
                    </a:lnTo>
                    <a:lnTo>
                      <a:pt x="928" y="181"/>
                    </a:lnTo>
                    <a:lnTo>
                      <a:pt x="922" y="178"/>
                    </a:lnTo>
                    <a:lnTo>
                      <a:pt x="921" y="177"/>
                    </a:lnTo>
                    <a:lnTo>
                      <a:pt x="917" y="176"/>
                    </a:lnTo>
                    <a:lnTo>
                      <a:pt x="912" y="176"/>
                    </a:lnTo>
                    <a:lnTo>
                      <a:pt x="901" y="182"/>
                    </a:lnTo>
                    <a:lnTo>
                      <a:pt x="893" y="192"/>
                    </a:lnTo>
                    <a:lnTo>
                      <a:pt x="879" y="192"/>
                    </a:lnTo>
                    <a:lnTo>
                      <a:pt x="871" y="195"/>
                    </a:lnTo>
                    <a:lnTo>
                      <a:pt x="866" y="200"/>
                    </a:lnTo>
                    <a:lnTo>
                      <a:pt x="855" y="200"/>
                    </a:lnTo>
                    <a:lnTo>
                      <a:pt x="846" y="203"/>
                    </a:lnTo>
                    <a:lnTo>
                      <a:pt x="840" y="213"/>
                    </a:lnTo>
                    <a:lnTo>
                      <a:pt x="835" y="215"/>
                    </a:lnTo>
                    <a:lnTo>
                      <a:pt x="822" y="215"/>
                    </a:lnTo>
                    <a:lnTo>
                      <a:pt x="812" y="213"/>
                    </a:lnTo>
                    <a:lnTo>
                      <a:pt x="796" y="203"/>
                    </a:lnTo>
                    <a:lnTo>
                      <a:pt x="790" y="198"/>
                    </a:lnTo>
                    <a:lnTo>
                      <a:pt x="786" y="192"/>
                    </a:lnTo>
                    <a:lnTo>
                      <a:pt x="783" y="191"/>
                    </a:lnTo>
                    <a:lnTo>
                      <a:pt x="779" y="186"/>
                    </a:lnTo>
                    <a:lnTo>
                      <a:pt x="777" y="183"/>
                    </a:lnTo>
                    <a:lnTo>
                      <a:pt x="779" y="170"/>
                    </a:lnTo>
                    <a:lnTo>
                      <a:pt x="777" y="161"/>
                    </a:lnTo>
                    <a:lnTo>
                      <a:pt x="766" y="151"/>
                    </a:lnTo>
                    <a:lnTo>
                      <a:pt x="765" y="148"/>
                    </a:lnTo>
                    <a:lnTo>
                      <a:pt x="765" y="117"/>
                    </a:lnTo>
                    <a:lnTo>
                      <a:pt x="771" y="103"/>
                    </a:lnTo>
                    <a:lnTo>
                      <a:pt x="774" y="96"/>
                    </a:lnTo>
                    <a:lnTo>
                      <a:pt x="774" y="86"/>
                    </a:lnTo>
                    <a:lnTo>
                      <a:pt x="783" y="73"/>
                    </a:lnTo>
                    <a:lnTo>
                      <a:pt x="785" y="70"/>
                    </a:lnTo>
                    <a:lnTo>
                      <a:pt x="783" y="63"/>
                    </a:lnTo>
                    <a:lnTo>
                      <a:pt x="779" y="57"/>
                    </a:lnTo>
                    <a:lnTo>
                      <a:pt x="779" y="42"/>
                    </a:lnTo>
                    <a:lnTo>
                      <a:pt x="767" y="38"/>
                    </a:lnTo>
                    <a:lnTo>
                      <a:pt x="765" y="37"/>
                    </a:lnTo>
                    <a:lnTo>
                      <a:pt x="756" y="36"/>
                    </a:lnTo>
                    <a:lnTo>
                      <a:pt x="760" y="22"/>
                    </a:lnTo>
                    <a:lnTo>
                      <a:pt x="760" y="15"/>
                    </a:lnTo>
                    <a:lnTo>
                      <a:pt x="760" y="9"/>
                    </a:lnTo>
                    <a:lnTo>
                      <a:pt x="755" y="0"/>
                    </a:lnTo>
                    <a:lnTo>
                      <a:pt x="747" y="0"/>
                    </a:lnTo>
                    <a:lnTo>
                      <a:pt x="734" y="4"/>
                    </a:lnTo>
                    <a:lnTo>
                      <a:pt x="725" y="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76" name="Freeform 250"/>
              <p:cNvSpPr>
                <a:spLocks noChangeAspect="1"/>
              </p:cNvSpPr>
              <p:nvPr/>
            </p:nvSpPr>
            <p:spPr bwMode="gray">
              <a:xfrm>
                <a:off x="1650" y="2350"/>
                <a:ext cx="132" cy="182"/>
              </a:xfrm>
              <a:custGeom>
                <a:avLst/>
                <a:gdLst/>
                <a:ahLst/>
                <a:cxnLst>
                  <a:cxn ang="0">
                    <a:pos x="404" y="0"/>
                  </a:cxn>
                  <a:cxn ang="0">
                    <a:pos x="380" y="12"/>
                  </a:cxn>
                  <a:cxn ang="0">
                    <a:pos x="314" y="58"/>
                  </a:cxn>
                  <a:cxn ang="0">
                    <a:pos x="260" y="65"/>
                  </a:cxn>
                  <a:cxn ang="0">
                    <a:pos x="244" y="82"/>
                  </a:cxn>
                  <a:cxn ang="0">
                    <a:pos x="187" y="102"/>
                  </a:cxn>
                  <a:cxn ang="0">
                    <a:pos x="158" y="170"/>
                  </a:cxn>
                  <a:cxn ang="0">
                    <a:pos x="115" y="213"/>
                  </a:cxn>
                  <a:cxn ang="0">
                    <a:pos x="113" y="242"/>
                  </a:cxn>
                  <a:cxn ang="0">
                    <a:pos x="88" y="226"/>
                  </a:cxn>
                  <a:cxn ang="0">
                    <a:pos x="91" y="251"/>
                  </a:cxn>
                  <a:cxn ang="0">
                    <a:pos x="60" y="278"/>
                  </a:cxn>
                  <a:cxn ang="0">
                    <a:pos x="81" y="320"/>
                  </a:cxn>
                  <a:cxn ang="0">
                    <a:pos x="83" y="380"/>
                  </a:cxn>
                  <a:cxn ang="0">
                    <a:pos x="83" y="462"/>
                  </a:cxn>
                  <a:cxn ang="0">
                    <a:pos x="111" y="472"/>
                  </a:cxn>
                  <a:cxn ang="0">
                    <a:pos x="71" y="533"/>
                  </a:cxn>
                  <a:cxn ang="0">
                    <a:pos x="20" y="560"/>
                  </a:cxn>
                  <a:cxn ang="0">
                    <a:pos x="0" y="596"/>
                  </a:cxn>
                  <a:cxn ang="0">
                    <a:pos x="44" y="629"/>
                  </a:cxn>
                  <a:cxn ang="0">
                    <a:pos x="106" y="673"/>
                  </a:cxn>
                  <a:cxn ang="0">
                    <a:pos x="156" y="665"/>
                  </a:cxn>
                  <a:cxn ang="0">
                    <a:pos x="201" y="687"/>
                  </a:cxn>
                  <a:cxn ang="0">
                    <a:pos x="238" y="708"/>
                  </a:cxn>
                  <a:cxn ang="0">
                    <a:pos x="273" y="743"/>
                  </a:cxn>
                  <a:cxn ang="0">
                    <a:pos x="297" y="776"/>
                  </a:cxn>
                  <a:cxn ang="0">
                    <a:pos x="319" y="811"/>
                  </a:cxn>
                  <a:cxn ang="0">
                    <a:pos x="365" y="821"/>
                  </a:cxn>
                  <a:cxn ang="0">
                    <a:pos x="389" y="807"/>
                  </a:cxn>
                  <a:cxn ang="0">
                    <a:pos x="435" y="807"/>
                  </a:cxn>
                  <a:cxn ang="0">
                    <a:pos x="488" y="842"/>
                  </a:cxn>
                  <a:cxn ang="0">
                    <a:pos x="459" y="892"/>
                  </a:cxn>
                  <a:cxn ang="0">
                    <a:pos x="494" y="909"/>
                  </a:cxn>
                  <a:cxn ang="0">
                    <a:pos x="504" y="858"/>
                  </a:cxn>
                  <a:cxn ang="0">
                    <a:pos x="524" y="752"/>
                  </a:cxn>
                  <a:cxn ang="0">
                    <a:pos x="489" y="655"/>
                  </a:cxn>
                  <a:cxn ang="0">
                    <a:pos x="532" y="652"/>
                  </a:cxn>
                  <a:cxn ang="0">
                    <a:pos x="518" y="627"/>
                  </a:cxn>
                  <a:cxn ang="0">
                    <a:pos x="501" y="620"/>
                  </a:cxn>
                  <a:cxn ang="0">
                    <a:pos x="591" y="575"/>
                  </a:cxn>
                  <a:cxn ang="0">
                    <a:pos x="633" y="574"/>
                  </a:cxn>
                  <a:cxn ang="0">
                    <a:pos x="658" y="603"/>
                  </a:cxn>
                  <a:cxn ang="0">
                    <a:pos x="626" y="516"/>
                  </a:cxn>
                  <a:cxn ang="0">
                    <a:pos x="640" y="493"/>
                  </a:cxn>
                  <a:cxn ang="0">
                    <a:pos x="615" y="453"/>
                  </a:cxn>
                  <a:cxn ang="0">
                    <a:pos x="615" y="403"/>
                  </a:cxn>
                  <a:cxn ang="0">
                    <a:pos x="633" y="353"/>
                  </a:cxn>
                  <a:cxn ang="0">
                    <a:pos x="583" y="353"/>
                  </a:cxn>
                  <a:cxn ang="0">
                    <a:pos x="544" y="348"/>
                  </a:cxn>
                  <a:cxn ang="0">
                    <a:pos x="494" y="307"/>
                  </a:cxn>
                  <a:cxn ang="0">
                    <a:pos x="443" y="294"/>
                  </a:cxn>
                  <a:cxn ang="0">
                    <a:pos x="376" y="283"/>
                  </a:cxn>
                  <a:cxn ang="0">
                    <a:pos x="353" y="223"/>
                  </a:cxn>
                  <a:cxn ang="0">
                    <a:pos x="334" y="180"/>
                  </a:cxn>
                  <a:cxn ang="0">
                    <a:pos x="375" y="62"/>
                  </a:cxn>
                </a:cxnLst>
                <a:rect l="0" t="0" r="r" b="b"/>
                <a:pathLst>
                  <a:path w="663" h="909">
                    <a:moveTo>
                      <a:pt x="419" y="33"/>
                    </a:moveTo>
                    <a:lnTo>
                      <a:pt x="424" y="28"/>
                    </a:lnTo>
                    <a:lnTo>
                      <a:pt x="429" y="21"/>
                    </a:lnTo>
                    <a:lnTo>
                      <a:pt x="427" y="12"/>
                    </a:lnTo>
                    <a:lnTo>
                      <a:pt x="418" y="6"/>
                    </a:lnTo>
                    <a:lnTo>
                      <a:pt x="404" y="0"/>
                    </a:lnTo>
                    <a:lnTo>
                      <a:pt x="396" y="5"/>
                    </a:lnTo>
                    <a:lnTo>
                      <a:pt x="393" y="5"/>
                    </a:lnTo>
                    <a:lnTo>
                      <a:pt x="391" y="5"/>
                    </a:lnTo>
                    <a:lnTo>
                      <a:pt x="391" y="14"/>
                    </a:lnTo>
                    <a:lnTo>
                      <a:pt x="386" y="14"/>
                    </a:lnTo>
                    <a:lnTo>
                      <a:pt x="380" y="12"/>
                    </a:lnTo>
                    <a:lnTo>
                      <a:pt x="378" y="16"/>
                    </a:lnTo>
                    <a:lnTo>
                      <a:pt x="377" y="24"/>
                    </a:lnTo>
                    <a:lnTo>
                      <a:pt x="372" y="31"/>
                    </a:lnTo>
                    <a:lnTo>
                      <a:pt x="366" y="35"/>
                    </a:lnTo>
                    <a:lnTo>
                      <a:pt x="341" y="43"/>
                    </a:lnTo>
                    <a:lnTo>
                      <a:pt x="314" y="58"/>
                    </a:lnTo>
                    <a:lnTo>
                      <a:pt x="310" y="60"/>
                    </a:lnTo>
                    <a:lnTo>
                      <a:pt x="289" y="65"/>
                    </a:lnTo>
                    <a:lnTo>
                      <a:pt x="281" y="65"/>
                    </a:lnTo>
                    <a:lnTo>
                      <a:pt x="271" y="63"/>
                    </a:lnTo>
                    <a:lnTo>
                      <a:pt x="263" y="63"/>
                    </a:lnTo>
                    <a:lnTo>
                      <a:pt x="260" y="65"/>
                    </a:lnTo>
                    <a:lnTo>
                      <a:pt x="257" y="70"/>
                    </a:lnTo>
                    <a:lnTo>
                      <a:pt x="253" y="81"/>
                    </a:lnTo>
                    <a:lnTo>
                      <a:pt x="249" y="90"/>
                    </a:lnTo>
                    <a:lnTo>
                      <a:pt x="247" y="91"/>
                    </a:lnTo>
                    <a:lnTo>
                      <a:pt x="244" y="91"/>
                    </a:lnTo>
                    <a:lnTo>
                      <a:pt x="244" y="82"/>
                    </a:lnTo>
                    <a:lnTo>
                      <a:pt x="242" y="80"/>
                    </a:lnTo>
                    <a:lnTo>
                      <a:pt x="231" y="80"/>
                    </a:lnTo>
                    <a:lnTo>
                      <a:pt x="220" y="80"/>
                    </a:lnTo>
                    <a:lnTo>
                      <a:pt x="216" y="80"/>
                    </a:lnTo>
                    <a:lnTo>
                      <a:pt x="194" y="96"/>
                    </a:lnTo>
                    <a:lnTo>
                      <a:pt x="187" y="102"/>
                    </a:lnTo>
                    <a:lnTo>
                      <a:pt x="185" y="107"/>
                    </a:lnTo>
                    <a:lnTo>
                      <a:pt x="183" y="128"/>
                    </a:lnTo>
                    <a:lnTo>
                      <a:pt x="181" y="144"/>
                    </a:lnTo>
                    <a:lnTo>
                      <a:pt x="179" y="160"/>
                    </a:lnTo>
                    <a:lnTo>
                      <a:pt x="173" y="166"/>
                    </a:lnTo>
                    <a:lnTo>
                      <a:pt x="158" y="170"/>
                    </a:lnTo>
                    <a:lnTo>
                      <a:pt x="155" y="173"/>
                    </a:lnTo>
                    <a:lnTo>
                      <a:pt x="146" y="188"/>
                    </a:lnTo>
                    <a:lnTo>
                      <a:pt x="142" y="192"/>
                    </a:lnTo>
                    <a:lnTo>
                      <a:pt x="135" y="198"/>
                    </a:lnTo>
                    <a:lnTo>
                      <a:pt x="117" y="209"/>
                    </a:lnTo>
                    <a:lnTo>
                      <a:pt x="115" y="213"/>
                    </a:lnTo>
                    <a:lnTo>
                      <a:pt x="117" y="216"/>
                    </a:lnTo>
                    <a:lnTo>
                      <a:pt x="118" y="219"/>
                    </a:lnTo>
                    <a:lnTo>
                      <a:pt x="122" y="238"/>
                    </a:lnTo>
                    <a:lnTo>
                      <a:pt x="119" y="245"/>
                    </a:lnTo>
                    <a:lnTo>
                      <a:pt x="118" y="246"/>
                    </a:lnTo>
                    <a:lnTo>
                      <a:pt x="113" y="242"/>
                    </a:lnTo>
                    <a:lnTo>
                      <a:pt x="103" y="229"/>
                    </a:lnTo>
                    <a:lnTo>
                      <a:pt x="86" y="209"/>
                    </a:lnTo>
                    <a:lnTo>
                      <a:pt x="85" y="213"/>
                    </a:lnTo>
                    <a:lnTo>
                      <a:pt x="83" y="221"/>
                    </a:lnTo>
                    <a:lnTo>
                      <a:pt x="83" y="223"/>
                    </a:lnTo>
                    <a:lnTo>
                      <a:pt x="88" y="226"/>
                    </a:lnTo>
                    <a:lnTo>
                      <a:pt x="92" y="232"/>
                    </a:lnTo>
                    <a:lnTo>
                      <a:pt x="92" y="238"/>
                    </a:lnTo>
                    <a:lnTo>
                      <a:pt x="93" y="240"/>
                    </a:lnTo>
                    <a:lnTo>
                      <a:pt x="97" y="242"/>
                    </a:lnTo>
                    <a:lnTo>
                      <a:pt x="97" y="246"/>
                    </a:lnTo>
                    <a:lnTo>
                      <a:pt x="91" y="251"/>
                    </a:lnTo>
                    <a:lnTo>
                      <a:pt x="81" y="264"/>
                    </a:lnTo>
                    <a:lnTo>
                      <a:pt x="77" y="267"/>
                    </a:lnTo>
                    <a:lnTo>
                      <a:pt x="72" y="263"/>
                    </a:lnTo>
                    <a:lnTo>
                      <a:pt x="69" y="264"/>
                    </a:lnTo>
                    <a:lnTo>
                      <a:pt x="69" y="272"/>
                    </a:lnTo>
                    <a:lnTo>
                      <a:pt x="60" y="278"/>
                    </a:lnTo>
                    <a:lnTo>
                      <a:pt x="60" y="283"/>
                    </a:lnTo>
                    <a:lnTo>
                      <a:pt x="59" y="283"/>
                    </a:lnTo>
                    <a:lnTo>
                      <a:pt x="61" y="288"/>
                    </a:lnTo>
                    <a:lnTo>
                      <a:pt x="66" y="306"/>
                    </a:lnTo>
                    <a:lnTo>
                      <a:pt x="70" y="311"/>
                    </a:lnTo>
                    <a:lnTo>
                      <a:pt x="81" y="320"/>
                    </a:lnTo>
                    <a:lnTo>
                      <a:pt x="86" y="327"/>
                    </a:lnTo>
                    <a:lnTo>
                      <a:pt x="87" y="331"/>
                    </a:lnTo>
                    <a:lnTo>
                      <a:pt x="85" y="353"/>
                    </a:lnTo>
                    <a:lnTo>
                      <a:pt x="88" y="367"/>
                    </a:lnTo>
                    <a:lnTo>
                      <a:pt x="88" y="372"/>
                    </a:lnTo>
                    <a:lnTo>
                      <a:pt x="83" y="380"/>
                    </a:lnTo>
                    <a:lnTo>
                      <a:pt x="81" y="386"/>
                    </a:lnTo>
                    <a:lnTo>
                      <a:pt x="85" y="412"/>
                    </a:lnTo>
                    <a:lnTo>
                      <a:pt x="90" y="431"/>
                    </a:lnTo>
                    <a:lnTo>
                      <a:pt x="90" y="439"/>
                    </a:lnTo>
                    <a:lnTo>
                      <a:pt x="85" y="455"/>
                    </a:lnTo>
                    <a:lnTo>
                      <a:pt x="83" y="462"/>
                    </a:lnTo>
                    <a:lnTo>
                      <a:pt x="85" y="469"/>
                    </a:lnTo>
                    <a:lnTo>
                      <a:pt x="92" y="472"/>
                    </a:lnTo>
                    <a:lnTo>
                      <a:pt x="98" y="473"/>
                    </a:lnTo>
                    <a:lnTo>
                      <a:pt x="103" y="472"/>
                    </a:lnTo>
                    <a:lnTo>
                      <a:pt x="111" y="467"/>
                    </a:lnTo>
                    <a:lnTo>
                      <a:pt x="111" y="472"/>
                    </a:lnTo>
                    <a:lnTo>
                      <a:pt x="111" y="474"/>
                    </a:lnTo>
                    <a:lnTo>
                      <a:pt x="107" y="479"/>
                    </a:lnTo>
                    <a:lnTo>
                      <a:pt x="95" y="490"/>
                    </a:lnTo>
                    <a:lnTo>
                      <a:pt x="81" y="507"/>
                    </a:lnTo>
                    <a:lnTo>
                      <a:pt x="74" y="531"/>
                    </a:lnTo>
                    <a:lnTo>
                      <a:pt x="71" y="533"/>
                    </a:lnTo>
                    <a:lnTo>
                      <a:pt x="69" y="536"/>
                    </a:lnTo>
                    <a:lnTo>
                      <a:pt x="54" y="541"/>
                    </a:lnTo>
                    <a:lnTo>
                      <a:pt x="40" y="539"/>
                    </a:lnTo>
                    <a:lnTo>
                      <a:pt x="37" y="541"/>
                    </a:lnTo>
                    <a:lnTo>
                      <a:pt x="26" y="547"/>
                    </a:lnTo>
                    <a:lnTo>
                      <a:pt x="20" y="560"/>
                    </a:lnTo>
                    <a:lnTo>
                      <a:pt x="18" y="569"/>
                    </a:lnTo>
                    <a:lnTo>
                      <a:pt x="21" y="577"/>
                    </a:lnTo>
                    <a:lnTo>
                      <a:pt x="20" y="584"/>
                    </a:lnTo>
                    <a:lnTo>
                      <a:pt x="7" y="585"/>
                    </a:lnTo>
                    <a:lnTo>
                      <a:pt x="4" y="590"/>
                    </a:lnTo>
                    <a:lnTo>
                      <a:pt x="0" y="596"/>
                    </a:lnTo>
                    <a:lnTo>
                      <a:pt x="0" y="601"/>
                    </a:lnTo>
                    <a:lnTo>
                      <a:pt x="5" y="607"/>
                    </a:lnTo>
                    <a:lnTo>
                      <a:pt x="6" y="611"/>
                    </a:lnTo>
                    <a:lnTo>
                      <a:pt x="9" y="613"/>
                    </a:lnTo>
                    <a:lnTo>
                      <a:pt x="12" y="616"/>
                    </a:lnTo>
                    <a:lnTo>
                      <a:pt x="44" y="629"/>
                    </a:lnTo>
                    <a:lnTo>
                      <a:pt x="74" y="644"/>
                    </a:lnTo>
                    <a:lnTo>
                      <a:pt x="86" y="652"/>
                    </a:lnTo>
                    <a:lnTo>
                      <a:pt x="88" y="657"/>
                    </a:lnTo>
                    <a:lnTo>
                      <a:pt x="91" y="668"/>
                    </a:lnTo>
                    <a:lnTo>
                      <a:pt x="93" y="672"/>
                    </a:lnTo>
                    <a:lnTo>
                      <a:pt x="106" y="673"/>
                    </a:lnTo>
                    <a:lnTo>
                      <a:pt x="114" y="671"/>
                    </a:lnTo>
                    <a:lnTo>
                      <a:pt x="119" y="671"/>
                    </a:lnTo>
                    <a:lnTo>
                      <a:pt x="140" y="673"/>
                    </a:lnTo>
                    <a:lnTo>
                      <a:pt x="150" y="673"/>
                    </a:lnTo>
                    <a:lnTo>
                      <a:pt x="151" y="671"/>
                    </a:lnTo>
                    <a:lnTo>
                      <a:pt x="156" y="665"/>
                    </a:lnTo>
                    <a:lnTo>
                      <a:pt x="161" y="665"/>
                    </a:lnTo>
                    <a:lnTo>
                      <a:pt x="168" y="667"/>
                    </a:lnTo>
                    <a:lnTo>
                      <a:pt x="174" y="673"/>
                    </a:lnTo>
                    <a:lnTo>
                      <a:pt x="181" y="676"/>
                    </a:lnTo>
                    <a:lnTo>
                      <a:pt x="195" y="687"/>
                    </a:lnTo>
                    <a:lnTo>
                      <a:pt x="201" y="687"/>
                    </a:lnTo>
                    <a:lnTo>
                      <a:pt x="205" y="687"/>
                    </a:lnTo>
                    <a:lnTo>
                      <a:pt x="215" y="690"/>
                    </a:lnTo>
                    <a:lnTo>
                      <a:pt x="224" y="693"/>
                    </a:lnTo>
                    <a:lnTo>
                      <a:pt x="230" y="695"/>
                    </a:lnTo>
                    <a:lnTo>
                      <a:pt x="235" y="704"/>
                    </a:lnTo>
                    <a:lnTo>
                      <a:pt x="238" y="708"/>
                    </a:lnTo>
                    <a:lnTo>
                      <a:pt x="248" y="711"/>
                    </a:lnTo>
                    <a:lnTo>
                      <a:pt x="253" y="725"/>
                    </a:lnTo>
                    <a:lnTo>
                      <a:pt x="258" y="733"/>
                    </a:lnTo>
                    <a:lnTo>
                      <a:pt x="264" y="737"/>
                    </a:lnTo>
                    <a:lnTo>
                      <a:pt x="267" y="742"/>
                    </a:lnTo>
                    <a:lnTo>
                      <a:pt x="273" y="743"/>
                    </a:lnTo>
                    <a:lnTo>
                      <a:pt x="278" y="743"/>
                    </a:lnTo>
                    <a:lnTo>
                      <a:pt x="284" y="746"/>
                    </a:lnTo>
                    <a:lnTo>
                      <a:pt x="289" y="749"/>
                    </a:lnTo>
                    <a:lnTo>
                      <a:pt x="292" y="756"/>
                    </a:lnTo>
                    <a:lnTo>
                      <a:pt x="294" y="768"/>
                    </a:lnTo>
                    <a:lnTo>
                      <a:pt x="297" y="776"/>
                    </a:lnTo>
                    <a:lnTo>
                      <a:pt x="298" y="780"/>
                    </a:lnTo>
                    <a:lnTo>
                      <a:pt x="302" y="783"/>
                    </a:lnTo>
                    <a:lnTo>
                      <a:pt x="311" y="783"/>
                    </a:lnTo>
                    <a:lnTo>
                      <a:pt x="316" y="784"/>
                    </a:lnTo>
                    <a:lnTo>
                      <a:pt x="316" y="806"/>
                    </a:lnTo>
                    <a:lnTo>
                      <a:pt x="319" y="811"/>
                    </a:lnTo>
                    <a:lnTo>
                      <a:pt x="324" y="816"/>
                    </a:lnTo>
                    <a:lnTo>
                      <a:pt x="334" y="817"/>
                    </a:lnTo>
                    <a:lnTo>
                      <a:pt x="339" y="816"/>
                    </a:lnTo>
                    <a:lnTo>
                      <a:pt x="353" y="817"/>
                    </a:lnTo>
                    <a:lnTo>
                      <a:pt x="361" y="821"/>
                    </a:lnTo>
                    <a:lnTo>
                      <a:pt x="365" y="821"/>
                    </a:lnTo>
                    <a:lnTo>
                      <a:pt x="372" y="819"/>
                    </a:lnTo>
                    <a:lnTo>
                      <a:pt x="376" y="817"/>
                    </a:lnTo>
                    <a:lnTo>
                      <a:pt x="378" y="813"/>
                    </a:lnTo>
                    <a:lnTo>
                      <a:pt x="382" y="812"/>
                    </a:lnTo>
                    <a:lnTo>
                      <a:pt x="386" y="808"/>
                    </a:lnTo>
                    <a:lnTo>
                      <a:pt x="389" y="807"/>
                    </a:lnTo>
                    <a:lnTo>
                      <a:pt x="398" y="807"/>
                    </a:lnTo>
                    <a:lnTo>
                      <a:pt x="405" y="808"/>
                    </a:lnTo>
                    <a:lnTo>
                      <a:pt x="410" y="813"/>
                    </a:lnTo>
                    <a:lnTo>
                      <a:pt x="418" y="815"/>
                    </a:lnTo>
                    <a:lnTo>
                      <a:pt x="426" y="813"/>
                    </a:lnTo>
                    <a:lnTo>
                      <a:pt x="435" y="807"/>
                    </a:lnTo>
                    <a:lnTo>
                      <a:pt x="437" y="807"/>
                    </a:lnTo>
                    <a:lnTo>
                      <a:pt x="445" y="808"/>
                    </a:lnTo>
                    <a:lnTo>
                      <a:pt x="461" y="815"/>
                    </a:lnTo>
                    <a:lnTo>
                      <a:pt x="477" y="824"/>
                    </a:lnTo>
                    <a:lnTo>
                      <a:pt x="488" y="837"/>
                    </a:lnTo>
                    <a:lnTo>
                      <a:pt x="488" y="842"/>
                    </a:lnTo>
                    <a:lnTo>
                      <a:pt x="484" y="849"/>
                    </a:lnTo>
                    <a:lnTo>
                      <a:pt x="478" y="856"/>
                    </a:lnTo>
                    <a:lnTo>
                      <a:pt x="466" y="869"/>
                    </a:lnTo>
                    <a:lnTo>
                      <a:pt x="458" y="880"/>
                    </a:lnTo>
                    <a:lnTo>
                      <a:pt x="458" y="889"/>
                    </a:lnTo>
                    <a:lnTo>
                      <a:pt x="459" y="892"/>
                    </a:lnTo>
                    <a:lnTo>
                      <a:pt x="464" y="893"/>
                    </a:lnTo>
                    <a:lnTo>
                      <a:pt x="469" y="892"/>
                    </a:lnTo>
                    <a:lnTo>
                      <a:pt x="473" y="893"/>
                    </a:lnTo>
                    <a:lnTo>
                      <a:pt x="478" y="897"/>
                    </a:lnTo>
                    <a:lnTo>
                      <a:pt x="486" y="908"/>
                    </a:lnTo>
                    <a:lnTo>
                      <a:pt x="494" y="909"/>
                    </a:lnTo>
                    <a:lnTo>
                      <a:pt x="495" y="902"/>
                    </a:lnTo>
                    <a:lnTo>
                      <a:pt x="497" y="896"/>
                    </a:lnTo>
                    <a:lnTo>
                      <a:pt x="499" y="881"/>
                    </a:lnTo>
                    <a:lnTo>
                      <a:pt x="501" y="873"/>
                    </a:lnTo>
                    <a:lnTo>
                      <a:pt x="502" y="870"/>
                    </a:lnTo>
                    <a:lnTo>
                      <a:pt x="504" y="858"/>
                    </a:lnTo>
                    <a:lnTo>
                      <a:pt x="506" y="850"/>
                    </a:lnTo>
                    <a:lnTo>
                      <a:pt x="511" y="832"/>
                    </a:lnTo>
                    <a:lnTo>
                      <a:pt x="512" y="831"/>
                    </a:lnTo>
                    <a:lnTo>
                      <a:pt x="522" y="768"/>
                    </a:lnTo>
                    <a:lnTo>
                      <a:pt x="523" y="758"/>
                    </a:lnTo>
                    <a:lnTo>
                      <a:pt x="524" y="752"/>
                    </a:lnTo>
                    <a:lnTo>
                      <a:pt x="517" y="724"/>
                    </a:lnTo>
                    <a:lnTo>
                      <a:pt x="512" y="714"/>
                    </a:lnTo>
                    <a:lnTo>
                      <a:pt x="506" y="708"/>
                    </a:lnTo>
                    <a:lnTo>
                      <a:pt x="494" y="698"/>
                    </a:lnTo>
                    <a:lnTo>
                      <a:pt x="489" y="693"/>
                    </a:lnTo>
                    <a:lnTo>
                      <a:pt x="489" y="655"/>
                    </a:lnTo>
                    <a:lnTo>
                      <a:pt x="494" y="652"/>
                    </a:lnTo>
                    <a:lnTo>
                      <a:pt x="511" y="650"/>
                    </a:lnTo>
                    <a:lnTo>
                      <a:pt x="517" y="647"/>
                    </a:lnTo>
                    <a:lnTo>
                      <a:pt x="528" y="649"/>
                    </a:lnTo>
                    <a:lnTo>
                      <a:pt x="532" y="650"/>
                    </a:lnTo>
                    <a:lnTo>
                      <a:pt x="532" y="652"/>
                    </a:lnTo>
                    <a:lnTo>
                      <a:pt x="538" y="651"/>
                    </a:lnTo>
                    <a:lnTo>
                      <a:pt x="538" y="650"/>
                    </a:lnTo>
                    <a:lnTo>
                      <a:pt x="534" y="640"/>
                    </a:lnTo>
                    <a:lnTo>
                      <a:pt x="533" y="633"/>
                    </a:lnTo>
                    <a:lnTo>
                      <a:pt x="528" y="625"/>
                    </a:lnTo>
                    <a:lnTo>
                      <a:pt x="518" y="627"/>
                    </a:lnTo>
                    <a:lnTo>
                      <a:pt x="516" y="629"/>
                    </a:lnTo>
                    <a:lnTo>
                      <a:pt x="509" y="629"/>
                    </a:lnTo>
                    <a:lnTo>
                      <a:pt x="505" y="624"/>
                    </a:lnTo>
                    <a:lnTo>
                      <a:pt x="501" y="623"/>
                    </a:lnTo>
                    <a:lnTo>
                      <a:pt x="501" y="620"/>
                    </a:lnTo>
                    <a:lnTo>
                      <a:pt x="501" y="620"/>
                    </a:lnTo>
                    <a:lnTo>
                      <a:pt x="501" y="589"/>
                    </a:lnTo>
                    <a:lnTo>
                      <a:pt x="502" y="590"/>
                    </a:lnTo>
                    <a:lnTo>
                      <a:pt x="582" y="590"/>
                    </a:lnTo>
                    <a:lnTo>
                      <a:pt x="586" y="586"/>
                    </a:lnTo>
                    <a:lnTo>
                      <a:pt x="587" y="580"/>
                    </a:lnTo>
                    <a:lnTo>
                      <a:pt x="591" y="575"/>
                    </a:lnTo>
                    <a:lnTo>
                      <a:pt x="593" y="575"/>
                    </a:lnTo>
                    <a:lnTo>
                      <a:pt x="597" y="577"/>
                    </a:lnTo>
                    <a:lnTo>
                      <a:pt x="601" y="584"/>
                    </a:lnTo>
                    <a:lnTo>
                      <a:pt x="603" y="584"/>
                    </a:lnTo>
                    <a:lnTo>
                      <a:pt x="622" y="574"/>
                    </a:lnTo>
                    <a:lnTo>
                      <a:pt x="633" y="574"/>
                    </a:lnTo>
                    <a:lnTo>
                      <a:pt x="638" y="579"/>
                    </a:lnTo>
                    <a:lnTo>
                      <a:pt x="646" y="590"/>
                    </a:lnTo>
                    <a:lnTo>
                      <a:pt x="652" y="619"/>
                    </a:lnTo>
                    <a:lnTo>
                      <a:pt x="662" y="614"/>
                    </a:lnTo>
                    <a:lnTo>
                      <a:pt x="663" y="612"/>
                    </a:lnTo>
                    <a:lnTo>
                      <a:pt x="658" y="603"/>
                    </a:lnTo>
                    <a:lnTo>
                      <a:pt x="656" y="592"/>
                    </a:lnTo>
                    <a:lnTo>
                      <a:pt x="640" y="555"/>
                    </a:lnTo>
                    <a:lnTo>
                      <a:pt x="631" y="544"/>
                    </a:lnTo>
                    <a:lnTo>
                      <a:pt x="614" y="531"/>
                    </a:lnTo>
                    <a:lnTo>
                      <a:pt x="614" y="527"/>
                    </a:lnTo>
                    <a:lnTo>
                      <a:pt x="626" y="516"/>
                    </a:lnTo>
                    <a:lnTo>
                      <a:pt x="631" y="509"/>
                    </a:lnTo>
                    <a:lnTo>
                      <a:pt x="634" y="507"/>
                    </a:lnTo>
                    <a:lnTo>
                      <a:pt x="638" y="504"/>
                    </a:lnTo>
                    <a:lnTo>
                      <a:pt x="640" y="503"/>
                    </a:lnTo>
                    <a:lnTo>
                      <a:pt x="641" y="500"/>
                    </a:lnTo>
                    <a:lnTo>
                      <a:pt x="640" y="493"/>
                    </a:lnTo>
                    <a:lnTo>
                      <a:pt x="638" y="488"/>
                    </a:lnTo>
                    <a:lnTo>
                      <a:pt x="633" y="479"/>
                    </a:lnTo>
                    <a:lnTo>
                      <a:pt x="625" y="471"/>
                    </a:lnTo>
                    <a:lnTo>
                      <a:pt x="618" y="466"/>
                    </a:lnTo>
                    <a:lnTo>
                      <a:pt x="617" y="463"/>
                    </a:lnTo>
                    <a:lnTo>
                      <a:pt x="615" y="453"/>
                    </a:lnTo>
                    <a:lnTo>
                      <a:pt x="613" y="447"/>
                    </a:lnTo>
                    <a:lnTo>
                      <a:pt x="613" y="439"/>
                    </a:lnTo>
                    <a:lnTo>
                      <a:pt x="609" y="431"/>
                    </a:lnTo>
                    <a:lnTo>
                      <a:pt x="609" y="419"/>
                    </a:lnTo>
                    <a:lnTo>
                      <a:pt x="613" y="413"/>
                    </a:lnTo>
                    <a:lnTo>
                      <a:pt x="615" y="403"/>
                    </a:lnTo>
                    <a:lnTo>
                      <a:pt x="615" y="392"/>
                    </a:lnTo>
                    <a:lnTo>
                      <a:pt x="624" y="382"/>
                    </a:lnTo>
                    <a:lnTo>
                      <a:pt x="624" y="369"/>
                    </a:lnTo>
                    <a:lnTo>
                      <a:pt x="626" y="364"/>
                    </a:lnTo>
                    <a:lnTo>
                      <a:pt x="633" y="358"/>
                    </a:lnTo>
                    <a:lnTo>
                      <a:pt x="633" y="353"/>
                    </a:lnTo>
                    <a:lnTo>
                      <a:pt x="630" y="344"/>
                    </a:lnTo>
                    <a:lnTo>
                      <a:pt x="628" y="342"/>
                    </a:lnTo>
                    <a:lnTo>
                      <a:pt x="624" y="342"/>
                    </a:lnTo>
                    <a:lnTo>
                      <a:pt x="614" y="342"/>
                    </a:lnTo>
                    <a:lnTo>
                      <a:pt x="595" y="350"/>
                    </a:lnTo>
                    <a:lnTo>
                      <a:pt x="583" y="353"/>
                    </a:lnTo>
                    <a:lnTo>
                      <a:pt x="576" y="353"/>
                    </a:lnTo>
                    <a:lnTo>
                      <a:pt x="567" y="350"/>
                    </a:lnTo>
                    <a:lnTo>
                      <a:pt x="563" y="349"/>
                    </a:lnTo>
                    <a:lnTo>
                      <a:pt x="558" y="347"/>
                    </a:lnTo>
                    <a:lnTo>
                      <a:pt x="552" y="345"/>
                    </a:lnTo>
                    <a:lnTo>
                      <a:pt x="544" y="348"/>
                    </a:lnTo>
                    <a:lnTo>
                      <a:pt x="542" y="350"/>
                    </a:lnTo>
                    <a:lnTo>
                      <a:pt x="536" y="350"/>
                    </a:lnTo>
                    <a:lnTo>
                      <a:pt x="527" y="350"/>
                    </a:lnTo>
                    <a:lnTo>
                      <a:pt x="523" y="348"/>
                    </a:lnTo>
                    <a:lnTo>
                      <a:pt x="522" y="348"/>
                    </a:lnTo>
                    <a:lnTo>
                      <a:pt x="494" y="307"/>
                    </a:lnTo>
                    <a:lnTo>
                      <a:pt x="493" y="305"/>
                    </a:lnTo>
                    <a:lnTo>
                      <a:pt x="490" y="302"/>
                    </a:lnTo>
                    <a:lnTo>
                      <a:pt x="479" y="301"/>
                    </a:lnTo>
                    <a:lnTo>
                      <a:pt x="473" y="297"/>
                    </a:lnTo>
                    <a:lnTo>
                      <a:pt x="461" y="293"/>
                    </a:lnTo>
                    <a:lnTo>
                      <a:pt x="443" y="294"/>
                    </a:lnTo>
                    <a:lnTo>
                      <a:pt x="425" y="299"/>
                    </a:lnTo>
                    <a:lnTo>
                      <a:pt x="415" y="300"/>
                    </a:lnTo>
                    <a:lnTo>
                      <a:pt x="400" y="299"/>
                    </a:lnTo>
                    <a:lnTo>
                      <a:pt x="383" y="291"/>
                    </a:lnTo>
                    <a:lnTo>
                      <a:pt x="380" y="284"/>
                    </a:lnTo>
                    <a:lnTo>
                      <a:pt x="376" y="283"/>
                    </a:lnTo>
                    <a:lnTo>
                      <a:pt x="364" y="277"/>
                    </a:lnTo>
                    <a:lnTo>
                      <a:pt x="362" y="274"/>
                    </a:lnTo>
                    <a:lnTo>
                      <a:pt x="362" y="241"/>
                    </a:lnTo>
                    <a:lnTo>
                      <a:pt x="360" y="232"/>
                    </a:lnTo>
                    <a:lnTo>
                      <a:pt x="357" y="226"/>
                    </a:lnTo>
                    <a:lnTo>
                      <a:pt x="353" y="223"/>
                    </a:lnTo>
                    <a:lnTo>
                      <a:pt x="351" y="220"/>
                    </a:lnTo>
                    <a:lnTo>
                      <a:pt x="344" y="211"/>
                    </a:lnTo>
                    <a:lnTo>
                      <a:pt x="341" y="208"/>
                    </a:lnTo>
                    <a:lnTo>
                      <a:pt x="338" y="188"/>
                    </a:lnTo>
                    <a:lnTo>
                      <a:pt x="335" y="182"/>
                    </a:lnTo>
                    <a:lnTo>
                      <a:pt x="334" y="180"/>
                    </a:lnTo>
                    <a:lnTo>
                      <a:pt x="310" y="181"/>
                    </a:lnTo>
                    <a:lnTo>
                      <a:pt x="316" y="167"/>
                    </a:lnTo>
                    <a:lnTo>
                      <a:pt x="324" y="152"/>
                    </a:lnTo>
                    <a:lnTo>
                      <a:pt x="337" y="107"/>
                    </a:lnTo>
                    <a:lnTo>
                      <a:pt x="350" y="85"/>
                    </a:lnTo>
                    <a:lnTo>
                      <a:pt x="375" y="62"/>
                    </a:lnTo>
                    <a:lnTo>
                      <a:pt x="378" y="57"/>
                    </a:lnTo>
                    <a:lnTo>
                      <a:pt x="383" y="47"/>
                    </a:lnTo>
                    <a:lnTo>
                      <a:pt x="389" y="41"/>
                    </a:lnTo>
                    <a:lnTo>
                      <a:pt x="404" y="35"/>
                    </a:lnTo>
                    <a:lnTo>
                      <a:pt x="419" y="3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77" name="Freeform 251"/>
              <p:cNvSpPr>
                <a:spLocks noChangeAspect="1"/>
              </p:cNvSpPr>
              <p:nvPr/>
            </p:nvSpPr>
            <p:spPr bwMode="gray">
              <a:xfrm>
                <a:off x="1751" y="2592"/>
                <a:ext cx="132" cy="151"/>
              </a:xfrm>
              <a:custGeom>
                <a:avLst/>
                <a:gdLst/>
                <a:ahLst/>
                <a:cxnLst>
                  <a:cxn ang="0">
                    <a:pos x="29" y="74"/>
                  </a:cxn>
                  <a:cxn ang="0">
                    <a:pos x="109" y="59"/>
                  </a:cxn>
                  <a:cxn ang="0">
                    <a:pos x="164" y="7"/>
                  </a:cxn>
                  <a:cxn ang="0">
                    <a:pos x="232" y="1"/>
                  </a:cxn>
                  <a:cxn ang="0">
                    <a:pos x="243" y="60"/>
                  </a:cxn>
                  <a:cxn ang="0">
                    <a:pos x="234" y="88"/>
                  </a:cxn>
                  <a:cxn ang="0">
                    <a:pos x="283" y="151"/>
                  </a:cxn>
                  <a:cxn ang="0">
                    <a:pos x="348" y="161"/>
                  </a:cxn>
                  <a:cxn ang="0">
                    <a:pos x="372" y="183"/>
                  </a:cxn>
                  <a:cxn ang="0">
                    <a:pos x="441" y="211"/>
                  </a:cxn>
                  <a:cxn ang="0">
                    <a:pos x="487" y="222"/>
                  </a:cxn>
                  <a:cxn ang="0">
                    <a:pos x="507" y="268"/>
                  </a:cxn>
                  <a:cxn ang="0">
                    <a:pos x="512" y="307"/>
                  </a:cxn>
                  <a:cxn ang="0">
                    <a:pos x="511" y="334"/>
                  </a:cxn>
                  <a:cxn ang="0">
                    <a:pos x="550" y="370"/>
                  </a:cxn>
                  <a:cxn ang="0">
                    <a:pos x="616" y="373"/>
                  </a:cxn>
                  <a:cxn ang="0">
                    <a:pos x="616" y="399"/>
                  </a:cxn>
                  <a:cxn ang="0">
                    <a:pos x="641" y="434"/>
                  </a:cxn>
                  <a:cxn ang="0">
                    <a:pos x="658" y="500"/>
                  </a:cxn>
                  <a:cxn ang="0">
                    <a:pos x="644" y="555"/>
                  </a:cxn>
                  <a:cxn ang="0">
                    <a:pos x="647" y="586"/>
                  </a:cxn>
                  <a:cxn ang="0">
                    <a:pos x="631" y="585"/>
                  </a:cxn>
                  <a:cxn ang="0">
                    <a:pos x="595" y="544"/>
                  </a:cxn>
                  <a:cxn ang="0">
                    <a:pos x="504" y="549"/>
                  </a:cxn>
                  <a:cxn ang="0">
                    <a:pos x="426" y="576"/>
                  </a:cxn>
                  <a:cxn ang="0">
                    <a:pos x="401" y="628"/>
                  </a:cxn>
                  <a:cxn ang="0">
                    <a:pos x="391" y="705"/>
                  </a:cxn>
                  <a:cxn ang="0">
                    <a:pos x="362" y="706"/>
                  </a:cxn>
                  <a:cxn ang="0">
                    <a:pos x="315" y="701"/>
                  </a:cxn>
                  <a:cxn ang="0">
                    <a:pos x="297" y="735"/>
                  </a:cxn>
                  <a:cxn ang="0">
                    <a:pos x="281" y="726"/>
                  </a:cxn>
                  <a:cxn ang="0">
                    <a:pos x="250" y="710"/>
                  </a:cxn>
                  <a:cxn ang="0">
                    <a:pos x="202" y="695"/>
                  </a:cxn>
                  <a:cxn ang="0">
                    <a:pos x="176" y="708"/>
                  </a:cxn>
                  <a:cxn ang="0">
                    <a:pos x="149" y="737"/>
                  </a:cxn>
                  <a:cxn ang="0">
                    <a:pos x="126" y="752"/>
                  </a:cxn>
                  <a:cxn ang="0">
                    <a:pos x="94" y="751"/>
                  </a:cxn>
                  <a:cxn ang="0">
                    <a:pos x="86" y="711"/>
                  </a:cxn>
                  <a:cxn ang="0">
                    <a:pos x="77" y="652"/>
                  </a:cxn>
                  <a:cxn ang="0">
                    <a:pos x="61" y="626"/>
                  </a:cxn>
                  <a:cxn ang="0">
                    <a:pos x="55" y="602"/>
                  </a:cxn>
                  <a:cxn ang="0">
                    <a:pos x="51" y="579"/>
                  </a:cxn>
                  <a:cxn ang="0">
                    <a:pos x="57" y="564"/>
                  </a:cxn>
                  <a:cxn ang="0">
                    <a:pos x="54" y="536"/>
                  </a:cxn>
                  <a:cxn ang="0">
                    <a:pos x="29" y="480"/>
                  </a:cxn>
                  <a:cxn ang="0">
                    <a:pos x="7" y="443"/>
                  </a:cxn>
                  <a:cxn ang="0">
                    <a:pos x="1" y="431"/>
                  </a:cxn>
                  <a:cxn ang="0">
                    <a:pos x="36" y="373"/>
                  </a:cxn>
                  <a:cxn ang="0">
                    <a:pos x="20" y="357"/>
                  </a:cxn>
                  <a:cxn ang="0">
                    <a:pos x="17" y="328"/>
                  </a:cxn>
                  <a:cxn ang="0">
                    <a:pos x="29" y="303"/>
                  </a:cxn>
                  <a:cxn ang="0">
                    <a:pos x="22" y="276"/>
                  </a:cxn>
                  <a:cxn ang="0">
                    <a:pos x="33" y="231"/>
                  </a:cxn>
                  <a:cxn ang="0">
                    <a:pos x="40" y="166"/>
                  </a:cxn>
                  <a:cxn ang="0">
                    <a:pos x="35" y="129"/>
                  </a:cxn>
                </a:cxnLst>
                <a:rect l="0" t="0" r="r" b="b"/>
                <a:pathLst>
                  <a:path w="658" h="754">
                    <a:moveTo>
                      <a:pt x="1" y="70"/>
                    </a:moveTo>
                    <a:lnTo>
                      <a:pt x="3" y="68"/>
                    </a:lnTo>
                    <a:lnTo>
                      <a:pt x="11" y="68"/>
                    </a:lnTo>
                    <a:lnTo>
                      <a:pt x="29" y="74"/>
                    </a:lnTo>
                    <a:lnTo>
                      <a:pt x="70" y="75"/>
                    </a:lnTo>
                    <a:lnTo>
                      <a:pt x="78" y="71"/>
                    </a:lnTo>
                    <a:lnTo>
                      <a:pt x="83" y="68"/>
                    </a:lnTo>
                    <a:lnTo>
                      <a:pt x="109" y="59"/>
                    </a:lnTo>
                    <a:lnTo>
                      <a:pt x="116" y="55"/>
                    </a:lnTo>
                    <a:lnTo>
                      <a:pt x="141" y="33"/>
                    </a:lnTo>
                    <a:lnTo>
                      <a:pt x="158" y="14"/>
                    </a:lnTo>
                    <a:lnTo>
                      <a:pt x="164" y="7"/>
                    </a:lnTo>
                    <a:lnTo>
                      <a:pt x="180" y="4"/>
                    </a:lnTo>
                    <a:lnTo>
                      <a:pt x="186" y="4"/>
                    </a:lnTo>
                    <a:lnTo>
                      <a:pt x="213" y="0"/>
                    </a:lnTo>
                    <a:lnTo>
                      <a:pt x="232" y="1"/>
                    </a:lnTo>
                    <a:lnTo>
                      <a:pt x="235" y="4"/>
                    </a:lnTo>
                    <a:lnTo>
                      <a:pt x="240" y="11"/>
                    </a:lnTo>
                    <a:lnTo>
                      <a:pt x="243" y="28"/>
                    </a:lnTo>
                    <a:lnTo>
                      <a:pt x="243" y="60"/>
                    </a:lnTo>
                    <a:lnTo>
                      <a:pt x="242" y="70"/>
                    </a:lnTo>
                    <a:lnTo>
                      <a:pt x="237" y="77"/>
                    </a:lnTo>
                    <a:lnTo>
                      <a:pt x="235" y="81"/>
                    </a:lnTo>
                    <a:lnTo>
                      <a:pt x="234" y="88"/>
                    </a:lnTo>
                    <a:lnTo>
                      <a:pt x="240" y="112"/>
                    </a:lnTo>
                    <a:lnTo>
                      <a:pt x="249" y="125"/>
                    </a:lnTo>
                    <a:lnTo>
                      <a:pt x="256" y="131"/>
                    </a:lnTo>
                    <a:lnTo>
                      <a:pt x="283" y="151"/>
                    </a:lnTo>
                    <a:lnTo>
                      <a:pt x="296" y="155"/>
                    </a:lnTo>
                    <a:lnTo>
                      <a:pt x="313" y="157"/>
                    </a:lnTo>
                    <a:lnTo>
                      <a:pt x="332" y="157"/>
                    </a:lnTo>
                    <a:lnTo>
                      <a:pt x="348" y="161"/>
                    </a:lnTo>
                    <a:lnTo>
                      <a:pt x="355" y="167"/>
                    </a:lnTo>
                    <a:lnTo>
                      <a:pt x="356" y="171"/>
                    </a:lnTo>
                    <a:lnTo>
                      <a:pt x="363" y="179"/>
                    </a:lnTo>
                    <a:lnTo>
                      <a:pt x="372" y="183"/>
                    </a:lnTo>
                    <a:lnTo>
                      <a:pt x="410" y="193"/>
                    </a:lnTo>
                    <a:lnTo>
                      <a:pt x="426" y="208"/>
                    </a:lnTo>
                    <a:lnTo>
                      <a:pt x="431" y="211"/>
                    </a:lnTo>
                    <a:lnTo>
                      <a:pt x="441" y="211"/>
                    </a:lnTo>
                    <a:lnTo>
                      <a:pt x="450" y="209"/>
                    </a:lnTo>
                    <a:lnTo>
                      <a:pt x="455" y="209"/>
                    </a:lnTo>
                    <a:lnTo>
                      <a:pt x="468" y="211"/>
                    </a:lnTo>
                    <a:lnTo>
                      <a:pt x="487" y="222"/>
                    </a:lnTo>
                    <a:lnTo>
                      <a:pt x="493" y="227"/>
                    </a:lnTo>
                    <a:lnTo>
                      <a:pt x="501" y="238"/>
                    </a:lnTo>
                    <a:lnTo>
                      <a:pt x="506" y="253"/>
                    </a:lnTo>
                    <a:lnTo>
                      <a:pt x="507" y="268"/>
                    </a:lnTo>
                    <a:lnTo>
                      <a:pt x="511" y="276"/>
                    </a:lnTo>
                    <a:lnTo>
                      <a:pt x="514" y="281"/>
                    </a:lnTo>
                    <a:lnTo>
                      <a:pt x="514" y="290"/>
                    </a:lnTo>
                    <a:lnTo>
                      <a:pt x="512" y="307"/>
                    </a:lnTo>
                    <a:lnTo>
                      <a:pt x="503" y="308"/>
                    </a:lnTo>
                    <a:lnTo>
                      <a:pt x="503" y="312"/>
                    </a:lnTo>
                    <a:lnTo>
                      <a:pt x="504" y="317"/>
                    </a:lnTo>
                    <a:lnTo>
                      <a:pt x="511" y="334"/>
                    </a:lnTo>
                    <a:lnTo>
                      <a:pt x="518" y="356"/>
                    </a:lnTo>
                    <a:lnTo>
                      <a:pt x="524" y="369"/>
                    </a:lnTo>
                    <a:lnTo>
                      <a:pt x="539" y="369"/>
                    </a:lnTo>
                    <a:lnTo>
                      <a:pt x="550" y="370"/>
                    </a:lnTo>
                    <a:lnTo>
                      <a:pt x="563" y="370"/>
                    </a:lnTo>
                    <a:lnTo>
                      <a:pt x="568" y="372"/>
                    </a:lnTo>
                    <a:lnTo>
                      <a:pt x="611" y="372"/>
                    </a:lnTo>
                    <a:lnTo>
                      <a:pt x="616" y="373"/>
                    </a:lnTo>
                    <a:lnTo>
                      <a:pt x="619" y="376"/>
                    </a:lnTo>
                    <a:lnTo>
                      <a:pt x="620" y="381"/>
                    </a:lnTo>
                    <a:lnTo>
                      <a:pt x="619" y="391"/>
                    </a:lnTo>
                    <a:lnTo>
                      <a:pt x="616" y="399"/>
                    </a:lnTo>
                    <a:lnTo>
                      <a:pt x="616" y="405"/>
                    </a:lnTo>
                    <a:lnTo>
                      <a:pt x="620" y="425"/>
                    </a:lnTo>
                    <a:lnTo>
                      <a:pt x="638" y="431"/>
                    </a:lnTo>
                    <a:lnTo>
                      <a:pt x="641" y="434"/>
                    </a:lnTo>
                    <a:lnTo>
                      <a:pt x="644" y="448"/>
                    </a:lnTo>
                    <a:lnTo>
                      <a:pt x="656" y="467"/>
                    </a:lnTo>
                    <a:lnTo>
                      <a:pt x="658" y="477"/>
                    </a:lnTo>
                    <a:lnTo>
                      <a:pt x="658" y="500"/>
                    </a:lnTo>
                    <a:lnTo>
                      <a:pt x="657" y="529"/>
                    </a:lnTo>
                    <a:lnTo>
                      <a:pt x="656" y="533"/>
                    </a:lnTo>
                    <a:lnTo>
                      <a:pt x="649" y="544"/>
                    </a:lnTo>
                    <a:lnTo>
                      <a:pt x="644" y="555"/>
                    </a:lnTo>
                    <a:lnTo>
                      <a:pt x="644" y="561"/>
                    </a:lnTo>
                    <a:lnTo>
                      <a:pt x="644" y="569"/>
                    </a:lnTo>
                    <a:lnTo>
                      <a:pt x="646" y="574"/>
                    </a:lnTo>
                    <a:lnTo>
                      <a:pt x="647" y="586"/>
                    </a:lnTo>
                    <a:lnTo>
                      <a:pt x="646" y="587"/>
                    </a:lnTo>
                    <a:lnTo>
                      <a:pt x="638" y="590"/>
                    </a:lnTo>
                    <a:lnTo>
                      <a:pt x="637" y="591"/>
                    </a:lnTo>
                    <a:lnTo>
                      <a:pt x="631" y="585"/>
                    </a:lnTo>
                    <a:lnTo>
                      <a:pt x="630" y="581"/>
                    </a:lnTo>
                    <a:lnTo>
                      <a:pt x="615" y="560"/>
                    </a:lnTo>
                    <a:lnTo>
                      <a:pt x="605" y="552"/>
                    </a:lnTo>
                    <a:lnTo>
                      <a:pt x="595" y="544"/>
                    </a:lnTo>
                    <a:lnTo>
                      <a:pt x="582" y="541"/>
                    </a:lnTo>
                    <a:lnTo>
                      <a:pt x="539" y="541"/>
                    </a:lnTo>
                    <a:lnTo>
                      <a:pt x="535" y="541"/>
                    </a:lnTo>
                    <a:lnTo>
                      <a:pt x="504" y="549"/>
                    </a:lnTo>
                    <a:lnTo>
                      <a:pt x="501" y="549"/>
                    </a:lnTo>
                    <a:lnTo>
                      <a:pt x="447" y="566"/>
                    </a:lnTo>
                    <a:lnTo>
                      <a:pt x="428" y="570"/>
                    </a:lnTo>
                    <a:lnTo>
                      <a:pt x="426" y="576"/>
                    </a:lnTo>
                    <a:lnTo>
                      <a:pt x="423" y="591"/>
                    </a:lnTo>
                    <a:lnTo>
                      <a:pt x="412" y="607"/>
                    </a:lnTo>
                    <a:lnTo>
                      <a:pt x="401" y="625"/>
                    </a:lnTo>
                    <a:lnTo>
                      <a:pt x="401" y="628"/>
                    </a:lnTo>
                    <a:lnTo>
                      <a:pt x="401" y="654"/>
                    </a:lnTo>
                    <a:lnTo>
                      <a:pt x="402" y="658"/>
                    </a:lnTo>
                    <a:lnTo>
                      <a:pt x="402" y="665"/>
                    </a:lnTo>
                    <a:lnTo>
                      <a:pt x="391" y="705"/>
                    </a:lnTo>
                    <a:lnTo>
                      <a:pt x="383" y="720"/>
                    </a:lnTo>
                    <a:lnTo>
                      <a:pt x="375" y="716"/>
                    </a:lnTo>
                    <a:lnTo>
                      <a:pt x="369" y="711"/>
                    </a:lnTo>
                    <a:lnTo>
                      <a:pt x="362" y="706"/>
                    </a:lnTo>
                    <a:lnTo>
                      <a:pt x="359" y="705"/>
                    </a:lnTo>
                    <a:lnTo>
                      <a:pt x="351" y="704"/>
                    </a:lnTo>
                    <a:lnTo>
                      <a:pt x="334" y="704"/>
                    </a:lnTo>
                    <a:lnTo>
                      <a:pt x="315" y="701"/>
                    </a:lnTo>
                    <a:lnTo>
                      <a:pt x="307" y="701"/>
                    </a:lnTo>
                    <a:lnTo>
                      <a:pt x="304" y="705"/>
                    </a:lnTo>
                    <a:lnTo>
                      <a:pt x="300" y="724"/>
                    </a:lnTo>
                    <a:lnTo>
                      <a:pt x="297" y="735"/>
                    </a:lnTo>
                    <a:lnTo>
                      <a:pt x="296" y="741"/>
                    </a:lnTo>
                    <a:lnTo>
                      <a:pt x="293" y="741"/>
                    </a:lnTo>
                    <a:lnTo>
                      <a:pt x="282" y="730"/>
                    </a:lnTo>
                    <a:lnTo>
                      <a:pt x="281" y="726"/>
                    </a:lnTo>
                    <a:lnTo>
                      <a:pt x="278" y="725"/>
                    </a:lnTo>
                    <a:lnTo>
                      <a:pt x="275" y="719"/>
                    </a:lnTo>
                    <a:lnTo>
                      <a:pt x="271" y="715"/>
                    </a:lnTo>
                    <a:lnTo>
                      <a:pt x="250" y="710"/>
                    </a:lnTo>
                    <a:lnTo>
                      <a:pt x="245" y="710"/>
                    </a:lnTo>
                    <a:lnTo>
                      <a:pt x="237" y="708"/>
                    </a:lnTo>
                    <a:lnTo>
                      <a:pt x="211" y="708"/>
                    </a:lnTo>
                    <a:lnTo>
                      <a:pt x="202" y="695"/>
                    </a:lnTo>
                    <a:lnTo>
                      <a:pt x="196" y="689"/>
                    </a:lnTo>
                    <a:lnTo>
                      <a:pt x="192" y="689"/>
                    </a:lnTo>
                    <a:lnTo>
                      <a:pt x="189" y="690"/>
                    </a:lnTo>
                    <a:lnTo>
                      <a:pt x="176" y="708"/>
                    </a:lnTo>
                    <a:lnTo>
                      <a:pt x="165" y="716"/>
                    </a:lnTo>
                    <a:lnTo>
                      <a:pt x="157" y="725"/>
                    </a:lnTo>
                    <a:lnTo>
                      <a:pt x="151" y="733"/>
                    </a:lnTo>
                    <a:lnTo>
                      <a:pt x="149" y="737"/>
                    </a:lnTo>
                    <a:lnTo>
                      <a:pt x="143" y="747"/>
                    </a:lnTo>
                    <a:lnTo>
                      <a:pt x="138" y="752"/>
                    </a:lnTo>
                    <a:lnTo>
                      <a:pt x="136" y="752"/>
                    </a:lnTo>
                    <a:lnTo>
                      <a:pt x="126" y="752"/>
                    </a:lnTo>
                    <a:lnTo>
                      <a:pt x="120" y="754"/>
                    </a:lnTo>
                    <a:lnTo>
                      <a:pt x="108" y="754"/>
                    </a:lnTo>
                    <a:lnTo>
                      <a:pt x="101" y="754"/>
                    </a:lnTo>
                    <a:lnTo>
                      <a:pt x="94" y="751"/>
                    </a:lnTo>
                    <a:lnTo>
                      <a:pt x="94" y="749"/>
                    </a:lnTo>
                    <a:lnTo>
                      <a:pt x="90" y="737"/>
                    </a:lnTo>
                    <a:lnTo>
                      <a:pt x="90" y="733"/>
                    </a:lnTo>
                    <a:lnTo>
                      <a:pt x="86" y="711"/>
                    </a:lnTo>
                    <a:lnTo>
                      <a:pt x="86" y="693"/>
                    </a:lnTo>
                    <a:lnTo>
                      <a:pt x="83" y="671"/>
                    </a:lnTo>
                    <a:lnTo>
                      <a:pt x="77" y="661"/>
                    </a:lnTo>
                    <a:lnTo>
                      <a:pt x="77" y="652"/>
                    </a:lnTo>
                    <a:lnTo>
                      <a:pt x="74" y="639"/>
                    </a:lnTo>
                    <a:lnTo>
                      <a:pt x="73" y="635"/>
                    </a:lnTo>
                    <a:lnTo>
                      <a:pt x="66" y="628"/>
                    </a:lnTo>
                    <a:lnTo>
                      <a:pt x="61" y="626"/>
                    </a:lnTo>
                    <a:lnTo>
                      <a:pt x="58" y="623"/>
                    </a:lnTo>
                    <a:lnTo>
                      <a:pt x="58" y="615"/>
                    </a:lnTo>
                    <a:lnTo>
                      <a:pt x="58" y="607"/>
                    </a:lnTo>
                    <a:lnTo>
                      <a:pt x="55" y="602"/>
                    </a:lnTo>
                    <a:lnTo>
                      <a:pt x="47" y="598"/>
                    </a:lnTo>
                    <a:lnTo>
                      <a:pt x="47" y="592"/>
                    </a:lnTo>
                    <a:lnTo>
                      <a:pt x="50" y="580"/>
                    </a:lnTo>
                    <a:lnTo>
                      <a:pt x="51" y="579"/>
                    </a:lnTo>
                    <a:lnTo>
                      <a:pt x="58" y="575"/>
                    </a:lnTo>
                    <a:lnTo>
                      <a:pt x="61" y="574"/>
                    </a:lnTo>
                    <a:lnTo>
                      <a:pt x="61" y="570"/>
                    </a:lnTo>
                    <a:lnTo>
                      <a:pt x="57" y="564"/>
                    </a:lnTo>
                    <a:lnTo>
                      <a:pt x="58" y="558"/>
                    </a:lnTo>
                    <a:lnTo>
                      <a:pt x="62" y="553"/>
                    </a:lnTo>
                    <a:lnTo>
                      <a:pt x="61" y="543"/>
                    </a:lnTo>
                    <a:lnTo>
                      <a:pt x="54" y="536"/>
                    </a:lnTo>
                    <a:lnTo>
                      <a:pt x="41" y="526"/>
                    </a:lnTo>
                    <a:lnTo>
                      <a:pt x="36" y="521"/>
                    </a:lnTo>
                    <a:lnTo>
                      <a:pt x="33" y="512"/>
                    </a:lnTo>
                    <a:lnTo>
                      <a:pt x="29" y="480"/>
                    </a:lnTo>
                    <a:lnTo>
                      <a:pt x="29" y="470"/>
                    </a:lnTo>
                    <a:lnTo>
                      <a:pt x="22" y="461"/>
                    </a:lnTo>
                    <a:lnTo>
                      <a:pt x="18" y="457"/>
                    </a:lnTo>
                    <a:lnTo>
                      <a:pt x="7" y="443"/>
                    </a:lnTo>
                    <a:lnTo>
                      <a:pt x="4" y="443"/>
                    </a:lnTo>
                    <a:lnTo>
                      <a:pt x="2" y="439"/>
                    </a:lnTo>
                    <a:lnTo>
                      <a:pt x="0" y="437"/>
                    </a:lnTo>
                    <a:lnTo>
                      <a:pt x="1" y="431"/>
                    </a:lnTo>
                    <a:lnTo>
                      <a:pt x="12" y="412"/>
                    </a:lnTo>
                    <a:lnTo>
                      <a:pt x="23" y="400"/>
                    </a:lnTo>
                    <a:lnTo>
                      <a:pt x="35" y="383"/>
                    </a:lnTo>
                    <a:lnTo>
                      <a:pt x="36" y="373"/>
                    </a:lnTo>
                    <a:lnTo>
                      <a:pt x="35" y="370"/>
                    </a:lnTo>
                    <a:lnTo>
                      <a:pt x="29" y="365"/>
                    </a:lnTo>
                    <a:lnTo>
                      <a:pt x="24" y="362"/>
                    </a:lnTo>
                    <a:lnTo>
                      <a:pt x="20" y="357"/>
                    </a:lnTo>
                    <a:lnTo>
                      <a:pt x="18" y="356"/>
                    </a:lnTo>
                    <a:lnTo>
                      <a:pt x="17" y="350"/>
                    </a:lnTo>
                    <a:lnTo>
                      <a:pt x="15" y="342"/>
                    </a:lnTo>
                    <a:lnTo>
                      <a:pt x="17" y="328"/>
                    </a:lnTo>
                    <a:lnTo>
                      <a:pt x="22" y="319"/>
                    </a:lnTo>
                    <a:lnTo>
                      <a:pt x="27" y="316"/>
                    </a:lnTo>
                    <a:lnTo>
                      <a:pt x="29" y="308"/>
                    </a:lnTo>
                    <a:lnTo>
                      <a:pt x="29" y="303"/>
                    </a:lnTo>
                    <a:lnTo>
                      <a:pt x="27" y="297"/>
                    </a:lnTo>
                    <a:lnTo>
                      <a:pt x="18" y="286"/>
                    </a:lnTo>
                    <a:lnTo>
                      <a:pt x="18" y="283"/>
                    </a:lnTo>
                    <a:lnTo>
                      <a:pt x="22" y="276"/>
                    </a:lnTo>
                    <a:lnTo>
                      <a:pt x="35" y="270"/>
                    </a:lnTo>
                    <a:lnTo>
                      <a:pt x="36" y="268"/>
                    </a:lnTo>
                    <a:lnTo>
                      <a:pt x="36" y="249"/>
                    </a:lnTo>
                    <a:lnTo>
                      <a:pt x="33" y="231"/>
                    </a:lnTo>
                    <a:lnTo>
                      <a:pt x="33" y="220"/>
                    </a:lnTo>
                    <a:lnTo>
                      <a:pt x="35" y="201"/>
                    </a:lnTo>
                    <a:lnTo>
                      <a:pt x="35" y="177"/>
                    </a:lnTo>
                    <a:lnTo>
                      <a:pt x="40" y="166"/>
                    </a:lnTo>
                    <a:lnTo>
                      <a:pt x="47" y="157"/>
                    </a:lnTo>
                    <a:lnTo>
                      <a:pt x="50" y="155"/>
                    </a:lnTo>
                    <a:lnTo>
                      <a:pt x="50" y="152"/>
                    </a:lnTo>
                    <a:lnTo>
                      <a:pt x="35" y="129"/>
                    </a:lnTo>
                    <a:lnTo>
                      <a:pt x="1" y="7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78" name="Freeform 252"/>
              <p:cNvSpPr>
                <a:spLocks noChangeAspect="1"/>
              </p:cNvSpPr>
              <p:nvPr/>
            </p:nvSpPr>
            <p:spPr bwMode="gray">
              <a:xfrm>
                <a:off x="1874" y="2831"/>
                <a:ext cx="59" cy="63"/>
              </a:xfrm>
              <a:custGeom>
                <a:avLst/>
                <a:gdLst/>
                <a:ahLst/>
                <a:cxnLst>
                  <a:cxn ang="0">
                    <a:pos x="2" y="252"/>
                  </a:cxn>
                  <a:cxn ang="0">
                    <a:pos x="26" y="272"/>
                  </a:cxn>
                  <a:cxn ang="0">
                    <a:pos x="56" y="283"/>
                  </a:cxn>
                  <a:cxn ang="0">
                    <a:pos x="91" y="297"/>
                  </a:cxn>
                  <a:cxn ang="0">
                    <a:pos x="115" y="304"/>
                  </a:cxn>
                  <a:cxn ang="0">
                    <a:pos x="129" y="310"/>
                  </a:cxn>
                  <a:cxn ang="0">
                    <a:pos x="162" y="307"/>
                  </a:cxn>
                  <a:cxn ang="0">
                    <a:pos x="197" y="314"/>
                  </a:cxn>
                  <a:cxn ang="0">
                    <a:pos x="225" y="303"/>
                  </a:cxn>
                  <a:cxn ang="0">
                    <a:pos x="246" y="283"/>
                  </a:cxn>
                  <a:cxn ang="0">
                    <a:pos x="253" y="272"/>
                  </a:cxn>
                  <a:cxn ang="0">
                    <a:pos x="268" y="253"/>
                  </a:cxn>
                  <a:cxn ang="0">
                    <a:pos x="276" y="236"/>
                  </a:cxn>
                  <a:cxn ang="0">
                    <a:pos x="271" y="229"/>
                  </a:cxn>
                  <a:cxn ang="0">
                    <a:pos x="274" y="199"/>
                  </a:cxn>
                  <a:cxn ang="0">
                    <a:pos x="281" y="184"/>
                  </a:cxn>
                  <a:cxn ang="0">
                    <a:pos x="286" y="175"/>
                  </a:cxn>
                  <a:cxn ang="0">
                    <a:pos x="292" y="172"/>
                  </a:cxn>
                  <a:cxn ang="0">
                    <a:pos x="267" y="148"/>
                  </a:cxn>
                  <a:cxn ang="0">
                    <a:pos x="260" y="126"/>
                  </a:cxn>
                  <a:cxn ang="0">
                    <a:pos x="242" y="113"/>
                  </a:cxn>
                  <a:cxn ang="0">
                    <a:pos x="228" y="108"/>
                  </a:cxn>
                  <a:cxn ang="0">
                    <a:pos x="215" y="91"/>
                  </a:cxn>
                  <a:cxn ang="0">
                    <a:pos x="200" y="86"/>
                  </a:cxn>
                  <a:cxn ang="0">
                    <a:pos x="185" y="77"/>
                  </a:cxn>
                  <a:cxn ang="0">
                    <a:pos x="178" y="73"/>
                  </a:cxn>
                  <a:cxn ang="0">
                    <a:pos x="166" y="55"/>
                  </a:cxn>
                  <a:cxn ang="0">
                    <a:pos x="160" y="48"/>
                  </a:cxn>
                  <a:cxn ang="0">
                    <a:pos x="142" y="60"/>
                  </a:cxn>
                  <a:cxn ang="0">
                    <a:pos x="133" y="50"/>
                  </a:cxn>
                  <a:cxn ang="0">
                    <a:pos x="119" y="27"/>
                  </a:cxn>
                  <a:cxn ang="0">
                    <a:pos x="103" y="12"/>
                  </a:cxn>
                  <a:cxn ang="0">
                    <a:pos x="85" y="0"/>
                  </a:cxn>
                  <a:cxn ang="0">
                    <a:pos x="75" y="2"/>
                  </a:cxn>
                  <a:cxn ang="0">
                    <a:pos x="64" y="12"/>
                  </a:cxn>
                  <a:cxn ang="0">
                    <a:pos x="44" y="16"/>
                  </a:cxn>
                  <a:cxn ang="0">
                    <a:pos x="33" y="27"/>
                  </a:cxn>
                  <a:cxn ang="0">
                    <a:pos x="31" y="72"/>
                  </a:cxn>
                  <a:cxn ang="0">
                    <a:pos x="29" y="97"/>
                  </a:cxn>
                  <a:cxn ang="0">
                    <a:pos x="20" y="172"/>
                  </a:cxn>
                  <a:cxn ang="0">
                    <a:pos x="16" y="188"/>
                  </a:cxn>
                  <a:cxn ang="0">
                    <a:pos x="5" y="210"/>
                  </a:cxn>
                  <a:cxn ang="0">
                    <a:pos x="0" y="252"/>
                  </a:cxn>
                </a:cxnLst>
                <a:rect l="0" t="0" r="r" b="b"/>
                <a:pathLst>
                  <a:path w="292" h="314">
                    <a:moveTo>
                      <a:pt x="0" y="252"/>
                    </a:moveTo>
                    <a:lnTo>
                      <a:pt x="2" y="252"/>
                    </a:lnTo>
                    <a:lnTo>
                      <a:pt x="9" y="253"/>
                    </a:lnTo>
                    <a:lnTo>
                      <a:pt x="26" y="272"/>
                    </a:lnTo>
                    <a:lnTo>
                      <a:pt x="29" y="281"/>
                    </a:lnTo>
                    <a:lnTo>
                      <a:pt x="56" y="283"/>
                    </a:lnTo>
                    <a:lnTo>
                      <a:pt x="66" y="283"/>
                    </a:lnTo>
                    <a:lnTo>
                      <a:pt x="91" y="297"/>
                    </a:lnTo>
                    <a:lnTo>
                      <a:pt x="104" y="302"/>
                    </a:lnTo>
                    <a:lnTo>
                      <a:pt x="115" y="304"/>
                    </a:lnTo>
                    <a:lnTo>
                      <a:pt x="123" y="309"/>
                    </a:lnTo>
                    <a:lnTo>
                      <a:pt x="129" y="310"/>
                    </a:lnTo>
                    <a:lnTo>
                      <a:pt x="149" y="307"/>
                    </a:lnTo>
                    <a:lnTo>
                      <a:pt x="162" y="307"/>
                    </a:lnTo>
                    <a:lnTo>
                      <a:pt x="183" y="310"/>
                    </a:lnTo>
                    <a:lnTo>
                      <a:pt x="197" y="314"/>
                    </a:lnTo>
                    <a:lnTo>
                      <a:pt x="212" y="309"/>
                    </a:lnTo>
                    <a:lnTo>
                      <a:pt x="225" y="303"/>
                    </a:lnTo>
                    <a:lnTo>
                      <a:pt x="236" y="295"/>
                    </a:lnTo>
                    <a:lnTo>
                      <a:pt x="246" y="283"/>
                    </a:lnTo>
                    <a:lnTo>
                      <a:pt x="249" y="281"/>
                    </a:lnTo>
                    <a:lnTo>
                      <a:pt x="253" y="272"/>
                    </a:lnTo>
                    <a:lnTo>
                      <a:pt x="260" y="265"/>
                    </a:lnTo>
                    <a:lnTo>
                      <a:pt x="268" y="253"/>
                    </a:lnTo>
                    <a:lnTo>
                      <a:pt x="271" y="240"/>
                    </a:lnTo>
                    <a:lnTo>
                      <a:pt x="276" y="236"/>
                    </a:lnTo>
                    <a:lnTo>
                      <a:pt x="273" y="231"/>
                    </a:lnTo>
                    <a:lnTo>
                      <a:pt x="271" y="229"/>
                    </a:lnTo>
                    <a:lnTo>
                      <a:pt x="274" y="215"/>
                    </a:lnTo>
                    <a:lnTo>
                      <a:pt x="274" y="199"/>
                    </a:lnTo>
                    <a:lnTo>
                      <a:pt x="276" y="191"/>
                    </a:lnTo>
                    <a:lnTo>
                      <a:pt x="281" y="184"/>
                    </a:lnTo>
                    <a:lnTo>
                      <a:pt x="284" y="183"/>
                    </a:lnTo>
                    <a:lnTo>
                      <a:pt x="286" y="175"/>
                    </a:lnTo>
                    <a:lnTo>
                      <a:pt x="291" y="174"/>
                    </a:lnTo>
                    <a:lnTo>
                      <a:pt x="292" y="172"/>
                    </a:lnTo>
                    <a:lnTo>
                      <a:pt x="287" y="163"/>
                    </a:lnTo>
                    <a:lnTo>
                      <a:pt x="267" y="148"/>
                    </a:lnTo>
                    <a:lnTo>
                      <a:pt x="264" y="145"/>
                    </a:lnTo>
                    <a:lnTo>
                      <a:pt x="260" y="126"/>
                    </a:lnTo>
                    <a:lnTo>
                      <a:pt x="257" y="120"/>
                    </a:lnTo>
                    <a:lnTo>
                      <a:pt x="242" y="113"/>
                    </a:lnTo>
                    <a:lnTo>
                      <a:pt x="237" y="112"/>
                    </a:lnTo>
                    <a:lnTo>
                      <a:pt x="228" y="108"/>
                    </a:lnTo>
                    <a:lnTo>
                      <a:pt x="222" y="102"/>
                    </a:lnTo>
                    <a:lnTo>
                      <a:pt x="215" y="91"/>
                    </a:lnTo>
                    <a:lnTo>
                      <a:pt x="212" y="87"/>
                    </a:lnTo>
                    <a:lnTo>
                      <a:pt x="200" y="86"/>
                    </a:lnTo>
                    <a:lnTo>
                      <a:pt x="193" y="77"/>
                    </a:lnTo>
                    <a:lnTo>
                      <a:pt x="185" y="77"/>
                    </a:lnTo>
                    <a:lnTo>
                      <a:pt x="181" y="76"/>
                    </a:lnTo>
                    <a:lnTo>
                      <a:pt x="178" y="73"/>
                    </a:lnTo>
                    <a:lnTo>
                      <a:pt x="171" y="65"/>
                    </a:lnTo>
                    <a:lnTo>
                      <a:pt x="166" y="55"/>
                    </a:lnTo>
                    <a:lnTo>
                      <a:pt x="165" y="51"/>
                    </a:lnTo>
                    <a:lnTo>
                      <a:pt x="160" y="48"/>
                    </a:lnTo>
                    <a:lnTo>
                      <a:pt x="146" y="59"/>
                    </a:lnTo>
                    <a:lnTo>
                      <a:pt x="142" y="60"/>
                    </a:lnTo>
                    <a:lnTo>
                      <a:pt x="134" y="59"/>
                    </a:lnTo>
                    <a:lnTo>
                      <a:pt x="133" y="50"/>
                    </a:lnTo>
                    <a:lnTo>
                      <a:pt x="128" y="35"/>
                    </a:lnTo>
                    <a:lnTo>
                      <a:pt x="119" y="27"/>
                    </a:lnTo>
                    <a:lnTo>
                      <a:pt x="108" y="17"/>
                    </a:lnTo>
                    <a:lnTo>
                      <a:pt x="103" y="12"/>
                    </a:lnTo>
                    <a:lnTo>
                      <a:pt x="91" y="2"/>
                    </a:lnTo>
                    <a:lnTo>
                      <a:pt x="85" y="0"/>
                    </a:lnTo>
                    <a:lnTo>
                      <a:pt x="80" y="0"/>
                    </a:lnTo>
                    <a:lnTo>
                      <a:pt x="75" y="2"/>
                    </a:lnTo>
                    <a:lnTo>
                      <a:pt x="71" y="8"/>
                    </a:lnTo>
                    <a:lnTo>
                      <a:pt x="64" y="12"/>
                    </a:lnTo>
                    <a:lnTo>
                      <a:pt x="45" y="10"/>
                    </a:lnTo>
                    <a:lnTo>
                      <a:pt x="44" y="16"/>
                    </a:lnTo>
                    <a:lnTo>
                      <a:pt x="34" y="24"/>
                    </a:lnTo>
                    <a:lnTo>
                      <a:pt x="33" y="27"/>
                    </a:lnTo>
                    <a:lnTo>
                      <a:pt x="34" y="50"/>
                    </a:lnTo>
                    <a:lnTo>
                      <a:pt x="31" y="72"/>
                    </a:lnTo>
                    <a:lnTo>
                      <a:pt x="31" y="87"/>
                    </a:lnTo>
                    <a:lnTo>
                      <a:pt x="29" y="97"/>
                    </a:lnTo>
                    <a:lnTo>
                      <a:pt x="20" y="121"/>
                    </a:lnTo>
                    <a:lnTo>
                      <a:pt x="20" y="172"/>
                    </a:lnTo>
                    <a:lnTo>
                      <a:pt x="18" y="182"/>
                    </a:lnTo>
                    <a:lnTo>
                      <a:pt x="16" y="188"/>
                    </a:lnTo>
                    <a:lnTo>
                      <a:pt x="9" y="201"/>
                    </a:lnTo>
                    <a:lnTo>
                      <a:pt x="5" y="210"/>
                    </a:lnTo>
                    <a:lnTo>
                      <a:pt x="1" y="236"/>
                    </a:lnTo>
                    <a:lnTo>
                      <a:pt x="0" y="25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79" name="Freeform 253"/>
              <p:cNvSpPr>
                <a:spLocks noChangeAspect="1"/>
              </p:cNvSpPr>
              <p:nvPr/>
            </p:nvSpPr>
            <p:spPr bwMode="gray">
              <a:xfrm>
                <a:off x="1844" y="2396"/>
                <a:ext cx="53" cy="77"/>
              </a:xfrm>
              <a:custGeom>
                <a:avLst/>
                <a:gdLst/>
                <a:ahLst/>
                <a:cxnLst>
                  <a:cxn ang="0">
                    <a:pos x="89" y="0"/>
                  </a:cxn>
                  <a:cxn ang="0">
                    <a:pos x="141" y="41"/>
                  </a:cxn>
                  <a:cxn ang="0">
                    <a:pos x="152" y="83"/>
                  </a:cxn>
                  <a:cxn ang="0">
                    <a:pos x="172" y="84"/>
                  </a:cxn>
                  <a:cxn ang="0">
                    <a:pos x="195" y="94"/>
                  </a:cxn>
                  <a:cxn ang="0">
                    <a:pos x="211" y="112"/>
                  </a:cxn>
                  <a:cxn ang="0">
                    <a:pos x="232" y="139"/>
                  </a:cxn>
                  <a:cxn ang="0">
                    <a:pos x="217" y="159"/>
                  </a:cxn>
                  <a:cxn ang="0">
                    <a:pos x="220" y="165"/>
                  </a:cxn>
                  <a:cxn ang="0">
                    <a:pos x="212" y="182"/>
                  </a:cxn>
                  <a:cxn ang="0">
                    <a:pos x="189" y="186"/>
                  </a:cxn>
                  <a:cxn ang="0">
                    <a:pos x="183" y="193"/>
                  </a:cxn>
                  <a:cxn ang="0">
                    <a:pos x="174" y="228"/>
                  </a:cxn>
                  <a:cxn ang="0">
                    <a:pos x="189" y="255"/>
                  </a:cxn>
                  <a:cxn ang="0">
                    <a:pos x="200" y="268"/>
                  </a:cxn>
                  <a:cxn ang="0">
                    <a:pos x="217" y="273"/>
                  </a:cxn>
                  <a:cxn ang="0">
                    <a:pos x="226" y="289"/>
                  </a:cxn>
                  <a:cxn ang="0">
                    <a:pos x="233" y="311"/>
                  </a:cxn>
                  <a:cxn ang="0">
                    <a:pos x="263" y="347"/>
                  </a:cxn>
                  <a:cxn ang="0">
                    <a:pos x="254" y="350"/>
                  </a:cxn>
                  <a:cxn ang="0">
                    <a:pos x="233" y="348"/>
                  </a:cxn>
                  <a:cxn ang="0">
                    <a:pos x="213" y="353"/>
                  </a:cxn>
                  <a:cxn ang="0">
                    <a:pos x="183" y="366"/>
                  </a:cxn>
                  <a:cxn ang="0">
                    <a:pos x="158" y="374"/>
                  </a:cxn>
                  <a:cxn ang="0">
                    <a:pos x="134" y="386"/>
                  </a:cxn>
                  <a:cxn ang="0">
                    <a:pos x="102" y="369"/>
                  </a:cxn>
                  <a:cxn ang="0">
                    <a:pos x="91" y="357"/>
                  </a:cxn>
                  <a:cxn ang="0">
                    <a:pos x="89" y="332"/>
                  </a:cxn>
                  <a:cxn ang="0">
                    <a:pos x="77" y="288"/>
                  </a:cxn>
                  <a:cxn ang="0">
                    <a:pos x="86" y="257"/>
                  </a:cxn>
                  <a:cxn ang="0">
                    <a:pos x="95" y="234"/>
                  </a:cxn>
                  <a:cxn ang="0">
                    <a:pos x="79" y="209"/>
                  </a:cxn>
                  <a:cxn ang="0">
                    <a:pos x="72" y="193"/>
                  </a:cxn>
                  <a:cxn ang="0">
                    <a:pos x="67" y="171"/>
                  </a:cxn>
                  <a:cxn ang="0">
                    <a:pos x="37" y="174"/>
                  </a:cxn>
                  <a:cxn ang="0">
                    <a:pos x="27" y="163"/>
                  </a:cxn>
                  <a:cxn ang="0">
                    <a:pos x="0" y="128"/>
                  </a:cxn>
                  <a:cxn ang="0">
                    <a:pos x="1" y="121"/>
                  </a:cxn>
                  <a:cxn ang="0">
                    <a:pos x="11" y="91"/>
                  </a:cxn>
                  <a:cxn ang="0">
                    <a:pos x="40" y="75"/>
                  </a:cxn>
                  <a:cxn ang="0">
                    <a:pos x="38" y="64"/>
                  </a:cxn>
                  <a:cxn ang="0">
                    <a:pos x="24" y="52"/>
                  </a:cxn>
                  <a:cxn ang="0">
                    <a:pos x="29" y="35"/>
                  </a:cxn>
                  <a:cxn ang="0">
                    <a:pos x="46" y="26"/>
                  </a:cxn>
                  <a:cxn ang="0">
                    <a:pos x="72" y="13"/>
                  </a:cxn>
                  <a:cxn ang="0">
                    <a:pos x="81" y="2"/>
                  </a:cxn>
                </a:cxnLst>
                <a:rect l="0" t="0" r="r" b="b"/>
                <a:pathLst>
                  <a:path w="265" h="386">
                    <a:moveTo>
                      <a:pt x="81" y="2"/>
                    </a:moveTo>
                    <a:lnTo>
                      <a:pt x="87" y="3"/>
                    </a:lnTo>
                    <a:lnTo>
                      <a:pt x="89" y="0"/>
                    </a:lnTo>
                    <a:lnTo>
                      <a:pt x="94" y="0"/>
                    </a:lnTo>
                    <a:lnTo>
                      <a:pt x="108" y="10"/>
                    </a:lnTo>
                    <a:lnTo>
                      <a:pt x="141" y="41"/>
                    </a:lnTo>
                    <a:lnTo>
                      <a:pt x="150" y="53"/>
                    </a:lnTo>
                    <a:lnTo>
                      <a:pt x="151" y="59"/>
                    </a:lnTo>
                    <a:lnTo>
                      <a:pt x="152" y="83"/>
                    </a:lnTo>
                    <a:lnTo>
                      <a:pt x="156" y="84"/>
                    </a:lnTo>
                    <a:lnTo>
                      <a:pt x="162" y="84"/>
                    </a:lnTo>
                    <a:lnTo>
                      <a:pt x="172" y="84"/>
                    </a:lnTo>
                    <a:lnTo>
                      <a:pt x="179" y="85"/>
                    </a:lnTo>
                    <a:lnTo>
                      <a:pt x="183" y="88"/>
                    </a:lnTo>
                    <a:lnTo>
                      <a:pt x="195" y="94"/>
                    </a:lnTo>
                    <a:lnTo>
                      <a:pt x="197" y="96"/>
                    </a:lnTo>
                    <a:lnTo>
                      <a:pt x="202" y="104"/>
                    </a:lnTo>
                    <a:lnTo>
                      <a:pt x="211" y="112"/>
                    </a:lnTo>
                    <a:lnTo>
                      <a:pt x="222" y="120"/>
                    </a:lnTo>
                    <a:lnTo>
                      <a:pt x="228" y="136"/>
                    </a:lnTo>
                    <a:lnTo>
                      <a:pt x="232" y="139"/>
                    </a:lnTo>
                    <a:lnTo>
                      <a:pt x="231" y="142"/>
                    </a:lnTo>
                    <a:lnTo>
                      <a:pt x="224" y="148"/>
                    </a:lnTo>
                    <a:lnTo>
                      <a:pt x="217" y="159"/>
                    </a:lnTo>
                    <a:lnTo>
                      <a:pt x="216" y="163"/>
                    </a:lnTo>
                    <a:lnTo>
                      <a:pt x="218" y="165"/>
                    </a:lnTo>
                    <a:lnTo>
                      <a:pt x="220" y="165"/>
                    </a:lnTo>
                    <a:lnTo>
                      <a:pt x="220" y="172"/>
                    </a:lnTo>
                    <a:lnTo>
                      <a:pt x="213" y="179"/>
                    </a:lnTo>
                    <a:lnTo>
                      <a:pt x="212" y="182"/>
                    </a:lnTo>
                    <a:lnTo>
                      <a:pt x="205" y="183"/>
                    </a:lnTo>
                    <a:lnTo>
                      <a:pt x="196" y="183"/>
                    </a:lnTo>
                    <a:lnTo>
                      <a:pt x="189" y="186"/>
                    </a:lnTo>
                    <a:lnTo>
                      <a:pt x="185" y="188"/>
                    </a:lnTo>
                    <a:lnTo>
                      <a:pt x="184" y="191"/>
                    </a:lnTo>
                    <a:lnTo>
                      <a:pt x="183" y="193"/>
                    </a:lnTo>
                    <a:lnTo>
                      <a:pt x="181" y="208"/>
                    </a:lnTo>
                    <a:lnTo>
                      <a:pt x="178" y="217"/>
                    </a:lnTo>
                    <a:lnTo>
                      <a:pt x="174" y="228"/>
                    </a:lnTo>
                    <a:lnTo>
                      <a:pt x="174" y="234"/>
                    </a:lnTo>
                    <a:lnTo>
                      <a:pt x="180" y="240"/>
                    </a:lnTo>
                    <a:lnTo>
                      <a:pt x="189" y="255"/>
                    </a:lnTo>
                    <a:lnTo>
                      <a:pt x="191" y="256"/>
                    </a:lnTo>
                    <a:lnTo>
                      <a:pt x="200" y="263"/>
                    </a:lnTo>
                    <a:lnTo>
                      <a:pt x="200" y="268"/>
                    </a:lnTo>
                    <a:lnTo>
                      <a:pt x="204" y="272"/>
                    </a:lnTo>
                    <a:lnTo>
                      <a:pt x="205" y="273"/>
                    </a:lnTo>
                    <a:lnTo>
                      <a:pt x="217" y="273"/>
                    </a:lnTo>
                    <a:lnTo>
                      <a:pt x="220" y="276"/>
                    </a:lnTo>
                    <a:lnTo>
                      <a:pt x="221" y="284"/>
                    </a:lnTo>
                    <a:lnTo>
                      <a:pt x="226" y="289"/>
                    </a:lnTo>
                    <a:lnTo>
                      <a:pt x="226" y="299"/>
                    </a:lnTo>
                    <a:lnTo>
                      <a:pt x="232" y="305"/>
                    </a:lnTo>
                    <a:lnTo>
                      <a:pt x="233" y="311"/>
                    </a:lnTo>
                    <a:lnTo>
                      <a:pt x="239" y="321"/>
                    </a:lnTo>
                    <a:lnTo>
                      <a:pt x="253" y="338"/>
                    </a:lnTo>
                    <a:lnTo>
                      <a:pt x="263" y="347"/>
                    </a:lnTo>
                    <a:lnTo>
                      <a:pt x="265" y="347"/>
                    </a:lnTo>
                    <a:lnTo>
                      <a:pt x="265" y="349"/>
                    </a:lnTo>
                    <a:lnTo>
                      <a:pt x="254" y="350"/>
                    </a:lnTo>
                    <a:lnTo>
                      <a:pt x="240" y="352"/>
                    </a:lnTo>
                    <a:lnTo>
                      <a:pt x="234" y="349"/>
                    </a:lnTo>
                    <a:lnTo>
                      <a:pt x="233" y="348"/>
                    </a:lnTo>
                    <a:lnTo>
                      <a:pt x="229" y="347"/>
                    </a:lnTo>
                    <a:lnTo>
                      <a:pt x="224" y="347"/>
                    </a:lnTo>
                    <a:lnTo>
                      <a:pt x="213" y="353"/>
                    </a:lnTo>
                    <a:lnTo>
                      <a:pt x="205" y="363"/>
                    </a:lnTo>
                    <a:lnTo>
                      <a:pt x="191" y="363"/>
                    </a:lnTo>
                    <a:lnTo>
                      <a:pt x="183" y="366"/>
                    </a:lnTo>
                    <a:lnTo>
                      <a:pt x="178" y="371"/>
                    </a:lnTo>
                    <a:lnTo>
                      <a:pt x="167" y="371"/>
                    </a:lnTo>
                    <a:lnTo>
                      <a:pt x="158" y="374"/>
                    </a:lnTo>
                    <a:lnTo>
                      <a:pt x="152" y="384"/>
                    </a:lnTo>
                    <a:lnTo>
                      <a:pt x="147" y="386"/>
                    </a:lnTo>
                    <a:lnTo>
                      <a:pt x="134" y="386"/>
                    </a:lnTo>
                    <a:lnTo>
                      <a:pt x="124" y="384"/>
                    </a:lnTo>
                    <a:lnTo>
                      <a:pt x="108" y="374"/>
                    </a:lnTo>
                    <a:lnTo>
                      <a:pt x="102" y="369"/>
                    </a:lnTo>
                    <a:lnTo>
                      <a:pt x="98" y="363"/>
                    </a:lnTo>
                    <a:lnTo>
                      <a:pt x="95" y="362"/>
                    </a:lnTo>
                    <a:lnTo>
                      <a:pt x="91" y="357"/>
                    </a:lnTo>
                    <a:lnTo>
                      <a:pt x="89" y="354"/>
                    </a:lnTo>
                    <a:lnTo>
                      <a:pt x="91" y="341"/>
                    </a:lnTo>
                    <a:lnTo>
                      <a:pt x="89" y="332"/>
                    </a:lnTo>
                    <a:lnTo>
                      <a:pt x="78" y="322"/>
                    </a:lnTo>
                    <a:lnTo>
                      <a:pt x="77" y="319"/>
                    </a:lnTo>
                    <a:lnTo>
                      <a:pt x="77" y="288"/>
                    </a:lnTo>
                    <a:lnTo>
                      <a:pt x="83" y="274"/>
                    </a:lnTo>
                    <a:lnTo>
                      <a:pt x="86" y="267"/>
                    </a:lnTo>
                    <a:lnTo>
                      <a:pt x="86" y="257"/>
                    </a:lnTo>
                    <a:lnTo>
                      <a:pt x="95" y="244"/>
                    </a:lnTo>
                    <a:lnTo>
                      <a:pt x="97" y="241"/>
                    </a:lnTo>
                    <a:lnTo>
                      <a:pt x="95" y="234"/>
                    </a:lnTo>
                    <a:lnTo>
                      <a:pt x="91" y="228"/>
                    </a:lnTo>
                    <a:lnTo>
                      <a:pt x="91" y="213"/>
                    </a:lnTo>
                    <a:lnTo>
                      <a:pt x="79" y="209"/>
                    </a:lnTo>
                    <a:lnTo>
                      <a:pt x="77" y="208"/>
                    </a:lnTo>
                    <a:lnTo>
                      <a:pt x="68" y="207"/>
                    </a:lnTo>
                    <a:lnTo>
                      <a:pt x="72" y="193"/>
                    </a:lnTo>
                    <a:lnTo>
                      <a:pt x="72" y="186"/>
                    </a:lnTo>
                    <a:lnTo>
                      <a:pt x="72" y="180"/>
                    </a:lnTo>
                    <a:lnTo>
                      <a:pt x="67" y="171"/>
                    </a:lnTo>
                    <a:lnTo>
                      <a:pt x="59" y="171"/>
                    </a:lnTo>
                    <a:lnTo>
                      <a:pt x="46" y="175"/>
                    </a:lnTo>
                    <a:lnTo>
                      <a:pt x="37" y="174"/>
                    </a:lnTo>
                    <a:lnTo>
                      <a:pt x="37" y="171"/>
                    </a:lnTo>
                    <a:lnTo>
                      <a:pt x="33" y="169"/>
                    </a:lnTo>
                    <a:lnTo>
                      <a:pt x="27" y="163"/>
                    </a:lnTo>
                    <a:lnTo>
                      <a:pt x="23" y="155"/>
                    </a:lnTo>
                    <a:lnTo>
                      <a:pt x="12" y="144"/>
                    </a:lnTo>
                    <a:lnTo>
                      <a:pt x="0" y="128"/>
                    </a:lnTo>
                    <a:lnTo>
                      <a:pt x="0" y="126"/>
                    </a:lnTo>
                    <a:lnTo>
                      <a:pt x="0" y="122"/>
                    </a:lnTo>
                    <a:lnTo>
                      <a:pt x="1" y="121"/>
                    </a:lnTo>
                    <a:lnTo>
                      <a:pt x="7" y="112"/>
                    </a:lnTo>
                    <a:lnTo>
                      <a:pt x="11" y="106"/>
                    </a:lnTo>
                    <a:lnTo>
                      <a:pt x="11" y="91"/>
                    </a:lnTo>
                    <a:lnTo>
                      <a:pt x="12" y="89"/>
                    </a:lnTo>
                    <a:lnTo>
                      <a:pt x="29" y="83"/>
                    </a:lnTo>
                    <a:lnTo>
                      <a:pt x="40" y="75"/>
                    </a:lnTo>
                    <a:lnTo>
                      <a:pt x="45" y="69"/>
                    </a:lnTo>
                    <a:lnTo>
                      <a:pt x="40" y="64"/>
                    </a:lnTo>
                    <a:lnTo>
                      <a:pt x="38" y="64"/>
                    </a:lnTo>
                    <a:lnTo>
                      <a:pt x="32" y="66"/>
                    </a:lnTo>
                    <a:lnTo>
                      <a:pt x="27" y="64"/>
                    </a:lnTo>
                    <a:lnTo>
                      <a:pt x="24" y="52"/>
                    </a:lnTo>
                    <a:lnTo>
                      <a:pt x="24" y="43"/>
                    </a:lnTo>
                    <a:lnTo>
                      <a:pt x="27" y="37"/>
                    </a:lnTo>
                    <a:lnTo>
                      <a:pt x="29" y="35"/>
                    </a:lnTo>
                    <a:lnTo>
                      <a:pt x="40" y="32"/>
                    </a:lnTo>
                    <a:lnTo>
                      <a:pt x="43" y="30"/>
                    </a:lnTo>
                    <a:lnTo>
                      <a:pt x="46" y="26"/>
                    </a:lnTo>
                    <a:lnTo>
                      <a:pt x="62" y="19"/>
                    </a:lnTo>
                    <a:lnTo>
                      <a:pt x="66" y="16"/>
                    </a:lnTo>
                    <a:lnTo>
                      <a:pt x="72" y="13"/>
                    </a:lnTo>
                    <a:lnTo>
                      <a:pt x="77" y="13"/>
                    </a:lnTo>
                    <a:lnTo>
                      <a:pt x="81" y="10"/>
                    </a:lnTo>
                    <a:lnTo>
                      <a:pt x="81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80" name="Freeform 254"/>
              <p:cNvSpPr>
                <a:spLocks noChangeAspect="1"/>
              </p:cNvSpPr>
              <p:nvPr/>
            </p:nvSpPr>
            <p:spPr bwMode="gray">
              <a:xfrm>
                <a:off x="1919" y="2425"/>
                <a:ext cx="32" cy="40"/>
              </a:xfrm>
              <a:custGeom>
                <a:avLst/>
                <a:gdLst/>
                <a:ahLst/>
                <a:cxnLst>
                  <a:cxn ang="0">
                    <a:pos x="0" y="182"/>
                  </a:cxn>
                  <a:cxn ang="0">
                    <a:pos x="13" y="169"/>
                  </a:cxn>
                  <a:cxn ang="0">
                    <a:pos x="15" y="166"/>
                  </a:cxn>
                  <a:cxn ang="0">
                    <a:pos x="17" y="147"/>
                  </a:cxn>
                  <a:cxn ang="0">
                    <a:pos x="22" y="125"/>
                  </a:cxn>
                  <a:cxn ang="0">
                    <a:pos x="23" y="110"/>
                  </a:cxn>
                  <a:cxn ang="0">
                    <a:pos x="18" y="102"/>
                  </a:cxn>
                  <a:cxn ang="0">
                    <a:pos x="17" y="101"/>
                  </a:cxn>
                  <a:cxn ang="0">
                    <a:pos x="17" y="99"/>
                  </a:cxn>
                  <a:cxn ang="0">
                    <a:pos x="8" y="86"/>
                  </a:cxn>
                  <a:cxn ang="0">
                    <a:pos x="5" y="75"/>
                  </a:cxn>
                  <a:cxn ang="0">
                    <a:pos x="3" y="56"/>
                  </a:cxn>
                  <a:cxn ang="0">
                    <a:pos x="3" y="34"/>
                  </a:cxn>
                  <a:cxn ang="0">
                    <a:pos x="7" y="24"/>
                  </a:cxn>
                  <a:cxn ang="0">
                    <a:pos x="15" y="18"/>
                  </a:cxn>
                  <a:cxn ang="0">
                    <a:pos x="19" y="12"/>
                  </a:cxn>
                  <a:cxn ang="0">
                    <a:pos x="19" y="10"/>
                  </a:cxn>
                  <a:cxn ang="0">
                    <a:pos x="22" y="7"/>
                  </a:cxn>
                  <a:cxn ang="0">
                    <a:pos x="28" y="5"/>
                  </a:cxn>
                  <a:cxn ang="0">
                    <a:pos x="32" y="1"/>
                  </a:cxn>
                  <a:cxn ang="0">
                    <a:pos x="35" y="0"/>
                  </a:cxn>
                  <a:cxn ang="0">
                    <a:pos x="49" y="8"/>
                  </a:cxn>
                  <a:cxn ang="0">
                    <a:pos x="61" y="13"/>
                  </a:cxn>
                  <a:cxn ang="0">
                    <a:pos x="73" y="19"/>
                  </a:cxn>
                  <a:cxn ang="0">
                    <a:pos x="85" y="21"/>
                  </a:cxn>
                  <a:cxn ang="0">
                    <a:pos x="98" y="28"/>
                  </a:cxn>
                  <a:cxn ang="0">
                    <a:pos x="113" y="39"/>
                  </a:cxn>
                  <a:cxn ang="0">
                    <a:pos x="116" y="40"/>
                  </a:cxn>
                  <a:cxn ang="0">
                    <a:pos x="130" y="53"/>
                  </a:cxn>
                  <a:cxn ang="0">
                    <a:pos x="135" y="59"/>
                  </a:cxn>
                  <a:cxn ang="0">
                    <a:pos x="146" y="65"/>
                  </a:cxn>
                  <a:cxn ang="0">
                    <a:pos x="156" y="75"/>
                  </a:cxn>
                  <a:cxn ang="0">
                    <a:pos x="156" y="86"/>
                  </a:cxn>
                  <a:cxn ang="0">
                    <a:pos x="157" y="86"/>
                  </a:cxn>
                  <a:cxn ang="0">
                    <a:pos x="144" y="99"/>
                  </a:cxn>
                  <a:cxn ang="0">
                    <a:pos x="141" y="107"/>
                  </a:cxn>
                  <a:cxn ang="0">
                    <a:pos x="128" y="125"/>
                  </a:cxn>
                  <a:cxn ang="0">
                    <a:pos x="118" y="137"/>
                  </a:cxn>
                  <a:cxn ang="0">
                    <a:pos x="114" y="144"/>
                  </a:cxn>
                  <a:cxn ang="0">
                    <a:pos x="105" y="166"/>
                  </a:cxn>
                  <a:cxn ang="0">
                    <a:pos x="78" y="190"/>
                  </a:cxn>
                  <a:cxn ang="0">
                    <a:pos x="76" y="193"/>
                  </a:cxn>
                  <a:cxn ang="0">
                    <a:pos x="71" y="195"/>
                  </a:cxn>
                  <a:cxn ang="0">
                    <a:pos x="61" y="195"/>
                  </a:cxn>
                  <a:cxn ang="0">
                    <a:pos x="54" y="191"/>
                  </a:cxn>
                  <a:cxn ang="0">
                    <a:pos x="48" y="191"/>
                  </a:cxn>
                  <a:cxn ang="0">
                    <a:pos x="44" y="193"/>
                  </a:cxn>
                  <a:cxn ang="0">
                    <a:pos x="28" y="200"/>
                  </a:cxn>
                  <a:cxn ang="0">
                    <a:pos x="22" y="200"/>
                  </a:cxn>
                  <a:cxn ang="0">
                    <a:pos x="19" y="199"/>
                  </a:cxn>
                  <a:cxn ang="0">
                    <a:pos x="10" y="193"/>
                  </a:cxn>
                  <a:cxn ang="0">
                    <a:pos x="0" y="182"/>
                  </a:cxn>
                </a:cxnLst>
                <a:rect l="0" t="0" r="r" b="b"/>
                <a:pathLst>
                  <a:path w="157" h="200">
                    <a:moveTo>
                      <a:pt x="0" y="182"/>
                    </a:moveTo>
                    <a:lnTo>
                      <a:pt x="13" y="169"/>
                    </a:lnTo>
                    <a:lnTo>
                      <a:pt x="15" y="166"/>
                    </a:lnTo>
                    <a:lnTo>
                      <a:pt x="17" y="147"/>
                    </a:lnTo>
                    <a:lnTo>
                      <a:pt x="22" y="125"/>
                    </a:lnTo>
                    <a:lnTo>
                      <a:pt x="23" y="110"/>
                    </a:lnTo>
                    <a:lnTo>
                      <a:pt x="18" y="102"/>
                    </a:lnTo>
                    <a:lnTo>
                      <a:pt x="17" y="101"/>
                    </a:lnTo>
                    <a:lnTo>
                      <a:pt x="17" y="99"/>
                    </a:lnTo>
                    <a:lnTo>
                      <a:pt x="8" y="86"/>
                    </a:lnTo>
                    <a:lnTo>
                      <a:pt x="5" y="75"/>
                    </a:lnTo>
                    <a:lnTo>
                      <a:pt x="3" y="56"/>
                    </a:lnTo>
                    <a:lnTo>
                      <a:pt x="3" y="34"/>
                    </a:lnTo>
                    <a:lnTo>
                      <a:pt x="7" y="24"/>
                    </a:lnTo>
                    <a:lnTo>
                      <a:pt x="15" y="18"/>
                    </a:lnTo>
                    <a:lnTo>
                      <a:pt x="19" y="12"/>
                    </a:lnTo>
                    <a:lnTo>
                      <a:pt x="19" y="10"/>
                    </a:lnTo>
                    <a:lnTo>
                      <a:pt x="22" y="7"/>
                    </a:lnTo>
                    <a:lnTo>
                      <a:pt x="28" y="5"/>
                    </a:lnTo>
                    <a:lnTo>
                      <a:pt x="32" y="1"/>
                    </a:lnTo>
                    <a:lnTo>
                      <a:pt x="35" y="0"/>
                    </a:lnTo>
                    <a:lnTo>
                      <a:pt x="49" y="8"/>
                    </a:lnTo>
                    <a:lnTo>
                      <a:pt x="61" y="13"/>
                    </a:lnTo>
                    <a:lnTo>
                      <a:pt x="73" y="19"/>
                    </a:lnTo>
                    <a:lnTo>
                      <a:pt x="85" y="21"/>
                    </a:lnTo>
                    <a:lnTo>
                      <a:pt x="98" y="28"/>
                    </a:lnTo>
                    <a:lnTo>
                      <a:pt x="113" y="39"/>
                    </a:lnTo>
                    <a:lnTo>
                      <a:pt x="116" y="40"/>
                    </a:lnTo>
                    <a:lnTo>
                      <a:pt x="130" y="53"/>
                    </a:lnTo>
                    <a:lnTo>
                      <a:pt x="135" y="59"/>
                    </a:lnTo>
                    <a:lnTo>
                      <a:pt x="146" y="65"/>
                    </a:lnTo>
                    <a:lnTo>
                      <a:pt x="156" y="75"/>
                    </a:lnTo>
                    <a:lnTo>
                      <a:pt x="156" y="86"/>
                    </a:lnTo>
                    <a:lnTo>
                      <a:pt x="157" y="86"/>
                    </a:lnTo>
                    <a:lnTo>
                      <a:pt x="144" y="99"/>
                    </a:lnTo>
                    <a:lnTo>
                      <a:pt x="141" y="107"/>
                    </a:lnTo>
                    <a:lnTo>
                      <a:pt x="128" y="125"/>
                    </a:lnTo>
                    <a:lnTo>
                      <a:pt x="118" y="137"/>
                    </a:lnTo>
                    <a:lnTo>
                      <a:pt x="114" y="144"/>
                    </a:lnTo>
                    <a:lnTo>
                      <a:pt x="105" y="166"/>
                    </a:lnTo>
                    <a:lnTo>
                      <a:pt x="78" y="190"/>
                    </a:lnTo>
                    <a:lnTo>
                      <a:pt x="76" y="193"/>
                    </a:lnTo>
                    <a:lnTo>
                      <a:pt x="71" y="195"/>
                    </a:lnTo>
                    <a:lnTo>
                      <a:pt x="61" y="195"/>
                    </a:lnTo>
                    <a:lnTo>
                      <a:pt x="54" y="191"/>
                    </a:lnTo>
                    <a:lnTo>
                      <a:pt x="48" y="191"/>
                    </a:lnTo>
                    <a:lnTo>
                      <a:pt x="44" y="193"/>
                    </a:lnTo>
                    <a:lnTo>
                      <a:pt x="28" y="200"/>
                    </a:lnTo>
                    <a:lnTo>
                      <a:pt x="22" y="200"/>
                    </a:lnTo>
                    <a:lnTo>
                      <a:pt x="19" y="199"/>
                    </a:lnTo>
                    <a:lnTo>
                      <a:pt x="10" y="193"/>
                    </a:lnTo>
                    <a:lnTo>
                      <a:pt x="0" y="18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81" name="Freeform 255"/>
              <p:cNvSpPr>
                <a:spLocks noChangeAspect="1"/>
              </p:cNvSpPr>
              <p:nvPr/>
            </p:nvSpPr>
            <p:spPr bwMode="gray">
              <a:xfrm>
                <a:off x="1624" y="2488"/>
                <a:ext cx="137" cy="201"/>
              </a:xfrm>
              <a:custGeom>
                <a:avLst/>
                <a:gdLst/>
                <a:ahLst/>
                <a:cxnLst>
                  <a:cxn ang="0">
                    <a:pos x="319" y="13"/>
                  </a:cxn>
                  <a:cxn ang="0">
                    <a:pos x="335" y="50"/>
                  </a:cxn>
                  <a:cxn ang="0">
                    <a:pos x="284" y="110"/>
                  </a:cxn>
                  <a:cxn ang="0">
                    <a:pos x="204" y="156"/>
                  </a:cxn>
                  <a:cxn ang="0">
                    <a:pos x="170" y="190"/>
                  </a:cxn>
                  <a:cxn ang="0">
                    <a:pos x="159" y="190"/>
                  </a:cxn>
                  <a:cxn ang="0">
                    <a:pos x="138" y="253"/>
                  </a:cxn>
                  <a:cxn ang="0">
                    <a:pos x="97" y="260"/>
                  </a:cxn>
                  <a:cxn ang="0">
                    <a:pos x="72" y="242"/>
                  </a:cxn>
                  <a:cxn ang="0">
                    <a:pos x="43" y="242"/>
                  </a:cxn>
                  <a:cxn ang="0">
                    <a:pos x="52" y="214"/>
                  </a:cxn>
                  <a:cxn ang="0">
                    <a:pos x="51" y="188"/>
                  </a:cxn>
                  <a:cxn ang="0">
                    <a:pos x="3" y="231"/>
                  </a:cxn>
                  <a:cxn ang="0">
                    <a:pos x="9" y="271"/>
                  </a:cxn>
                  <a:cxn ang="0">
                    <a:pos x="21" y="308"/>
                  </a:cxn>
                  <a:cxn ang="0">
                    <a:pos x="51" y="350"/>
                  </a:cxn>
                  <a:cxn ang="0">
                    <a:pos x="89" y="387"/>
                  </a:cxn>
                  <a:cxn ang="0">
                    <a:pos x="140" y="478"/>
                  </a:cxn>
                  <a:cxn ang="0">
                    <a:pos x="188" y="578"/>
                  </a:cxn>
                  <a:cxn ang="0">
                    <a:pos x="212" y="632"/>
                  </a:cxn>
                  <a:cxn ang="0">
                    <a:pos x="256" y="711"/>
                  </a:cxn>
                  <a:cxn ang="0">
                    <a:pos x="267" y="764"/>
                  </a:cxn>
                  <a:cxn ang="0">
                    <a:pos x="298" y="807"/>
                  </a:cxn>
                  <a:cxn ang="0">
                    <a:pos x="391" y="874"/>
                  </a:cxn>
                  <a:cxn ang="0">
                    <a:pos x="481" y="922"/>
                  </a:cxn>
                  <a:cxn ang="0">
                    <a:pos x="532" y="957"/>
                  </a:cxn>
                  <a:cxn ang="0">
                    <a:pos x="584" y="1001"/>
                  </a:cxn>
                  <a:cxn ang="0">
                    <a:pos x="620" y="995"/>
                  </a:cxn>
                  <a:cxn ang="0">
                    <a:pos x="638" y="968"/>
                  </a:cxn>
                  <a:cxn ang="0">
                    <a:pos x="649" y="935"/>
                  </a:cxn>
                  <a:cxn ang="0">
                    <a:pos x="665" y="888"/>
                  </a:cxn>
                  <a:cxn ang="0">
                    <a:pos x="651" y="865"/>
                  </a:cxn>
                  <a:cxn ang="0">
                    <a:pos x="665" y="826"/>
                  </a:cxn>
                  <a:cxn ang="0">
                    <a:pos x="671" y="793"/>
                  </a:cxn>
                  <a:cxn ang="0">
                    <a:pos x="671" y="724"/>
                  </a:cxn>
                  <a:cxn ang="0">
                    <a:pos x="686" y="675"/>
                  </a:cxn>
                  <a:cxn ang="0">
                    <a:pos x="612" y="598"/>
                  </a:cxn>
                  <a:cxn ang="0">
                    <a:pos x="591" y="564"/>
                  </a:cxn>
                  <a:cxn ang="0">
                    <a:pos x="578" y="514"/>
                  </a:cxn>
                  <a:cxn ang="0">
                    <a:pos x="502" y="537"/>
                  </a:cxn>
                  <a:cxn ang="0">
                    <a:pos x="468" y="512"/>
                  </a:cxn>
                  <a:cxn ang="0">
                    <a:pos x="450" y="480"/>
                  </a:cxn>
                  <a:cxn ang="0">
                    <a:pos x="422" y="432"/>
                  </a:cxn>
                  <a:cxn ang="0">
                    <a:pos x="428" y="362"/>
                  </a:cxn>
                  <a:cxn ang="0">
                    <a:pos x="452" y="318"/>
                  </a:cxn>
                  <a:cxn ang="0">
                    <a:pos x="510" y="254"/>
                  </a:cxn>
                  <a:cxn ang="0">
                    <a:pos x="620" y="225"/>
                  </a:cxn>
                  <a:cxn ang="0">
                    <a:pos x="596" y="205"/>
                  </a:cxn>
                  <a:cxn ang="0">
                    <a:pos x="593" y="182"/>
                  </a:cxn>
                  <a:cxn ang="0">
                    <a:pos x="605" y="137"/>
                  </a:cxn>
                  <a:cxn ang="0">
                    <a:pos x="553" y="126"/>
                  </a:cxn>
                  <a:cxn ang="0">
                    <a:pos x="516" y="120"/>
                  </a:cxn>
                  <a:cxn ang="0">
                    <a:pos x="499" y="132"/>
                  </a:cxn>
                  <a:cxn ang="0">
                    <a:pos x="461" y="130"/>
                  </a:cxn>
                  <a:cxn ang="0">
                    <a:pos x="438" y="96"/>
                  </a:cxn>
                  <a:cxn ang="0">
                    <a:pos x="419" y="69"/>
                  </a:cxn>
                  <a:cxn ang="0">
                    <a:pos x="394" y="55"/>
                  </a:cxn>
                  <a:cxn ang="0">
                    <a:pos x="366" y="21"/>
                  </a:cxn>
                  <a:cxn ang="0">
                    <a:pos x="332" y="0"/>
                  </a:cxn>
                </a:cxnLst>
                <a:rect l="0" t="0" r="r" b="b"/>
                <a:pathLst>
                  <a:path w="686" h="1004">
                    <a:moveTo>
                      <a:pt x="328" y="0"/>
                    </a:moveTo>
                    <a:lnTo>
                      <a:pt x="326" y="2"/>
                    </a:lnTo>
                    <a:lnTo>
                      <a:pt x="315" y="2"/>
                    </a:lnTo>
                    <a:lnTo>
                      <a:pt x="314" y="11"/>
                    </a:lnTo>
                    <a:lnTo>
                      <a:pt x="319" y="13"/>
                    </a:lnTo>
                    <a:lnTo>
                      <a:pt x="321" y="16"/>
                    </a:lnTo>
                    <a:lnTo>
                      <a:pt x="326" y="27"/>
                    </a:lnTo>
                    <a:lnTo>
                      <a:pt x="327" y="32"/>
                    </a:lnTo>
                    <a:lnTo>
                      <a:pt x="335" y="49"/>
                    </a:lnTo>
                    <a:lnTo>
                      <a:pt x="335" y="50"/>
                    </a:lnTo>
                    <a:lnTo>
                      <a:pt x="326" y="50"/>
                    </a:lnTo>
                    <a:lnTo>
                      <a:pt x="319" y="65"/>
                    </a:lnTo>
                    <a:lnTo>
                      <a:pt x="305" y="89"/>
                    </a:lnTo>
                    <a:lnTo>
                      <a:pt x="292" y="104"/>
                    </a:lnTo>
                    <a:lnTo>
                      <a:pt x="284" y="110"/>
                    </a:lnTo>
                    <a:lnTo>
                      <a:pt x="274" y="119"/>
                    </a:lnTo>
                    <a:lnTo>
                      <a:pt x="265" y="131"/>
                    </a:lnTo>
                    <a:lnTo>
                      <a:pt x="256" y="137"/>
                    </a:lnTo>
                    <a:lnTo>
                      <a:pt x="240" y="145"/>
                    </a:lnTo>
                    <a:lnTo>
                      <a:pt x="204" y="156"/>
                    </a:lnTo>
                    <a:lnTo>
                      <a:pt x="186" y="163"/>
                    </a:lnTo>
                    <a:lnTo>
                      <a:pt x="179" y="168"/>
                    </a:lnTo>
                    <a:lnTo>
                      <a:pt x="176" y="171"/>
                    </a:lnTo>
                    <a:lnTo>
                      <a:pt x="171" y="180"/>
                    </a:lnTo>
                    <a:lnTo>
                      <a:pt x="170" y="190"/>
                    </a:lnTo>
                    <a:lnTo>
                      <a:pt x="166" y="193"/>
                    </a:lnTo>
                    <a:lnTo>
                      <a:pt x="164" y="193"/>
                    </a:lnTo>
                    <a:lnTo>
                      <a:pt x="160" y="189"/>
                    </a:lnTo>
                    <a:lnTo>
                      <a:pt x="159" y="189"/>
                    </a:lnTo>
                    <a:lnTo>
                      <a:pt x="159" y="190"/>
                    </a:lnTo>
                    <a:lnTo>
                      <a:pt x="144" y="210"/>
                    </a:lnTo>
                    <a:lnTo>
                      <a:pt x="142" y="223"/>
                    </a:lnTo>
                    <a:lnTo>
                      <a:pt x="142" y="244"/>
                    </a:lnTo>
                    <a:lnTo>
                      <a:pt x="139" y="252"/>
                    </a:lnTo>
                    <a:lnTo>
                      <a:pt x="138" y="253"/>
                    </a:lnTo>
                    <a:lnTo>
                      <a:pt x="128" y="257"/>
                    </a:lnTo>
                    <a:lnTo>
                      <a:pt x="121" y="264"/>
                    </a:lnTo>
                    <a:lnTo>
                      <a:pt x="110" y="269"/>
                    </a:lnTo>
                    <a:lnTo>
                      <a:pt x="102" y="268"/>
                    </a:lnTo>
                    <a:lnTo>
                      <a:pt x="97" y="260"/>
                    </a:lnTo>
                    <a:lnTo>
                      <a:pt x="95" y="254"/>
                    </a:lnTo>
                    <a:lnTo>
                      <a:pt x="90" y="245"/>
                    </a:lnTo>
                    <a:lnTo>
                      <a:pt x="84" y="245"/>
                    </a:lnTo>
                    <a:lnTo>
                      <a:pt x="74" y="245"/>
                    </a:lnTo>
                    <a:lnTo>
                      <a:pt x="72" y="242"/>
                    </a:lnTo>
                    <a:lnTo>
                      <a:pt x="67" y="238"/>
                    </a:lnTo>
                    <a:lnTo>
                      <a:pt x="58" y="238"/>
                    </a:lnTo>
                    <a:lnTo>
                      <a:pt x="50" y="243"/>
                    </a:lnTo>
                    <a:lnTo>
                      <a:pt x="45" y="244"/>
                    </a:lnTo>
                    <a:lnTo>
                      <a:pt x="43" y="242"/>
                    </a:lnTo>
                    <a:lnTo>
                      <a:pt x="41" y="228"/>
                    </a:lnTo>
                    <a:lnTo>
                      <a:pt x="39" y="223"/>
                    </a:lnTo>
                    <a:lnTo>
                      <a:pt x="39" y="221"/>
                    </a:lnTo>
                    <a:lnTo>
                      <a:pt x="42" y="216"/>
                    </a:lnTo>
                    <a:lnTo>
                      <a:pt x="52" y="214"/>
                    </a:lnTo>
                    <a:lnTo>
                      <a:pt x="57" y="209"/>
                    </a:lnTo>
                    <a:lnTo>
                      <a:pt x="56" y="200"/>
                    </a:lnTo>
                    <a:lnTo>
                      <a:pt x="54" y="198"/>
                    </a:lnTo>
                    <a:lnTo>
                      <a:pt x="52" y="188"/>
                    </a:lnTo>
                    <a:lnTo>
                      <a:pt x="51" y="188"/>
                    </a:lnTo>
                    <a:lnTo>
                      <a:pt x="51" y="185"/>
                    </a:lnTo>
                    <a:lnTo>
                      <a:pt x="43" y="193"/>
                    </a:lnTo>
                    <a:lnTo>
                      <a:pt x="32" y="200"/>
                    </a:lnTo>
                    <a:lnTo>
                      <a:pt x="18" y="216"/>
                    </a:lnTo>
                    <a:lnTo>
                      <a:pt x="3" y="231"/>
                    </a:lnTo>
                    <a:lnTo>
                      <a:pt x="2" y="236"/>
                    </a:lnTo>
                    <a:lnTo>
                      <a:pt x="0" y="245"/>
                    </a:lnTo>
                    <a:lnTo>
                      <a:pt x="3" y="260"/>
                    </a:lnTo>
                    <a:lnTo>
                      <a:pt x="4" y="263"/>
                    </a:lnTo>
                    <a:lnTo>
                      <a:pt x="9" y="271"/>
                    </a:lnTo>
                    <a:lnTo>
                      <a:pt x="10" y="284"/>
                    </a:lnTo>
                    <a:lnTo>
                      <a:pt x="19" y="292"/>
                    </a:lnTo>
                    <a:lnTo>
                      <a:pt x="24" y="298"/>
                    </a:lnTo>
                    <a:lnTo>
                      <a:pt x="24" y="302"/>
                    </a:lnTo>
                    <a:lnTo>
                      <a:pt x="21" y="308"/>
                    </a:lnTo>
                    <a:lnTo>
                      <a:pt x="11" y="318"/>
                    </a:lnTo>
                    <a:lnTo>
                      <a:pt x="14" y="323"/>
                    </a:lnTo>
                    <a:lnTo>
                      <a:pt x="29" y="333"/>
                    </a:lnTo>
                    <a:lnTo>
                      <a:pt x="37" y="340"/>
                    </a:lnTo>
                    <a:lnTo>
                      <a:pt x="51" y="350"/>
                    </a:lnTo>
                    <a:lnTo>
                      <a:pt x="58" y="355"/>
                    </a:lnTo>
                    <a:lnTo>
                      <a:pt x="73" y="367"/>
                    </a:lnTo>
                    <a:lnTo>
                      <a:pt x="80" y="379"/>
                    </a:lnTo>
                    <a:lnTo>
                      <a:pt x="83" y="379"/>
                    </a:lnTo>
                    <a:lnTo>
                      <a:pt x="89" y="387"/>
                    </a:lnTo>
                    <a:lnTo>
                      <a:pt x="97" y="413"/>
                    </a:lnTo>
                    <a:lnTo>
                      <a:pt x="102" y="422"/>
                    </a:lnTo>
                    <a:lnTo>
                      <a:pt x="133" y="452"/>
                    </a:lnTo>
                    <a:lnTo>
                      <a:pt x="139" y="467"/>
                    </a:lnTo>
                    <a:lnTo>
                      <a:pt x="140" y="478"/>
                    </a:lnTo>
                    <a:lnTo>
                      <a:pt x="143" y="484"/>
                    </a:lnTo>
                    <a:lnTo>
                      <a:pt x="155" y="507"/>
                    </a:lnTo>
                    <a:lnTo>
                      <a:pt x="161" y="522"/>
                    </a:lnTo>
                    <a:lnTo>
                      <a:pt x="170" y="549"/>
                    </a:lnTo>
                    <a:lnTo>
                      <a:pt x="188" y="578"/>
                    </a:lnTo>
                    <a:lnTo>
                      <a:pt x="191" y="584"/>
                    </a:lnTo>
                    <a:lnTo>
                      <a:pt x="193" y="608"/>
                    </a:lnTo>
                    <a:lnTo>
                      <a:pt x="199" y="624"/>
                    </a:lnTo>
                    <a:lnTo>
                      <a:pt x="204" y="629"/>
                    </a:lnTo>
                    <a:lnTo>
                      <a:pt x="212" y="632"/>
                    </a:lnTo>
                    <a:lnTo>
                      <a:pt x="217" y="639"/>
                    </a:lnTo>
                    <a:lnTo>
                      <a:pt x="225" y="659"/>
                    </a:lnTo>
                    <a:lnTo>
                      <a:pt x="239" y="678"/>
                    </a:lnTo>
                    <a:lnTo>
                      <a:pt x="249" y="693"/>
                    </a:lnTo>
                    <a:lnTo>
                      <a:pt x="256" y="711"/>
                    </a:lnTo>
                    <a:lnTo>
                      <a:pt x="269" y="726"/>
                    </a:lnTo>
                    <a:lnTo>
                      <a:pt x="274" y="742"/>
                    </a:lnTo>
                    <a:lnTo>
                      <a:pt x="277" y="754"/>
                    </a:lnTo>
                    <a:lnTo>
                      <a:pt x="271" y="758"/>
                    </a:lnTo>
                    <a:lnTo>
                      <a:pt x="267" y="764"/>
                    </a:lnTo>
                    <a:lnTo>
                      <a:pt x="269" y="776"/>
                    </a:lnTo>
                    <a:lnTo>
                      <a:pt x="272" y="780"/>
                    </a:lnTo>
                    <a:lnTo>
                      <a:pt x="283" y="791"/>
                    </a:lnTo>
                    <a:lnTo>
                      <a:pt x="290" y="802"/>
                    </a:lnTo>
                    <a:lnTo>
                      <a:pt x="298" y="807"/>
                    </a:lnTo>
                    <a:lnTo>
                      <a:pt x="317" y="828"/>
                    </a:lnTo>
                    <a:lnTo>
                      <a:pt x="327" y="834"/>
                    </a:lnTo>
                    <a:lnTo>
                      <a:pt x="335" y="842"/>
                    </a:lnTo>
                    <a:lnTo>
                      <a:pt x="359" y="858"/>
                    </a:lnTo>
                    <a:lnTo>
                      <a:pt x="391" y="874"/>
                    </a:lnTo>
                    <a:lnTo>
                      <a:pt x="411" y="890"/>
                    </a:lnTo>
                    <a:lnTo>
                      <a:pt x="414" y="892"/>
                    </a:lnTo>
                    <a:lnTo>
                      <a:pt x="455" y="908"/>
                    </a:lnTo>
                    <a:lnTo>
                      <a:pt x="478" y="921"/>
                    </a:lnTo>
                    <a:lnTo>
                      <a:pt x="481" y="922"/>
                    </a:lnTo>
                    <a:lnTo>
                      <a:pt x="486" y="922"/>
                    </a:lnTo>
                    <a:lnTo>
                      <a:pt x="491" y="923"/>
                    </a:lnTo>
                    <a:lnTo>
                      <a:pt x="513" y="941"/>
                    </a:lnTo>
                    <a:lnTo>
                      <a:pt x="525" y="948"/>
                    </a:lnTo>
                    <a:lnTo>
                      <a:pt x="532" y="957"/>
                    </a:lnTo>
                    <a:lnTo>
                      <a:pt x="541" y="964"/>
                    </a:lnTo>
                    <a:lnTo>
                      <a:pt x="551" y="974"/>
                    </a:lnTo>
                    <a:lnTo>
                      <a:pt x="562" y="989"/>
                    </a:lnTo>
                    <a:lnTo>
                      <a:pt x="574" y="995"/>
                    </a:lnTo>
                    <a:lnTo>
                      <a:pt x="584" y="1001"/>
                    </a:lnTo>
                    <a:lnTo>
                      <a:pt x="585" y="1001"/>
                    </a:lnTo>
                    <a:lnTo>
                      <a:pt x="589" y="1005"/>
                    </a:lnTo>
                    <a:lnTo>
                      <a:pt x="599" y="996"/>
                    </a:lnTo>
                    <a:lnTo>
                      <a:pt x="601" y="996"/>
                    </a:lnTo>
                    <a:lnTo>
                      <a:pt x="620" y="995"/>
                    </a:lnTo>
                    <a:lnTo>
                      <a:pt x="626" y="992"/>
                    </a:lnTo>
                    <a:lnTo>
                      <a:pt x="627" y="991"/>
                    </a:lnTo>
                    <a:lnTo>
                      <a:pt x="628" y="982"/>
                    </a:lnTo>
                    <a:lnTo>
                      <a:pt x="634" y="973"/>
                    </a:lnTo>
                    <a:lnTo>
                      <a:pt x="638" y="968"/>
                    </a:lnTo>
                    <a:lnTo>
                      <a:pt x="642" y="966"/>
                    </a:lnTo>
                    <a:lnTo>
                      <a:pt x="638" y="960"/>
                    </a:lnTo>
                    <a:lnTo>
                      <a:pt x="636" y="960"/>
                    </a:lnTo>
                    <a:lnTo>
                      <a:pt x="637" y="954"/>
                    </a:lnTo>
                    <a:lnTo>
                      <a:pt x="649" y="935"/>
                    </a:lnTo>
                    <a:lnTo>
                      <a:pt x="659" y="923"/>
                    </a:lnTo>
                    <a:lnTo>
                      <a:pt x="671" y="906"/>
                    </a:lnTo>
                    <a:lnTo>
                      <a:pt x="672" y="896"/>
                    </a:lnTo>
                    <a:lnTo>
                      <a:pt x="671" y="893"/>
                    </a:lnTo>
                    <a:lnTo>
                      <a:pt x="665" y="888"/>
                    </a:lnTo>
                    <a:lnTo>
                      <a:pt x="660" y="885"/>
                    </a:lnTo>
                    <a:lnTo>
                      <a:pt x="656" y="880"/>
                    </a:lnTo>
                    <a:lnTo>
                      <a:pt x="654" y="879"/>
                    </a:lnTo>
                    <a:lnTo>
                      <a:pt x="653" y="873"/>
                    </a:lnTo>
                    <a:lnTo>
                      <a:pt x="651" y="865"/>
                    </a:lnTo>
                    <a:lnTo>
                      <a:pt x="653" y="851"/>
                    </a:lnTo>
                    <a:lnTo>
                      <a:pt x="658" y="842"/>
                    </a:lnTo>
                    <a:lnTo>
                      <a:pt x="663" y="839"/>
                    </a:lnTo>
                    <a:lnTo>
                      <a:pt x="665" y="831"/>
                    </a:lnTo>
                    <a:lnTo>
                      <a:pt x="665" y="826"/>
                    </a:lnTo>
                    <a:lnTo>
                      <a:pt x="664" y="820"/>
                    </a:lnTo>
                    <a:lnTo>
                      <a:pt x="654" y="809"/>
                    </a:lnTo>
                    <a:lnTo>
                      <a:pt x="654" y="806"/>
                    </a:lnTo>
                    <a:lnTo>
                      <a:pt x="658" y="799"/>
                    </a:lnTo>
                    <a:lnTo>
                      <a:pt x="671" y="793"/>
                    </a:lnTo>
                    <a:lnTo>
                      <a:pt x="672" y="791"/>
                    </a:lnTo>
                    <a:lnTo>
                      <a:pt x="672" y="772"/>
                    </a:lnTo>
                    <a:lnTo>
                      <a:pt x="669" y="754"/>
                    </a:lnTo>
                    <a:lnTo>
                      <a:pt x="669" y="743"/>
                    </a:lnTo>
                    <a:lnTo>
                      <a:pt x="671" y="724"/>
                    </a:lnTo>
                    <a:lnTo>
                      <a:pt x="671" y="700"/>
                    </a:lnTo>
                    <a:lnTo>
                      <a:pt x="676" y="689"/>
                    </a:lnTo>
                    <a:lnTo>
                      <a:pt x="683" y="680"/>
                    </a:lnTo>
                    <a:lnTo>
                      <a:pt x="686" y="678"/>
                    </a:lnTo>
                    <a:lnTo>
                      <a:pt x="686" y="675"/>
                    </a:lnTo>
                    <a:lnTo>
                      <a:pt x="671" y="652"/>
                    </a:lnTo>
                    <a:lnTo>
                      <a:pt x="637" y="593"/>
                    </a:lnTo>
                    <a:lnTo>
                      <a:pt x="620" y="594"/>
                    </a:lnTo>
                    <a:lnTo>
                      <a:pt x="612" y="598"/>
                    </a:lnTo>
                    <a:lnTo>
                      <a:pt x="612" y="598"/>
                    </a:lnTo>
                    <a:lnTo>
                      <a:pt x="605" y="600"/>
                    </a:lnTo>
                    <a:lnTo>
                      <a:pt x="600" y="600"/>
                    </a:lnTo>
                    <a:lnTo>
                      <a:pt x="594" y="597"/>
                    </a:lnTo>
                    <a:lnTo>
                      <a:pt x="591" y="593"/>
                    </a:lnTo>
                    <a:lnTo>
                      <a:pt x="591" y="564"/>
                    </a:lnTo>
                    <a:lnTo>
                      <a:pt x="591" y="560"/>
                    </a:lnTo>
                    <a:lnTo>
                      <a:pt x="591" y="506"/>
                    </a:lnTo>
                    <a:lnTo>
                      <a:pt x="591" y="503"/>
                    </a:lnTo>
                    <a:lnTo>
                      <a:pt x="588" y="505"/>
                    </a:lnTo>
                    <a:lnTo>
                      <a:pt x="578" y="514"/>
                    </a:lnTo>
                    <a:lnTo>
                      <a:pt x="556" y="530"/>
                    </a:lnTo>
                    <a:lnTo>
                      <a:pt x="538" y="540"/>
                    </a:lnTo>
                    <a:lnTo>
                      <a:pt x="530" y="541"/>
                    </a:lnTo>
                    <a:lnTo>
                      <a:pt x="515" y="540"/>
                    </a:lnTo>
                    <a:lnTo>
                      <a:pt x="502" y="537"/>
                    </a:lnTo>
                    <a:lnTo>
                      <a:pt x="499" y="533"/>
                    </a:lnTo>
                    <a:lnTo>
                      <a:pt x="497" y="522"/>
                    </a:lnTo>
                    <a:lnTo>
                      <a:pt x="493" y="517"/>
                    </a:lnTo>
                    <a:lnTo>
                      <a:pt x="488" y="513"/>
                    </a:lnTo>
                    <a:lnTo>
                      <a:pt x="468" y="512"/>
                    </a:lnTo>
                    <a:lnTo>
                      <a:pt x="456" y="508"/>
                    </a:lnTo>
                    <a:lnTo>
                      <a:pt x="455" y="505"/>
                    </a:lnTo>
                    <a:lnTo>
                      <a:pt x="461" y="495"/>
                    </a:lnTo>
                    <a:lnTo>
                      <a:pt x="460" y="486"/>
                    </a:lnTo>
                    <a:lnTo>
                      <a:pt x="450" y="480"/>
                    </a:lnTo>
                    <a:lnTo>
                      <a:pt x="438" y="467"/>
                    </a:lnTo>
                    <a:lnTo>
                      <a:pt x="434" y="459"/>
                    </a:lnTo>
                    <a:lnTo>
                      <a:pt x="425" y="448"/>
                    </a:lnTo>
                    <a:lnTo>
                      <a:pt x="424" y="444"/>
                    </a:lnTo>
                    <a:lnTo>
                      <a:pt x="422" y="432"/>
                    </a:lnTo>
                    <a:lnTo>
                      <a:pt x="411" y="409"/>
                    </a:lnTo>
                    <a:lnTo>
                      <a:pt x="411" y="405"/>
                    </a:lnTo>
                    <a:lnTo>
                      <a:pt x="412" y="401"/>
                    </a:lnTo>
                    <a:lnTo>
                      <a:pt x="424" y="379"/>
                    </a:lnTo>
                    <a:lnTo>
                      <a:pt x="428" y="362"/>
                    </a:lnTo>
                    <a:lnTo>
                      <a:pt x="432" y="357"/>
                    </a:lnTo>
                    <a:lnTo>
                      <a:pt x="441" y="355"/>
                    </a:lnTo>
                    <a:lnTo>
                      <a:pt x="450" y="354"/>
                    </a:lnTo>
                    <a:lnTo>
                      <a:pt x="450" y="324"/>
                    </a:lnTo>
                    <a:lnTo>
                      <a:pt x="452" y="318"/>
                    </a:lnTo>
                    <a:lnTo>
                      <a:pt x="461" y="302"/>
                    </a:lnTo>
                    <a:lnTo>
                      <a:pt x="470" y="290"/>
                    </a:lnTo>
                    <a:lnTo>
                      <a:pt x="483" y="274"/>
                    </a:lnTo>
                    <a:lnTo>
                      <a:pt x="494" y="265"/>
                    </a:lnTo>
                    <a:lnTo>
                      <a:pt x="510" y="254"/>
                    </a:lnTo>
                    <a:lnTo>
                      <a:pt x="529" y="247"/>
                    </a:lnTo>
                    <a:lnTo>
                      <a:pt x="580" y="232"/>
                    </a:lnTo>
                    <a:lnTo>
                      <a:pt x="593" y="227"/>
                    </a:lnTo>
                    <a:lnTo>
                      <a:pt x="613" y="228"/>
                    </a:lnTo>
                    <a:lnTo>
                      <a:pt x="620" y="225"/>
                    </a:lnTo>
                    <a:lnTo>
                      <a:pt x="621" y="222"/>
                    </a:lnTo>
                    <a:lnTo>
                      <a:pt x="613" y="221"/>
                    </a:lnTo>
                    <a:lnTo>
                      <a:pt x="605" y="210"/>
                    </a:lnTo>
                    <a:lnTo>
                      <a:pt x="600" y="206"/>
                    </a:lnTo>
                    <a:lnTo>
                      <a:pt x="596" y="205"/>
                    </a:lnTo>
                    <a:lnTo>
                      <a:pt x="591" y="206"/>
                    </a:lnTo>
                    <a:lnTo>
                      <a:pt x="586" y="205"/>
                    </a:lnTo>
                    <a:lnTo>
                      <a:pt x="585" y="202"/>
                    </a:lnTo>
                    <a:lnTo>
                      <a:pt x="585" y="193"/>
                    </a:lnTo>
                    <a:lnTo>
                      <a:pt x="593" y="182"/>
                    </a:lnTo>
                    <a:lnTo>
                      <a:pt x="605" y="169"/>
                    </a:lnTo>
                    <a:lnTo>
                      <a:pt x="611" y="162"/>
                    </a:lnTo>
                    <a:lnTo>
                      <a:pt x="615" y="155"/>
                    </a:lnTo>
                    <a:lnTo>
                      <a:pt x="615" y="150"/>
                    </a:lnTo>
                    <a:lnTo>
                      <a:pt x="605" y="137"/>
                    </a:lnTo>
                    <a:lnTo>
                      <a:pt x="588" y="128"/>
                    </a:lnTo>
                    <a:lnTo>
                      <a:pt x="572" y="121"/>
                    </a:lnTo>
                    <a:lnTo>
                      <a:pt x="564" y="120"/>
                    </a:lnTo>
                    <a:lnTo>
                      <a:pt x="562" y="120"/>
                    </a:lnTo>
                    <a:lnTo>
                      <a:pt x="553" y="126"/>
                    </a:lnTo>
                    <a:lnTo>
                      <a:pt x="545" y="128"/>
                    </a:lnTo>
                    <a:lnTo>
                      <a:pt x="537" y="126"/>
                    </a:lnTo>
                    <a:lnTo>
                      <a:pt x="532" y="121"/>
                    </a:lnTo>
                    <a:lnTo>
                      <a:pt x="525" y="120"/>
                    </a:lnTo>
                    <a:lnTo>
                      <a:pt x="516" y="120"/>
                    </a:lnTo>
                    <a:lnTo>
                      <a:pt x="513" y="121"/>
                    </a:lnTo>
                    <a:lnTo>
                      <a:pt x="509" y="125"/>
                    </a:lnTo>
                    <a:lnTo>
                      <a:pt x="505" y="126"/>
                    </a:lnTo>
                    <a:lnTo>
                      <a:pt x="503" y="130"/>
                    </a:lnTo>
                    <a:lnTo>
                      <a:pt x="499" y="132"/>
                    </a:lnTo>
                    <a:lnTo>
                      <a:pt x="492" y="134"/>
                    </a:lnTo>
                    <a:lnTo>
                      <a:pt x="488" y="134"/>
                    </a:lnTo>
                    <a:lnTo>
                      <a:pt x="480" y="130"/>
                    </a:lnTo>
                    <a:lnTo>
                      <a:pt x="466" y="129"/>
                    </a:lnTo>
                    <a:lnTo>
                      <a:pt x="461" y="130"/>
                    </a:lnTo>
                    <a:lnTo>
                      <a:pt x="451" y="129"/>
                    </a:lnTo>
                    <a:lnTo>
                      <a:pt x="446" y="124"/>
                    </a:lnTo>
                    <a:lnTo>
                      <a:pt x="443" y="119"/>
                    </a:lnTo>
                    <a:lnTo>
                      <a:pt x="443" y="97"/>
                    </a:lnTo>
                    <a:lnTo>
                      <a:pt x="438" y="96"/>
                    </a:lnTo>
                    <a:lnTo>
                      <a:pt x="429" y="96"/>
                    </a:lnTo>
                    <a:lnTo>
                      <a:pt x="425" y="93"/>
                    </a:lnTo>
                    <a:lnTo>
                      <a:pt x="424" y="89"/>
                    </a:lnTo>
                    <a:lnTo>
                      <a:pt x="421" y="81"/>
                    </a:lnTo>
                    <a:lnTo>
                      <a:pt x="419" y="69"/>
                    </a:lnTo>
                    <a:lnTo>
                      <a:pt x="416" y="62"/>
                    </a:lnTo>
                    <a:lnTo>
                      <a:pt x="411" y="59"/>
                    </a:lnTo>
                    <a:lnTo>
                      <a:pt x="405" y="56"/>
                    </a:lnTo>
                    <a:lnTo>
                      <a:pt x="400" y="56"/>
                    </a:lnTo>
                    <a:lnTo>
                      <a:pt x="394" y="55"/>
                    </a:lnTo>
                    <a:lnTo>
                      <a:pt x="391" y="50"/>
                    </a:lnTo>
                    <a:lnTo>
                      <a:pt x="385" y="46"/>
                    </a:lnTo>
                    <a:lnTo>
                      <a:pt x="380" y="38"/>
                    </a:lnTo>
                    <a:lnTo>
                      <a:pt x="375" y="24"/>
                    </a:lnTo>
                    <a:lnTo>
                      <a:pt x="366" y="21"/>
                    </a:lnTo>
                    <a:lnTo>
                      <a:pt x="362" y="17"/>
                    </a:lnTo>
                    <a:lnTo>
                      <a:pt x="357" y="8"/>
                    </a:lnTo>
                    <a:lnTo>
                      <a:pt x="352" y="6"/>
                    </a:lnTo>
                    <a:lnTo>
                      <a:pt x="342" y="3"/>
                    </a:lnTo>
                    <a:lnTo>
                      <a:pt x="332" y="0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82" name="Freeform 256"/>
              <p:cNvSpPr>
                <a:spLocks noChangeAspect="1"/>
              </p:cNvSpPr>
              <p:nvPr/>
            </p:nvSpPr>
            <p:spPr bwMode="gray">
              <a:xfrm>
                <a:off x="1711" y="2730"/>
                <a:ext cx="216" cy="429"/>
              </a:xfrm>
              <a:custGeom>
                <a:avLst/>
                <a:gdLst/>
                <a:ahLst/>
                <a:cxnLst>
                  <a:cxn ang="0">
                    <a:pos x="150" y="2125"/>
                  </a:cxn>
                  <a:cxn ang="0">
                    <a:pos x="60" y="2037"/>
                  </a:cxn>
                  <a:cxn ang="0">
                    <a:pos x="17" y="2007"/>
                  </a:cxn>
                  <a:cxn ang="0">
                    <a:pos x="1" y="1952"/>
                  </a:cxn>
                  <a:cxn ang="0">
                    <a:pos x="49" y="1834"/>
                  </a:cxn>
                  <a:cxn ang="0">
                    <a:pos x="52" y="1773"/>
                  </a:cxn>
                  <a:cxn ang="0">
                    <a:pos x="93" y="1669"/>
                  </a:cxn>
                  <a:cxn ang="0">
                    <a:pos x="104" y="1561"/>
                  </a:cxn>
                  <a:cxn ang="0">
                    <a:pos x="113" y="1513"/>
                  </a:cxn>
                  <a:cxn ang="0">
                    <a:pos x="79" y="1432"/>
                  </a:cxn>
                  <a:cxn ang="0">
                    <a:pos x="86" y="1317"/>
                  </a:cxn>
                  <a:cxn ang="0">
                    <a:pos x="89" y="1194"/>
                  </a:cxn>
                  <a:cxn ang="0">
                    <a:pos x="128" y="1068"/>
                  </a:cxn>
                  <a:cxn ang="0">
                    <a:pos x="138" y="915"/>
                  </a:cxn>
                  <a:cxn ang="0">
                    <a:pos x="156" y="871"/>
                  </a:cxn>
                  <a:cxn ang="0">
                    <a:pos x="192" y="751"/>
                  </a:cxn>
                  <a:cxn ang="0">
                    <a:pos x="165" y="617"/>
                  </a:cxn>
                  <a:cxn ang="0">
                    <a:pos x="179" y="530"/>
                  </a:cxn>
                  <a:cxn ang="0">
                    <a:pos x="192" y="450"/>
                  </a:cxn>
                  <a:cxn ang="0">
                    <a:pos x="260" y="312"/>
                  </a:cxn>
                  <a:cxn ang="0">
                    <a:pos x="263" y="221"/>
                  </a:cxn>
                  <a:cxn ang="0">
                    <a:pos x="317" y="139"/>
                  </a:cxn>
                  <a:cxn ang="0">
                    <a:pos x="340" y="62"/>
                  </a:cxn>
                  <a:cxn ang="0">
                    <a:pos x="396" y="0"/>
                  </a:cxn>
                  <a:cxn ang="0">
                    <a:pos x="477" y="30"/>
                  </a:cxn>
                  <a:cxn ang="0">
                    <a:pos x="507" y="16"/>
                  </a:cxn>
                  <a:cxn ang="0">
                    <a:pos x="577" y="27"/>
                  </a:cxn>
                  <a:cxn ang="0">
                    <a:pos x="671" y="105"/>
                  </a:cxn>
                  <a:cxn ang="0">
                    <a:pos x="752" y="143"/>
                  </a:cxn>
                  <a:cxn ang="0">
                    <a:pos x="850" y="209"/>
                  </a:cxn>
                  <a:cxn ang="0">
                    <a:pos x="821" y="302"/>
                  </a:cxn>
                  <a:cxn ang="0">
                    <a:pos x="908" y="342"/>
                  </a:cxn>
                  <a:cxn ang="0">
                    <a:pos x="972" y="332"/>
                  </a:cxn>
                  <a:cxn ang="0">
                    <a:pos x="1025" y="280"/>
                  </a:cxn>
                  <a:cxn ang="0">
                    <a:pos x="1080" y="270"/>
                  </a:cxn>
                  <a:cxn ang="0">
                    <a:pos x="1023" y="344"/>
                  </a:cxn>
                  <a:cxn ang="0">
                    <a:pos x="914" y="467"/>
                  </a:cxn>
                  <a:cxn ang="0">
                    <a:pos x="851" y="528"/>
                  </a:cxn>
                  <a:cxn ang="0">
                    <a:pos x="835" y="686"/>
                  </a:cxn>
                  <a:cxn ang="0">
                    <a:pos x="813" y="776"/>
                  </a:cxn>
                  <a:cxn ang="0">
                    <a:pos x="878" y="892"/>
                  </a:cxn>
                  <a:cxn ang="0">
                    <a:pos x="877" y="1004"/>
                  </a:cxn>
                  <a:cxn ang="0">
                    <a:pos x="765" y="1080"/>
                  </a:cxn>
                  <a:cxn ang="0">
                    <a:pos x="604" y="1088"/>
                  </a:cxn>
                  <a:cxn ang="0">
                    <a:pos x="604" y="1169"/>
                  </a:cxn>
                  <a:cxn ang="0">
                    <a:pos x="526" y="1251"/>
                  </a:cxn>
                  <a:cxn ang="0">
                    <a:pos x="457" y="1270"/>
                  </a:cxn>
                  <a:cxn ang="0">
                    <a:pos x="505" y="1332"/>
                  </a:cxn>
                  <a:cxn ang="0">
                    <a:pos x="518" y="1376"/>
                  </a:cxn>
                  <a:cxn ang="0">
                    <a:pos x="463" y="1361"/>
                  </a:cxn>
                  <a:cxn ang="0">
                    <a:pos x="466" y="1407"/>
                  </a:cxn>
                  <a:cxn ang="0">
                    <a:pos x="445" y="1501"/>
                  </a:cxn>
                  <a:cxn ang="0">
                    <a:pos x="386" y="1547"/>
                  </a:cxn>
                  <a:cxn ang="0">
                    <a:pos x="318" y="1633"/>
                  </a:cxn>
                  <a:cxn ang="0">
                    <a:pos x="414" y="1705"/>
                  </a:cxn>
                  <a:cxn ang="0">
                    <a:pos x="410" y="1780"/>
                  </a:cxn>
                  <a:cxn ang="0">
                    <a:pos x="321" y="1862"/>
                  </a:cxn>
                  <a:cxn ang="0">
                    <a:pos x="276" y="1953"/>
                  </a:cxn>
                  <a:cxn ang="0">
                    <a:pos x="238" y="1983"/>
                  </a:cxn>
                  <a:cxn ang="0">
                    <a:pos x="225" y="2080"/>
                  </a:cxn>
                </a:cxnLst>
                <a:rect l="0" t="0" r="r" b="b"/>
                <a:pathLst>
                  <a:path w="1080" h="2146">
                    <a:moveTo>
                      <a:pt x="275" y="2146"/>
                    </a:moveTo>
                    <a:lnTo>
                      <a:pt x="270" y="2145"/>
                    </a:lnTo>
                    <a:lnTo>
                      <a:pt x="256" y="2136"/>
                    </a:lnTo>
                    <a:lnTo>
                      <a:pt x="224" y="2131"/>
                    </a:lnTo>
                    <a:lnTo>
                      <a:pt x="198" y="2123"/>
                    </a:lnTo>
                    <a:lnTo>
                      <a:pt x="187" y="2121"/>
                    </a:lnTo>
                    <a:lnTo>
                      <a:pt x="170" y="2125"/>
                    </a:lnTo>
                    <a:lnTo>
                      <a:pt x="150" y="2125"/>
                    </a:lnTo>
                    <a:lnTo>
                      <a:pt x="145" y="2125"/>
                    </a:lnTo>
                    <a:lnTo>
                      <a:pt x="140" y="2124"/>
                    </a:lnTo>
                    <a:lnTo>
                      <a:pt x="85" y="2124"/>
                    </a:lnTo>
                    <a:lnTo>
                      <a:pt x="71" y="2118"/>
                    </a:lnTo>
                    <a:lnTo>
                      <a:pt x="66" y="2113"/>
                    </a:lnTo>
                    <a:lnTo>
                      <a:pt x="60" y="2099"/>
                    </a:lnTo>
                    <a:lnTo>
                      <a:pt x="59" y="2094"/>
                    </a:lnTo>
                    <a:lnTo>
                      <a:pt x="60" y="2037"/>
                    </a:lnTo>
                    <a:lnTo>
                      <a:pt x="59" y="2022"/>
                    </a:lnTo>
                    <a:lnTo>
                      <a:pt x="57" y="2003"/>
                    </a:lnTo>
                    <a:lnTo>
                      <a:pt x="55" y="2001"/>
                    </a:lnTo>
                    <a:lnTo>
                      <a:pt x="50" y="2000"/>
                    </a:lnTo>
                    <a:lnTo>
                      <a:pt x="49" y="2000"/>
                    </a:lnTo>
                    <a:lnTo>
                      <a:pt x="44" y="2006"/>
                    </a:lnTo>
                    <a:lnTo>
                      <a:pt x="26" y="2002"/>
                    </a:lnTo>
                    <a:lnTo>
                      <a:pt x="17" y="2007"/>
                    </a:lnTo>
                    <a:lnTo>
                      <a:pt x="14" y="2015"/>
                    </a:lnTo>
                    <a:lnTo>
                      <a:pt x="10" y="2018"/>
                    </a:lnTo>
                    <a:lnTo>
                      <a:pt x="6" y="2016"/>
                    </a:lnTo>
                    <a:lnTo>
                      <a:pt x="4" y="2010"/>
                    </a:lnTo>
                    <a:lnTo>
                      <a:pt x="1" y="1995"/>
                    </a:lnTo>
                    <a:lnTo>
                      <a:pt x="0" y="1992"/>
                    </a:lnTo>
                    <a:lnTo>
                      <a:pt x="0" y="1962"/>
                    </a:lnTo>
                    <a:lnTo>
                      <a:pt x="1" y="1952"/>
                    </a:lnTo>
                    <a:lnTo>
                      <a:pt x="1" y="1940"/>
                    </a:lnTo>
                    <a:lnTo>
                      <a:pt x="9" y="1908"/>
                    </a:lnTo>
                    <a:lnTo>
                      <a:pt x="14" y="1897"/>
                    </a:lnTo>
                    <a:lnTo>
                      <a:pt x="18" y="1893"/>
                    </a:lnTo>
                    <a:lnTo>
                      <a:pt x="32" y="1866"/>
                    </a:lnTo>
                    <a:lnTo>
                      <a:pt x="43" y="1852"/>
                    </a:lnTo>
                    <a:lnTo>
                      <a:pt x="46" y="1847"/>
                    </a:lnTo>
                    <a:lnTo>
                      <a:pt x="49" y="1834"/>
                    </a:lnTo>
                    <a:lnTo>
                      <a:pt x="52" y="1813"/>
                    </a:lnTo>
                    <a:lnTo>
                      <a:pt x="53" y="1809"/>
                    </a:lnTo>
                    <a:lnTo>
                      <a:pt x="57" y="1807"/>
                    </a:lnTo>
                    <a:lnTo>
                      <a:pt x="57" y="1798"/>
                    </a:lnTo>
                    <a:lnTo>
                      <a:pt x="55" y="1787"/>
                    </a:lnTo>
                    <a:lnTo>
                      <a:pt x="52" y="1781"/>
                    </a:lnTo>
                    <a:lnTo>
                      <a:pt x="52" y="1773"/>
                    </a:lnTo>
                    <a:lnTo>
                      <a:pt x="52" y="1773"/>
                    </a:lnTo>
                    <a:lnTo>
                      <a:pt x="52" y="1758"/>
                    </a:lnTo>
                    <a:lnTo>
                      <a:pt x="53" y="1752"/>
                    </a:lnTo>
                    <a:lnTo>
                      <a:pt x="57" y="1746"/>
                    </a:lnTo>
                    <a:lnTo>
                      <a:pt x="70" y="1727"/>
                    </a:lnTo>
                    <a:lnTo>
                      <a:pt x="80" y="1709"/>
                    </a:lnTo>
                    <a:lnTo>
                      <a:pt x="81" y="1699"/>
                    </a:lnTo>
                    <a:lnTo>
                      <a:pt x="89" y="1684"/>
                    </a:lnTo>
                    <a:lnTo>
                      <a:pt x="93" y="1669"/>
                    </a:lnTo>
                    <a:lnTo>
                      <a:pt x="95" y="1631"/>
                    </a:lnTo>
                    <a:lnTo>
                      <a:pt x="93" y="1624"/>
                    </a:lnTo>
                    <a:lnTo>
                      <a:pt x="93" y="1612"/>
                    </a:lnTo>
                    <a:lnTo>
                      <a:pt x="95" y="1607"/>
                    </a:lnTo>
                    <a:lnTo>
                      <a:pt x="95" y="1580"/>
                    </a:lnTo>
                    <a:lnTo>
                      <a:pt x="96" y="1571"/>
                    </a:lnTo>
                    <a:lnTo>
                      <a:pt x="100" y="1566"/>
                    </a:lnTo>
                    <a:lnTo>
                      <a:pt x="104" y="1561"/>
                    </a:lnTo>
                    <a:lnTo>
                      <a:pt x="104" y="1550"/>
                    </a:lnTo>
                    <a:lnTo>
                      <a:pt x="95" y="1539"/>
                    </a:lnTo>
                    <a:lnTo>
                      <a:pt x="81" y="1533"/>
                    </a:lnTo>
                    <a:lnTo>
                      <a:pt x="77" y="1523"/>
                    </a:lnTo>
                    <a:lnTo>
                      <a:pt x="81" y="1521"/>
                    </a:lnTo>
                    <a:lnTo>
                      <a:pt x="97" y="1523"/>
                    </a:lnTo>
                    <a:lnTo>
                      <a:pt x="111" y="1522"/>
                    </a:lnTo>
                    <a:lnTo>
                      <a:pt x="113" y="1513"/>
                    </a:lnTo>
                    <a:lnTo>
                      <a:pt x="112" y="1505"/>
                    </a:lnTo>
                    <a:lnTo>
                      <a:pt x="104" y="1496"/>
                    </a:lnTo>
                    <a:lnTo>
                      <a:pt x="90" y="1491"/>
                    </a:lnTo>
                    <a:lnTo>
                      <a:pt x="82" y="1491"/>
                    </a:lnTo>
                    <a:lnTo>
                      <a:pt x="82" y="1486"/>
                    </a:lnTo>
                    <a:lnTo>
                      <a:pt x="86" y="1457"/>
                    </a:lnTo>
                    <a:lnTo>
                      <a:pt x="85" y="1442"/>
                    </a:lnTo>
                    <a:lnTo>
                      <a:pt x="79" y="1432"/>
                    </a:lnTo>
                    <a:lnTo>
                      <a:pt x="77" y="1427"/>
                    </a:lnTo>
                    <a:lnTo>
                      <a:pt x="79" y="1400"/>
                    </a:lnTo>
                    <a:lnTo>
                      <a:pt x="77" y="1395"/>
                    </a:lnTo>
                    <a:lnTo>
                      <a:pt x="74" y="1392"/>
                    </a:lnTo>
                    <a:lnTo>
                      <a:pt x="71" y="1387"/>
                    </a:lnTo>
                    <a:lnTo>
                      <a:pt x="71" y="1351"/>
                    </a:lnTo>
                    <a:lnTo>
                      <a:pt x="77" y="1329"/>
                    </a:lnTo>
                    <a:lnTo>
                      <a:pt x="86" y="1317"/>
                    </a:lnTo>
                    <a:lnTo>
                      <a:pt x="90" y="1308"/>
                    </a:lnTo>
                    <a:lnTo>
                      <a:pt x="91" y="1303"/>
                    </a:lnTo>
                    <a:lnTo>
                      <a:pt x="91" y="1291"/>
                    </a:lnTo>
                    <a:lnTo>
                      <a:pt x="90" y="1287"/>
                    </a:lnTo>
                    <a:lnTo>
                      <a:pt x="81" y="1279"/>
                    </a:lnTo>
                    <a:lnTo>
                      <a:pt x="77" y="1264"/>
                    </a:lnTo>
                    <a:lnTo>
                      <a:pt x="80" y="1235"/>
                    </a:lnTo>
                    <a:lnTo>
                      <a:pt x="89" y="1194"/>
                    </a:lnTo>
                    <a:lnTo>
                      <a:pt x="89" y="1178"/>
                    </a:lnTo>
                    <a:lnTo>
                      <a:pt x="89" y="1173"/>
                    </a:lnTo>
                    <a:lnTo>
                      <a:pt x="106" y="1112"/>
                    </a:lnTo>
                    <a:lnTo>
                      <a:pt x="108" y="1097"/>
                    </a:lnTo>
                    <a:lnTo>
                      <a:pt x="111" y="1091"/>
                    </a:lnTo>
                    <a:lnTo>
                      <a:pt x="116" y="1086"/>
                    </a:lnTo>
                    <a:lnTo>
                      <a:pt x="124" y="1077"/>
                    </a:lnTo>
                    <a:lnTo>
                      <a:pt x="128" y="1068"/>
                    </a:lnTo>
                    <a:lnTo>
                      <a:pt x="128" y="1055"/>
                    </a:lnTo>
                    <a:lnTo>
                      <a:pt x="123" y="1043"/>
                    </a:lnTo>
                    <a:lnTo>
                      <a:pt x="119" y="1016"/>
                    </a:lnTo>
                    <a:lnTo>
                      <a:pt x="119" y="979"/>
                    </a:lnTo>
                    <a:lnTo>
                      <a:pt x="123" y="940"/>
                    </a:lnTo>
                    <a:lnTo>
                      <a:pt x="128" y="926"/>
                    </a:lnTo>
                    <a:lnTo>
                      <a:pt x="134" y="918"/>
                    </a:lnTo>
                    <a:lnTo>
                      <a:pt x="138" y="915"/>
                    </a:lnTo>
                    <a:lnTo>
                      <a:pt x="144" y="915"/>
                    </a:lnTo>
                    <a:lnTo>
                      <a:pt x="146" y="913"/>
                    </a:lnTo>
                    <a:lnTo>
                      <a:pt x="147" y="905"/>
                    </a:lnTo>
                    <a:lnTo>
                      <a:pt x="150" y="902"/>
                    </a:lnTo>
                    <a:lnTo>
                      <a:pt x="156" y="898"/>
                    </a:lnTo>
                    <a:lnTo>
                      <a:pt x="159" y="896"/>
                    </a:lnTo>
                    <a:lnTo>
                      <a:pt x="159" y="888"/>
                    </a:lnTo>
                    <a:lnTo>
                      <a:pt x="156" y="871"/>
                    </a:lnTo>
                    <a:lnTo>
                      <a:pt x="155" y="842"/>
                    </a:lnTo>
                    <a:lnTo>
                      <a:pt x="166" y="832"/>
                    </a:lnTo>
                    <a:lnTo>
                      <a:pt x="167" y="829"/>
                    </a:lnTo>
                    <a:lnTo>
                      <a:pt x="171" y="806"/>
                    </a:lnTo>
                    <a:lnTo>
                      <a:pt x="173" y="799"/>
                    </a:lnTo>
                    <a:lnTo>
                      <a:pt x="179" y="786"/>
                    </a:lnTo>
                    <a:lnTo>
                      <a:pt x="192" y="767"/>
                    </a:lnTo>
                    <a:lnTo>
                      <a:pt x="192" y="751"/>
                    </a:lnTo>
                    <a:lnTo>
                      <a:pt x="190" y="733"/>
                    </a:lnTo>
                    <a:lnTo>
                      <a:pt x="187" y="714"/>
                    </a:lnTo>
                    <a:lnTo>
                      <a:pt x="186" y="709"/>
                    </a:lnTo>
                    <a:lnTo>
                      <a:pt x="178" y="701"/>
                    </a:lnTo>
                    <a:lnTo>
                      <a:pt x="178" y="689"/>
                    </a:lnTo>
                    <a:lnTo>
                      <a:pt x="178" y="679"/>
                    </a:lnTo>
                    <a:lnTo>
                      <a:pt x="165" y="646"/>
                    </a:lnTo>
                    <a:lnTo>
                      <a:pt x="165" y="617"/>
                    </a:lnTo>
                    <a:lnTo>
                      <a:pt x="155" y="607"/>
                    </a:lnTo>
                    <a:lnTo>
                      <a:pt x="155" y="595"/>
                    </a:lnTo>
                    <a:lnTo>
                      <a:pt x="157" y="579"/>
                    </a:lnTo>
                    <a:lnTo>
                      <a:pt x="161" y="568"/>
                    </a:lnTo>
                    <a:lnTo>
                      <a:pt x="162" y="565"/>
                    </a:lnTo>
                    <a:lnTo>
                      <a:pt x="171" y="550"/>
                    </a:lnTo>
                    <a:lnTo>
                      <a:pt x="173" y="536"/>
                    </a:lnTo>
                    <a:lnTo>
                      <a:pt x="179" y="530"/>
                    </a:lnTo>
                    <a:lnTo>
                      <a:pt x="182" y="523"/>
                    </a:lnTo>
                    <a:lnTo>
                      <a:pt x="182" y="520"/>
                    </a:lnTo>
                    <a:lnTo>
                      <a:pt x="186" y="516"/>
                    </a:lnTo>
                    <a:lnTo>
                      <a:pt x="189" y="503"/>
                    </a:lnTo>
                    <a:lnTo>
                      <a:pt x="189" y="493"/>
                    </a:lnTo>
                    <a:lnTo>
                      <a:pt x="188" y="482"/>
                    </a:lnTo>
                    <a:lnTo>
                      <a:pt x="189" y="458"/>
                    </a:lnTo>
                    <a:lnTo>
                      <a:pt x="192" y="450"/>
                    </a:lnTo>
                    <a:lnTo>
                      <a:pt x="198" y="436"/>
                    </a:lnTo>
                    <a:lnTo>
                      <a:pt x="200" y="429"/>
                    </a:lnTo>
                    <a:lnTo>
                      <a:pt x="204" y="408"/>
                    </a:lnTo>
                    <a:lnTo>
                      <a:pt x="210" y="382"/>
                    </a:lnTo>
                    <a:lnTo>
                      <a:pt x="235" y="354"/>
                    </a:lnTo>
                    <a:lnTo>
                      <a:pt x="242" y="329"/>
                    </a:lnTo>
                    <a:lnTo>
                      <a:pt x="245" y="327"/>
                    </a:lnTo>
                    <a:lnTo>
                      <a:pt x="260" y="312"/>
                    </a:lnTo>
                    <a:lnTo>
                      <a:pt x="270" y="308"/>
                    </a:lnTo>
                    <a:lnTo>
                      <a:pt x="275" y="305"/>
                    </a:lnTo>
                    <a:lnTo>
                      <a:pt x="276" y="302"/>
                    </a:lnTo>
                    <a:lnTo>
                      <a:pt x="274" y="288"/>
                    </a:lnTo>
                    <a:lnTo>
                      <a:pt x="270" y="273"/>
                    </a:lnTo>
                    <a:lnTo>
                      <a:pt x="268" y="262"/>
                    </a:lnTo>
                    <a:lnTo>
                      <a:pt x="268" y="236"/>
                    </a:lnTo>
                    <a:lnTo>
                      <a:pt x="263" y="221"/>
                    </a:lnTo>
                    <a:lnTo>
                      <a:pt x="263" y="205"/>
                    </a:lnTo>
                    <a:lnTo>
                      <a:pt x="264" y="203"/>
                    </a:lnTo>
                    <a:lnTo>
                      <a:pt x="270" y="195"/>
                    </a:lnTo>
                    <a:lnTo>
                      <a:pt x="270" y="186"/>
                    </a:lnTo>
                    <a:lnTo>
                      <a:pt x="268" y="176"/>
                    </a:lnTo>
                    <a:lnTo>
                      <a:pt x="268" y="168"/>
                    </a:lnTo>
                    <a:lnTo>
                      <a:pt x="269" y="161"/>
                    </a:lnTo>
                    <a:lnTo>
                      <a:pt x="317" y="139"/>
                    </a:lnTo>
                    <a:lnTo>
                      <a:pt x="335" y="132"/>
                    </a:lnTo>
                    <a:lnTo>
                      <a:pt x="344" y="85"/>
                    </a:lnTo>
                    <a:lnTo>
                      <a:pt x="344" y="73"/>
                    </a:lnTo>
                    <a:lnTo>
                      <a:pt x="339" y="68"/>
                    </a:lnTo>
                    <a:lnTo>
                      <a:pt x="339" y="65"/>
                    </a:lnTo>
                    <a:lnTo>
                      <a:pt x="338" y="65"/>
                    </a:lnTo>
                    <a:lnTo>
                      <a:pt x="338" y="63"/>
                    </a:lnTo>
                    <a:lnTo>
                      <a:pt x="340" y="62"/>
                    </a:lnTo>
                    <a:lnTo>
                      <a:pt x="345" y="58"/>
                    </a:lnTo>
                    <a:lnTo>
                      <a:pt x="351" y="48"/>
                    </a:lnTo>
                    <a:lnTo>
                      <a:pt x="353" y="44"/>
                    </a:lnTo>
                    <a:lnTo>
                      <a:pt x="359" y="36"/>
                    </a:lnTo>
                    <a:lnTo>
                      <a:pt x="367" y="27"/>
                    </a:lnTo>
                    <a:lnTo>
                      <a:pt x="378" y="19"/>
                    </a:lnTo>
                    <a:lnTo>
                      <a:pt x="392" y="1"/>
                    </a:lnTo>
                    <a:lnTo>
                      <a:pt x="396" y="0"/>
                    </a:lnTo>
                    <a:lnTo>
                      <a:pt x="399" y="0"/>
                    </a:lnTo>
                    <a:lnTo>
                      <a:pt x="404" y="6"/>
                    </a:lnTo>
                    <a:lnTo>
                      <a:pt x="413" y="19"/>
                    </a:lnTo>
                    <a:lnTo>
                      <a:pt x="439" y="19"/>
                    </a:lnTo>
                    <a:lnTo>
                      <a:pt x="447" y="21"/>
                    </a:lnTo>
                    <a:lnTo>
                      <a:pt x="452" y="21"/>
                    </a:lnTo>
                    <a:lnTo>
                      <a:pt x="473" y="26"/>
                    </a:lnTo>
                    <a:lnTo>
                      <a:pt x="477" y="30"/>
                    </a:lnTo>
                    <a:lnTo>
                      <a:pt x="480" y="36"/>
                    </a:lnTo>
                    <a:lnTo>
                      <a:pt x="483" y="37"/>
                    </a:lnTo>
                    <a:lnTo>
                      <a:pt x="484" y="41"/>
                    </a:lnTo>
                    <a:lnTo>
                      <a:pt x="495" y="52"/>
                    </a:lnTo>
                    <a:lnTo>
                      <a:pt x="498" y="52"/>
                    </a:lnTo>
                    <a:lnTo>
                      <a:pt x="499" y="46"/>
                    </a:lnTo>
                    <a:lnTo>
                      <a:pt x="504" y="35"/>
                    </a:lnTo>
                    <a:lnTo>
                      <a:pt x="507" y="16"/>
                    </a:lnTo>
                    <a:lnTo>
                      <a:pt x="509" y="12"/>
                    </a:lnTo>
                    <a:lnTo>
                      <a:pt x="517" y="12"/>
                    </a:lnTo>
                    <a:lnTo>
                      <a:pt x="536" y="15"/>
                    </a:lnTo>
                    <a:lnTo>
                      <a:pt x="553" y="15"/>
                    </a:lnTo>
                    <a:lnTo>
                      <a:pt x="561" y="16"/>
                    </a:lnTo>
                    <a:lnTo>
                      <a:pt x="564" y="17"/>
                    </a:lnTo>
                    <a:lnTo>
                      <a:pt x="571" y="22"/>
                    </a:lnTo>
                    <a:lnTo>
                      <a:pt x="577" y="27"/>
                    </a:lnTo>
                    <a:lnTo>
                      <a:pt x="585" y="31"/>
                    </a:lnTo>
                    <a:lnTo>
                      <a:pt x="601" y="36"/>
                    </a:lnTo>
                    <a:lnTo>
                      <a:pt x="607" y="41"/>
                    </a:lnTo>
                    <a:lnTo>
                      <a:pt x="618" y="62"/>
                    </a:lnTo>
                    <a:lnTo>
                      <a:pt x="631" y="75"/>
                    </a:lnTo>
                    <a:lnTo>
                      <a:pt x="634" y="80"/>
                    </a:lnTo>
                    <a:lnTo>
                      <a:pt x="659" y="98"/>
                    </a:lnTo>
                    <a:lnTo>
                      <a:pt x="671" y="105"/>
                    </a:lnTo>
                    <a:lnTo>
                      <a:pt x="674" y="108"/>
                    </a:lnTo>
                    <a:lnTo>
                      <a:pt x="686" y="127"/>
                    </a:lnTo>
                    <a:lnTo>
                      <a:pt x="687" y="128"/>
                    </a:lnTo>
                    <a:lnTo>
                      <a:pt x="692" y="132"/>
                    </a:lnTo>
                    <a:lnTo>
                      <a:pt x="703" y="135"/>
                    </a:lnTo>
                    <a:lnTo>
                      <a:pt x="711" y="136"/>
                    </a:lnTo>
                    <a:lnTo>
                      <a:pt x="740" y="139"/>
                    </a:lnTo>
                    <a:lnTo>
                      <a:pt x="752" y="143"/>
                    </a:lnTo>
                    <a:lnTo>
                      <a:pt x="758" y="145"/>
                    </a:lnTo>
                    <a:lnTo>
                      <a:pt x="784" y="163"/>
                    </a:lnTo>
                    <a:lnTo>
                      <a:pt x="799" y="171"/>
                    </a:lnTo>
                    <a:lnTo>
                      <a:pt x="815" y="179"/>
                    </a:lnTo>
                    <a:lnTo>
                      <a:pt x="823" y="191"/>
                    </a:lnTo>
                    <a:lnTo>
                      <a:pt x="838" y="194"/>
                    </a:lnTo>
                    <a:lnTo>
                      <a:pt x="845" y="200"/>
                    </a:lnTo>
                    <a:lnTo>
                      <a:pt x="850" y="209"/>
                    </a:lnTo>
                    <a:lnTo>
                      <a:pt x="854" y="210"/>
                    </a:lnTo>
                    <a:lnTo>
                      <a:pt x="856" y="214"/>
                    </a:lnTo>
                    <a:lnTo>
                      <a:pt x="858" y="224"/>
                    </a:lnTo>
                    <a:lnTo>
                      <a:pt x="858" y="234"/>
                    </a:lnTo>
                    <a:lnTo>
                      <a:pt x="849" y="247"/>
                    </a:lnTo>
                    <a:lnTo>
                      <a:pt x="834" y="269"/>
                    </a:lnTo>
                    <a:lnTo>
                      <a:pt x="823" y="294"/>
                    </a:lnTo>
                    <a:lnTo>
                      <a:pt x="821" y="302"/>
                    </a:lnTo>
                    <a:lnTo>
                      <a:pt x="819" y="311"/>
                    </a:lnTo>
                    <a:lnTo>
                      <a:pt x="819" y="317"/>
                    </a:lnTo>
                    <a:lnTo>
                      <a:pt x="821" y="321"/>
                    </a:lnTo>
                    <a:lnTo>
                      <a:pt x="843" y="321"/>
                    </a:lnTo>
                    <a:lnTo>
                      <a:pt x="875" y="326"/>
                    </a:lnTo>
                    <a:lnTo>
                      <a:pt x="881" y="328"/>
                    </a:lnTo>
                    <a:lnTo>
                      <a:pt x="898" y="339"/>
                    </a:lnTo>
                    <a:lnTo>
                      <a:pt x="908" y="342"/>
                    </a:lnTo>
                    <a:lnTo>
                      <a:pt x="918" y="340"/>
                    </a:lnTo>
                    <a:lnTo>
                      <a:pt x="923" y="343"/>
                    </a:lnTo>
                    <a:lnTo>
                      <a:pt x="930" y="343"/>
                    </a:lnTo>
                    <a:lnTo>
                      <a:pt x="937" y="340"/>
                    </a:lnTo>
                    <a:lnTo>
                      <a:pt x="941" y="335"/>
                    </a:lnTo>
                    <a:lnTo>
                      <a:pt x="948" y="332"/>
                    </a:lnTo>
                    <a:lnTo>
                      <a:pt x="963" y="333"/>
                    </a:lnTo>
                    <a:lnTo>
                      <a:pt x="972" y="332"/>
                    </a:lnTo>
                    <a:lnTo>
                      <a:pt x="973" y="331"/>
                    </a:lnTo>
                    <a:lnTo>
                      <a:pt x="975" y="327"/>
                    </a:lnTo>
                    <a:lnTo>
                      <a:pt x="990" y="315"/>
                    </a:lnTo>
                    <a:lnTo>
                      <a:pt x="994" y="313"/>
                    </a:lnTo>
                    <a:lnTo>
                      <a:pt x="996" y="310"/>
                    </a:lnTo>
                    <a:lnTo>
                      <a:pt x="1010" y="299"/>
                    </a:lnTo>
                    <a:lnTo>
                      <a:pt x="1018" y="290"/>
                    </a:lnTo>
                    <a:lnTo>
                      <a:pt x="1025" y="280"/>
                    </a:lnTo>
                    <a:lnTo>
                      <a:pt x="1028" y="272"/>
                    </a:lnTo>
                    <a:lnTo>
                      <a:pt x="1031" y="256"/>
                    </a:lnTo>
                    <a:lnTo>
                      <a:pt x="1034" y="225"/>
                    </a:lnTo>
                    <a:lnTo>
                      <a:pt x="1043" y="225"/>
                    </a:lnTo>
                    <a:lnTo>
                      <a:pt x="1047" y="224"/>
                    </a:lnTo>
                    <a:lnTo>
                      <a:pt x="1061" y="224"/>
                    </a:lnTo>
                    <a:lnTo>
                      <a:pt x="1068" y="231"/>
                    </a:lnTo>
                    <a:lnTo>
                      <a:pt x="1080" y="270"/>
                    </a:lnTo>
                    <a:lnTo>
                      <a:pt x="1080" y="302"/>
                    </a:lnTo>
                    <a:lnTo>
                      <a:pt x="1079" y="313"/>
                    </a:lnTo>
                    <a:lnTo>
                      <a:pt x="1076" y="317"/>
                    </a:lnTo>
                    <a:lnTo>
                      <a:pt x="1074" y="321"/>
                    </a:lnTo>
                    <a:lnTo>
                      <a:pt x="1050" y="337"/>
                    </a:lnTo>
                    <a:lnTo>
                      <a:pt x="1043" y="339"/>
                    </a:lnTo>
                    <a:lnTo>
                      <a:pt x="1031" y="340"/>
                    </a:lnTo>
                    <a:lnTo>
                      <a:pt x="1023" y="344"/>
                    </a:lnTo>
                    <a:lnTo>
                      <a:pt x="1014" y="356"/>
                    </a:lnTo>
                    <a:lnTo>
                      <a:pt x="1005" y="366"/>
                    </a:lnTo>
                    <a:lnTo>
                      <a:pt x="961" y="404"/>
                    </a:lnTo>
                    <a:lnTo>
                      <a:pt x="959" y="408"/>
                    </a:lnTo>
                    <a:lnTo>
                      <a:pt x="955" y="415"/>
                    </a:lnTo>
                    <a:lnTo>
                      <a:pt x="935" y="440"/>
                    </a:lnTo>
                    <a:lnTo>
                      <a:pt x="932" y="446"/>
                    </a:lnTo>
                    <a:lnTo>
                      <a:pt x="914" y="467"/>
                    </a:lnTo>
                    <a:lnTo>
                      <a:pt x="899" y="479"/>
                    </a:lnTo>
                    <a:lnTo>
                      <a:pt x="892" y="488"/>
                    </a:lnTo>
                    <a:lnTo>
                      <a:pt x="883" y="494"/>
                    </a:lnTo>
                    <a:lnTo>
                      <a:pt x="881" y="499"/>
                    </a:lnTo>
                    <a:lnTo>
                      <a:pt x="872" y="509"/>
                    </a:lnTo>
                    <a:lnTo>
                      <a:pt x="862" y="514"/>
                    </a:lnTo>
                    <a:lnTo>
                      <a:pt x="861" y="520"/>
                    </a:lnTo>
                    <a:lnTo>
                      <a:pt x="851" y="528"/>
                    </a:lnTo>
                    <a:lnTo>
                      <a:pt x="850" y="531"/>
                    </a:lnTo>
                    <a:lnTo>
                      <a:pt x="853" y="554"/>
                    </a:lnTo>
                    <a:lnTo>
                      <a:pt x="848" y="576"/>
                    </a:lnTo>
                    <a:lnTo>
                      <a:pt x="848" y="591"/>
                    </a:lnTo>
                    <a:lnTo>
                      <a:pt x="846" y="601"/>
                    </a:lnTo>
                    <a:lnTo>
                      <a:pt x="838" y="625"/>
                    </a:lnTo>
                    <a:lnTo>
                      <a:pt x="838" y="676"/>
                    </a:lnTo>
                    <a:lnTo>
                      <a:pt x="835" y="686"/>
                    </a:lnTo>
                    <a:lnTo>
                      <a:pt x="834" y="692"/>
                    </a:lnTo>
                    <a:lnTo>
                      <a:pt x="826" y="705"/>
                    </a:lnTo>
                    <a:lnTo>
                      <a:pt x="823" y="714"/>
                    </a:lnTo>
                    <a:lnTo>
                      <a:pt x="818" y="740"/>
                    </a:lnTo>
                    <a:lnTo>
                      <a:pt x="817" y="756"/>
                    </a:lnTo>
                    <a:lnTo>
                      <a:pt x="818" y="765"/>
                    </a:lnTo>
                    <a:lnTo>
                      <a:pt x="817" y="774"/>
                    </a:lnTo>
                    <a:lnTo>
                      <a:pt x="813" y="776"/>
                    </a:lnTo>
                    <a:lnTo>
                      <a:pt x="822" y="796"/>
                    </a:lnTo>
                    <a:lnTo>
                      <a:pt x="846" y="810"/>
                    </a:lnTo>
                    <a:lnTo>
                      <a:pt x="856" y="817"/>
                    </a:lnTo>
                    <a:lnTo>
                      <a:pt x="869" y="828"/>
                    </a:lnTo>
                    <a:lnTo>
                      <a:pt x="885" y="845"/>
                    </a:lnTo>
                    <a:lnTo>
                      <a:pt x="886" y="855"/>
                    </a:lnTo>
                    <a:lnTo>
                      <a:pt x="875" y="880"/>
                    </a:lnTo>
                    <a:lnTo>
                      <a:pt x="878" y="892"/>
                    </a:lnTo>
                    <a:lnTo>
                      <a:pt x="889" y="907"/>
                    </a:lnTo>
                    <a:lnTo>
                      <a:pt x="903" y="913"/>
                    </a:lnTo>
                    <a:lnTo>
                      <a:pt x="913" y="912"/>
                    </a:lnTo>
                    <a:lnTo>
                      <a:pt x="914" y="921"/>
                    </a:lnTo>
                    <a:lnTo>
                      <a:pt x="914" y="950"/>
                    </a:lnTo>
                    <a:lnTo>
                      <a:pt x="908" y="963"/>
                    </a:lnTo>
                    <a:lnTo>
                      <a:pt x="889" y="991"/>
                    </a:lnTo>
                    <a:lnTo>
                      <a:pt x="877" y="1004"/>
                    </a:lnTo>
                    <a:lnTo>
                      <a:pt x="870" y="1015"/>
                    </a:lnTo>
                    <a:lnTo>
                      <a:pt x="865" y="1039"/>
                    </a:lnTo>
                    <a:lnTo>
                      <a:pt x="854" y="1049"/>
                    </a:lnTo>
                    <a:lnTo>
                      <a:pt x="840" y="1056"/>
                    </a:lnTo>
                    <a:lnTo>
                      <a:pt x="815" y="1065"/>
                    </a:lnTo>
                    <a:lnTo>
                      <a:pt x="805" y="1065"/>
                    </a:lnTo>
                    <a:lnTo>
                      <a:pt x="790" y="1072"/>
                    </a:lnTo>
                    <a:lnTo>
                      <a:pt x="765" y="1080"/>
                    </a:lnTo>
                    <a:lnTo>
                      <a:pt x="753" y="1082"/>
                    </a:lnTo>
                    <a:lnTo>
                      <a:pt x="733" y="1083"/>
                    </a:lnTo>
                    <a:lnTo>
                      <a:pt x="711" y="1091"/>
                    </a:lnTo>
                    <a:lnTo>
                      <a:pt x="677" y="1096"/>
                    </a:lnTo>
                    <a:lnTo>
                      <a:pt x="650" y="1096"/>
                    </a:lnTo>
                    <a:lnTo>
                      <a:pt x="620" y="1091"/>
                    </a:lnTo>
                    <a:lnTo>
                      <a:pt x="607" y="1079"/>
                    </a:lnTo>
                    <a:lnTo>
                      <a:pt x="604" y="1088"/>
                    </a:lnTo>
                    <a:lnTo>
                      <a:pt x="607" y="1113"/>
                    </a:lnTo>
                    <a:lnTo>
                      <a:pt x="616" y="1122"/>
                    </a:lnTo>
                    <a:lnTo>
                      <a:pt x="619" y="1130"/>
                    </a:lnTo>
                    <a:lnTo>
                      <a:pt x="617" y="1147"/>
                    </a:lnTo>
                    <a:lnTo>
                      <a:pt x="614" y="1155"/>
                    </a:lnTo>
                    <a:lnTo>
                      <a:pt x="611" y="1157"/>
                    </a:lnTo>
                    <a:lnTo>
                      <a:pt x="609" y="1156"/>
                    </a:lnTo>
                    <a:lnTo>
                      <a:pt x="604" y="1169"/>
                    </a:lnTo>
                    <a:lnTo>
                      <a:pt x="602" y="1184"/>
                    </a:lnTo>
                    <a:lnTo>
                      <a:pt x="607" y="1214"/>
                    </a:lnTo>
                    <a:lnTo>
                      <a:pt x="607" y="1221"/>
                    </a:lnTo>
                    <a:lnTo>
                      <a:pt x="603" y="1230"/>
                    </a:lnTo>
                    <a:lnTo>
                      <a:pt x="597" y="1237"/>
                    </a:lnTo>
                    <a:lnTo>
                      <a:pt x="580" y="1241"/>
                    </a:lnTo>
                    <a:lnTo>
                      <a:pt x="564" y="1252"/>
                    </a:lnTo>
                    <a:lnTo>
                      <a:pt x="526" y="1251"/>
                    </a:lnTo>
                    <a:lnTo>
                      <a:pt x="517" y="1247"/>
                    </a:lnTo>
                    <a:lnTo>
                      <a:pt x="507" y="1241"/>
                    </a:lnTo>
                    <a:lnTo>
                      <a:pt x="487" y="1232"/>
                    </a:lnTo>
                    <a:lnTo>
                      <a:pt x="472" y="1227"/>
                    </a:lnTo>
                    <a:lnTo>
                      <a:pt x="462" y="1216"/>
                    </a:lnTo>
                    <a:lnTo>
                      <a:pt x="451" y="1230"/>
                    </a:lnTo>
                    <a:lnTo>
                      <a:pt x="451" y="1251"/>
                    </a:lnTo>
                    <a:lnTo>
                      <a:pt x="457" y="1270"/>
                    </a:lnTo>
                    <a:lnTo>
                      <a:pt x="458" y="1302"/>
                    </a:lnTo>
                    <a:lnTo>
                      <a:pt x="459" y="1317"/>
                    </a:lnTo>
                    <a:lnTo>
                      <a:pt x="473" y="1329"/>
                    </a:lnTo>
                    <a:lnTo>
                      <a:pt x="487" y="1333"/>
                    </a:lnTo>
                    <a:lnTo>
                      <a:pt x="482" y="1340"/>
                    </a:lnTo>
                    <a:lnTo>
                      <a:pt x="489" y="1345"/>
                    </a:lnTo>
                    <a:lnTo>
                      <a:pt x="509" y="1340"/>
                    </a:lnTo>
                    <a:lnTo>
                      <a:pt x="505" y="1332"/>
                    </a:lnTo>
                    <a:lnTo>
                      <a:pt x="499" y="1328"/>
                    </a:lnTo>
                    <a:lnTo>
                      <a:pt x="515" y="1325"/>
                    </a:lnTo>
                    <a:lnTo>
                      <a:pt x="527" y="1317"/>
                    </a:lnTo>
                    <a:lnTo>
                      <a:pt x="534" y="1329"/>
                    </a:lnTo>
                    <a:lnTo>
                      <a:pt x="538" y="1355"/>
                    </a:lnTo>
                    <a:lnTo>
                      <a:pt x="536" y="1367"/>
                    </a:lnTo>
                    <a:lnTo>
                      <a:pt x="528" y="1372"/>
                    </a:lnTo>
                    <a:lnTo>
                      <a:pt x="518" y="1376"/>
                    </a:lnTo>
                    <a:lnTo>
                      <a:pt x="509" y="1376"/>
                    </a:lnTo>
                    <a:lnTo>
                      <a:pt x="501" y="1372"/>
                    </a:lnTo>
                    <a:lnTo>
                      <a:pt x="500" y="1360"/>
                    </a:lnTo>
                    <a:lnTo>
                      <a:pt x="495" y="1354"/>
                    </a:lnTo>
                    <a:lnTo>
                      <a:pt x="484" y="1351"/>
                    </a:lnTo>
                    <a:lnTo>
                      <a:pt x="475" y="1354"/>
                    </a:lnTo>
                    <a:lnTo>
                      <a:pt x="469" y="1360"/>
                    </a:lnTo>
                    <a:lnTo>
                      <a:pt x="463" y="1361"/>
                    </a:lnTo>
                    <a:lnTo>
                      <a:pt x="458" y="1366"/>
                    </a:lnTo>
                    <a:lnTo>
                      <a:pt x="458" y="1372"/>
                    </a:lnTo>
                    <a:lnTo>
                      <a:pt x="475" y="1381"/>
                    </a:lnTo>
                    <a:lnTo>
                      <a:pt x="487" y="1382"/>
                    </a:lnTo>
                    <a:lnTo>
                      <a:pt x="494" y="1384"/>
                    </a:lnTo>
                    <a:lnTo>
                      <a:pt x="500" y="1387"/>
                    </a:lnTo>
                    <a:lnTo>
                      <a:pt x="499" y="1389"/>
                    </a:lnTo>
                    <a:lnTo>
                      <a:pt x="466" y="1407"/>
                    </a:lnTo>
                    <a:lnTo>
                      <a:pt x="461" y="1414"/>
                    </a:lnTo>
                    <a:lnTo>
                      <a:pt x="457" y="1423"/>
                    </a:lnTo>
                    <a:lnTo>
                      <a:pt x="448" y="1432"/>
                    </a:lnTo>
                    <a:lnTo>
                      <a:pt x="446" y="1445"/>
                    </a:lnTo>
                    <a:lnTo>
                      <a:pt x="450" y="1461"/>
                    </a:lnTo>
                    <a:lnTo>
                      <a:pt x="448" y="1474"/>
                    </a:lnTo>
                    <a:lnTo>
                      <a:pt x="448" y="1490"/>
                    </a:lnTo>
                    <a:lnTo>
                      <a:pt x="445" y="1501"/>
                    </a:lnTo>
                    <a:lnTo>
                      <a:pt x="440" y="1506"/>
                    </a:lnTo>
                    <a:lnTo>
                      <a:pt x="432" y="1508"/>
                    </a:lnTo>
                    <a:lnTo>
                      <a:pt x="426" y="1520"/>
                    </a:lnTo>
                    <a:lnTo>
                      <a:pt x="431" y="1533"/>
                    </a:lnTo>
                    <a:lnTo>
                      <a:pt x="432" y="1538"/>
                    </a:lnTo>
                    <a:lnTo>
                      <a:pt x="429" y="1544"/>
                    </a:lnTo>
                    <a:lnTo>
                      <a:pt x="396" y="1542"/>
                    </a:lnTo>
                    <a:lnTo>
                      <a:pt x="386" y="1547"/>
                    </a:lnTo>
                    <a:lnTo>
                      <a:pt x="378" y="1556"/>
                    </a:lnTo>
                    <a:lnTo>
                      <a:pt x="369" y="1556"/>
                    </a:lnTo>
                    <a:lnTo>
                      <a:pt x="359" y="1561"/>
                    </a:lnTo>
                    <a:lnTo>
                      <a:pt x="342" y="1580"/>
                    </a:lnTo>
                    <a:lnTo>
                      <a:pt x="335" y="1588"/>
                    </a:lnTo>
                    <a:lnTo>
                      <a:pt x="333" y="1597"/>
                    </a:lnTo>
                    <a:lnTo>
                      <a:pt x="322" y="1615"/>
                    </a:lnTo>
                    <a:lnTo>
                      <a:pt x="318" y="1633"/>
                    </a:lnTo>
                    <a:lnTo>
                      <a:pt x="321" y="1640"/>
                    </a:lnTo>
                    <a:lnTo>
                      <a:pt x="327" y="1653"/>
                    </a:lnTo>
                    <a:lnTo>
                      <a:pt x="333" y="1664"/>
                    </a:lnTo>
                    <a:lnTo>
                      <a:pt x="343" y="1672"/>
                    </a:lnTo>
                    <a:lnTo>
                      <a:pt x="365" y="1696"/>
                    </a:lnTo>
                    <a:lnTo>
                      <a:pt x="389" y="1706"/>
                    </a:lnTo>
                    <a:lnTo>
                      <a:pt x="402" y="1707"/>
                    </a:lnTo>
                    <a:lnTo>
                      <a:pt x="414" y="1705"/>
                    </a:lnTo>
                    <a:lnTo>
                      <a:pt x="421" y="1712"/>
                    </a:lnTo>
                    <a:lnTo>
                      <a:pt x="424" y="1723"/>
                    </a:lnTo>
                    <a:lnTo>
                      <a:pt x="424" y="1739"/>
                    </a:lnTo>
                    <a:lnTo>
                      <a:pt x="417" y="1752"/>
                    </a:lnTo>
                    <a:lnTo>
                      <a:pt x="413" y="1754"/>
                    </a:lnTo>
                    <a:lnTo>
                      <a:pt x="417" y="1766"/>
                    </a:lnTo>
                    <a:lnTo>
                      <a:pt x="418" y="1776"/>
                    </a:lnTo>
                    <a:lnTo>
                      <a:pt x="410" y="1780"/>
                    </a:lnTo>
                    <a:lnTo>
                      <a:pt x="409" y="1791"/>
                    </a:lnTo>
                    <a:lnTo>
                      <a:pt x="402" y="1791"/>
                    </a:lnTo>
                    <a:lnTo>
                      <a:pt x="393" y="1796"/>
                    </a:lnTo>
                    <a:lnTo>
                      <a:pt x="376" y="1813"/>
                    </a:lnTo>
                    <a:lnTo>
                      <a:pt x="358" y="1829"/>
                    </a:lnTo>
                    <a:lnTo>
                      <a:pt x="350" y="1833"/>
                    </a:lnTo>
                    <a:lnTo>
                      <a:pt x="335" y="1849"/>
                    </a:lnTo>
                    <a:lnTo>
                      <a:pt x="321" y="1862"/>
                    </a:lnTo>
                    <a:lnTo>
                      <a:pt x="312" y="1882"/>
                    </a:lnTo>
                    <a:lnTo>
                      <a:pt x="310" y="1894"/>
                    </a:lnTo>
                    <a:lnTo>
                      <a:pt x="318" y="1887"/>
                    </a:lnTo>
                    <a:lnTo>
                      <a:pt x="310" y="1924"/>
                    </a:lnTo>
                    <a:lnTo>
                      <a:pt x="305" y="1940"/>
                    </a:lnTo>
                    <a:lnTo>
                      <a:pt x="296" y="1948"/>
                    </a:lnTo>
                    <a:lnTo>
                      <a:pt x="286" y="1953"/>
                    </a:lnTo>
                    <a:lnTo>
                      <a:pt x="276" y="1953"/>
                    </a:lnTo>
                    <a:lnTo>
                      <a:pt x="269" y="1946"/>
                    </a:lnTo>
                    <a:lnTo>
                      <a:pt x="258" y="1925"/>
                    </a:lnTo>
                    <a:lnTo>
                      <a:pt x="260" y="1945"/>
                    </a:lnTo>
                    <a:lnTo>
                      <a:pt x="268" y="1948"/>
                    </a:lnTo>
                    <a:lnTo>
                      <a:pt x="270" y="1954"/>
                    </a:lnTo>
                    <a:lnTo>
                      <a:pt x="270" y="1959"/>
                    </a:lnTo>
                    <a:lnTo>
                      <a:pt x="248" y="1974"/>
                    </a:lnTo>
                    <a:lnTo>
                      <a:pt x="238" y="1983"/>
                    </a:lnTo>
                    <a:lnTo>
                      <a:pt x="226" y="2026"/>
                    </a:lnTo>
                    <a:lnTo>
                      <a:pt x="219" y="2037"/>
                    </a:lnTo>
                    <a:lnTo>
                      <a:pt x="225" y="2037"/>
                    </a:lnTo>
                    <a:lnTo>
                      <a:pt x="230" y="2033"/>
                    </a:lnTo>
                    <a:lnTo>
                      <a:pt x="237" y="2058"/>
                    </a:lnTo>
                    <a:lnTo>
                      <a:pt x="241" y="2074"/>
                    </a:lnTo>
                    <a:lnTo>
                      <a:pt x="237" y="2081"/>
                    </a:lnTo>
                    <a:lnTo>
                      <a:pt x="225" y="2080"/>
                    </a:lnTo>
                    <a:lnTo>
                      <a:pt x="220" y="2082"/>
                    </a:lnTo>
                    <a:lnTo>
                      <a:pt x="229" y="2089"/>
                    </a:lnTo>
                    <a:lnTo>
                      <a:pt x="233" y="2088"/>
                    </a:lnTo>
                    <a:lnTo>
                      <a:pt x="240" y="2089"/>
                    </a:lnTo>
                    <a:lnTo>
                      <a:pt x="256" y="2120"/>
                    </a:lnTo>
                    <a:lnTo>
                      <a:pt x="275" y="2145"/>
                    </a:lnTo>
                    <a:lnTo>
                      <a:pt x="275" y="214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83" name="Freeform 257"/>
              <p:cNvSpPr>
                <a:spLocks noChangeAspect="1"/>
              </p:cNvSpPr>
              <p:nvPr/>
            </p:nvSpPr>
            <p:spPr bwMode="gray">
              <a:xfrm>
                <a:off x="1763" y="3165"/>
                <a:ext cx="38" cy="45"/>
              </a:xfrm>
              <a:custGeom>
                <a:avLst/>
                <a:gdLst/>
                <a:ahLst/>
                <a:cxnLst>
                  <a:cxn ang="0">
                    <a:pos x="4" y="208"/>
                  </a:cxn>
                  <a:cxn ang="0">
                    <a:pos x="4" y="196"/>
                  </a:cxn>
                  <a:cxn ang="0">
                    <a:pos x="3" y="191"/>
                  </a:cxn>
                  <a:cxn ang="0">
                    <a:pos x="0" y="0"/>
                  </a:cxn>
                  <a:cxn ang="0">
                    <a:pos x="6" y="5"/>
                  </a:cxn>
                  <a:cxn ang="0">
                    <a:pos x="11" y="14"/>
                  </a:cxn>
                  <a:cxn ang="0">
                    <a:pos x="29" y="43"/>
                  </a:cxn>
                  <a:cxn ang="0">
                    <a:pos x="29" y="48"/>
                  </a:cxn>
                  <a:cxn ang="0">
                    <a:pos x="25" y="42"/>
                  </a:cxn>
                  <a:cxn ang="0">
                    <a:pos x="17" y="40"/>
                  </a:cxn>
                  <a:cxn ang="0">
                    <a:pos x="11" y="42"/>
                  </a:cxn>
                  <a:cxn ang="0">
                    <a:pos x="10" y="50"/>
                  </a:cxn>
                  <a:cxn ang="0">
                    <a:pos x="14" y="58"/>
                  </a:cxn>
                  <a:cxn ang="0">
                    <a:pos x="20" y="61"/>
                  </a:cxn>
                  <a:cxn ang="0">
                    <a:pos x="26" y="67"/>
                  </a:cxn>
                  <a:cxn ang="0">
                    <a:pos x="31" y="74"/>
                  </a:cxn>
                  <a:cxn ang="0">
                    <a:pos x="37" y="94"/>
                  </a:cxn>
                  <a:cxn ang="0">
                    <a:pos x="42" y="99"/>
                  </a:cxn>
                  <a:cxn ang="0">
                    <a:pos x="59" y="111"/>
                  </a:cxn>
                  <a:cxn ang="0">
                    <a:pos x="74" y="129"/>
                  </a:cxn>
                  <a:cxn ang="0">
                    <a:pos x="81" y="132"/>
                  </a:cxn>
                  <a:cxn ang="0">
                    <a:pos x="86" y="136"/>
                  </a:cxn>
                  <a:cxn ang="0">
                    <a:pos x="94" y="138"/>
                  </a:cxn>
                  <a:cxn ang="0">
                    <a:pos x="97" y="144"/>
                  </a:cxn>
                  <a:cxn ang="0">
                    <a:pos x="108" y="148"/>
                  </a:cxn>
                  <a:cxn ang="0">
                    <a:pos x="119" y="161"/>
                  </a:cxn>
                  <a:cxn ang="0">
                    <a:pos x="142" y="179"/>
                  </a:cxn>
                  <a:cxn ang="0">
                    <a:pos x="156" y="187"/>
                  </a:cxn>
                  <a:cxn ang="0">
                    <a:pos x="182" y="190"/>
                  </a:cxn>
                  <a:cxn ang="0">
                    <a:pos x="192" y="187"/>
                  </a:cxn>
                  <a:cxn ang="0">
                    <a:pos x="193" y="193"/>
                  </a:cxn>
                  <a:cxn ang="0">
                    <a:pos x="191" y="206"/>
                  </a:cxn>
                  <a:cxn ang="0">
                    <a:pos x="187" y="210"/>
                  </a:cxn>
                  <a:cxn ang="0">
                    <a:pos x="175" y="215"/>
                  </a:cxn>
                  <a:cxn ang="0">
                    <a:pos x="155" y="212"/>
                  </a:cxn>
                  <a:cxn ang="0">
                    <a:pos x="129" y="220"/>
                  </a:cxn>
                  <a:cxn ang="0">
                    <a:pos x="127" y="224"/>
                  </a:cxn>
                  <a:cxn ang="0">
                    <a:pos x="118" y="222"/>
                  </a:cxn>
                  <a:cxn ang="0">
                    <a:pos x="102" y="212"/>
                  </a:cxn>
                  <a:cxn ang="0">
                    <a:pos x="74" y="206"/>
                  </a:cxn>
                  <a:cxn ang="0">
                    <a:pos x="48" y="206"/>
                  </a:cxn>
                  <a:cxn ang="0">
                    <a:pos x="40" y="202"/>
                  </a:cxn>
                  <a:cxn ang="0">
                    <a:pos x="33" y="201"/>
                  </a:cxn>
                  <a:cxn ang="0">
                    <a:pos x="25" y="199"/>
                  </a:cxn>
                  <a:cxn ang="0">
                    <a:pos x="9" y="208"/>
                  </a:cxn>
                  <a:cxn ang="0">
                    <a:pos x="4" y="208"/>
                  </a:cxn>
                </a:cxnLst>
                <a:rect l="0" t="0" r="r" b="b"/>
                <a:pathLst>
                  <a:path w="193" h="224">
                    <a:moveTo>
                      <a:pt x="4" y="208"/>
                    </a:moveTo>
                    <a:lnTo>
                      <a:pt x="4" y="196"/>
                    </a:lnTo>
                    <a:lnTo>
                      <a:pt x="3" y="191"/>
                    </a:lnTo>
                    <a:lnTo>
                      <a:pt x="0" y="0"/>
                    </a:lnTo>
                    <a:lnTo>
                      <a:pt x="6" y="5"/>
                    </a:lnTo>
                    <a:lnTo>
                      <a:pt x="11" y="14"/>
                    </a:lnTo>
                    <a:lnTo>
                      <a:pt x="29" y="43"/>
                    </a:lnTo>
                    <a:lnTo>
                      <a:pt x="29" y="48"/>
                    </a:lnTo>
                    <a:lnTo>
                      <a:pt x="25" y="42"/>
                    </a:lnTo>
                    <a:lnTo>
                      <a:pt x="17" y="40"/>
                    </a:lnTo>
                    <a:lnTo>
                      <a:pt x="11" y="42"/>
                    </a:lnTo>
                    <a:lnTo>
                      <a:pt x="10" y="50"/>
                    </a:lnTo>
                    <a:lnTo>
                      <a:pt x="14" y="58"/>
                    </a:lnTo>
                    <a:lnTo>
                      <a:pt x="20" y="61"/>
                    </a:lnTo>
                    <a:lnTo>
                      <a:pt x="26" y="67"/>
                    </a:lnTo>
                    <a:lnTo>
                      <a:pt x="31" y="74"/>
                    </a:lnTo>
                    <a:lnTo>
                      <a:pt x="37" y="94"/>
                    </a:lnTo>
                    <a:lnTo>
                      <a:pt x="42" y="99"/>
                    </a:lnTo>
                    <a:lnTo>
                      <a:pt x="59" y="111"/>
                    </a:lnTo>
                    <a:lnTo>
                      <a:pt x="74" y="129"/>
                    </a:lnTo>
                    <a:lnTo>
                      <a:pt x="81" y="132"/>
                    </a:lnTo>
                    <a:lnTo>
                      <a:pt x="86" y="136"/>
                    </a:lnTo>
                    <a:lnTo>
                      <a:pt x="94" y="138"/>
                    </a:lnTo>
                    <a:lnTo>
                      <a:pt x="97" y="144"/>
                    </a:lnTo>
                    <a:lnTo>
                      <a:pt x="108" y="148"/>
                    </a:lnTo>
                    <a:lnTo>
                      <a:pt x="119" y="161"/>
                    </a:lnTo>
                    <a:lnTo>
                      <a:pt x="142" y="179"/>
                    </a:lnTo>
                    <a:lnTo>
                      <a:pt x="156" y="187"/>
                    </a:lnTo>
                    <a:lnTo>
                      <a:pt x="182" y="190"/>
                    </a:lnTo>
                    <a:lnTo>
                      <a:pt x="192" y="187"/>
                    </a:lnTo>
                    <a:lnTo>
                      <a:pt x="193" y="193"/>
                    </a:lnTo>
                    <a:lnTo>
                      <a:pt x="191" y="206"/>
                    </a:lnTo>
                    <a:lnTo>
                      <a:pt x="187" y="210"/>
                    </a:lnTo>
                    <a:lnTo>
                      <a:pt x="175" y="215"/>
                    </a:lnTo>
                    <a:lnTo>
                      <a:pt x="155" y="212"/>
                    </a:lnTo>
                    <a:lnTo>
                      <a:pt x="129" y="220"/>
                    </a:lnTo>
                    <a:lnTo>
                      <a:pt x="127" y="224"/>
                    </a:lnTo>
                    <a:lnTo>
                      <a:pt x="118" y="222"/>
                    </a:lnTo>
                    <a:lnTo>
                      <a:pt x="102" y="212"/>
                    </a:lnTo>
                    <a:lnTo>
                      <a:pt x="74" y="206"/>
                    </a:lnTo>
                    <a:lnTo>
                      <a:pt x="48" y="206"/>
                    </a:lnTo>
                    <a:lnTo>
                      <a:pt x="40" y="202"/>
                    </a:lnTo>
                    <a:lnTo>
                      <a:pt x="33" y="201"/>
                    </a:lnTo>
                    <a:lnTo>
                      <a:pt x="25" y="199"/>
                    </a:lnTo>
                    <a:lnTo>
                      <a:pt x="9" y="208"/>
                    </a:lnTo>
                    <a:lnTo>
                      <a:pt x="4" y="20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84" name="Freeform 258"/>
              <p:cNvSpPr>
                <a:spLocks noChangeAspect="1"/>
              </p:cNvSpPr>
              <p:nvPr/>
            </p:nvSpPr>
            <p:spPr bwMode="gray">
              <a:xfrm>
                <a:off x="1879" y="2422"/>
                <a:ext cx="45" cy="45"/>
              </a:xfrm>
              <a:custGeom>
                <a:avLst/>
                <a:gdLst/>
                <a:ahLst/>
                <a:cxnLst>
                  <a:cxn ang="0">
                    <a:pos x="197" y="195"/>
                  </a:cxn>
                  <a:cxn ang="0">
                    <a:pos x="172" y="187"/>
                  </a:cxn>
                  <a:cxn ang="0">
                    <a:pos x="146" y="193"/>
                  </a:cxn>
                  <a:cxn ang="0">
                    <a:pos x="129" y="190"/>
                  </a:cxn>
                  <a:cxn ang="0">
                    <a:pos x="124" y="217"/>
                  </a:cxn>
                  <a:cxn ang="0">
                    <a:pos x="103" y="221"/>
                  </a:cxn>
                  <a:cxn ang="0">
                    <a:pos x="91" y="214"/>
                  </a:cxn>
                  <a:cxn ang="0">
                    <a:pos x="79" y="205"/>
                  </a:cxn>
                  <a:cxn ang="0">
                    <a:pos x="59" y="178"/>
                  </a:cxn>
                  <a:cxn ang="0">
                    <a:pos x="52" y="166"/>
                  </a:cxn>
                  <a:cxn ang="0">
                    <a:pos x="47" y="151"/>
                  </a:cxn>
                  <a:cxn ang="0">
                    <a:pos x="43" y="140"/>
                  </a:cxn>
                  <a:cxn ang="0">
                    <a:pos x="30" y="139"/>
                  </a:cxn>
                  <a:cxn ang="0">
                    <a:pos x="26" y="130"/>
                  </a:cxn>
                  <a:cxn ang="0">
                    <a:pos x="15" y="122"/>
                  </a:cxn>
                  <a:cxn ang="0">
                    <a:pos x="0" y="101"/>
                  </a:cxn>
                  <a:cxn ang="0">
                    <a:pos x="4" y="84"/>
                  </a:cxn>
                  <a:cxn ang="0">
                    <a:pos x="9" y="60"/>
                  </a:cxn>
                  <a:cxn ang="0">
                    <a:pos x="11" y="55"/>
                  </a:cxn>
                  <a:cxn ang="0">
                    <a:pos x="22" y="50"/>
                  </a:cxn>
                  <a:cxn ang="0">
                    <a:pos x="38" y="49"/>
                  </a:cxn>
                  <a:cxn ang="0">
                    <a:pos x="46" y="39"/>
                  </a:cxn>
                  <a:cxn ang="0">
                    <a:pos x="44" y="32"/>
                  </a:cxn>
                  <a:cxn ang="0">
                    <a:pos x="43" y="26"/>
                  </a:cxn>
                  <a:cxn ang="0">
                    <a:pos x="57" y="9"/>
                  </a:cxn>
                  <a:cxn ang="0">
                    <a:pos x="62" y="5"/>
                  </a:cxn>
                  <a:cxn ang="0">
                    <a:pos x="71" y="0"/>
                  </a:cxn>
                  <a:cxn ang="0">
                    <a:pos x="114" y="6"/>
                  </a:cxn>
                  <a:cxn ang="0">
                    <a:pos x="154" y="3"/>
                  </a:cxn>
                  <a:cxn ang="0">
                    <a:pos x="168" y="0"/>
                  </a:cxn>
                  <a:cxn ang="0">
                    <a:pos x="200" y="3"/>
                  </a:cxn>
                  <a:cxn ang="0">
                    <a:pos x="225" y="11"/>
                  </a:cxn>
                  <a:cxn ang="0">
                    <a:pos x="222" y="25"/>
                  </a:cxn>
                  <a:cxn ang="0">
                    <a:pos x="218" y="33"/>
                  </a:cxn>
                  <a:cxn ang="0">
                    <a:pos x="206" y="49"/>
                  </a:cxn>
                  <a:cxn ang="0">
                    <a:pos x="208" y="90"/>
                  </a:cxn>
                  <a:cxn ang="0">
                    <a:pos x="220" y="114"/>
                  </a:cxn>
                  <a:cxn ang="0">
                    <a:pos x="221" y="117"/>
                  </a:cxn>
                  <a:cxn ang="0">
                    <a:pos x="225" y="140"/>
                  </a:cxn>
                  <a:cxn ang="0">
                    <a:pos x="218" y="181"/>
                  </a:cxn>
                  <a:cxn ang="0">
                    <a:pos x="203" y="197"/>
                  </a:cxn>
                </a:cxnLst>
                <a:rect l="0" t="0" r="r" b="b"/>
                <a:pathLst>
                  <a:path w="226" h="221">
                    <a:moveTo>
                      <a:pt x="203" y="197"/>
                    </a:moveTo>
                    <a:lnTo>
                      <a:pt x="197" y="195"/>
                    </a:lnTo>
                    <a:lnTo>
                      <a:pt x="193" y="193"/>
                    </a:lnTo>
                    <a:lnTo>
                      <a:pt x="172" y="187"/>
                    </a:lnTo>
                    <a:lnTo>
                      <a:pt x="150" y="193"/>
                    </a:lnTo>
                    <a:lnTo>
                      <a:pt x="146" y="193"/>
                    </a:lnTo>
                    <a:lnTo>
                      <a:pt x="136" y="190"/>
                    </a:lnTo>
                    <a:lnTo>
                      <a:pt x="129" y="190"/>
                    </a:lnTo>
                    <a:lnTo>
                      <a:pt x="123" y="193"/>
                    </a:lnTo>
                    <a:lnTo>
                      <a:pt x="124" y="217"/>
                    </a:lnTo>
                    <a:lnTo>
                      <a:pt x="120" y="221"/>
                    </a:lnTo>
                    <a:lnTo>
                      <a:pt x="103" y="221"/>
                    </a:lnTo>
                    <a:lnTo>
                      <a:pt x="91" y="216"/>
                    </a:lnTo>
                    <a:lnTo>
                      <a:pt x="91" y="214"/>
                    </a:lnTo>
                    <a:lnTo>
                      <a:pt x="89" y="214"/>
                    </a:lnTo>
                    <a:lnTo>
                      <a:pt x="79" y="205"/>
                    </a:lnTo>
                    <a:lnTo>
                      <a:pt x="65" y="188"/>
                    </a:lnTo>
                    <a:lnTo>
                      <a:pt x="59" y="178"/>
                    </a:lnTo>
                    <a:lnTo>
                      <a:pt x="58" y="172"/>
                    </a:lnTo>
                    <a:lnTo>
                      <a:pt x="52" y="166"/>
                    </a:lnTo>
                    <a:lnTo>
                      <a:pt x="52" y="156"/>
                    </a:lnTo>
                    <a:lnTo>
                      <a:pt x="47" y="151"/>
                    </a:lnTo>
                    <a:lnTo>
                      <a:pt x="46" y="143"/>
                    </a:lnTo>
                    <a:lnTo>
                      <a:pt x="43" y="140"/>
                    </a:lnTo>
                    <a:lnTo>
                      <a:pt x="32" y="140"/>
                    </a:lnTo>
                    <a:lnTo>
                      <a:pt x="30" y="139"/>
                    </a:lnTo>
                    <a:lnTo>
                      <a:pt x="26" y="135"/>
                    </a:lnTo>
                    <a:lnTo>
                      <a:pt x="26" y="130"/>
                    </a:lnTo>
                    <a:lnTo>
                      <a:pt x="17" y="123"/>
                    </a:lnTo>
                    <a:lnTo>
                      <a:pt x="15" y="122"/>
                    </a:lnTo>
                    <a:lnTo>
                      <a:pt x="6" y="107"/>
                    </a:lnTo>
                    <a:lnTo>
                      <a:pt x="0" y="101"/>
                    </a:lnTo>
                    <a:lnTo>
                      <a:pt x="0" y="95"/>
                    </a:lnTo>
                    <a:lnTo>
                      <a:pt x="4" y="84"/>
                    </a:lnTo>
                    <a:lnTo>
                      <a:pt x="9" y="75"/>
                    </a:lnTo>
                    <a:lnTo>
                      <a:pt x="9" y="60"/>
                    </a:lnTo>
                    <a:lnTo>
                      <a:pt x="10" y="58"/>
                    </a:lnTo>
                    <a:lnTo>
                      <a:pt x="11" y="55"/>
                    </a:lnTo>
                    <a:lnTo>
                      <a:pt x="15" y="53"/>
                    </a:lnTo>
                    <a:lnTo>
                      <a:pt x="22" y="50"/>
                    </a:lnTo>
                    <a:lnTo>
                      <a:pt x="32" y="50"/>
                    </a:lnTo>
                    <a:lnTo>
                      <a:pt x="38" y="49"/>
                    </a:lnTo>
                    <a:lnTo>
                      <a:pt x="39" y="46"/>
                    </a:lnTo>
                    <a:lnTo>
                      <a:pt x="46" y="39"/>
                    </a:lnTo>
                    <a:lnTo>
                      <a:pt x="46" y="32"/>
                    </a:lnTo>
                    <a:lnTo>
                      <a:pt x="44" y="32"/>
                    </a:lnTo>
                    <a:lnTo>
                      <a:pt x="42" y="30"/>
                    </a:lnTo>
                    <a:lnTo>
                      <a:pt x="43" y="26"/>
                    </a:lnTo>
                    <a:lnTo>
                      <a:pt x="50" y="15"/>
                    </a:lnTo>
                    <a:lnTo>
                      <a:pt x="57" y="9"/>
                    </a:lnTo>
                    <a:lnTo>
                      <a:pt x="58" y="6"/>
                    </a:lnTo>
                    <a:lnTo>
                      <a:pt x="62" y="5"/>
                    </a:lnTo>
                    <a:lnTo>
                      <a:pt x="66" y="0"/>
                    </a:lnTo>
                    <a:lnTo>
                      <a:pt x="71" y="0"/>
                    </a:lnTo>
                    <a:lnTo>
                      <a:pt x="95" y="6"/>
                    </a:lnTo>
                    <a:lnTo>
                      <a:pt x="114" y="6"/>
                    </a:lnTo>
                    <a:lnTo>
                      <a:pt x="139" y="1"/>
                    </a:lnTo>
                    <a:lnTo>
                      <a:pt x="154" y="3"/>
                    </a:lnTo>
                    <a:lnTo>
                      <a:pt x="166" y="1"/>
                    </a:lnTo>
                    <a:lnTo>
                      <a:pt x="168" y="0"/>
                    </a:lnTo>
                    <a:lnTo>
                      <a:pt x="175" y="0"/>
                    </a:lnTo>
                    <a:lnTo>
                      <a:pt x="200" y="3"/>
                    </a:lnTo>
                    <a:lnTo>
                      <a:pt x="225" y="10"/>
                    </a:lnTo>
                    <a:lnTo>
                      <a:pt x="225" y="11"/>
                    </a:lnTo>
                    <a:lnTo>
                      <a:pt x="225" y="22"/>
                    </a:lnTo>
                    <a:lnTo>
                      <a:pt x="222" y="25"/>
                    </a:lnTo>
                    <a:lnTo>
                      <a:pt x="222" y="27"/>
                    </a:lnTo>
                    <a:lnTo>
                      <a:pt x="218" y="33"/>
                    </a:lnTo>
                    <a:lnTo>
                      <a:pt x="210" y="39"/>
                    </a:lnTo>
                    <a:lnTo>
                      <a:pt x="206" y="49"/>
                    </a:lnTo>
                    <a:lnTo>
                      <a:pt x="206" y="71"/>
                    </a:lnTo>
                    <a:lnTo>
                      <a:pt x="208" y="90"/>
                    </a:lnTo>
                    <a:lnTo>
                      <a:pt x="211" y="101"/>
                    </a:lnTo>
                    <a:lnTo>
                      <a:pt x="220" y="114"/>
                    </a:lnTo>
                    <a:lnTo>
                      <a:pt x="220" y="116"/>
                    </a:lnTo>
                    <a:lnTo>
                      <a:pt x="221" y="117"/>
                    </a:lnTo>
                    <a:lnTo>
                      <a:pt x="226" y="125"/>
                    </a:lnTo>
                    <a:lnTo>
                      <a:pt x="225" y="140"/>
                    </a:lnTo>
                    <a:lnTo>
                      <a:pt x="220" y="162"/>
                    </a:lnTo>
                    <a:lnTo>
                      <a:pt x="218" y="181"/>
                    </a:lnTo>
                    <a:lnTo>
                      <a:pt x="216" y="184"/>
                    </a:lnTo>
                    <a:lnTo>
                      <a:pt x="203" y="19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85" name="Freeform 259"/>
              <p:cNvSpPr>
                <a:spLocks noChangeAspect="1"/>
              </p:cNvSpPr>
              <p:nvPr/>
            </p:nvSpPr>
            <p:spPr bwMode="gray">
              <a:xfrm rot="-1047951">
                <a:off x="1790" y="2357"/>
                <a:ext cx="4" cy="4"/>
              </a:xfrm>
              <a:custGeom>
                <a:avLst/>
                <a:gdLst/>
                <a:ahLst/>
                <a:cxnLst>
                  <a:cxn ang="0">
                    <a:pos x="148" y="0"/>
                  </a:cxn>
                  <a:cxn ang="0">
                    <a:pos x="169" y="17"/>
                  </a:cxn>
                  <a:cxn ang="0">
                    <a:pos x="183" y="54"/>
                  </a:cxn>
                  <a:cxn ang="0">
                    <a:pos x="114" y="93"/>
                  </a:cxn>
                  <a:cxn ang="0">
                    <a:pos x="86" y="86"/>
                  </a:cxn>
                  <a:cxn ang="0">
                    <a:pos x="66" y="72"/>
                  </a:cxn>
                  <a:cxn ang="0">
                    <a:pos x="14" y="72"/>
                  </a:cxn>
                  <a:cxn ang="0">
                    <a:pos x="0" y="41"/>
                  </a:cxn>
                  <a:cxn ang="0">
                    <a:pos x="24" y="24"/>
                  </a:cxn>
                  <a:cxn ang="0">
                    <a:pos x="54" y="24"/>
                  </a:cxn>
                  <a:cxn ang="0">
                    <a:pos x="83" y="44"/>
                  </a:cxn>
                  <a:cxn ang="0">
                    <a:pos x="148" y="0"/>
                  </a:cxn>
                </a:cxnLst>
                <a:rect l="0" t="0" r="r" b="b"/>
                <a:pathLst>
                  <a:path w="183" h="93">
                    <a:moveTo>
                      <a:pt x="148" y="0"/>
                    </a:moveTo>
                    <a:lnTo>
                      <a:pt x="169" y="17"/>
                    </a:lnTo>
                    <a:lnTo>
                      <a:pt x="183" y="54"/>
                    </a:lnTo>
                    <a:lnTo>
                      <a:pt x="114" y="93"/>
                    </a:lnTo>
                    <a:lnTo>
                      <a:pt x="86" y="86"/>
                    </a:lnTo>
                    <a:lnTo>
                      <a:pt x="66" y="72"/>
                    </a:lnTo>
                    <a:lnTo>
                      <a:pt x="14" y="72"/>
                    </a:lnTo>
                    <a:lnTo>
                      <a:pt x="0" y="41"/>
                    </a:lnTo>
                    <a:lnTo>
                      <a:pt x="24" y="24"/>
                    </a:lnTo>
                    <a:lnTo>
                      <a:pt x="54" y="24"/>
                    </a:lnTo>
                    <a:lnTo>
                      <a:pt x="83" y="44"/>
                    </a:lnTo>
                    <a:lnTo>
                      <a:pt x="148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86" name="Freeform 260"/>
              <p:cNvSpPr>
                <a:spLocks noChangeAspect="1"/>
              </p:cNvSpPr>
              <p:nvPr/>
            </p:nvSpPr>
            <p:spPr bwMode="gray">
              <a:xfrm rot="-1047951">
                <a:off x="1753" y="2352"/>
                <a:ext cx="3" cy="4"/>
              </a:xfrm>
              <a:custGeom>
                <a:avLst/>
                <a:gdLst/>
                <a:ahLst/>
                <a:cxnLst>
                  <a:cxn ang="0">
                    <a:pos x="24" y="37"/>
                  </a:cxn>
                  <a:cxn ang="0">
                    <a:pos x="0" y="0"/>
                  </a:cxn>
                  <a:cxn ang="0">
                    <a:pos x="0" y="10"/>
                  </a:cxn>
                  <a:cxn ang="0">
                    <a:pos x="5" y="41"/>
                  </a:cxn>
                  <a:cxn ang="0">
                    <a:pos x="24" y="72"/>
                  </a:cxn>
                  <a:cxn ang="0">
                    <a:pos x="101" y="102"/>
                  </a:cxn>
                  <a:cxn ang="0">
                    <a:pos x="101" y="85"/>
                  </a:cxn>
                  <a:cxn ang="0">
                    <a:pos x="59" y="68"/>
                  </a:cxn>
                  <a:cxn ang="0">
                    <a:pos x="24" y="37"/>
                  </a:cxn>
                </a:cxnLst>
                <a:rect l="0" t="0" r="r" b="b"/>
                <a:pathLst>
                  <a:path w="100" h="102">
                    <a:moveTo>
                      <a:pt x="24" y="37"/>
                    </a:moveTo>
                    <a:lnTo>
                      <a:pt x="0" y="0"/>
                    </a:lnTo>
                    <a:lnTo>
                      <a:pt x="0" y="10"/>
                    </a:lnTo>
                    <a:lnTo>
                      <a:pt x="5" y="41"/>
                    </a:lnTo>
                    <a:lnTo>
                      <a:pt x="24" y="72"/>
                    </a:lnTo>
                    <a:lnTo>
                      <a:pt x="101" y="102"/>
                    </a:lnTo>
                    <a:lnTo>
                      <a:pt x="101" y="85"/>
                    </a:lnTo>
                    <a:lnTo>
                      <a:pt x="59" y="68"/>
                    </a:lnTo>
                    <a:lnTo>
                      <a:pt x="24" y="3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87" name="Freeform 261"/>
              <p:cNvSpPr>
                <a:spLocks noChangeAspect="1"/>
              </p:cNvSpPr>
              <p:nvPr/>
            </p:nvSpPr>
            <p:spPr bwMode="gray">
              <a:xfrm rot="-1047951">
                <a:off x="1758" y="2351"/>
                <a:ext cx="2" cy="4"/>
              </a:xfrm>
              <a:custGeom>
                <a:avLst/>
                <a:gdLst/>
                <a:ahLst/>
                <a:cxnLst>
                  <a:cxn ang="0">
                    <a:pos x="20" y="17"/>
                  </a:cxn>
                  <a:cxn ang="0">
                    <a:pos x="0" y="0"/>
                  </a:cxn>
                  <a:cxn ang="0">
                    <a:pos x="13" y="26"/>
                  </a:cxn>
                  <a:cxn ang="0">
                    <a:pos x="38" y="51"/>
                  </a:cxn>
                  <a:cxn ang="0">
                    <a:pos x="52" y="82"/>
                  </a:cxn>
                  <a:cxn ang="0">
                    <a:pos x="62" y="85"/>
                  </a:cxn>
                  <a:cxn ang="0">
                    <a:pos x="69" y="38"/>
                  </a:cxn>
                  <a:cxn ang="0">
                    <a:pos x="52" y="23"/>
                  </a:cxn>
                  <a:cxn ang="0">
                    <a:pos x="20" y="17"/>
                  </a:cxn>
                </a:cxnLst>
                <a:rect l="0" t="0" r="r" b="b"/>
                <a:pathLst>
                  <a:path w="69" h="85">
                    <a:moveTo>
                      <a:pt x="20" y="17"/>
                    </a:moveTo>
                    <a:lnTo>
                      <a:pt x="0" y="0"/>
                    </a:lnTo>
                    <a:lnTo>
                      <a:pt x="13" y="26"/>
                    </a:lnTo>
                    <a:lnTo>
                      <a:pt x="38" y="51"/>
                    </a:lnTo>
                    <a:lnTo>
                      <a:pt x="52" y="82"/>
                    </a:lnTo>
                    <a:lnTo>
                      <a:pt x="62" y="85"/>
                    </a:lnTo>
                    <a:lnTo>
                      <a:pt x="69" y="38"/>
                    </a:lnTo>
                    <a:lnTo>
                      <a:pt x="52" y="23"/>
                    </a:lnTo>
                    <a:lnTo>
                      <a:pt x="20" y="1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</p:grpSp>
        <p:sp>
          <p:nvSpPr>
            <p:cNvPr id="68" name="Freeform 262"/>
            <p:cNvSpPr>
              <a:spLocks noChangeAspect="1"/>
            </p:cNvSpPr>
            <p:nvPr/>
          </p:nvSpPr>
          <p:spPr bwMode="gray">
            <a:xfrm>
              <a:off x="4369109" y="3970497"/>
              <a:ext cx="74737" cy="82069"/>
            </a:xfrm>
            <a:custGeom>
              <a:avLst/>
              <a:gdLst/>
              <a:ahLst/>
              <a:cxnLst>
                <a:cxn ang="0">
                  <a:pos x="223" y="0"/>
                </a:cxn>
                <a:cxn ang="0">
                  <a:pos x="206" y="11"/>
                </a:cxn>
                <a:cxn ang="0">
                  <a:pos x="187" y="16"/>
                </a:cxn>
                <a:cxn ang="0">
                  <a:pos x="163" y="21"/>
                </a:cxn>
                <a:cxn ang="0">
                  <a:pos x="156" y="14"/>
                </a:cxn>
                <a:cxn ang="0">
                  <a:pos x="149" y="16"/>
                </a:cxn>
                <a:cxn ang="0">
                  <a:pos x="143" y="18"/>
                </a:cxn>
                <a:cxn ang="0">
                  <a:pos x="136" y="38"/>
                </a:cxn>
                <a:cxn ang="0">
                  <a:pos x="123" y="43"/>
                </a:cxn>
                <a:cxn ang="0">
                  <a:pos x="117" y="50"/>
                </a:cxn>
                <a:cxn ang="0">
                  <a:pos x="110" y="58"/>
                </a:cxn>
                <a:cxn ang="0">
                  <a:pos x="101" y="61"/>
                </a:cxn>
                <a:cxn ang="0">
                  <a:pos x="93" y="63"/>
                </a:cxn>
                <a:cxn ang="0">
                  <a:pos x="78" y="54"/>
                </a:cxn>
                <a:cxn ang="0">
                  <a:pos x="68" y="72"/>
                </a:cxn>
                <a:cxn ang="0">
                  <a:pos x="46" y="72"/>
                </a:cxn>
                <a:cxn ang="0">
                  <a:pos x="43" y="95"/>
                </a:cxn>
                <a:cxn ang="0">
                  <a:pos x="35" y="101"/>
                </a:cxn>
                <a:cxn ang="0">
                  <a:pos x="29" y="111"/>
                </a:cxn>
                <a:cxn ang="0">
                  <a:pos x="2" y="112"/>
                </a:cxn>
                <a:cxn ang="0">
                  <a:pos x="2" y="120"/>
                </a:cxn>
                <a:cxn ang="0">
                  <a:pos x="20" y="141"/>
                </a:cxn>
                <a:cxn ang="0">
                  <a:pos x="57" y="181"/>
                </a:cxn>
                <a:cxn ang="0">
                  <a:pos x="70" y="194"/>
                </a:cxn>
                <a:cxn ang="0">
                  <a:pos x="95" y="211"/>
                </a:cxn>
                <a:cxn ang="0">
                  <a:pos x="98" y="221"/>
                </a:cxn>
                <a:cxn ang="0">
                  <a:pos x="105" y="215"/>
                </a:cxn>
                <a:cxn ang="0">
                  <a:pos x="120" y="220"/>
                </a:cxn>
                <a:cxn ang="0">
                  <a:pos x="152" y="226"/>
                </a:cxn>
                <a:cxn ang="0">
                  <a:pos x="165" y="224"/>
                </a:cxn>
                <a:cxn ang="0">
                  <a:pos x="182" y="235"/>
                </a:cxn>
                <a:cxn ang="0">
                  <a:pos x="197" y="236"/>
                </a:cxn>
                <a:cxn ang="0">
                  <a:pos x="214" y="231"/>
                </a:cxn>
                <a:cxn ang="0">
                  <a:pos x="212" y="224"/>
                </a:cxn>
                <a:cxn ang="0">
                  <a:pos x="204" y="200"/>
                </a:cxn>
                <a:cxn ang="0">
                  <a:pos x="212" y="181"/>
                </a:cxn>
                <a:cxn ang="0">
                  <a:pos x="219" y="117"/>
                </a:cxn>
                <a:cxn ang="0">
                  <a:pos x="231" y="43"/>
                </a:cxn>
                <a:cxn ang="0">
                  <a:pos x="234" y="0"/>
                </a:cxn>
              </a:cxnLst>
              <a:rect l="0" t="0" r="r" b="b"/>
              <a:pathLst>
                <a:path w="234" h="236">
                  <a:moveTo>
                    <a:pt x="234" y="0"/>
                  </a:moveTo>
                  <a:lnTo>
                    <a:pt x="223" y="0"/>
                  </a:lnTo>
                  <a:lnTo>
                    <a:pt x="209" y="6"/>
                  </a:lnTo>
                  <a:lnTo>
                    <a:pt x="206" y="11"/>
                  </a:lnTo>
                  <a:lnTo>
                    <a:pt x="197" y="16"/>
                  </a:lnTo>
                  <a:lnTo>
                    <a:pt x="187" y="16"/>
                  </a:lnTo>
                  <a:lnTo>
                    <a:pt x="180" y="21"/>
                  </a:lnTo>
                  <a:lnTo>
                    <a:pt x="163" y="21"/>
                  </a:lnTo>
                  <a:lnTo>
                    <a:pt x="160" y="18"/>
                  </a:lnTo>
                  <a:lnTo>
                    <a:pt x="156" y="14"/>
                  </a:lnTo>
                  <a:lnTo>
                    <a:pt x="150" y="12"/>
                  </a:lnTo>
                  <a:lnTo>
                    <a:pt x="149" y="16"/>
                  </a:lnTo>
                  <a:lnTo>
                    <a:pt x="147" y="17"/>
                  </a:lnTo>
                  <a:lnTo>
                    <a:pt x="143" y="18"/>
                  </a:lnTo>
                  <a:lnTo>
                    <a:pt x="139" y="25"/>
                  </a:lnTo>
                  <a:lnTo>
                    <a:pt x="136" y="38"/>
                  </a:lnTo>
                  <a:lnTo>
                    <a:pt x="133" y="41"/>
                  </a:lnTo>
                  <a:lnTo>
                    <a:pt x="123" y="43"/>
                  </a:lnTo>
                  <a:lnTo>
                    <a:pt x="118" y="48"/>
                  </a:lnTo>
                  <a:lnTo>
                    <a:pt x="117" y="50"/>
                  </a:lnTo>
                  <a:lnTo>
                    <a:pt x="113" y="52"/>
                  </a:lnTo>
                  <a:lnTo>
                    <a:pt x="110" y="58"/>
                  </a:lnTo>
                  <a:lnTo>
                    <a:pt x="101" y="59"/>
                  </a:lnTo>
                  <a:lnTo>
                    <a:pt x="101" y="61"/>
                  </a:lnTo>
                  <a:lnTo>
                    <a:pt x="99" y="63"/>
                  </a:lnTo>
                  <a:lnTo>
                    <a:pt x="93" y="63"/>
                  </a:lnTo>
                  <a:lnTo>
                    <a:pt x="85" y="57"/>
                  </a:lnTo>
                  <a:lnTo>
                    <a:pt x="78" y="54"/>
                  </a:lnTo>
                  <a:lnTo>
                    <a:pt x="72" y="64"/>
                  </a:lnTo>
                  <a:lnTo>
                    <a:pt x="68" y="72"/>
                  </a:lnTo>
                  <a:lnTo>
                    <a:pt x="51" y="74"/>
                  </a:lnTo>
                  <a:lnTo>
                    <a:pt x="46" y="72"/>
                  </a:lnTo>
                  <a:lnTo>
                    <a:pt x="43" y="80"/>
                  </a:lnTo>
                  <a:lnTo>
                    <a:pt x="43" y="95"/>
                  </a:lnTo>
                  <a:lnTo>
                    <a:pt x="41" y="96"/>
                  </a:lnTo>
                  <a:lnTo>
                    <a:pt x="35" y="101"/>
                  </a:lnTo>
                  <a:lnTo>
                    <a:pt x="32" y="108"/>
                  </a:lnTo>
                  <a:lnTo>
                    <a:pt x="29" y="111"/>
                  </a:lnTo>
                  <a:lnTo>
                    <a:pt x="12" y="112"/>
                  </a:lnTo>
                  <a:lnTo>
                    <a:pt x="2" y="112"/>
                  </a:lnTo>
                  <a:lnTo>
                    <a:pt x="0" y="118"/>
                  </a:lnTo>
                  <a:lnTo>
                    <a:pt x="2" y="120"/>
                  </a:lnTo>
                  <a:lnTo>
                    <a:pt x="16" y="136"/>
                  </a:lnTo>
                  <a:lnTo>
                    <a:pt x="20" y="141"/>
                  </a:lnTo>
                  <a:lnTo>
                    <a:pt x="42" y="162"/>
                  </a:lnTo>
                  <a:lnTo>
                    <a:pt x="57" y="181"/>
                  </a:lnTo>
                  <a:lnTo>
                    <a:pt x="66" y="189"/>
                  </a:lnTo>
                  <a:lnTo>
                    <a:pt x="70" y="194"/>
                  </a:lnTo>
                  <a:lnTo>
                    <a:pt x="77" y="197"/>
                  </a:lnTo>
                  <a:lnTo>
                    <a:pt x="95" y="211"/>
                  </a:lnTo>
                  <a:lnTo>
                    <a:pt x="98" y="217"/>
                  </a:lnTo>
                  <a:lnTo>
                    <a:pt x="98" y="221"/>
                  </a:lnTo>
                  <a:lnTo>
                    <a:pt x="99" y="221"/>
                  </a:lnTo>
                  <a:lnTo>
                    <a:pt x="105" y="215"/>
                  </a:lnTo>
                  <a:lnTo>
                    <a:pt x="110" y="215"/>
                  </a:lnTo>
                  <a:lnTo>
                    <a:pt x="120" y="220"/>
                  </a:lnTo>
                  <a:lnTo>
                    <a:pt x="143" y="226"/>
                  </a:lnTo>
                  <a:lnTo>
                    <a:pt x="152" y="226"/>
                  </a:lnTo>
                  <a:lnTo>
                    <a:pt x="160" y="224"/>
                  </a:lnTo>
                  <a:lnTo>
                    <a:pt x="165" y="224"/>
                  </a:lnTo>
                  <a:lnTo>
                    <a:pt x="174" y="227"/>
                  </a:lnTo>
                  <a:lnTo>
                    <a:pt x="182" y="235"/>
                  </a:lnTo>
                  <a:lnTo>
                    <a:pt x="187" y="236"/>
                  </a:lnTo>
                  <a:lnTo>
                    <a:pt x="197" y="236"/>
                  </a:lnTo>
                  <a:lnTo>
                    <a:pt x="209" y="233"/>
                  </a:lnTo>
                  <a:lnTo>
                    <a:pt x="214" y="231"/>
                  </a:lnTo>
                  <a:lnTo>
                    <a:pt x="214" y="230"/>
                  </a:lnTo>
                  <a:lnTo>
                    <a:pt x="212" y="224"/>
                  </a:lnTo>
                  <a:lnTo>
                    <a:pt x="204" y="211"/>
                  </a:lnTo>
                  <a:lnTo>
                    <a:pt x="204" y="200"/>
                  </a:lnTo>
                  <a:lnTo>
                    <a:pt x="209" y="190"/>
                  </a:lnTo>
                  <a:lnTo>
                    <a:pt x="212" y="181"/>
                  </a:lnTo>
                  <a:lnTo>
                    <a:pt x="213" y="156"/>
                  </a:lnTo>
                  <a:lnTo>
                    <a:pt x="219" y="117"/>
                  </a:lnTo>
                  <a:lnTo>
                    <a:pt x="219" y="82"/>
                  </a:lnTo>
                  <a:lnTo>
                    <a:pt x="231" y="43"/>
                  </a:lnTo>
                  <a:lnTo>
                    <a:pt x="234" y="23"/>
                  </a:lnTo>
                  <a:lnTo>
                    <a:pt x="234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69" name="Freeform 263"/>
            <p:cNvSpPr>
              <a:spLocks noChangeAspect="1"/>
            </p:cNvSpPr>
            <p:nvPr/>
          </p:nvSpPr>
          <p:spPr bwMode="gray">
            <a:xfrm>
              <a:off x="4448616" y="4075265"/>
              <a:ext cx="101769" cy="47146"/>
            </a:xfrm>
            <a:custGeom>
              <a:avLst/>
              <a:gdLst/>
              <a:ahLst/>
              <a:cxnLst>
                <a:cxn ang="0">
                  <a:pos x="19" y="1"/>
                </a:cxn>
                <a:cxn ang="0">
                  <a:pos x="6" y="9"/>
                </a:cxn>
                <a:cxn ang="0">
                  <a:pos x="16" y="32"/>
                </a:cxn>
                <a:cxn ang="0">
                  <a:pos x="10" y="44"/>
                </a:cxn>
                <a:cxn ang="0">
                  <a:pos x="1" y="71"/>
                </a:cxn>
                <a:cxn ang="0">
                  <a:pos x="7" y="82"/>
                </a:cxn>
                <a:cxn ang="0">
                  <a:pos x="22" y="72"/>
                </a:cxn>
                <a:cxn ang="0">
                  <a:pos x="58" y="80"/>
                </a:cxn>
                <a:cxn ang="0">
                  <a:pos x="75" y="87"/>
                </a:cxn>
                <a:cxn ang="0">
                  <a:pos x="92" y="112"/>
                </a:cxn>
                <a:cxn ang="0">
                  <a:pos x="109" y="103"/>
                </a:cxn>
                <a:cxn ang="0">
                  <a:pos x="117" y="131"/>
                </a:cxn>
                <a:cxn ang="0">
                  <a:pos x="135" y="134"/>
                </a:cxn>
                <a:cxn ang="0">
                  <a:pos x="157" y="110"/>
                </a:cxn>
                <a:cxn ang="0">
                  <a:pos x="139" y="95"/>
                </a:cxn>
                <a:cxn ang="0">
                  <a:pos x="140" y="81"/>
                </a:cxn>
                <a:cxn ang="0">
                  <a:pos x="160" y="72"/>
                </a:cxn>
                <a:cxn ang="0">
                  <a:pos x="187" y="43"/>
                </a:cxn>
                <a:cxn ang="0">
                  <a:pos x="201" y="34"/>
                </a:cxn>
                <a:cxn ang="0">
                  <a:pos x="222" y="45"/>
                </a:cxn>
                <a:cxn ang="0">
                  <a:pos x="260" y="63"/>
                </a:cxn>
                <a:cxn ang="0">
                  <a:pos x="273" y="71"/>
                </a:cxn>
                <a:cxn ang="0">
                  <a:pos x="258" y="85"/>
                </a:cxn>
                <a:cxn ang="0">
                  <a:pos x="261" y="110"/>
                </a:cxn>
                <a:cxn ang="0">
                  <a:pos x="281" y="128"/>
                </a:cxn>
                <a:cxn ang="0">
                  <a:pos x="290" y="109"/>
                </a:cxn>
                <a:cxn ang="0">
                  <a:pos x="302" y="109"/>
                </a:cxn>
                <a:cxn ang="0">
                  <a:pos x="318" y="87"/>
                </a:cxn>
                <a:cxn ang="0">
                  <a:pos x="313" y="77"/>
                </a:cxn>
                <a:cxn ang="0">
                  <a:pos x="304" y="66"/>
                </a:cxn>
                <a:cxn ang="0">
                  <a:pos x="297" y="48"/>
                </a:cxn>
                <a:cxn ang="0">
                  <a:pos x="266" y="18"/>
                </a:cxn>
                <a:cxn ang="0">
                  <a:pos x="231" y="11"/>
                </a:cxn>
                <a:cxn ang="0">
                  <a:pos x="189" y="1"/>
                </a:cxn>
                <a:cxn ang="0">
                  <a:pos x="176" y="11"/>
                </a:cxn>
                <a:cxn ang="0">
                  <a:pos x="164" y="31"/>
                </a:cxn>
                <a:cxn ang="0">
                  <a:pos x="156" y="20"/>
                </a:cxn>
                <a:cxn ang="0">
                  <a:pos x="118" y="36"/>
                </a:cxn>
                <a:cxn ang="0">
                  <a:pos x="101" y="44"/>
                </a:cxn>
                <a:cxn ang="0">
                  <a:pos x="71" y="34"/>
                </a:cxn>
                <a:cxn ang="0">
                  <a:pos x="45" y="23"/>
                </a:cxn>
                <a:cxn ang="0">
                  <a:pos x="35" y="7"/>
                </a:cxn>
              </a:cxnLst>
              <a:rect l="0" t="0" r="r" b="b"/>
              <a:pathLst>
                <a:path w="318" h="135">
                  <a:moveTo>
                    <a:pt x="23" y="0"/>
                  </a:moveTo>
                  <a:lnTo>
                    <a:pt x="22" y="1"/>
                  </a:lnTo>
                  <a:lnTo>
                    <a:pt x="19" y="1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6" y="9"/>
                  </a:lnTo>
                  <a:lnTo>
                    <a:pt x="5" y="23"/>
                  </a:lnTo>
                  <a:lnTo>
                    <a:pt x="12" y="28"/>
                  </a:lnTo>
                  <a:lnTo>
                    <a:pt x="16" y="32"/>
                  </a:lnTo>
                  <a:lnTo>
                    <a:pt x="15" y="37"/>
                  </a:lnTo>
                  <a:lnTo>
                    <a:pt x="11" y="40"/>
                  </a:lnTo>
                  <a:lnTo>
                    <a:pt x="10" y="44"/>
                  </a:lnTo>
                  <a:lnTo>
                    <a:pt x="10" y="56"/>
                  </a:lnTo>
                  <a:lnTo>
                    <a:pt x="8" y="61"/>
                  </a:lnTo>
                  <a:lnTo>
                    <a:pt x="1" y="71"/>
                  </a:lnTo>
                  <a:lnTo>
                    <a:pt x="0" y="71"/>
                  </a:lnTo>
                  <a:lnTo>
                    <a:pt x="6" y="82"/>
                  </a:lnTo>
                  <a:lnTo>
                    <a:pt x="7" y="82"/>
                  </a:lnTo>
                  <a:lnTo>
                    <a:pt x="10" y="75"/>
                  </a:lnTo>
                  <a:lnTo>
                    <a:pt x="12" y="72"/>
                  </a:lnTo>
                  <a:lnTo>
                    <a:pt x="22" y="72"/>
                  </a:lnTo>
                  <a:lnTo>
                    <a:pt x="40" y="75"/>
                  </a:lnTo>
                  <a:lnTo>
                    <a:pt x="48" y="76"/>
                  </a:lnTo>
                  <a:lnTo>
                    <a:pt x="58" y="80"/>
                  </a:lnTo>
                  <a:lnTo>
                    <a:pt x="67" y="81"/>
                  </a:lnTo>
                  <a:lnTo>
                    <a:pt x="70" y="82"/>
                  </a:lnTo>
                  <a:lnTo>
                    <a:pt x="75" y="87"/>
                  </a:lnTo>
                  <a:lnTo>
                    <a:pt x="78" y="96"/>
                  </a:lnTo>
                  <a:lnTo>
                    <a:pt x="85" y="103"/>
                  </a:lnTo>
                  <a:lnTo>
                    <a:pt x="92" y="112"/>
                  </a:lnTo>
                  <a:lnTo>
                    <a:pt x="98" y="112"/>
                  </a:lnTo>
                  <a:lnTo>
                    <a:pt x="103" y="106"/>
                  </a:lnTo>
                  <a:lnTo>
                    <a:pt x="109" y="103"/>
                  </a:lnTo>
                  <a:lnTo>
                    <a:pt x="113" y="112"/>
                  </a:lnTo>
                  <a:lnTo>
                    <a:pt x="113" y="122"/>
                  </a:lnTo>
                  <a:lnTo>
                    <a:pt x="117" y="131"/>
                  </a:lnTo>
                  <a:lnTo>
                    <a:pt x="118" y="134"/>
                  </a:lnTo>
                  <a:lnTo>
                    <a:pt x="130" y="135"/>
                  </a:lnTo>
                  <a:lnTo>
                    <a:pt x="135" y="134"/>
                  </a:lnTo>
                  <a:lnTo>
                    <a:pt x="152" y="124"/>
                  </a:lnTo>
                  <a:lnTo>
                    <a:pt x="160" y="117"/>
                  </a:lnTo>
                  <a:lnTo>
                    <a:pt x="157" y="110"/>
                  </a:lnTo>
                  <a:lnTo>
                    <a:pt x="152" y="107"/>
                  </a:lnTo>
                  <a:lnTo>
                    <a:pt x="148" y="102"/>
                  </a:lnTo>
                  <a:lnTo>
                    <a:pt x="139" y="95"/>
                  </a:lnTo>
                  <a:lnTo>
                    <a:pt x="137" y="91"/>
                  </a:lnTo>
                  <a:lnTo>
                    <a:pt x="137" y="87"/>
                  </a:lnTo>
                  <a:lnTo>
                    <a:pt x="140" y="81"/>
                  </a:lnTo>
                  <a:lnTo>
                    <a:pt x="148" y="75"/>
                  </a:lnTo>
                  <a:lnTo>
                    <a:pt x="156" y="72"/>
                  </a:lnTo>
                  <a:lnTo>
                    <a:pt x="160" y="72"/>
                  </a:lnTo>
                  <a:lnTo>
                    <a:pt x="168" y="68"/>
                  </a:lnTo>
                  <a:lnTo>
                    <a:pt x="177" y="58"/>
                  </a:lnTo>
                  <a:lnTo>
                    <a:pt x="187" y="43"/>
                  </a:lnTo>
                  <a:lnTo>
                    <a:pt x="189" y="39"/>
                  </a:lnTo>
                  <a:lnTo>
                    <a:pt x="190" y="38"/>
                  </a:lnTo>
                  <a:lnTo>
                    <a:pt x="201" y="34"/>
                  </a:lnTo>
                  <a:lnTo>
                    <a:pt x="205" y="34"/>
                  </a:lnTo>
                  <a:lnTo>
                    <a:pt x="209" y="36"/>
                  </a:lnTo>
                  <a:lnTo>
                    <a:pt x="222" y="45"/>
                  </a:lnTo>
                  <a:lnTo>
                    <a:pt x="241" y="54"/>
                  </a:lnTo>
                  <a:lnTo>
                    <a:pt x="252" y="66"/>
                  </a:lnTo>
                  <a:lnTo>
                    <a:pt x="260" y="63"/>
                  </a:lnTo>
                  <a:lnTo>
                    <a:pt x="266" y="63"/>
                  </a:lnTo>
                  <a:lnTo>
                    <a:pt x="273" y="68"/>
                  </a:lnTo>
                  <a:lnTo>
                    <a:pt x="273" y="71"/>
                  </a:lnTo>
                  <a:lnTo>
                    <a:pt x="269" y="71"/>
                  </a:lnTo>
                  <a:lnTo>
                    <a:pt x="259" y="80"/>
                  </a:lnTo>
                  <a:lnTo>
                    <a:pt x="258" y="85"/>
                  </a:lnTo>
                  <a:lnTo>
                    <a:pt x="257" y="93"/>
                  </a:lnTo>
                  <a:lnTo>
                    <a:pt x="258" y="104"/>
                  </a:lnTo>
                  <a:lnTo>
                    <a:pt x="261" y="110"/>
                  </a:lnTo>
                  <a:lnTo>
                    <a:pt x="273" y="123"/>
                  </a:lnTo>
                  <a:lnTo>
                    <a:pt x="280" y="128"/>
                  </a:lnTo>
                  <a:lnTo>
                    <a:pt x="281" y="128"/>
                  </a:lnTo>
                  <a:lnTo>
                    <a:pt x="281" y="123"/>
                  </a:lnTo>
                  <a:lnTo>
                    <a:pt x="290" y="117"/>
                  </a:lnTo>
                  <a:lnTo>
                    <a:pt x="290" y="109"/>
                  </a:lnTo>
                  <a:lnTo>
                    <a:pt x="293" y="108"/>
                  </a:lnTo>
                  <a:lnTo>
                    <a:pt x="298" y="112"/>
                  </a:lnTo>
                  <a:lnTo>
                    <a:pt x="302" y="109"/>
                  </a:lnTo>
                  <a:lnTo>
                    <a:pt x="312" y="96"/>
                  </a:lnTo>
                  <a:lnTo>
                    <a:pt x="318" y="91"/>
                  </a:lnTo>
                  <a:lnTo>
                    <a:pt x="318" y="87"/>
                  </a:lnTo>
                  <a:lnTo>
                    <a:pt x="314" y="85"/>
                  </a:lnTo>
                  <a:lnTo>
                    <a:pt x="313" y="83"/>
                  </a:lnTo>
                  <a:lnTo>
                    <a:pt x="313" y="77"/>
                  </a:lnTo>
                  <a:lnTo>
                    <a:pt x="309" y="71"/>
                  </a:lnTo>
                  <a:lnTo>
                    <a:pt x="304" y="68"/>
                  </a:lnTo>
                  <a:lnTo>
                    <a:pt x="304" y="66"/>
                  </a:lnTo>
                  <a:lnTo>
                    <a:pt x="306" y="58"/>
                  </a:lnTo>
                  <a:lnTo>
                    <a:pt x="307" y="54"/>
                  </a:lnTo>
                  <a:lnTo>
                    <a:pt x="297" y="48"/>
                  </a:lnTo>
                  <a:lnTo>
                    <a:pt x="287" y="37"/>
                  </a:lnTo>
                  <a:lnTo>
                    <a:pt x="284" y="33"/>
                  </a:lnTo>
                  <a:lnTo>
                    <a:pt x="266" y="18"/>
                  </a:lnTo>
                  <a:lnTo>
                    <a:pt x="257" y="15"/>
                  </a:lnTo>
                  <a:lnTo>
                    <a:pt x="244" y="11"/>
                  </a:lnTo>
                  <a:lnTo>
                    <a:pt x="231" y="11"/>
                  </a:lnTo>
                  <a:lnTo>
                    <a:pt x="218" y="7"/>
                  </a:lnTo>
                  <a:lnTo>
                    <a:pt x="209" y="1"/>
                  </a:lnTo>
                  <a:lnTo>
                    <a:pt x="189" y="1"/>
                  </a:lnTo>
                  <a:lnTo>
                    <a:pt x="184" y="2"/>
                  </a:lnTo>
                  <a:lnTo>
                    <a:pt x="182" y="4"/>
                  </a:lnTo>
                  <a:lnTo>
                    <a:pt x="176" y="11"/>
                  </a:lnTo>
                  <a:lnTo>
                    <a:pt x="174" y="27"/>
                  </a:lnTo>
                  <a:lnTo>
                    <a:pt x="167" y="31"/>
                  </a:lnTo>
                  <a:lnTo>
                    <a:pt x="164" y="31"/>
                  </a:lnTo>
                  <a:lnTo>
                    <a:pt x="164" y="21"/>
                  </a:lnTo>
                  <a:lnTo>
                    <a:pt x="160" y="20"/>
                  </a:lnTo>
                  <a:lnTo>
                    <a:pt x="156" y="20"/>
                  </a:lnTo>
                  <a:lnTo>
                    <a:pt x="137" y="31"/>
                  </a:lnTo>
                  <a:lnTo>
                    <a:pt x="121" y="33"/>
                  </a:lnTo>
                  <a:lnTo>
                    <a:pt x="118" y="36"/>
                  </a:lnTo>
                  <a:lnTo>
                    <a:pt x="110" y="43"/>
                  </a:lnTo>
                  <a:lnTo>
                    <a:pt x="105" y="44"/>
                  </a:lnTo>
                  <a:lnTo>
                    <a:pt x="101" y="44"/>
                  </a:lnTo>
                  <a:lnTo>
                    <a:pt x="92" y="43"/>
                  </a:lnTo>
                  <a:lnTo>
                    <a:pt x="75" y="36"/>
                  </a:lnTo>
                  <a:lnTo>
                    <a:pt x="71" y="34"/>
                  </a:lnTo>
                  <a:lnTo>
                    <a:pt x="48" y="34"/>
                  </a:lnTo>
                  <a:lnTo>
                    <a:pt x="45" y="28"/>
                  </a:lnTo>
                  <a:lnTo>
                    <a:pt x="45" y="23"/>
                  </a:lnTo>
                  <a:lnTo>
                    <a:pt x="39" y="20"/>
                  </a:lnTo>
                  <a:lnTo>
                    <a:pt x="37" y="9"/>
                  </a:lnTo>
                  <a:lnTo>
                    <a:pt x="35" y="7"/>
                  </a:lnTo>
                  <a:lnTo>
                    <a:pt x="27" y="5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0" name="Freeform 264"/>
            <p:cNvSpPr>
              <a:spLocks noChangeAspect="1"/>
            </p:cNvSpPr>
            <p:nvPr/>
          </p:nvSpPr>
          <p:spPr bwMode="gray">
            <a:xfrm>
              <a:off x="4288012" y="3914620"/>
              <a:ext cx="68377" cy="82069"/>
            </a:xfrm>
            <a:custGeom>
              <a:avLst/>
              <a:gdLst/>
              <a:ahLst/>
              <a:cxnLst>
                <a:cxn ang="0">
                  <a:pos x="71" y="1"/>
                </a:cxn>
                <a:cxn ang="0">
                  <a:pos x="39" y="28"/>
                </a:cxn>
                <a:cxn ang="0">
                  <a:pos x="63" y="52"/>
                </a:cxn>
                <a:cxn ang="0">
                  <a:pos x="82" y="71"/>
                </a:cxn>
                <a:cxn ang="0">
                  <a:pos x="95" y="84"/>
                </a:cxn>
                <a:cxn ang="0">
                  <a:pos x="93" y="100"/>
                </a:cxn>
                <a:cxn ang="0">
                  <a:pos x="69" y="99"/>
                </a:cxn>
                <a:cxn ang="0">
                  <a:pos x="16" y="138"/>
                </a:cxn>
                <a:cxn ang="0">
                  <a:pos x="9" y="152"/>
                </a:cxn>
                <a:cxn ang="0">
                  <a:pos x="5" y="158"/>
                </a:cxn>
                <a:cxn ang="0">
                  <a:pos x="6" y="168"/>
                </a:cxn>
                <a:cxn ang="0">
                  <a:pos x="2" y="186"/>
                </a:cxn>
                <a:cxn ang="0">
                  <a:pos x="2" y="191"/>
                </a:cxn>
                <a:cxn ang="0">
                  <a:pos x="9" y="196"/>
                </a:cxn>
                <a:cxn ang="0">
                  <a:pos x="17" y="204"/>
                </a:cxn>
                <a:cxn ang="0">
                  <a:pos x="37" y="217"/>
                </a:cxn>
                <a:cxn ang="0">
                  <a:pos x="55" y="226"/>
                </a:cxn>
                <a:cxn ang="0">
                  <a:pos x="86" y="227"/>
                </a:cxn>
                <a:cxn ang="0">
                  <a:pos x="112" y="232"/>
                </a:cxn>
                <a:cxn ang="0">
                  <a:pos x="119" y="232"/>
                </a:cxn>
                <a:cxn ang="0">
                  <a:pos x="134" y="220"/>
                </a:cxn>
                <a:cxn ang="0">
                  <a:pos x="145" y="211"/>
                </a:cxn>
                <a:cxn ang="0">
                  <a:pos x="149" y="199"/>
                </a:cxn>
                <a:cxn ang="0">
                  <a:pos x="155" y="194"/>
                </a:cxn>
                <a:cxn ang="0">
                  <a:pos x="165" y="184"/>
                </a:cxn>
                <a:cxn ang="0">
                  <a:pos x="163" y="175"/>
                </a:cxn>
                <a:cxn ang="0">
                  <a:pos x="162" y="169"/>
                </a:cxn>
                <a:cxn ang="0">
                  <a:pos x="172" y="159"/>
                </a:cxn>
                <a:cxn ang="0">
                  <a:pos x="177" y="157"/>
                </a:cxn>
                <a:cxn ang="0">
                  <a:pos x="208" y="134"/>
                </a:cxn>
                <a:cxn ang="0">
                  <a:pos x="212" y="124"/>
                </a:cxn>
                <a:cxn ang="0">
                  <a:pos x="211" y="121"/>
                </a:cxn>
                <a:cxn ang="0">
                  <a:pos x="209" y="118"/>
                </a:cxn>
                <a:cxn ang="0">
                  <a:pos x="195" y="121"/>
                </a:cxn>
                <a:cxn ang="0">
                  <a:pos x="187" y="116"/>
                </a:cxn>
                <a:cxn ang="0">
                  <a:pos x="184" y="111"/>
                </a:cxn>
                <a:cxn ang="0">
                  <a:pos x="163" y="108"/>
                </a:cxn>
                <a:cxn ang="0">
                  <a:pos x="166" y="72"/>
                </a:cxn>
              </a:cxnLst>
              <a:rect l="0" t="0" r="r" b="b"/>
              <a:pathLst>
                <a:path w="211" h="235">
                  <a:moveTo>
                    <a:pt x="166" y="0"/>
                  </a:moveTo>
                  <a:lnTo>
                    <a:pt x="71" y="1"/>
                  </a:lnTo>
                  <a:lnTo>
                    <a:pt x="71" y="28"/>
                  </a:lnTo>
                  <a:lnTo>
                    <a:pt x="39" y="28"/>
                  </a:lnTo>
                  <a:lnTo>
                    <a:pt x="37" y="27"/>
                  </a:lnTo>
                  <a:lnTo>
                    <a:pt x="63" y="52"/>
                  </a:lnTo>
                  <a:lnTo>
                    <a:pt x="79" y="62"/>
                  </a:lnTo>
                  <a:lnTo>
                    <a:pt x="82" y="71"/>
                  </a:lnTo>
                  <a:lnTo>
                    <a:pt x="92" y="79"/>
                  </a:lnTo>
                  <a:lnTo>
                    <a:pt x="95" y="84"/>
                  </a:lnTo>
                  <a:lnTo>
                    <a:pt x="93" y="99"/>
                  </a:lnTo>
                  <a:lnTo>
                    <a:pt x="93" y="100"/>
                  </a:lnTo>
                  <a:lnTo>
                    <a:pt x="92" y="99"/>
                  </a:lnTo>
                  <a:lnTo>
                    <a:pt x="69" y="99"/>
                  </a:lnTo>
                  <a:lnTo>
                    <a:pt x="39" y="102"/>
                  </a:lnTo>
                  <a:lnTo>
                    <a:pt x="16" y="138"/>
                  </a:lnTo>
                  <a:lnTo>
                    <a:pt x="15" y="142"/>
                  </a:lnTo>
                  <a:lnTo>
                    <a:pt x="9" y="152"/>
                  </a:lnTo>
                  <a:lnTo>
                    <a:pt x="6" y="157"/>
                  </a:lnTo>
                  <a:lnTo>
                    <a:pt x="5" y="158"/>
                  </a:lnTo>
                  <a:lnTo>
                    <a:pt x="7" y="165"/>
                  </a:lnTo>
                  <a:lnTo>
                    <a:pt x="6" y="168"/>
                  </a:lnTo>
                  <a:lnTo>
                    <a:pt x="4" y="170"/>
                  </a:lnTo>
                  <a:lnTo>
                    <a:pt x="2" y="186"/>
                  </a:lnTo>
                  <a:lnTo>
                    <a:pt x="0" y="188"/>
                  </a:lnTo>
                  <a:lnTo>
                    <a:pt x="2" y="191"/>
                  </a:lnTo>
                  <a:lnTo>
                    <a:pt x="7" y="195"/>
                  </a:lnTo>
                  <a:lnTo>
                    <a:pt x="9" y="196"/>
                  </a:lnTo>
                  <a:lnTo>
                    <a:pt x="16" y="201"/>
                  </a:lnTo>
                  <a:lnTo>
                    <a:pt x="17" y="204"/>
                  </a:lnTo>
                  <a:lnTo>
                    <a:pt x="31" y="213"/>
                  </a:lnTo>
                  <a:lnTo>
                    <a:pt x="37" y="217"/>
                  </a:lnTo>
                  <a:lnTo>
                    <a:pt x="47" y="222"/>
                  </a:lnTo>
                  <a:lnTo>
                    <a:pt x="55" y="226"/>
                  </a:lnTo>
                  <a:lnTo>
                    <a:pt x="66" y="227"/>
                  </a:lnTo>
                  <a:lnTo>
                    <a:pt x="86" y="227"/>
                  </a:lnTo>
                  <a:lnTo>
                    <a:pt x="96" y="228"/>
                  </a:lnTo>
                  <a:lnTo>
                    <a:pt x="112" y="232"/>
                  </a:lnTo>
                  <a:lnTo>
                    <a:pt x="119" y="235"/>
                  </a:lnTo>
                  <a:lnTo>
                    <a:pt x="119" y="232"/>
                  </a:lnTo>
                  <a:lnTo>
                    <a:pt x="125" y="222"/>
                  </a:lnTo>
                  <a:lnTo>
                    <a:pt x="134" y="220"/>
                  </a:lnTo>
                  <a:lnTo>
                    <a:pt x="138" y="213"/>
                  </a:lnTo>
                  <a:lnTo>
                    <a:pt x="145" y="211"/>
                  </a:lnTo>
                  <a:lnTo>
                    <a:pt x="147" y="206"/>
                  </a:lnTo>
                  <a:lnTo>
                    <a:pt x="149" y="199"/>
                  </a:lnTo>
                  <a:lnTo>
                    <a:pt x="152" y="195"/>
                  </a:lnTo>
                  <a:lnTo>
                    <a:pt x="155" y="194"/>
                  </a:lnTo>
                  <a:lnTo>
                    <a:pt x="156" y="189"/>
                  </a:lnTo>
                  <a:lnTo>
                    <a:pt x="165" y="184"/>
                  </a:lnTo>
                  <a:lnTo>
                    <a:pt x="165" y="180"/>
                  </a:lnTo>
                  <a:lnTo>
                    <a:pt x="163" y="175"/>
                  </a:lnTo>
                  <a:lnTo>
                    <a:pt x="162" y="174"/>
                  </a:lnTo>
                  <a:lnTo>
                    <a:pt x="162" y="169"/>
                  </a:lnTo>
                  <a:lnTo>
                    <a:pt x="163" y="165"/>
                  </a:lnTo>
                  <a:lnTo>
                    <a:pt x="172" y="159"/>
                  </a:lnTo>
                  <a:lnTo>
                    <a:pt x="173" y="158"/>
                  </a:lnTo>
                  <a:lnTo>
                    <a:pt x="177" y="157"/>
                  </a:lnTo>
                  <a:lnTo>
                    <a:pt x="189" y="146"/>
                  </a:lnTo>
                  <a:lnTo>
                    <a:pt x="208" y="134"/>
                  </a:lnTo>
                  <a:lnTo>
                    <a:pt x="211" y="127"/>
                  </a:lnTo>
                  <a:lnTo>
                    <a:pt x="212" y="124"/>
                  </a:lnTo>
                  <a:lnTo>
                    <a:pt x="212" y="121"/>
                  </a:lnTo>
                  <a:lnTo>
                    <a:pt x="211" y="121"/>
                  </a:lnTo>
                  <a:lnTo>
                    <a:pt x="210" y="121"/>
                  </a:lnTo>
                  <a:lnTo>
                    <a:pt x="209" y="118"/>
                  </a:lnTo>
                  <a:lnTo>
                    <a:pt x="203" y="116"/>
                  </a:lnTo>
                  <a:lnTo>
                    <a:pt x="195" y="121"/>
                  </a:lnTo>
                  <a:lnTo>
                    <a:pt x="193" y="121"/>
                  </a:lnTo>
                  <a:lnTo>
                    <a:pt x="187" y="116"/>
                  </a:lnTo>
                  <a:lnTo>
                    <a:pt x="183" y="110"/>
                  </a:lnTo>
                  <a:lnTo>
                    <a:pt x="184" y="111"/>
                  </a:lnTo>
                  <a:lnTo>
                    <a:pt x="172" y="110"/>
                  </a:lnTo>
                  <a:lnTo>
                    <a:pt x="163" y="108"/>
                  </a:lnTo>
                  <a:lnTo>
                    <a:pt x="163" y="107"/>
                  </a:lnTo>
                  <a:lnTo>
                    <a:pt x="166" y="72"/>
                  </a:lnTo>
                  <a:lnTo>
                    <a:pt x="166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1" name="Freeform 265"/>
            <p:cNvSpPr>
              <a:spLocks noChangeAspect="1"/>
            </p:cNvSpPr>
            <p:nvPr/>
          </p:nvSpPr>
          <p:spPr bwMode="gray">
            <a:xfrm>
              <a:off x="4340487" y="3902397"/>
              <a:ext cx="19082" cy="50638"/>
            </a:xfrm>
            <a:custGeom>
              <a:avLst/>
              <a:gdLst/>
              <a:ahLst/>
              <a:cxnLst>
                <a:cxn ang="0">
                  <a:pos x="46" y="2"/>
                </a:cxn>
                <a:cxn ang="0">
                  <a:pos x="41" y="0"/>
                </a:cxn>
                <a:cxn ang="0">
                  <a:pos x="36" y="3"/>
                </a:cxn>
                <a:cxn ang="0">
                  <a:pos x="21" y="31"/>
                </a:cxn>
                <a:cxn ang="0">
                  <a:pos x="16" y="31"/>
                </a:cxn>
                <a:cxn ang="0">
                  <a:pos x="3" y="34"/>
                </a:cxn>
                <a:cxn ang="0">
                  <a:pos x="3" y="106"/>
                </a:cxn>
                <a:cxn ang="0">
                  <a:pos x="2" y="141"/>
                </a:cxn>
                <a:cxn ang="0">
                  <a:pos x="0" y="142"/>
                </a:cxn>
                <a:cxn ang="0">
                  <a:pos x="9" y="144"/>
                </a:cxn>
                <a:cxn ang="0">
                  <a:pos x="21" y="145"/>
                </a:cxn>
                <a:cxn ang="0">
                  <a:pos x="20" y="144"/>
                </a:cxn>
                <a:cxn ang="0">
                  <a:pos x="20" y="136"/>
                </a:cxn>
                <a:cxn ang="0">
                  <a:pos x="21" y="132"/>
                </a:cxn>
                <a:cxn ang="0">
                  <a:pos x="27" y="126"/>
                </a:cxn>
                <a:cxn ang="0">
                  <a:pos x="38" y="118"/>
                </a:cxn>
                <a:cxn ang="0">
                  <a:pos x="45" y="110"/>
                </a:cxn>
                <a:cxn ang="0">
                  <a:pos x="47" y="102"/>
                </a:cxn>
                <a:cxn ang="0">
                  <a:pos x="48" y="102"/>
                </a:cxn>
                <a:cxn ang="0">
                  <a:pos x="51" y="89"/>
                </a:cxn>
                <a:cxn ang="0">
                  <a:pos x="52" y="77"/>
                </a:cxn>
                <a:cxn ang="0">
                  <a:pos x="51" y="56"/>
                </a:cxn>
                <a:cxn ang="0">
                  <a:pos x="53" y="41"/>
                </a:cxn>
                <a:cxn ang="0">
                  <a:pos x="57" y="28"/>
                </a:cxn>
                <a:cxn ang="0">
                  <a:pos x="62" y="18"/>
                </a:cxn>
                <a:cxn ang="0">
                  <a:pos x="62" y="13"/>
                </a:cxn>
                <a:cxn ang="0">
                  <a:pos x="58" y="8"/>
                </a:cxn>
                <a:cxn ang="0">
                  <a:pos x="47" y="3"/>
                </a:cxn>
                <a:cxn ang="0">
                  <a:pos x="46" y="2"/>
                </a:cxn>
              </a:cxnLst>
              <a:rect l="0" t="0" r="r" b="b"/>
              <a:pathLst>
                <a:path w="62" h="145">
                  <a:moveTo>
                    <a:pt x="46" y="2"/>
                  </a:moveTo>
                  <a:lnTo>
                    <a:pt x="41" y="0"/>
                  </a:lnTo>
                  <a:lnTo>
                    <a:pt x="36" y="3"/>
                  </a:lnTo>
                  <a:lnTo>
                    <a:pt x="21" y="31"/>
                  </a:lnTo>
                  <a:lnTo>
                    <a:pt x="16" y="31"/>
                  </a:lnTo>
                  <a:lnTo>
                    <a:pt x="3" y="34"/>
                  </a:lnTo>
                  <a:lnTo>
                    <a:pt x="3" y="106"/>
                  </a:lnTo>
                  <a:lnTo>
                    <a:pt x="2" y="141"/>
                  </a:lnTo>
                  <a:lnTo>
                    <a:pt x="0" y="142"/>
                  </a:lnTo>
                  <a:lnTo>
                    <a:pt x="9" y="144"/>
                  </a:lnTo>
                  <a:lnTo>
                    <a:pt x="21" y="145"/>
                  </a:lnTo>
                  <a:lnTo>
                    <a:pt x="20" y="144"/>
                  </a:lnTo>
                  <a:lnTo>
                    <a:pt x="20" y="136"/>
                  </a:lnTo>
                  <a:lnTo>
                    <a:pt x="21" y="132"/>
                  </a:lnTo>
                  <a:lnTo>
                    <a:pt x="27" y="126"/>
                  </a:lnTo>
                  <a:lnTo>
                    <a:pt x="38" y="118"/>
                  </a:lnTo>
                  <a:lnTo>
                    <a:pt x="45" y="110"/>
                  </a:lnTo>
                  <a:lnTo>
                    <a:pt x="47" y="102"/>
                  </a:lnTo>
                  <a:lnTo>
                    <a:pt x="48" y="102"/>
                  </a:lnTo>
                  <a:lnTo>
                    <a:pt x="51" y="89"/>
                  </a:lnTo>
                  <a:lnTo>
                    <a:pt x="52" y="77"/>
                  </a:lnTo>
                  <a:lnTo>
                    <a:pt x="51" y="56"/>
                  </a:lnTo>
                  <a:lnTo>
                    <a:pt x="53" y="41"/>
                  </a:lnTo>
                  <a:lnTo>
                    <a:pt x="57" y="28"/>
                  </a:lnTo>
                  <a:lnTo>
                    <a:pt x="62" y="18"/>
                  </a:lnTo>
                  <a:lnTo>
                    <a:pt x="62" y="13"/>
                  </a:lnTo>
                  <a:lnTo>
                    <a:pt x="58" y="8"/>
                  </a:lnTo>
                  <a:lnTo>
                    <a:pt x="47" y="3"/>
                  </a:lnTo>
                  <a:lnTo>
                    <a:pt x="46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2" name="Freeform 266"/>
            <p:cNvSpPr>
              <a:spLocks noChangeAspect="1"/>
            </p:cNvSpPr>
            <p:nvPr/>
          </p:nvSpPr>
          <p:spPr bwMode="gray">
            <a:xfrm>
              <a:off x="4326175" y="3982719"/>
              <a:ext cx="39754" cy="24446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31" y="4"/>
                </a:cxn>
                <a:cxn ang="0">
                  <a:pos x="28" y="11"/>
                </a:cxn>
                <a:cxn ang="0">
                  <a:pos x="26" y="16"/>
                </a:cxn>
                <a:cxn ang="0">
                  <a:pos x="19" y="18"/>
                </a:cxn>
                <a:cxn ang="0">
                  <a:pos x="15" y="25"/>
                </a:cxn>
                <a:cxn ang="0">
                  <a:pos x="6" y="27"/>
                </a:cxn>
                <a:cxn ang="0">
                  <a:pos x="0" y="37"/>
                </a:cxn>
                <a:cxn ang="0">
                  <a:pos x="0" y="40"/>
                </a:cxn>
                <a:cxn ang="0">
                  <a:pos x="9" y="48"/>
                </a:cxn>
                <a:cxn ang="0">
                  <a:pos x="21" y="53"/>
                </a:cxn>
                <a:cxn ang="0">
                  <a:pos x="36" y="55"/>
                </a:cxn>
                <a:cxn ang="0">
                  <a:pos x="46" y="56"/>
                </a:cxn>
                <a:cxn ang="0">
                  <a:pos x="58" y="65"/>
                </a:cxn>
                <a:cxn ang="0">
                  <a:pos x="76" y="70"/>
                </a:cxn>
                <a:cxn ang="0">
                  <a:pos x="103" y="71"/>
                </a:cxn>
                <a:cxn ang="0">
                  <a:pos x="120" y="64"/>
                </a:cxn>
                <a:cxn ang="0">
                  <a:pos x="125" y="59"/>
                </a:cxn>
                <a:cxn ang="0">
                  <a:pos x="123" y="56"/>
                </a:cxn>
                <a:cxn ang="0">
                  <a:pos x="123" y="38"/>
                </a:cxn>
                <a:cxn ang="0">
                  <a:pos x="123" y="37"/>
                </a:cxn>
                <a:cxn ang="0">
                  <a:pos x="118" y="32"/>
                </a:cxn>
                <a:cxn ang="0">
                  <a:pos x="109" y="29"/>
                </a:cxn>
                <a:cxn ang="0">
                  <a:pos x="107" y="27"/>
                </a:cxn>
                <a:cxn ang="0">
                  <a:pos x="100" y="28"/>
                </a:cxn>
                <a:cxn ang="0">
                  <a:pos x="95" y="33"/>
                </a:cxn>
                <a:cxn ang="0">
                  <a:pos x="90" y="33"/>
                </a:cxn>
                <a:cxn ang="0">
                  <a:pos x="85" y="31"/>
                </a:cxn>
                <a:cxn ang="0">
                  <a:pos x="82" y="28"/>
                </a:cxn>
                <a:cxn ang="0">
                  <a:pos x="82" y="26"/>
                </a:cxn>
                <a:cxn ang="0">
                  <a:pos x="75" y="26"/>
                </a:cxn>
                <a:cxn ang="0">
                  <a:pos x="73" y="23"/>
                </a:cxn>
                <a:cxn ang="0">
                  <a:pos x="71" y="20"/>
                </a:cxn>
                <a:cxn ang="0">
                  <a:pos x="66" y="20"/>
                </a:cxn>
                <a:cxn ang="0">
                  <a:pos x="59" y="15"/>
                </a:cxn>
                <a:cxn ang="0">
                  <a:pos x="57" y="10"/>
                </a:cxn>
                <a:cxn ang="0">
                  <a:pos x="52" y="4"/>
                </a:cxn>
                <a:cxn ang="0">
                  <a:pos x="39" y="4"/>
                </a:cxn>
                <a:cxn ang="0">
                  <a:pos x="33" y="0"/>
                </a:cxn>
              </a:cxnLst>
              <a:rect l="0" t="0" r="r" b="b"/>
              <a:pathLst>
                <a:path w="125" h="71">
                  <a:moveTo>
                    <a:pt x="33" y="0"/>
                  </a:moveTo>
                  <a:lnTo>
                    <a:pt x="31" y="4"/>
                  </a:lnTo>
                  <a:lnTo>
                    <a:pt x="28" y="11"/>
                  </a:lnTo>
                  <a:lnTo>
                    <a:pt x="26" y="16"/>
                  </a:lnTo>
                  <a:lnTo>
                    <a:pt x="19" y="18"/>
                  </a:lnTo>
                  <a:lnTo>
                    <a:pt x="15" y="25"/>
                  </a:lnTo>
                  <a:lnTo>
                    <a:pt x="6" y="27"/>
                  </a:lnTo>
                  <a:lnTo>
                    <a:pt x="0" y="37"/>
                  </a:lnTo>
                  <a:lnTo>
                    <a:pt x="0" y="40"/>
                  </a:lnTo>
                  <a:lnTo>
                    <a:pt x="9" y="48"/>
                  </a:lnTo>
                  <a:lnTo>
                    <a:pt x="21" y="53"/>
                  </a:lnTo>
                  <a:lnTo>
                    <a:pt x="36" y="55"/>
                  </a:lnTo>
                  <a:lnTo>
                    <a:pt x="46" y="56"/>
                  </a:lnTo>
                  <a:lnTo>
                    <a:pt x="58" y="65"/>
                  </a:lnTo>
                  <a:lnTo>
                    <a:pt x="76" y="70"/>
                  </a:lnTo>
                  <a:lnTo>
                    <a:pt x="103" y="71"/>
                  </a:lnTo>
                  <a:lnTo>
                    <a:pt x="120" y="64"/>
                  </a:lnTo>
                  <a:lnTo>
                    <a:pt x="125" y="59"/>
                  </a:lnTo>
                  <a:lnTo>
                    <a:pt x="123" y="56"/>
                  </a:lnTo>
                  <a:lnTo>
                    <a:pt x="123" y="38"/>
                  </a:lnTo>
                  <a:lnTo>
                    <a:pt x="123" y="37"/>
                  </a:lnTo>
                  <a:lnTo>
                    <a:pt x="118" y="32"/>
                  </a:lnTo>
                  <a:lnTo>
                    <a:pt x="109" y="29"/>
                  </a:lnTo>
                  <a:lnTo>
                    <a:pt x="107" y="27"/>
                  </a:lnTo>
                  <a:lnTo>
                    <a:pt x="100" y="28"/>
                  </a:lnTo>
                  <a:lnTo>
                    <a:pt x="95" y="33"/>
                  </a:lnTo>
                  <a:lnTo>
                    <a:pt x="90" y="33"/>
                  </a:lnTo>
                  <a:lnTo>
                    <a:pt x="85" y="31"/>
                  </a:lnTo>
                  <a:lnTo>
                    <a:pt x="82" y="28"/>
                  </a:lnTo>
                  <a:lnTo>
                    <a:pt x="82" y="26"/>
                  </a:lnTo>
                  <a:lnTo>
                    <a:pt x="75" y="26"/>
                  </a:lnTo>
                  <a:lnTo>
                    <a:pt x="73" y="23"/>
                  </a:lnTo>
                  <a:lnTo>
                    <a:pt x="71" y="20"/>
                  </a:lnTo>
                  <a:lnTo>
                    <a:pt x="66" y="20"/>
                  </a:lnTo>
                  <a:lnTo>
                    <a:pt x="59" y="15"/>
                  </a:lnTo>
                  <a:lnTo>
                    <a:pt x="57" y="10"/>
                  </a:lnTo>
                  <a:lnTo>
                    <a:pt x="52" y="4"/>
                  </a:lnTo>
                  <a:lnTo>
                    <a:pt x="39" y="4"/>
                  </a:lnTo>
                  <a:lnTo>
                    <a:pt x="33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3" name="Freeform 267"/>
            <p:cNvSpPr>
              <a:spLocks noChangeAspect="1"/>
            </p:cNvSpPr>
            <p:nvPr/>
          </p:nvSpPr>
          <p:spPr bwMode="gray">
            <a:xfrm>
              <a:off x="4399321" y="4045580"/>
              <a:ext cx="57245" cy="55876"/>
            </a:xfrm>
            <a:custGeom>
              <a:avLst/>
              <a:gdLst/>
              <a:ahLst/>
              <a:cxnLst>
                <a:cxn ang="0">
                  <a:pos x="118" y="18"/>
                </a:cxn>
                <a:cxn ang="0">
                  <a:pos x="94" y="21"/>
                </a:cxn>
                <a:cxn ang="0">
                  <a:pos x="81" y="12"/>
                </a:cxn>
                <a:cxn ang="0">
                  <a:pos x="67" y="9"/>
                </a:cxn>
                <a:cxn ang="0">
                  <a:pos x="50" y="11"/>
                </a:cxn>
                <a:cxn ang="0">
                  <a:pos x="17" y="0"/>
                </a:cxn>
                <a:cxn ang="0">
                  <a:pos x="6" y="6"/>
                </a:cxn>
                <a:cxn ang="0">
                  <a:pos x="2" y="12"/>
                </a:cxn>
                <a:cxn ang="0">
                  <a:pos x="6" y="21"/>
                </a:cxn>
                <a:cxn ang="0">
                  <a:pos x="2" y="36"/>
                </a:cxn>
                <a:cxn ang="0">
                  <a:pos x="3" y="53"/>
                </a:cxn>
                <a:cxn ang="0">
                  <a:pos x="11" y="66"/>
                </a:cxn>
                <a:cxn ang="0">
                  <a:pos x="23" y="71"/>
                </a:cxn>
                <a:cxn ang="0">
                  <a:pos x="39" y="82"/>
                </a:cxn>
                <a:cxn ang="0">
                  <a:pos x="45" y="85"/>
                </a:cxn>
                <a:cxn ang="0">
                  <a:pos x="49" y="69"/>
                </a:cxn>
                <a:cxn ang="0">
                  <a:pos x="39" y="61"/>
                </a:cxn>
                <a:cxn ang="0">
                  <a:pos x="51" y="60"/>
                </a:cxn>
                <a:cxn ang="0">
                  <a:pos x="65" y="77"/>
                </a:cxn>
                <a:cxn ang="0">
                  <a:pos x="76" y="92"/>
                </a:cxn>
                <a:cxn ang="0">
                  <a:pos x="106" y="104"/>
                </a:cxn>
                <a:cxn ang="0">
                  <a:pos x="121" y="142"/>
                </a:cxn>
                <a:cxn ang="0">
                  <a:pos x="130" y="149"/>
                </a:cxn>
                <a:cxn ang="0">
                  <a:pos x="141" y="150"/>
                </a:cxn>
                <a:cxn ang="0">
                  <a:pos x="140" y="136"/>
                </a:cxn>
                <a:cxn ang="0">
                  <a:pos x="145" y="139"/>
                </a:cxn>
                <a:cxn ang="0">
                  <a:pos x="154" y="156"/>
                </a:cxn>
                <a:cxn ang="0">
                  <a:pos x="158" y="157"/>
                </a:cxn>
                <a:cxn ang="0">
                  <a:pos x="168" y="142"/>
                </a:cxn>
                <a:cxn ang="0">
                  <a:pos x="168" y="126"/>
                </a:cxn>
                <a:cxn ang="0">
                  <a:pos x="173" y="118"/>
                </a:cxn>
                <a:cxn ang="0">
                  <a:pos x="162" y="109"/>
                </a:cxn>
                <a:cxn ang="0">
                  <a:pos x="170" y="86"/>
                </a:cxn>
                <a:cxn ang="0">
                  <a:pos x="176" y="87"/>
                </a:cxn>
                <a:cxn ang="0">
                  <a:pos x="180" y="86"/>
                </a:cxn>
                <a:cxn ang="0">
                  <a:pos x="161" y="72"/>
                </a:cxn>
                <a:cxn ang="0">
                  <a:pos x="133" y="43"/>
                </a:cxn>
                <a:cxn ang="0">
                  <a:pos x="125" y="25"/>
                </a:cxn>
                <a:cxn ang="0">
                  <a:pos x="121" y="16"/>
                </a:cxn>
              </a:cxnLst>
              <a:rect l="0" t="0" r="r" b="b"/>
              <a:pathLst>
                <a:path w="180" h="157">
                  <a:moveTo>
                    <a:pt x="121" y="16"/>
                  </a:moveTo>
                  <a:lnTo>
                    <a:pt x="118" y="18"/>
                  </a:lnTo>
                  <a:lnTo>
                    <a:pt x="104" y="21"/>
                  </a:lnTo>
                  <a:lnTo>
                    <a:pt x="94" y="21"/>
                  </a:lnTo>
                  <a:lnTo>
                    <a:pt x="89" y="20"/>
                  </a:lnTo>
                  <a:lnTo>
                    <a:pt x="81" y="12"/>
                  </a:lnTo>
                  <a:lnTo>
                    <a:pt x="72" y="9"/>
                  </a:lnTo>
                  <a:lnTo>
                    <a:pt x="67" y="9"/>
                  </a:lnTo>
                  <a:lnTo>
                    <a:pt x="59" y="11"/>
                  </a:lnTo>
                  <a:lnTo>
                    <a:pt x="50" y="11"/>
                  </a:lnTo>
                  <a:lnTo>
                    <a:pt x="27" y="5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6" y="6"/>
                  </a:lnTo>
                  <a:lnTo>
                    <a:pt x="5" y="7"/>
                  </a:lnTo>
                  <a:lnTo>
                    <a:pt x="2" y="12"/>
                  </a:lnTo>
                  <a:lnTo>
                    <a:pt x="2" y="15"/>
                  </a:lnTo>
                  <a:lnTo>
                    <a:pt x="6" y="21"/>
                  </a:lnTo>
                  <a:lnTo>
                    <a:pt x="6" y="33"/>
                  </a:lnTo>
                  <a:lnTo>
                    <a:pt x="2" y="36"/>
                  </a:lnTo>
                  <a:lnTo>
                    <a:pt x="0" y="42"/>
                  </a:lnTo>
                  <a:lnTo>
                    <a:pt x="3" y="53"/>
                  </a:lnTo>
                  <a:lnTo>
                    <a:pt x="7" y="60"/>
                  </a:lnTo>
                  <a:lnTo>
                    <a:pt x="11" y="66"/>
                  </a:lnTo>
                  <a:lnTo>
                    <a:pt x="18" y="71"/>
                  </a:lnTo>
                  <a:lnTo>
                    <a:pt x="23" y="71"/>
                  </a:lnTo>
                  <a:lnTo>
                    <a:pt x="33" y="76"/>
                  </a:lnTo>
                  <a:lnTo>
                    <a:pt x="39" y="82"/>
                  </a:lnTo>
                  <a:lnTo>
                    <a:pt x="44" y="85"/>
                  </a:lnTo>
                  <a:lnTo>
                    <a:pt x="45" y="85"/>
                  </a:lnTo>
                  <a:lnTo>
                    <a:pt x="50" y="74"/>
                  </a:lnTo>
                  <a:lnTo>
                    <a:pt x="49" y="69"/>
                  </a:lnTo>
                  <a:lnTo>
                    <a:pt x="40" y="65"/>
                  </a:lnTo>
                  <a:lnTo>
                    <a:pt x="39" y="61"/>
                  </a:lnTo>
                  <a:lnTo>
                    <a:pt x="45" y="59"/>
                  </a:lnTo>
                  <a:lnTo>
                    <a:pt x="51" y="60"/>
                  </a:lnTo>
                  <a:lnTo>
                    <a:pt x="59" y="68"/>
                  </a:lnTo>
                  <a:lnTo>
                    <a:pt x="65" y="77"/>
                  </a:lnTo>
                  <a:lnTo>
                    <a:pt x="68" y="83"/>
                  </a:lnTo>
                  <a:lnTo>
                    <a:pt x="76" y="92"/>
                  </a:lnTo>
                  <a:lnTo>
                    <a:pt x="78" y="92"/>
                  </a:lnTo>
                  <a:lnTo>
                    <a:pt x="106" y="104"/>
                  </a:lnTo>
                  <a:lnTo>
                    <a:pt x="119" y="115"/>
                  </a:lnTo>
                  <a:lnTo>
                    <a:pt x="121" y="142"/>
                  </a:lnTo>
                  <a:lnTo>
                    <a:pt x="122" y="144"/>
                  </a:lnTo>
                  <a:lnTo>
                    <a:pt x="130" y="149"/>
                  </a:lnTo>
                  <a:lnTo>
                    <a:pt x="138" y="151"/>
                  </a:lnTo>
                  <a:lnTo>
                    <a:pt x="141" y="150"/>
                  </a:lnTo>
                  <a:lnTo>
                    <a:pt x="136" y="139"/>
                  </a:lnTo>
                  <a:lnTo>
                    <a:pt x="140" y="136"/>
                  </a:lnTo>
                  <a:lnTo>
                    <a:pt x="141" y="136"/>
                  </a:lnTo>
                  <a:lnTo>
                    <a:pt x="145" y="139"/>
                  </a:lnTo>
                  <a:lnTo>
                    <a:pt x="151" y="145"/>
                  </a:lnTo>
                  <a:lnTo>
                    <a:pt x="154" y="156"/>
                  </a:lnTo>
                  <a:lnTo>
                    <a:pt x="157" y="157"/>
                  </a:lnTo>
                  <a:lnTo>
                    <a:pt x="158" y="157"/>
                  </a:lnTo>
                  <a:lnTo>
                    <a:pt x="165" y="147"/>
                  </a:lnTo>
                  <a:lnTo>
                    <a:pt x="168" y="142"/>
                  </a:lnTo>
                  <a:lnTo>
                    <a:pt x="167" y="130"/>
                  </a:lnTo>
                  <a:lnTo>
                    <a:pt x="168" y="126"/>
                  </a:lnTo>
                  <a:lnTo>
                    <a:pt x="172" y="123"/>
                  </a:lnTo>
                  <a:lnTo>
                    <a:pt x="173" y="118"/>
                  </a:lnTo>
                  <a:lnTo>
                    <a:pt x="169" y="114"/>
                  </a:lnTo>
                  <a:lnTo>
                    <a:pt x="162" y="109"/>
                  </a:lnTo>
                  <a:lnTo>
                    <a:pt x="164" y="95"/>
                  </a:lnTo>
                  <a:lnTo>
                    <a:pt x="170" y="86"/>
                  </a:lnTo>
                  <a:lnTo>
                    <a:pt x="174" y="86"/>
                  </a:lnTo>
                  <a:lnTo>
                    <a:pt x="176" y="87"/>
                  </a:lnTo>
                  <a:lnTo>
                    <a:pt x="179" y="87"/>
                  </a:lnTo>
                  <a:lnTo>
                    <a:pt x="180" y="86"/>
                  </a:lnTo>
                  <a:lnTo>
                    <a:pt x="174" y="81"/>
                  </a:lnTo>
                  <a:lnTo>
                    <a:pt x="161" y="72"/>
                  </a:lnTo>
                  <a:lnTo>
                    <a:pt x="141" y="54"/>
                  </a:lnTo>
                  <a:lnTo>
                    <a:pt x="133" y="43"/>
                  </a:lnTo>
                  <a:lnTo>
                    <a:pt x="127" y="27"/>
                  </a:lnTo>
                  <a:lnTo>
                    <a:pt x="125" y="25"/>
                  </a:lnTo>
                  <a:lnTo>
                    <a:pt x="122" y="16"/>
                  </a:lnTo>
                  <a:lnTo>
                    <a:pt x="121" y="1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4" name="Freeform 268"/>
            <p:cNvSpPr>
              <a:spLocks noChangeAspect="1"/>
            </p:cNvSpPr>
            <p:nvPr/>
          </p:nvSpPr>
          <p:spPr bwMode="gray">
            <a:xfrm>
              <a:off x="4337306" y="3951289"/>
              <a:ext cx="106540" cy="59369"/>
            </a:xfrm>
            <a:custGeom>
              <a:avLst/>
              <a:gdLst/>
              <a:ahLst/>
              <a:cxnLst>
                <a:cxn ang="0">
                  <a:pos x="326" y="54"/>
                </a:cxn>
                <a:cxn ang="0">
                  <a:pos x="309" y="65"/>
                </a:cxn>
                <a:cxn ang="0">
                  <a:pos x="290" y="70"/>
                </a:cxn>
                <a:cxn ang="0">
                  <a:pos x="266" y="75"/>
                </a:cxn>
                <a:cxn ang="0">
                  <a:pos x="259" y="68"/>
                </a:cxn>
                <a:cxn ang="0">
                  <a:pos x="252" y="70"/>
                </a:cxn>
                <a:cxn ang="0">
                  <a:pos x="246" y="72"/>
                </a:cxn>
                <a:cxn ang="0">
                  <a:pos x="239" y="92"/>
                </a:cxn>
                <a:cxn ang="0">
                  <a:pos x="226" y="97"/>
                </a:cxn>
                <a:cxn ang="0">
                  <a:pos x="220" y="104"/>
                </a:cxn>
                <a:cxn ang="0">
                  <a:pos x="213" y="112"/>
                </a:cxn>
                <a:cxn ang="0">
                  <a:pos x="205" y="115"/>
                </a:cxn>
                <a:cxn ang="0">
                  <a:pos x="196" y="117"/>
                </a:cxn>
                <a:cxn ang="0">
                  <a:pos x="181" y="108"/>
                </a:cxn>
                <a:cxn ang="0">
                  <a:pos x="171" y="126"/>
                </a:cxn>
                <a:cxn ang="0">
                  <a:pos x="149" y="126"/>
                </a:cxn>
                <a:cxn ang="0">
                  <a:pos x="148" y="149"/>
                </a:cxn>
                <a:cxn ang="0">
                  <a:pos x="139" y="155"/>
                </a:cxn>
                <a:cxn ang="0">
                  <a:pos x="132" y="165"/>
                </a:cxn>
                <a:cxn ang="0">
                  <a:pos x="115" y="163"/>
                </a:cxn>
                <a:cxn ang="0">
                  <a:pos x="107" y="152"/>
                </a:cxn>
                <a:cxn ang="0">
                  <a:pos x="99" y="144"/>
                </a:cxn>
                <a:cxn ang="0">
                  <a:pos x="90" y="142"/>
                </a:cxn>
                <a:cxn ang="0">
                  <a:pos x="90" y="123"/>
                </a:cxn>
                <a:cxn ang="0">
                  <a:pos x="76" y="115"/>
                </a:cxn>
                <a:cxn ang="0">
                  <a:pos x="67" y="114"/>
                </a:cxn>
                <a:cxn ang="0">
                  <a:pos x="57" y="119"/>
                </a:cxn>
                <a:cxn ang="0">
                  <a:pos x="49" y="114"/>
                </a:cxn>
                <a:cxn ang="0">
                  <a:pos x="42" y="112"/>
                </a:cxn>
                <a:cxn ang="0">
                  <a:pos x="38" y="106"/>
                </a:cxn>
                <a:cxn ang="0">
                  <a:pos x="26" y="101"/>
                </a:cxn>
                <a:cxn ang="0">
                  <a:pos x="19" y="90"/>
                </a:cxn>
                <a:cxn ang="0">
                  <a:pos x="0" y="86"/>
                </a:cxn>
                <a:cxn ang="0">
                  <a:pos x="5" y="80"/>
                </a:cxn>
                <a:cxn ang="0">
                  <a:pos x="13" y="71"/>
                </a:cxn>
                <a:cxn ang="0">
                  <a:pos x="10" y="65"/>
                </a:cxn>
                <a:cxn ang="0">
                  <a:pos x="11" y="56"/>
                </a:cxn>
                <a:cxn ang="0">
                  <a:pos x="21" y="49"/>
                </a:cxn>
                <a:cxn ang="0">
                  <a:pos x="38" y="37"/>
                </a:cxn>
                <a:cxn ang="0">
                  <a:pos x="59" y="18"/>
                </a:cxn>
                <a:cxn ang="0">
                  <a:pos x="74" y="13"/>
                </a:cxn>
                <a:cxn ang="0">
                  <a:pos x="92" y="7"/>
                </a:cxn>
                <a:cxn ang="0">
                  <a:pos x="124" y="11"/>
                </a:cxn>
                <a:cxn ang="0">
                  <a:pos x="166" y="7"/>
                </a:cxn>
                <a:cxn ang="0">
                  <a:pos x="183" y="5"/>
                </a:cxn>
                <a:cxn ang="0">
                  <a:pos x="199" y="0"/>
                </a:cxn>
                <a:cxn ang="0">
                  <a:pos x="209" y="5"/>
                </a:cxn>
                <a:cxn ang="0">
                  <a:pos x="231" y="1"/>
                </a:cxn>
                <a:cxn ang="0">
                  <a:pos x="245" y="2"/>
                </a:cxn>
                <a:cxn ang="0">
                  <a:pos x="271" y="9"/>
                </a:cxn>
                <a:cxn ang="0">
                  <a:pos x="293" y="16"/>
                </a:cxn>
                <a:cxn ang="0">
                  <a:pos x="327" y="38"/>
                </a:cxn>
                <a:cxn ang="0">
                  <a:pos x="337" y="52"/>
                </a:cxn>
              </a:cxnLst>
              <a:rect l="0" t="0" r="r" b="b"/>
              <a:pathLst>
                <a:path w="337" h="166">
                  <a:moveTo>
                    <a:pt x="337" y="54"/>
                  </a:moveTo>
                  <a:lnTo>
                    <a:pt x="326" y="54"/>
                  </a:lnTo>
                  <a:lnTo>
                    <a:pt x="312" y="60"/>
                  </a:lnTo>
                  <a:lnTo>
                    <a:pt x="309" y="65"/>
                  </a:lnTo>
                  <a:lnTo>
                    <a:pt x="300" y="70"/>
                  </a:lnTo>
                  <a:lnTo>
                    <a:pt x="290" y="70"/>
                  </a:lnTo>
                  <a:lnTo>
                    <a:pt x="283" y="75"/>
                  </a:lnTo>
                  <a:lnTo>
                    <a:pt x="266" y="75"/>
                  </a:lnTo>
                  <a:lnTo>
                    <a:pt x="263" y="72"/>
                  </a:lnTo>
                  <a:lnTo>
                    <a:pt x="259" y="68"/>
                  </a:lnTo>
                  <a:lnTo>
                    <a:pt x="253" y="66"/>
                  </a:lnTo>
                  <a:lnTo>
                    <a:pt x="252" y="70"/>
                  </a:lnTo>
                  <a:lnTo>
                    <a:pt x="250" y="71"/>
                  </a:lnTo>
                  <a:lnTo>
                    <a:pt x="246" y="72"/>
                  </a:lnTo>
                  <a:lnTo>
                    <a:pt x="242" y="79"/>
                  </a:lnTo>
                  <a:lnTo>
                    <a:pt x="239" y="92"/>
                  </a:lnTo>
                  <a:lnTo>
                    <a:pt x="236" y="95"/>
                  </a:lnTo>
                  <a:lnTo>
                    <a:pt x="226" y="97"/>
                  </a:lnTo>
                  <a:lnTo>
                    <a:pt x="221" y="102"/>
                  </a:lnTo>
                  <a:lnTo>
                    <a:pt x="220" y="104"/>
                  </a:lnTo>
                  <a:lnTo>
                    <a:pt x="216" y="106"/>
                  </a:lnTo>
                  <a:lnTo>
                    <a:pt x="213" y="112"/>
                  </a:lnTo>
                  <a:lnTo>
                    <a:pt x="205" y="113"/>
                  </a:lnTo>
                  <a:lnTo>
                    <a:pt x="205" y="115"/>
                  </a:lnTo>
                  <a:lnTo>
                    <a:pt x="202" y="117"/>
                  </a:lnTo>
                  <a:lnTo>
                    <a:pt x="196" y="117"/>
                  </a:lnTo>
                  <a:lnTo>
                    <a:pt x="188" y="111"/>
                  </a:lnTo>
                  <a:lnTo>
                    <a:pt x="181" y="108"/>
                  </a:lnTo>
                  <a:lnTo>
                    <a:pt x="175" y="118"/>
                  </a:lnTo>
                  <a:lnTo>
                    <a:pt x="171" y="126"/>
                  </a:lnTo>
                  <a:lnTo>
                    <a:pt x="154" y="128"/>
                  </a:lnTo>
                  <a:lnTo>
                    <a:pt x="149" y="126"/>
                  </a:lnTo>
                  <a:lnTo>
                    <a:pt x="146" y="134"/>
                  </a:lnTo>
                  <a:lnTo>
                    <a:pt x="148" y="149"/>
                  </a:lnTo>
                  <a:lnTo>
                    <a:pt x="144" y="150"/>
                  </a:lnTo>
                  <a:lnTo>
                    <a:pt x="139" y="155"/>
                  </a:lnTo>
                  <a:lnTo>
                    <a:pt x="135" y="162"/>
                  </a:lnTo>
                  <a:lnTo>
                    <a:pt x="132" y="165"/>
                  </a:lnTo>
                  <a:lnTo>
                    <a:pt x="115" y="166"/>
                  </a:lnTo>
                  <a:lnTo>
                    <a:pt x="115" y="163"/>
                  </a:lnTo>
                  <a:lnTo>
                    <a:pt x="107" y="156"/>
                  </a:lnTo>
                  <a:lnTo>
                    <a:pt x="107" y="152"/>
                  </a:lnTo>
                  <a:lnTo>
                    <a:pt x="106" y="147"/>
                  </a:lnTo>
                  <a:lnTo>
                    <a:pt x="99" y="144"/>
                  </a:lnTo>
                  <a:lnTo>
                    <a:pt x="92" y="145"/>
                  </a:lnTo>
                  <a:lnTo>
                    <a:pt x="90" y="142"/>
                  </a:lnTo>
                  <a:lnTo>
                    <a:pt x="90" y="124"/>
                  </a:lnTo>
                  <a:lnTo>
                    <a:pt x="90" y="123"/>
                  </a:lnTo>
                  <a:lnTo>
                    <a:pt x="85" y="118"/>
                  </a:lnTo>
                  <a:lnTo>
                    <a:pt x="76" y="115"/>
                  </a:lnTo>
                  <a:lnTo>
                    <a:pt x="74" y="113"/>
                  </a:lnTo>
                  <a:lnTo>
                    <a:pt x="67" y="114"/>
                  </a:lnTo>
                  <a:lnTo>
                    <a:pt x="62" y="119"/>
                  </a:lnTo>
                  <a:lnTo>
                    <a:pt x="57" y="119"/>
                  </a:lnTo>
                  <a:lnTo>
                    <a:pt x="52" y="117"/>
                  </a:lnTo>
                  <a:lnTo>
                    <a:pt x="49" y="114"/>
                  </a:lnTo>
                  <a:lnTo>
                    <a:pt x="49" y="112"/>
                  </a:lnTo>
                  <a:lnTo>
                    <a:pt x="42" y="112"/>
                  </a:lnTo>
                  <a:lnTo>
                    <a:pt x="40" y="109"/>
                  </a:lnTo>
                  <a:lnTo>
                    <a:pt x="38" y="106"/>
                  </a:lnTo>
                  <a:lnTo>
                    <a:pt x="33" y="106"/>
                  </a:lnTo>
                  <a:lnTo>
                    <a:pt x="26" y="101"/>
                  </a:lnTo>
                  <a:lnTo>
                    <a:pt x="24" y="96"/>
                  </a:lnTo>
                  <a:lnTo>
                    <a:pt x="19" y="90"/>
                  </a:lnTo>
                  <a:lnTo>
                    <a:pt x="6" y="90"/>
                  </a:lnTo>
                  <a:lnTo>
                    <a:pt x="0" y="86"/>
                  </a:lnTo>
                  <a:lnTo>
                    <a:pt x="3" y="85"/>
                  </a:lnTo>
                  <a:lnTo>
                    <a:pt x="5" y="80"/>
                  </a:lnTo>
                  <a:lnTo>
                    <a:pt x="13" y="75"/>
                  </a:lnTo>
                  <a:lnTo>
                    <a:pt x="13" y="71"/>
                  </a:lnTo>
                  <a:lnTo>
                    <a:pt x="11" y="66"/>
                  </a:lnTo>
                  <a:lnTo>
                    <a:pt x="10" y="65"/>
                  </a:lnTo>
                  <a:lnTo>
                    <a:pt x="10" y="60"/>
                  </a:lnTo>
                  <a:lnTo>
                    <a:pt x="11" y="56"/>
                  </a:lnTo>
                  <a:lnTo>
                    <a:pt x="20" y="50"/>
                  </a:lnTo>
                  <a:lnTo>
                    <a:pt x="21" y="49"/>
                  </a:lnTo>
                  <a:lnTo>
                    <a:pt x="25" y="48"/>
                  </a:lnTo>
                  <a:lnTo>
                    <a:pt x="38" y="37"/>
                  </a:lnTo>
                  <a:lnTo>
                    <a:pt x="56" y="25"/>
                  </a:lnTo>
                  <a:lnTo>
                    <a:pt x="59" y="18"/>
                  </a:lnTo>
                  <a:lnTo>
                    <a:pt x="60" y="15"/>
                  </a:lnTo>
                  <a:lnTo>
                    <a:pt x="74" y="13"/>
                  </a:lnTo>
                  <a:lnTo>
                    <a:pt x="85" y="9"/>
                  </a:lnTo>
                  <a:lnTo>
                    <a:pt x="92" y="7"/>
                  </a:lnTo>
                  <a:lnTo>
                    <a:pt x="110" y="9"/>
                  </a:lnTo>
                  <a:lnTo>
                    <a:pt x="124" y="11"/>
                  </a:lnTo>
                  <a:lnTo>
                    <a:pt x="148" y="11"/>
                  </a:lnTo>
                  <a:lnTo>
                    <a:pt x="166" y="7"/>
                  </a:lnTo>
                  <a:lnTo>
                    <a:pt x="178" y="6"/>
                  </a:lnTo>
                  <a:lnTo>
                    <a:pt x="183" y="5"/>
                  </a:lnTo>
                  <a:lnTo>
                    <a:pt x="188" y="1"/>
                  </a:lnTo>
                  <a:lnTo>
                    <a:pt x="199" y="0"/>
                  </a:lnTo>
                  <a:lnTo>
                    <a:pt x="207" y="2"/>
                  </a:lnTo>
                  <a:lnTo>
                    <a:pt x="209" y="5"/>
                  </a:lnTo>
                  <a:lnTo>
                    <a:pt x="223" y="5"/>
                  </a:lnTo>
                  <a:lnTo>
                    <a:pt x="231" y="1"/>
                  </a:lnTo>
                  <a:lnTo>
                    <a:pt x="240" y="1"/>
                  </a:lnTo>
                  <a:lnTo>
                    <a:pt x="245" y="2"/>
                  </a:lnTo>
                  <a:lnTo>
                    <a:pt x="257" y="9"/>
                  </a:lnTo>
                  <a:lnTo>
                    <a:pt x="271" y="9"/>
                  </a:lnTo>
                  <a:lnTo>
                    <a:pt x="283" y="11"/>
                  </a:lnTo>
                  <a:lnTo>
                    <a:pt x="293" y="16"/>
                  </a:lnTo>
                  <a:lnTo>
                    <a:pt x="304" y="27"/>
                  </a:lnTo>
                  <a:lnTo>
                    <a:pt x="327" y="38"/>
                  </a:lnTo>
                  <a:lnTo>
                    <a:pt x="332" y="43"/>
                  </a:lnTo>
                  <a:lnTo>
                    <a:pt x="337" y="52"/>
                  </a:lnTo>
                  <a:lnTo>
                    <a:pt x="337" y="5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5" name="Freeform 269"/>
            <p:cNvSpPr>
              <a:spLocks noChangeAspect="1"/>
            </p:cNvSpPr>
            <p:nvPr/>
          </p:nvSpPr>
          <p:spPr bwMode="gray">
            <a:xfrm>
              <a:off x="3855493" y="3602062"/>
              <a:ext cx="526337" cy="377165"/>
            </a:xfrm>
            <a:custGeom>
              <a:avLst/>
              <a:gdLst/>
              <a:ahLst/>
              <a:cxnLst>
                <a:cxn ang="0">
                  <a:pos x="183" y="77"/>
                </a:cxn>
                <a:cxn ang="0">
                  <a:pos x="233" y="144"/>
                </a:cxn>
                <a:cxn ang="0">
                  <a:pos x="260" y="212"/>
                </a:cxn>
                <a:cxn ang="0">
                  <a:pos x="324" y="292"/>
                </a:cxn>
                <a:cxn ang="0">
                  <a:pos x="367" y="342"/>
                </a:cxn>
                <a:cxn ang="0">
                  <a:pos x="433" y="395"/>
                </a:cxn>
                <a:cxn ang="0">
                  <a:pos x="432" y="445"/>
                </a:cxn>
                <a:cxn ang="0">
                  <a:pos x="501" y="481"/>
                </a:cxn>
                <a:cxn ang="0">
                  <a:pos x="567" y="558"/>
                </a:cxn>
                <a:cxn ang="0">
                  <a:pos x="630" y="627"/>
                </a:cxn>
                <a:cxn ang="0">
                  <a:pos x="658" y="703"/>
                </a:cxn>
                <a:cxn ang="0">
                  <a:pos x="635" y="752"/>
                </a:cxn>
                <a:cxn ang="0">
                  <a:pos x="683" y="821"/>
                </a:cxn>
                <a:cxn ang="0">
                  <a:pos x="740" y="858"/>
                </a:cxn>
                <a:cxn ang="0">
                  <a:pos x="782" y="884"/>
                </a:cxn>
                <a:cxn ang="0">
                  <a:pos x="860" y="913"/>
                </a:cxn>
                <a:cxn ang="0">
                  <a:pos x="905" y="941"/>
                </a:cxn>
                <a:cxn ang="0">
                  <a:pos x="1019" y="983"/>
                </a:cxn>
                <a:cxn ang="0">
                  <a:pos x="1120" y="1020"/>
                </a:cxn>
                <a:cxn ang="0">
                  <a:pos x="1202" y="995"/>
                </a:cxn>
                <a:cxn ang="0">
                  <a:pos x="1336" y="1060"/>
                </a:cxn>
                <a:cxn ang="0">
                  <a:pos x="1371" y="1047"/>
                </a:cxn>
                <a:cxn ang="0">
                  <a:pos x="1454" y="974"/>
                </a:cxn>
                <a:cxn ang="0">
                  <a:pos x="1541" y="892"/>
                </a:cxn>
                <a:cxn ang="0">
                  <a:pos x="1593" y="859"/>
                </a:cxn>
                <a:cxn ang="0">
                  <a:pos x="1616" y="810"/>
                </a:cxn>
                <a:cxn ang="0">
                  <a:pos x="1641" y="736"/>
                </a:cxn>
                <a:cxn ang="0">
                  <a:pos x="1588" y="675"/>
                </a:cxn>
                <a:cxn ang="0">
                  <a:pos x="1464" y="708"/>
                </a:cxn>
                <a:cxn ang="0">
                  <a:pos x="1411" y="830"/>
                </a:cxn>
                <a:cxn ang="0">
                  <a:pos x="1345" y="848"/>
                </a:cxn>
                <a:cxn ang="0">
                  <a:pos x="1215" y="853"/>
                </a:cxn>
                <a:cxn ang="0">
                  <a:pos x="1154" y="822"/>
                </a:cxn>
                <a:cxn ang="0">
                  <a:pos x="1103" y="741"/>
                </a:cxn>
                <a:cxn ang="0">
                  <a:pos x="1063" y="634"/>
                </a:cxn>
                <a:cxn ang="0">
                  <a:pos x="1057" y="498"/>
                </a:cxn>
                <a:cxn ang="0">
                  <a:pos x="1098" y="444"/>
                </a:cxn>
                <a:cxn ang="0">
                  <a:pos x="1078" y="424"/>
                </a:cxn>
                <a:cxn ang="0">
                  <a:pos x="930" y="288"/>
                </a:cxn>
                <a:cxn ang="0">
                  <a:pos x="785" y="185"/>
                </a:cxn>
                <a:cxn ang="0">
                  <a:pos x="615" y="93"/>
                </a:cxn>
                <a:cxn ang="0">
                  <a:pos x="334" y="84"/>
                </a:cxn>
                <a:cxn ang="0">
                  <a:pos x="22" y="52"/>
                </a:cxn>
                <a:cxn ang="0">
                  <a:pos x="57" y="120"/>
                </a:cxn>
                <a:cxn ang="0">
                  <a:pos x="84" y="191"/>
                </a:cxn>
                <a:cxn ang="0">
                  <a:pos x="147" y="241"/>
                </a:cxn>
                <a:cxn ang="0">
                  <a:pos x="164" y="300"/>
                </a:cxn>
                <a:cxn ang="0">
                  <a:pos x="126" y="315"/>
                </a:cxn>
                <a:cxn ang="0">
                  <a:pos x="179" y="358"/>
                </a:cxn>
                <a:cxn ang="0">
                  <a:pos x="239" y="397"/>
                </a:cxn>
                <a:cxn ang="0">
                  <a:pos x="272" y="491"/>
                </a:cxn>
                <a:cxn ang="0">
                  <a:pos x="305" y="509"/>
                </a:cxn>
                <a:cxn ang="0">
                  <a:pos x="394" y="606"/>
                </a:cxn>
                <a:cxn ang="0">
                  <a:pos x="412" y="557"/>
                </a:cxn>
                <a:cxn ang="0">
                  <a:pos x="353" y="507"/>
                </a:cxn>
                <a:cxn ang="0">
                  <a:pos x="323" y="424"/>
                </a:cxn>
                <a:cxn ang="0">
                  <a:pos x="298" y="387"/>
                </a:cxn>
                <a:cxn ang="0">
                  <a:pos x="266" y="330"/>
                </a:cxn>
                <a:cxn ang="0">
                  <a:pos x="231" y="271"/>
                </a:cxn>
                <a:cxn ang="0">
                  <a:pos x="195" y="218"/>
                </a:cxn>
                <a:cxn ang="0">
                  <a:pos x="143" y="164"/>
                </a:cxn>
                <a:cxn ang="0">
                  <a:pos x="127" y="56"/>
                </a:cxn>
              </a:cxnLst>
              <a:rect l="0" t="0" r="r" b="b"/>
              <a:pathLst>
                <a:path w="1657" h="1083">
                  <a:moveTo>
                    <a:pt x="127" y="56"/>
                  </a:moveTo>
                  <a:lnTo>
                    <a:pt x="136" y="59"/>
                  </a:lnTo>
                  <a:lnTo>
                    <a:pt x="140" y="61"/>
                  </a:lnTo>
                  <a:lnTo>
                    <a:pt x="148" y="68"/>
                  </a:lnTo>
                  <a:lnTo>
                    <a:pt x="151" y="67"/>
                  </a:lnTo>
                  <a:lnTo>
                    <a:pt x="152" y="72"/>
                  </a:lnTo>
                  <a:lnTo>
                    <a:pt x="162" y="77"/>
                  </a:lnTo>
                  <a:lnTo>
                    <a:pt x="168" y="79"/>
                  </a:lnTo>
                  <a:lnTo>
                    <a:pt x="183" y="77"/>
                  </a:lnTo>
                  <a:lnTo>
                    <a:pt x="191" y="82"/>
                  </a:lnTo>
                  <a:lnTo>
                    <a:pt x="191" y="88"/>
                  </a:lnTo>
                  <a:lnTo>
                    <a:pt x="196" y="90"/>
                  </a:lnTo>
                  <a:lnTo>
                    <a:pt x="215" y="95"/>
                  </a:lnTo>
                  <a:lnTo>
                    <a:pt x="219" y="99"/>
                  </a:lnTo>
                  <a:lnTo>
                    <a:pt x="223" y="105"/>
                  </a:lnTo>
                  <a:lnTo>
                    <a:pt x="223" y="125"/>
                  </a:lnTo>
                  <a:lnTo>
                    <a:pt x="226" y="131"/>
                  </a:lnTo>
                  <a:lnTo>
                    <a:pt x="233" y="144"/>
                  </a:lnTo>
                  <a:lnTo>
                    <a:pt x="234" y="152"/>
                  </a:lnTo>
                  <a:lnTo>
                    <a:pt x="237" y="154"/>
                  </a:lnTo>
                  <a:lnTo>
                    <a:pt x="240" y="161"/>
                  </a:lnTo>
                  <a:lnTo>
                    <a:pt x="243" y="177"/>
                  </a:lnTo>
                  <a:lnTo>
                    <a:pt x="248" y="183"/>
                  </a:lnTo>
                  <a:lnTo>
                    <a:pt x="251" y="185"/>
                  </a:lnTo>
                  <a:lnTo>
                    <a:pt x="254" y="188"/>
                  </a:lnTo>
                  <a:lnTo>
                    <a:pt x="258" y="207"/>
                  </a:lnTo>
                  <a:lnTo>
                    <a:pt x="260" y="212"/>
                  </a:lnTo>
                  <a:lnTo>
                    <a:pt x="262" y="215"/>
                  </a:lnTo>
                  <a:lnTo>
                    <a:pt x="269" y="219"/>
                  </a:lnTo>
                  <a:lnTo>
                    <a:pt x="272" y="224"/>
                  </a:lnTo>
                  <a:lnTo>
                    <a:pt x="277" y="239"/>
                  </a:lnTo>
                  <a:lnTo>
                    <a:pt x="286" y="245"/>
                  </a:lnTo>
                  <a:lnTo>
                    <a:pt x="290" y="257"/>
                  </a:lnTo>
                  <a:lnTo>
                    <a:pt x="299" y="268"/>
                  </a:lnTo>
                  <a:lnTo>
                    <a:pt x="310" y="272"/>
                  </a:lnTo>
                  <a:lnTo>
                    <a:pt x="324" y="292"/>
                  </a:lnTo>
                  <a:lnTo>
                    <a:pt x="334" y="299"/>
                  </a:lnTo>
                  <a:lnTo>
                    <a:pt x="351" y="303"/>
                  </a:lnTo>
                  <a:lnTo>
                    <a:pt x="357" y="304"/>
                  </a:lnTo>
                  <a:lnTo>
                    <a:pt x="360" y="306"/>
                  </a:lnTo>
                  <a:lnTo>
                    <a:pt x="361" y="320"/>
                  </a:lnTo>
                  <a:lnTo>
                    <a:pt x="358" y="325"/>
                  </a:lnTo>
                  <a:lnTo>
                    <a:pt x="361" y="330"/>
                  </a:lnTo>
                  <a:lnTo>
                    <a:pt x="361" y="335"/>
                  </a:lnTo>
                  <a:lnTo>
                    <a:pt x="367" y="342"/>
                  </a:lnTo>
                  <a:lnTo>
                    <a:pt x="374" y="348"/>
                  </a:lnTo>
                  <a:lnTo>
                    <a:pt x="390" y="355"/>
                  </a:lnTo>
                  <a:lnTo>
                    <a:pt x="398" y="364"/>
                  </a:lnTo>
                  <a:lnTo>
                    <a:pt x="401" y="374"/>
                  </a:lnTo>
                  <a:lnTo>
                    <a:pt x="406" y="376"/>
                  </a:lnTo>
                  <a:lnTo>
                    <a:pt x="407" y="379"/>
                  </a:lnTo>
                  <a:lnTo>
                    <a:pt x="421" y="379"/>
                  </a:lnTo>
                  <a:lnTo>
                    <a:pt x="428" y="384"/>
                  </a:lnTo>
                  <a:lnTo>
                    <a:pt x="433" y="395"/>
                  </a:lnTo>
                  <a:lnTo>
                    <a:pt x="439" y="397"/>
                  </a:lnTo>
                  <a:lnTo>
                    <a:pt x="439" y="402"/>
                  </a:lnTo>
                  <a:lnTo>
                    <a:pt x="433" y="412"/>
                  </a:lnTo>
                  <a:lnTo>
                    <a:pt x="430" y="414"/>
                  </a:lnTo>
                  <a:lnTo>
                    <a:pt x="428" y="421"/>
                  </a:lnTo>
                  <a:lnTo>
                    <a:pt x="427" y="425"/>
                  </a:lnTo>
                  <a:lnTo>
                    <a:pt x="426" y="433"/>
                  </a:lnTo>
                  <a:lnTo>
                    <a:pt x="427" y="438"/>
                  </a:lnTo>
                  <a:lnTo>
                    <a:pt x="432" y="445"/>
                  </a:lnTo>
                  <a:lnTo>
                    <a:pt x="444" y="445"/>
                  </a:lnTo>
                  <a:lnTo>
                    <a:pt x="452" y="439"/>
                  </a:lnTo>
                  <a:lnTo>
                    <a:pt x="454" y="443"/>
                  </a:lnTo>
                  <a:lnTo>
                    <a:pt x="450" y="451"/>
                  </a:lnTo>
                  <a:lnTo>
                    <a:pt x="453" y="456"/>
                  </a:lnTo>
                  <a:lnTo>
                    <a:pt x="476" y="468"/>
                  </a:lnTo>
                  <a:lnTo>
                    <a:pt x="482" y="470"/>
                  </a:lnTo>
                  <a:lnTo>
                    <a:pt x="487" y="466"/>
                  </a:lnTo>
                  <a:lnTo>
                    <a:pt x="501" y="481"/>
                  </a:lnTo>
                  <a:lnTo>
                    <a:pt x="506" y="484"/>
                  </a:lnTo>
                  <a:lnTo>
                    <a:pt x="507" y="492"/>
                  </a:lnTo>
                  <a:lnTo>
                    <a:pt x="507" y="503"/>
                  </a:lnTo>
                  <a:lnTo>
                    <a:pt x="509" y="507"/>
                  </a:lnTo>
                  <a:lnTo>
                    <a:pt x="543" y="535"/>
                  </a:lnTo>
                  <a:lnTo>
                    <a:pt x="554" y="545"/>
                  </a:lnTo>
                  <a:lnTo>
                    <a:pt x="561" y="548"/>
                  </a:lnTo>
                  <a:lnTo>
                    <a:pt x="565" y="553"/>
                  </a:lnTo>
                  <a:lnTo>
                    <a:pt x="567" y="558"/>
                  </a:lnTo>
                  <a:lnTo>
                    <a:pt x="567" y="564"/>
                  </a:lnTo>
                  <a:lnTo>
                    <a:pt x="570" y="568"/>
                  </a:lnTo>
                  <a:lnTo>
                    <a:pt x="576" y="568"/>
                  </a:lnTo>
                  <a:lnTo>
                    <a:pt x="582" y="577"/>
                  </a:lnTo>
                  <a:lnTo>
                    <a:pt x="588" y="589"/>
                  </a:lnTo>
                  <a:lnTo>
                    <a:pt x="592" y="595"/>
                  </a:lnTo>
                  <a:lnTo>
                    <a:pt x="604" y="604"/>
                  </a:lnTo>
                  <a:lnTo>
                    <a:pt x="615" y="617"/>
                  </a:lnTo>
                  <a:lnTo>
                    <a:pt x="630" y="627"/>
                  </a:lnTo>
                  <a:lnTo>
                    <a:pt x="632" y="633"/>
                  </a:lnTo>
                  <a:lnTo>
                    <a:pt x="631" y="635"/>
                  </a:lnTo>
                  <a:lnTo>
                    <a:pt x="631" y="640"/>
                  </a:lnTo>
                  <a:lnTo>
                    <a:pt x="638" y="664"/>
                  </a:lnTo>
                  <a:lnTo>
                    <a:pt x="645" y="672"/>
                  </a:lnTo>
                  <a:lnTo>
                    <a:pt x="646" y="681"/>
                  </a:lnTo>
                  <a:lnTo>
                    <a:pt x="652" y="687"/>
                  </a:lnTo>
                  <a:lnTo>
                    <a:pt x="656" y="694"/>
                  </a:lnTo>
                  <a:lnTo>
                    <a:pt x="658" y="703"/>
                  </a:lnTo>
                  <a:lnTo>
                    <a:pt x="658" y="712"/>
                  </a:lnTo>
                  <a:lnTo>
                    <a:pt x="656" y="717"/>
                  </a:lnTo>
                  <a:lnTo>
                    <a:pt x="646" y="728"/>
                  </a:lnTo>
                  <a:lnTo>
                    <a:pt x="645" y="729"/>
                  </a:lnTo>
                  <a:lnTo>
                    <a:pt x="646" y="733"/>
                  </a:lnTo>
                  <a:lnTo>
                    <a:pt x="653" y="739"/>
                  </a:lnTo>
                  <a:lnTo>
                    <a:pt x="654" y="742"/>
                  </a:lnTo>
                  <a:lnTo>
                    <a:pt x="640" y="748"/>
                  </a:lnTo>
                  <a:lnTo>
                    <a:pt x="635" y="752"/>
                  </a:lnTo>
                  <a:lnTo>
                    <a:pt x="635" y="756"/>
                  </a:lnTo>
                  <a:lnTo>
                    <a:pt x="637" y="758"/>
                  </a:lnTo>
                  <a:lnTo>
                    <a:pt x="642" y="771"/>
                  </a:lnTo>
                  <a:lnTo>
                    <a:pt x="643" y="779"/>
                  </a:lnTo>
                  <a:lnTo>
                    <a:pt x="646" y="788"/>
                  </a:lnTo>
                  <a:lnTo>
                    <a:pt x="656" y="793"/>
                  </a:lnTo>
                  <a:lnTo>
                    <a:pt x="670" y="810"/>
                  </a:lnTo>
                  <a:lnTo>
                    <a:pt x="675" y="815"/>
                  </a:lnTo>
                  <a:lnTo>
                    <a:pt x="683" y="821"/>
                  </a:lnTo>
                  <a:lnTo>
                    <a:pt x="689" y="823"/>
                  </a:lnTo>
                  <a:lnTo>
                    <a:pt x="699" y="827"/>
                  </a:lnTo>
                  <a:lnTo>
                    <a:pt x="706" y="827"/>
                  </a:lnTo>
                  <a:lnTo>
                    <a:pt x="710" y="830"/>
                  </a:lnTo>
                  <a:lnTo>
                    <a:pt x="722" y="841"/>
                  </a:lnTo>
                  <a:lnTo>
                    <a:pt x="731" y="843"/>
                  </a:lnTo>
                  <a:lnTo>
                    <a:pt x="738" y="850"/>
                  </a:lnTo>
                  <a:lnTo>
                    <a:pt x="740" y="855"/>
                  </a:lnTo>
                  <a:lnTo>
                    <a:pt x="740" y="858"/>
                  </a:lnTo>
                  <a:lnTo>
                    <a:pt x="744" y="859"/>
                  </a:lnTo>
                  <a:lnTo>
                    <a:pt x="746" y="861"/>
                  </a:lnTo>
                  <a:lnTo>
                    <a:pt x="748" y="865"/>
                  </a:lnTo>
                  <a:lnTo>
                    <a:pt x="750" y="870"/>
                  </a:lnTo>
                  <a:lnTo>
                    <a:pt x="755" y="874"/>
                  </a:lnTo>
                  <a:lnTo>
                    <a:pt x="769" y="875"/>
                  </a:lnTo>
                  <a:lnTo>
                    <a:pt x="775" y="879"/>
                  </a:lnTo>
                  <a:lnTo>
                    <a:pt x="780" y="880"/>
                  </a:lnTo>
                  <a:lnTo>
                    <a:pt x="782" y="884"/>
                  </a:lnTo>
                  <a:lnTo>
                    <a:pt x="814" y="892"/>
                  </a:lnTo>
                  <a:lnTo>
                    <a:pt x="820" y="895"/>
                  </a:lnTo>
                  <a:lnTo>
                    <a:pt x="828" y="895"/>
                  </a:lnTo>
                  <a:lnTo>
                    <a:pt x="832" y="892"/>
                  </a:lnTo>
                  <a:lnTo>
                    <a:pt x="836" y="895"/>
                  </a:lnTo>
                  <a:lnTo>
                    <a:pt x="850" y="902"/>
                  </a:lnTo>
                  <a:lnTo>
                    <a:pt x="855" y="909"/>
                  </a:lnTo>
                  <a:lnTo>
                    <a:pt x="856" y="912"/>
                  </a:lnTo>
                  <a:lnTo>
                    <a:pt x="860" y="913"/>
                  </a:lnTo>
                  <a:lnTo>
                    <a:pt x="862" y="917"/>
                  </a:lnTo>
                  <a:lnTo>
                    <a:pt x="869" y="919"/>
                  </a:lnTo>
                  <a:lnTo>
                    <a:pt x="875" y="924"/>
                  </a:lnTo>
                  <a:lnTo>
                    <a:pt x="884" y="928"/>
                  </a:lnTo>
                  <a:lnTo>
                    <a:pt x="884" y="931"/>
                  </a:lnTo>
                  <a:lnTo>
                    <a:pt x="890" y="936"/>
                  </a:lnTo>
                  <a:lnTo>
                    <a:pt x="894" y="935"/>
                  </a:lnTo>
                  <a:lnTo>
                    <a:pt x="900" y="939"/>
                  </a:lnTo>
                  <a:lnTo>
                    <a:pt x="905" y="941"/>
                  </a:lnTo>
                  <a:lnTo>
                    <a:pt x="916" y="945"/>
                  </a:lnTo>
                  <a:lnTo>
                    <a:pt x="926" y="946"/>
                  </a:lnTo>
                  <a:lnTo>
                    <a:pt x="943" y="951"/>
                  </a:lnTo>
                  <a:lnTo>
                    <a:pt x="953" y="959"/>
                  </a:lnTo>
                  <a:lnTo>
                    <a:pt x="960" y="961"/>
                  </a:lnTo>
                  <a:lnTo>
                    <a:pt x="985" y="968"/>
                  </a:lnTo>
                  <a:lnTo>
                    <a:pt x="1000" y="974"/>
                  </a:lnTo>
                  <a:lnTo>
                    <a:pt x="1009" y="973"/>
                  </a:lnTo>
                  <a:lnTo>
                    <a:pt x="1019" y="983"/>
                  </a:lnTo>
                  <a:lnTo>
                    <a:pt x="1043" y="998"/>
                  </a:lnTo>
                  <a:lnTo>
                    <a:pt x="1049" y="999"/>
                  </a:lnTo>
                  <a:lnTo>
                    <a:pt x="1052" y="999"/>
                  </a:lnTo>
                  <a:lnTo>
                    <a:pt x="1057" y="1003"/>
                  </a:lnTo>
                  <a:lnTo>
                    <a:pt x="1063" y="1005"/>
                  </a:lnTo>
                  <a:lnTo>
                    <a:pt x="1074" y="1009"/>
                  </a:lnTo>
                  <a:lnTo>
                    <a:pt x="1103" y="1011"/>
                  </a:lnTo>
                  <a:lnTo>
                    <a:pt x="1113" y="1017"/>
                  </a:lnTo>
                  <a:lnTo>
                    <a:pt x="1120" y="1020"/>
                  </a:lnTo>
                  <a:lnTo>
                    <a:pt x="1122" y="1020"/>
                  </a:lnTo>
                  <a:lnTo>
                    <a:pt x="1130" y="1024"/>
                  </a:lnTo>
                  <a:lnTo>
                    <a:pt x="1145" y="1025"/>
                  </a:lnTo>
                  <a:lnTo>
                    <a:pt x="1152" y="1024"/>
                  </a:lnTo>
                  <a:lnTo>
                    <a:pt x="1158" y="1021"/>
                  </a:lnTo>
                  <a:lnTo>
                    <a:pt x="1162" y="1017"/>
                  </a:lnTo>
                  <a:lnTo>
                    <a:pt x="1173" y="1013"/>
                  </a:lnTo>
                  <a:lnTo>
                    <a:pt x="1181" y="1010"/>
                  </a:lnTo>
                  <a:lnTo>
                    <a:pt x="1202" y="995"/>
                  </a:lnTo>
                  <a:lnTo>
                    <a:pt x="1207" y="994"/>
                  </a:lnTo>
                  <a:lnTo>
                    <a:pt x="1215" y="992"/>
                  </a:lnTo>
                  <a:lnTo>
                    <a:pt x="1232" y="992"/>
                  </a:lnTo>
                  <a:lnTo>
                    <a:pt x="1244" y="995"/>
                  </a:lnTo>
                  <a:lnTo>
                    <a:pt x="1266" y="1004"/>
                  </a:lnTo>
                  <a:lnTo>
                    <a:pt x="1291" y="1015"/>
                  </a:lnTo>
                  <a:lnTo>
                    <a:pt x="1309" y="1033"/>
                  </a:lnTo>
                  <a:lnTo>
                    <a:pt x="1316" y="1042"/>
                  </a:lnTo>
                  <a:lnTo>
                    <a:pt x="1336" y="1060"/>
                  </a:lnTo>
                  <a:lnTo>
                    <a:pt x="1345" y="1070"/>
                  </a:lnTo>
                  <a:lnTo>
                    <a:pt x="1362" y="1083"/>
                  </a:lnTo>
                  <a:lnTo>
                    <a:pt x="1364" y="1081"/>
                  </a:lnTo>
                  <a:lnTo>
                    <a:pt x="1366" y="1065"/>
                  </a:lnTo>
                  <a:lnTo>
                    <a:pt x="1368" y="1063"/>
                  </a:lnTo>
                  <a:lnTo>
                    <a:pt x="1369" y="1060"/>
                  </a:lnTo>
                  <a:lnTo>
                    <a:pt x="1367" y="1053"/>
                  </a:lnTo>
                  <a:lnTo>
                    <a:pt x="1368" y="1052"/>
                  </a:lnTo>
                  <a:lnTo>
                    <a:pt x="1371" y="1047"/>
                  </a:lnTo>
                  <a:lnTo>
                    <a:pt x="1377" y="1037"/>
                  </a:lnTo>
                  <a:lnTo>
                    <a:pt x="1378" y="1033"/>
                  </a:lnTo>
                  <a:lnTo>
                    <a:pt x="1401" y="997"/>
                  </a:lnTo>
                  <a:lnTo>
                    <a:pt x="1431" y="994"/>
                  </a:lnTo>
                  <a:lnTo>
                    <a:pt x="1454" y="994"/>
                  </a:lnTo>
                  <a:lnTo>
                    <a:pt x="1455" y="995"/>
                  </a:lnTo>
                  <a:lnTo>
                    <a:pt x="1455" y="994"/>
                  </a:lnTo>
                  <a:lnTo>
                    <a:pt x="1457" y="979"/>
                  </a:lnTo>
                  <a:lnTo>
                    <a:pt x="1454" y="974"/>
                  </a:lnTo>
                  <a:lnTo>
                    <a:pt x="1444" y="966"/>
                  </a:lnTo>
                  <a:lnTo>
                    <a:pt x="1441" y="957"/>
                  </a:lnTo>
                  <a:lnTo>
                    <a:pt x="1425" y="947"/>
                  </a:lnTo>
                  <a:lnTo>
                    <a:pt x="1399" y="922"/>
                  </a:lnTo>
                  <a:lnTo>
                    <a:pt x="1401" y="923"/>
                  </a:lnTo>
                  <a:lnTo>
                    <a:pt x="1433" y="923"/>
                  </a:lnTo>
                  <a:lnTo>
                    <a:pt x="1433" y="896"/>
                  </a:lnTo>
                  <a:lnTo>
                    <a:pt x="1528" y="895"/>
                  </a:lnTo>
                  <a:lnTo>
                    <a:pt x="1541" y="892"/>
                  </a:lnTo>
                  <a:lnTo>
                    <a:pt x="1546" y="892"/>
                  </a:lnTo>
                  <a:lnTo>
                    <a:pt x="1561" y="864"/>
                  </a:lnTo>
                  <a:lnTo>
                    <a:pt x="1565" y="861"/>
                  </a:lnTo>
                  <a:lnTo>
                    <a:pt x="1571" y="863"/>
                  </a:lnTo>
                  <a:lnTo>
                    <a:pt x="1572" y="855"/>
                  </a:lnTo>
                  <a:lnTo>
                    <a:pt x="1583" y="839"/>
                  </a:lnTo>
                  <a:lnTo>
                    <a:pt x="1590" y="842"/>
                  </a:lnTo>
                  <a:lnTo>
                    <a:pt x="1588" y="858"/>
                  </a:lnTo>
                  <a:lnTo>
                    <a:pt x="1593" y="859"/>
                  </a:lnTo>
                  <a:lnTo>
                    <a:pt x="1595" y="861"/>
                  </a:lnTo>
                  <a:lnTo>
                    <a:pt x="1594" y="876"/>
                  </a:lnTo>
                  <a:lnTo>
                    <a:pt x="1597" y="886"/>
                  </a:lnTo>
                  <a:lnTo>
                    <a:pt x="1600" y="881"/>
                  </a:lnTo>
                  <a:lnTo>
                    <a:pt x="1606" y="860"/>
                  </a:lnTo>
                  <a:lnTo>
                    <a:pt x="1608" y="849"/>
                  </a:lnTo>
                  <a:lnTo>
                    <a:pt x="1616" y="825"/>
                  </a:lnTo>
                  <a:lnTo>
                    <a:pt x="1619" y="815"/>
                  </a:lnTo>
                  <a:lnTo>
                    <a:pt x="1616" y="810"/>
                  </a:lnTo>
                  <a:lnTo>
                    <a:pt x="1611" y="806"/>
                  </a:lnTo>
                  <a:lnTo>
                    <a:pt x="1620" y="801"/>
                  </a:lnTo>
                  <a:lnTo>
                    <a:pt x="1619" y="794"/>
                  </a:lnTo>
                  <a:lnTo>
                    <a:pt x="1611" y="790"/>
                  </a:lnTo>
                  <a:lnTo>
                    <a:pt x="1617" y="782"/>
                  </a:lnTo>
                  <a:lnTo>
                    <a:pt x="1622" y="772"/>
                  </a:lnTo>
                  <a:lnTo>
                    <a:pt x="1622" y="763"/>
                  </a:lnTo>
                  <a:lnTo>
                    <a:pt x="1632" y="744"/>
                  </a:lnTo>
                  <a:lnTo>
                    <a:pt x="1641" y="736"/>
                  </a:lnTo>
                  <a:lnTo>
                    <a:pt x="1653" y="723"/>
                  </a:lnTo>
                  <a:lnTo>
                    <a:pt x="1656" y="714"/>
                  </a:lnTo>
                  <a:lnTo>
                    <a:pt x="1657" y="703"/>
                  </a:lnTo>
                  <a:lnTo>
                    <a:pt x="1654" y="692"/>
                  </a:lnTo>
                  <a:lnTo>
                    <a:pt x="1648" y="683"/>
                  </a:lnTo>
                  <a:lnTo>
                    <a:pt x="1617" y="680"/>
                  </a:lnTo>
                  <a:lnTo>
                    <a:pt x="1605" y="691"/>
                  </a:lnTo>
                  <a:lnTo>
                    <a:pt x="1605" y="678"/>
                  </a:lnTo>
                  <a:lnTo>
                    <a:pt x="1588" y="675"/>
                  </a:lnTo>
                  <a:lnTo>
                    <a:pt x="1576" y="676"/>
                  </a:lnTo>
                  <a:lnTo>
                    <a:pt x="1555" y="682"/>
                  </a:lnTo>
                  <a:lnTo>
                    <a:pt x="1544" y="690"/>
                  </a:lnTo>
                  <a:lnTo>
                    <a:pt x="1519" y="691"/>
                  </a:lnTo>
                  <a:lnTo>
                    <a:pt x="1504" y="691"/>
                  </a:lnTo>
                  <a:lnTo>
                    <a:pt x="1495" y="692"/>
                  </a:lnTo>
                  <a:lnTo>
                    <a:pt x="1484" y="697"/>
                  </a:lnTo>
                  <a:lnTo>
                    <a:pt x="1474" y="699"/>
                  </a:lnTo>
                  <a:lnTo>
                    <a:pt x="1464" y="708"/>
                  </a:lnTo>
                  <a:lnTo>
                    <a:pt x="1459" y="720"/>
                  </a:lnTo>
                  <a:lnTo>
                    <a:pt x="1457" y="750"/>
                  </a:lnTo>
                  <a:lnTo>
                    <a:pt x="1453" y="767"/>
                  </a:lnTo>
                  <a:lnTo>
                    <a:pt x="1449" y="779"/>
                  </a:lnTo>
                  <a:lnTo>
                    <a:pt x="1443" y="788"/>
                  </a:lnTo>
                  <a:lnTo>
                    <a:pt x="1441" y="801"/>
                  </a:lnTo>
                  <a:lnTo>
                    <a:pt x="1436" y="812"/>
                  </a:lnTo>
                  <a:lnTo>
                    <a:pt x="1426" y="823"/>
                  </a:lnTo>
                  <a:lnTo>
                    <a:pt x="1411" y="830"/>
                  </a:lnTo>
                  <a:lnTo>
                    <a:pt x="1414" y="849"/>
                  </a:lnTo>
                  <a:lnTo>
                    <a:pt x="1395" y="859"/>
                  </a:lnTo>
                  <a:lnTo>
                    <a:pt x="1387" y="860"/>
                  </a:lnTo>
                  <a:lnTo>
                    <a:pt x="1380" y="859"/>
                  </a:lnTo>
                  <a:lnTo>
                    <a:pt x="1377" y="854"/>
                  </a:lnTo>
                  <a:lnTo>
                    <a:pt x="1377" y="848"/>
                  </a:lnTo>
                  <a:lnTo>
                    <a:pt x="1368" y="846"/>
                  </a:lnTo>
                  <a:lnTo>
                    <a:pt x="1351" y="846"/>
                  </a:lnTo>
                  <a:lnTo>
                    <a:pt x="1345" y="848"/>
                  </a:lnTo>
                  <a:lnTo>
                    <a:pt x="1335" y="850"/>
                  </a:lnTo>
                  <a:lnTo>
                    <a:pt x="1321" y="858"/>
                  </a:lnTo>
                  <a:lnTo>
                    <a:pt x="1312" y="860"/>
                  </a:lnTo>
                  <a:lnTo>
                    <a:pt x="1303" y="859"/>
                  </a:lnTo>
                  <a:lnTo>
                    <a:pt x="1275" y="864"/>
                  </a:lnTo>
                  <a:lnTo>
                    <a:pt x="1251" y="876"/>
                  </a:lnTo>
                  <a:lnTo>
                    <a:pt x="1238" y="876"/>
                  </a:lnTo>
                  <a:lnTo>
                    <a:pt x="1226" y="868"/>
                  </a:lnTo>
                  <a:lnTo>
                    <a:pt x="1215" y="853"/>
                  </a:lnTo>
                  <a:lnTo>
                    <a:pt x="1210" y="849"/>
                  </a:lnTo>
                  <a:lnTo>
                    <a:pt x="1210" y="852"/>
                  </a:lnTo>
                  <a:lnTo>
                    <a:pt x="1195" y="850"/>
                  </a:lnTo>
                  <a:lnTo>
                    <a:pt x="1183" y="846"/>
                  </a:lnTo>
                  <a:lnTo>
                    <a:pt x="1175" y="843"/>
                  </a:lnTo>
                  <a:lnTo>
                    <a:pt x="1169" y="839"/>
                  </a:lnTo>
                  <a:lnTo>
                    <a:pt x="1164" y="832"/>
                  </a:lnTo>
                  <a:lnTo>
                    <a:pt x="1160" y="830"/>
                  </a:lnTo>
                  <a:lnTo>
                    <a:pt x="1154" y="822"/>
                  </a:lnTo>
                  <a:lnTo>
                    <a:pt x="1152" y="820"/>
                  </a:lnTo>
                  <a:lnTo>
                    <a:pt x="1149" y="820"/>
                  </a:lnTo>
                  <a:lnTo>
                    <a:pt x="1148" y="818"/>
                  </a:lnTo>
                  <a:lnTo>
                    <a:pt x="1146" y="809"/>
                  </a:lnTo>
                  <a:lnTo>
                    <a:pt x="1130" y="773"/>
                  </a:lnTo>
                  <a:lnTo>
                    <a:pt x="1126" y="766"/>
                  </a:lnTo>
                  <a:lnTo>
                    <a:pt x="1120" y="761"/>
                  </a:lnTo>
                  <a:lnTo>
                    <a:pt x="1108" y="747"/>
                  </a:lnTo>
                  <a:lnTo>
                    <a:pt x="1103" y="741"/>
                  </a:lnTo>
                  <a:lnTo>
                    <a:pt x="1088" y="717"/>
                  </a:lnTo>
                  <a:lnTo>
                    <a:pt x="1084" y="705"/>
                  </a:lnTo>
                  <a:lnTo>
                    <a:pt x="1086" y="703"/>
                  </a:lnTo>
                  <a:lnTo>
                    <a:pt x="1090" y="696"/>
                  </a:lnTo>
                  <a:lnTo>
                    <a:pt x="1090" y="690"/>
                  </a:lnTo>
                  <a:lnTo>
                    <a:pt x="1089" y="686"/>
                  </a:lnTo>
                  <a:lnTo>
                    <a:pt x="1071" y="664"/>
                  </a:lnTo>
                  <a:lnTo>
                    <a:pt x="1063" y="645"/>
                  </a:lnTo>
                  <a:lnTo>
                    <a:pt x="1063" y="634"/>
                  </a:lnTo>
                  <a:lnTo>
                    <a:pt x="1068" y="611"/>
                  </a:lnTo>
                  <a:lnTo>
                    <a:pt x="1067" y="574"/>
                  </a:lnTo>
                  <a:lnTo>
                    <a:pt x="1067" y="562"/>
                  </a:lnTo>
                  <a:lnTo>
                    <a:pt x="1065" y="552"/>
                  </a:lnTo>
                  <a:lnTo>
                    <a:pt x="1061" y="547"/>
                  </a:lnTo>
                  <a:lnTo>
                    <a:pt x="1060" y="529"/>
                  </a:lnTo>
                  <a:lnTo>
                    <a:pt x="1060" y="505"/>
                  </a:lnTo>
                  <a:lnTo>
                    <a:pt x="1057" y="502"/>
                  </a:lnTo>
                  <a:lnTo>
                    <a:pt x="1057" y="498"/>
                  </a:lnTo>
                  <a:lnTo>
                    <a:pt x="1062" y="484"/>
                  </a:lnTo>
                  <a:lnTo>
                    <a:pt x="1068" y="479"/>
                  </a:lnTo>
                  <a:lnTo>
                    <a:pt x="1071" y="467"/>
                  </a:lnTo>
                  <a:lnTo>
                    <a:pt x="1071" y="459"/>
                  </a:lnTo>
                  <a:lnTo>
                    <a:pt x="1073" y="455"/>
                  </a:lnTo>
                  <a:lnTo>
                    <a:pt x="1086" y="459"/>
                  </a:lnTo>
                  <a:lnTo>
                    <a:pt x="1089" y="457"/>
                  </a:lnTo>
                  <a:lnTo>
                    <a:pt x="1095" y="450"/>
                  </a:lnTo>
                  <a:lnTo>
                    <a:pt x="1098" y="444"/>
                  </a:lnTo>
                  <a:lnTo>
                    <a:pt x="1099" y="434"/>
                  </a:lnTo>
                  <a:lnTo>
                    <a:pt x="1098" y="433"/>
                  </a:lnTo>
                  <a:lnTo>
                    <a:pt x="1095" y="439"/>
                  </a:lnTo>
                  <a:lnTo>
                    <a:pt x="1093" y="443"/>
                  </a:lnTo>
                  <a:lnTo>
                    <a:pt x="1090" y="444"/>
                  </a:lnTo>
                  <a:lnTo>
                    <a:pt x="1089" y="444"/>
                  </a:lnTo>
                  <a:lnTo>
                    <a:pt x="1090" y="438"/>
                  </a:lnTo>
                  <a:lnTo>
                    <a:pt x="1095" y="425"/>
                  </a:lnTo>
                  <a:lnTo>
                    <a:pt x="1078" y="424"/>
                  </a:lnTo>
                  <a:lnTo>
                    <a:pt x="1060" y="416"/>
                  </a:lnTo>
                  <a:lnTo>
                    <a:pt x="1033" y="413"/>
                  </a:lnTo>
                  <a:lnTo>
                    <a:pt x="1018" y="405"/>
                  </a:lnTo>
                  <a:lnTo>
                    <a:pt x="1004" y="403"/>
                  </a:lnTo>
                  <a:lnTo>
                    <a:pt x="987" y="392"/>
                  </a:lnTo>
                  <a:lnTo>
                    <a:pt x="970" y="366"/>
                  </a:lnTo>
                  <a:lnTo>
                    <a:pt x="955" y="319"/>
                  </a:lnTo>
                  <a:lnTo>
                    <a:pt x="938" y="308"/>
                  </a:lnTo>
                  <a:lnTo>
                    <a:pt x="930" y="288"/>
                  </a:lnTo>
                  <a:lnTo>
                    <a:pt x="914" y="271"/>
                  </a:lnTo>
                  <a:lnTo>
                    <a:pt x="894" y="225"/>
                  </a:lnTo>
                  <a:lnTo>
                    <a:pt x="883" y="217"/>
                  </a:lnTo>
                  <a:lnTo>
                    <a:pt x="877" y="207"/>
                  </a:lnTo>
                  <a:lnTo>
                    <a:pt x="860" y="191"/>
                  </a:lnTo>
                  <a:lnTo>
                    <a:pt x="852" y="181"/>
                  </a:lnTo>
                  <a:lnTo>
                    <a:pt x="807" y="183"/>
                  </a:lnTo>
                  <a:lnTo>
                    <a:pt x="796" y="180"/>
                  </a:lnTo>
                  <a:lnTo>
                    <a:pt x="785" y="185"/>
                  </a:lnTo>
                  <a:lnTo>
                    <a:pt x="782" y="188"/>
                  </a:lnTo>
                  <a:lnTo>
                    <a:pt x="759" y="235"/>
                  </a:lnTo>
                  <a:lnTo>
                    <a:pt x="735" y="230"/>
                  </a:lnTo>
                  <a:lnTo>
                    <a:pt x="711" y="214"/>
                  </a:lnTo>
                  <a:lnTo>
                    <a:pt x="692" y="198"/>
                  </a:lnTo>
                  <a:lnTo>
                    <a:pt x="678" y="180"/>
                  </a:lnTo>
                  <a:lnTo>
                    <a:pt x="664" y="129"/>
                  </a:lnTo>
                  <a:lnTo>
                    <a:pt x="635" y="110"/>
                  </a:lnTo>
                  <a:lnTo>
                    <a:pt x="615" y="93"/>
                  </a:lnTo>
                  <a:lnTo>
                    <a:pt x="606" y="80"/>
                  </a:lnTo>
                  <a:lnTo>
                    <a:pt x="594" y="74"/>
                  </a:lnTo>
                  <a:lnTo>
                    <a:pt x="587" y="62"/>
                  </a:lnTo>
                  <a:lnTo>
                    <a:pt x="582" y="59"/>
                  </a:lnTo>
                  <a:lnTo>
                    <a:pt x="572" y="53"/>
                  </a:lnTo>
                  <a:lnTo>
                    <a:pt x="482" y="54"/>
                  </a:lnTo>
                  <a:lnTo>
                    <a:pt x="481" y="84"/>
                  </a:lnTo>
                  <a:lnTo>
                    <a:pt x="437" y="84"/>
                  </a:lnTo>
                  <a:lnTo>
                    <a:pt x="334" y="84"/>
                  </a:lnTo>
                  <a:lnTo>
                    <a:pt x="125" y="7"/>
                  </a:lnTo>
                  <a:lnTo>
                    <a:pt x="124" y="0"/>
                  </a:lnTo>
                  <a:lnTo>
                    <a:pt x="0" y="10"/>
                  </a:lnTo>
                  <a:lnTo>
                    <a:pt x="7" y="18"/>
                  </a:lnTo>
                  <a:lnTo>
                    <a:pt x="8" y="25"/>
                  </a:lnTo>
                  <a:lnTo>
                    <a:pt x="12" y="31"/>
                  </a:lnTo>
                  <a:lnTo>
                    <a:pt x="16" y="41"/>
                  </a:lnTo>
                  <a:lnTo>
                    <a:pt x="22" y="47"/>
                  </a:lnTo>
                  <a:lnTo>
                    <a:pt x="22" y="52"/>
                  </a:lnTo>
                  <a:lnTo>
                    <a:pt x="25" y="52"/>
                  </a:lnTo>
                  <a:lnTo>
                    <a:pt x="29" y="57"/>
                  </a:lnTo>
                  <a:lnTo>
                    <a:pt x="30" y="73"/>
                  </a:lnTo>
                  <a:lnTo>
                    <a:pt x="48" y="99"/>
                  </a:lnTo>
                  <a:lnTo>
                    <a:pt x="50" y="106"/>
                  </a:lnTo>
                  <a:lnTo>
                    <a:pt x="50" y="111"/>
                  </a:lnTo>
                  <a:lnTo>
                    <a:pt x="52" y="112"/>
                  </a:lnTo>
                  <a:lnTo>
                    <a:pt x="54" y="117"/>
                  </a:lnTo>
                  <a:lnTo>
                    <a:pt x="57" y="120"/>
                  </a:lnTo>
                  <a:lnTo>
                    <a:pt x="65" y="137"/>
                  </a:lnTo>
                  <a:lnTo>
                    <a:pt x="65" y="147"/>
                  </a:lnTo>
                  <a:lnTo>
                    <a:pt x="66" y="149"/>
                  </a:lnTo>
                  <a:lnTo>
                    <a:pt x="70" y="145"/>
                  </a:lnTo>
                  <a:lnTo>
                    <a:pt x="72" y="147"/>
                  </a:lnTo>
                  <a:lnTo>
                    <a:pt x="75" y="155"/>
                  </a:lnTo>
                  <a:lnTo>
                    <a:pt x="78" y="176"/>
                  </a:lnTo>
                  <a:lnTo>
                    <a:pt x="82" y="187"/>
                  </a:lnTo>
                  <a:lnTo>
                    <a:pt x="84" y="191"/>
                  </a:lnTo>
                  <a:lnTo>
                    <a:pt x="94" y="195"/>
                  </a:lnTo>
                  <a:lnTo>
                    <a:pt x="98" y="197"/>
                  </a:lnTo>
                  <a:lnTo>
                    <a:pt x="104" y="198"/>
                  </a:lnTo>
                  <a:lnTo>
                    <a:pt x="111" y="208"/>
                  </a:lnTo>
                  <a:lnTo>
                    <a:pt x="121" y="209"/>
                  </a:lnTo>
                  <a:lnTo>
                    <a:pt x="126" y="217"/>
                  </a:lnTo>
                  <a:lnTo>
                    <a:pt x="132" y="228"/>
                  </a:lnTo>
                  <a:lnTo>
                    <a:pt x="136" y="230"/>
                  </a:lnTo>
                  <a:lnTo>
                    <a:pt x="147" y="241"/>
                  </a:lnTo>
                  <a:lnTo>
                    <a:pt x="151" y="244"/>
                  </a:lnTo>
                  <a:lnTo>
                    <a:pt x="170" y="268"/>
                  </a:lnTo>
                  <a:lnTo>
                    <a:pt x="172" y="276"/>
                  </a:lnTo>
                  <a:lnTo>
                    <a:pt x="172" y="284"/>
                  </a:lnTo>
                  <a:lnTo>
                    <a:pt x="173" y="287"/>
                  </a:lnTo>
                  <a:lnTo>
                    <a:pt x="172" y="290"/>
                  </a:lnTo>
                  <a:lnTo>
                    <a:pt x="173" y="295"/>
                  </a:lnTo>
                  <a:lnTo>
                    <a:pt x="168" y="296"/>
                  </a:lnTo>
                  <a:lnTo>
                    <a:pt x="164" y="300"/>
                  </a:lnTo>
                  <a:lnTo>
                    <a:pt x="164" y="305"/>
                  </a:lnTo>
                  <a:lnTo>
                    <a:pt x="167" y="306"/>
                  </a:lnTo>
                  <a:lnTo>
                    <a:pt x="165" y="311"/>
                  </a:lnTo>
                  <a:lnTo>
                    <a:pt x="159" y="306"/>
                  </a:lnTo>
                  <a:lnTo>
                    <a:pt x="142" y="311"/>
                  </a:lnTo>
                  <a:lnTo>
                    <a:pt x="120" y="309"/>
                  </a:lnTo>
                  <a:lnTo>
                    <a:pt x="120" y="317"/>
                  </a:lnTo>
                  <a:lnTo>
                    <a:pt x="122" y="319"/>
                  </a:lnTo>
                  <a:lnTo>
                    <a:pt x="126" y="315"/>
                  </a:lnTo>
                  <a:lnTo>
                    <a:pt x="137" y="326"/>
                  </a:lnTo>
                  <a:lnTo>
                    <a:pt x="147" y="330"/>
                  </a:lnTo>
                  <a:lnTo>
                    <a:pt x="149" y="333"/>
                  </a:lnTo>
                  <a:lnTo>
                    <a:pt x="152" y="344"/>
                  </a:lnTo>
                  <a:lnTo>
                    <a:pt x="156" y="347"/>
                  </a:lnTo>
                  <a:lnTo>
                    <a:pt x="165" y="348"/>
                  </a:lnTo>
                  <a:lnTo>
                    <a:pt x="170" y="351"/>
                  </a:lnTo>
                  <a:lnTo>
                    <a:pt x="173" y="357"/>
                  </a:lnTo>
                  <a:lnTo>
                    <a:pt x="179" y="358"/>
                  </a:lnTo>
                  <a:lnTo>
                    <a:pt x="188" y="363"/>
                  </a:lnTo>
                  <a:lnTo>
                    <a:pt x="192" y="369"/>
                  </a:lnTo>
                  <a:lnTo>
                    <a:pt x="199" y="373"/>
                  </a:lnTo>
                  <a:lnTo>
                    <a:pt x="212" y="375"/>
                  </a:lnTo>
                  <a:lnTo>
                    <a:pt x="222" y="363"/>
                  </a:lnTo>
                  <a:lnTo>
                    <a:pt x="224" y="368"/>
                  </a:lnTo>
                  <a:lnTo>
                    <a:pt x="223" y="375"/>
                  </a:lnTo>
                  <a:lnTo>
                    <a:pt x="227" y="380"/>
                  </a:lnTo>
                  <a:lnTo>
                    <a:pt x="239" y="397"/>
                  </a:lnTo>
                  <a:lnTo>
                    <a:pt x="251" y="405"/>
                  </a:lnTo>
                  <a:lnTo>
                    <a:pt x="258" y="408"/>
                  </a:lnTo>
                  <a:lnTo>
                    <a:pt x="264" y="408"/>
                  </a:lnTo>
                  <a:lnTo>
                    <a:pt x="267" y="414"/>
                  </a:lnTo>
                  <a:lnTo>
                    <a:pt x="277" y="436"/>
                  </a:lnTo>
                  <a:lnTo>
                    <a:pt x="278" y="444"/>
                  </a:lnTo>
                  <a:lnTo>
                    <a:pt x="280" y="466"/>
                  </a:lnTo>
                  <a:lnTo>
                    <a:pt x="276" y="483"/>
                  </a:lnTo>
                  <a:lnTo>
                    <a:pt x="272" y="491"/>
                  </a:lnTo>
                  <a:lnTo>
                    <a:pt x="272" y="497"/>
                  </a:lnTo>
                  <a:lnTo>
                    <a:pt x="275" y="492"/>
                  </a:lnTo>
                  <a:lnTo>
                    <a:pt x="277" y="491"/>
                  </a:lnTo>
                  <a:lnTo>
                    <a:pt x="280" y="495"/>
                  </a:lnTo>
                  <a:lnTo>
                    <a:pt x="286" y="494"/>
                  </a:lnTo>
                  <a:lnTo>
                    <a:pt x="291" y="498"/>
                  </a:lnTo>
                  <a:lnTo>
                    <a:pt x="292" y="504"/>
                  </a:lnTo>
                  <a:lnTo>
                    <a:pt x="294" y="508"/>
                  </a:lnTo>
                  <a:lnTo>
                    <a:pt x="305" y="509"/>
                  </a:lnTo>
                  <a:lnTo>
                    <a:pt x="305" y="514"/>
                  </a:lnTo>
                  <a:lnTo>
                    <a:pt x="315" y="524"/>
                  </a:lnTo>
                  <a:lnTo>
                    <a:pt x="334" y="534"/>
                  </a:lnTo>
                  <a:lnTo>
                    <a:pt x="340" y="541"/>
                  </a:lnTo>
                  <a:lnTo>
                    <a:pt x="361" y="559"/>
                  </a:lnTo>
                  <a:lnTo>
                    <a:pt x="368" y="562"/>
                  </a:lnTo>
                  <a:lnTo>
                    <a:pt x="379" y="575"/>
                  </a:lnTo>
                  <a:lnTo>
                    <a:pt x="388" y="600"/>
                  </a:lnTo>
                  <a:lnTo>
                    <a:pt x="394" y="606"/>
                  </a:lnTo>
                  <a:lnTo>
                    <a:pt x="399" y="607"/>
                  </a:lnTo>
                  <a:lnTo>
                    <a:pt x="404" y="601"/>
                  </a:lnTo>
                  <a:lnTo>
                    <a:pt x="412" y="597"/>
                  </a:lnTo>
                  <a:lnTo>
                    <a:pt x="419" y="590"/>
                  </a:lnTo>
                  <a:lnTo>
                    <a:pt x="422" y="584"/>
                  </a:lnTo>
                  <a:lnTo>
                    <a:pt x="423" y="575"/>
                  </a:lnTo>
                  <a:lnTo>
                    <a:pt x="421" y="569"/>
                  </a:lnTo>
                  <a:lnTo>
                    <a:pt x="415" y="563"/>
                  </a:lnTo>
                  <a:lnTo>
                    <a:pt x="412" y="557"/>
                  </a:lnTo>
                  <a:lnTo>
                    <a:pt x="404" y="546"/>
                  </a:lnTo>
                  <a:lnTo>
                    <a:pt x="404" y="541"/>
                  </a:lnTo>
                  <a:lnTo>
                    <a:pt x="390" y="532"/>
                  </a:lnTo>
                  <a:lnTo>
                    <a:pt x="382" y="524"/>
                  </a:lnTo>
                  <a:lnTo>
                    <a:pt x="373" y="531"/>
                  </a:lnTo>
                  <a:lnTo>
                    <a:pt x="367" y="529"/>
                  </a:lnTo>
                  <a:lnTo>
                    <a:pt x="362" y="524"/>
                  </a:lnTo>
                  <a:lnTo>
                    <a:pt x="355" y="511"/>
                  </a:lnTo>
                  <a:lnTo>
                    <a:pt x="353" y="507"/>
                  </a:lnTo>
                  <a:lnTo>
                    <a:pt x="353" y="488"/>
                  </a:lnTo>
                  <a:lnTo>
                    <a:pt x="346" y="475"/>
                  </a:lnTo>
                  <a:lnTo>
                    <a:pt x="342" y="468"/>
                  </a:lnTo>
                  <a:lnTo>
                    <a:pt x="341" y="470"/>
                  </a:lnTo>
                  <a:lnTo>
                    <a:pt x="341" y="451"/>
                  </a:lnTo>
                  <a:lnTo>
                    <a:pt x="333" y="445"/>
                  </a:lnTo>
                  <a:lnTo>
                    <a:pt x="330" y="441"/>
                  </a:lnTo>
                  <a:lnTo>
                    <a:pt x="324" y="434"/>
                  </a:lnTo>
                  <a:lnTo>
                    <a:pt x="323" y="424"/>
                  </a:lnTo>
                  <a:lnTo>
                    <a:pt x="320" y="405"/>
                  </a:lnTo>
                  <a:lnTo>
                    <a:pt x="317" y="402"/>
                  </a:lnTo>
                  <a:lnTo>
                    <a:pt x="315" y="395"/>
                  </a:lnTo>
                  <a:lnTo>
                    <a:pt x="308" y="379"/>
                  </a:lnTo>
                  <a:lnTo>
                    <a:pt x="299" y="370"/>
                  </a:lnTo>
                  <a:lnTo>
                    <a:pt x="294" y="370"/>
                  </a:lnTo>
                  <a:lnTo>
                    <a:pt x="296" y="382"/>
                  </a:lnTo>
                  <a:lnTo>
                    <a:pt x="299" y="387"/>
                  </a:lnTo>
                  <a:lnTo>
                    <a:pt x="298" y="387"/>
                  </a:lnTo>
                  <a:lnTo>
                    <a:pt x="292" y="380"/>
                  </a:lnTo>
                  <a:lnTo>
                    <a:pt x="292" y="375"/>
                  </a:lnTo>
                  <a:lnTo>
                    <a:pt x="287" y="368"/>
                  </a:lnTo>
                  <a:lnTo>
                    <a:pt x="285" y="360"/>
                  </a:lnTo>
                  <a:lnTo>
                    <a:pt x="285" y="358"/>
                  </a:lnTo>
                  <a:lnTo>
                    <a:pt x="282" y="353"/>
                  </a:lnTo>
                  <a:lnTo>
                    <a:pt x="274" y="349"/>
                  </a:lnTo>
                  <a:lnTo>
                    <a:pt x="272" y="341"/>
                  </a:lnTo>
                  <a:lnTo>
                    <a:pt x="266" y="330"/>
                  </a:lnTo>
                  <a:lnTo>
                    <a:pt x="247" y="309"/>
                  </a:lnTo>
                  <a:lnTo>
                    <a:pt x="244" y="298"/>
                  </a:lnTo>
                  <a:lnTo>
                    <a:pt x="243" y="289"/>
                  </a:lnTo>
                  <a:lnTo>
                    <a:pt x="240" y="282"/>
                  </a:lnTo>
                  <a:lnTo>
                    <a:pt x="239" y="274"/>
                  </a:lnTo>
                  <a:lnTo>
                    <a:pt x="238" y="274"/>
                  </a:lnTo>
                  <a:lnTo>
                    <a:pt x="237" y="271"/>
                  </a:lnTo>
                  <a:lnTo>
                    <a:pt x="234" y="269"/>
                  </a:lnTo>
                  <a:lnTo>
                    <a:pt x="231" y="271"/>
                  </a:lnTo>
                  <a:lnTo>
                    <a:pt x="229" y="269"/>
                  </a:lnTo>
                  <a:lnTo>
                    <a:pt x="224" y="261"/>
                  </a:lnTo>
                  <a:lnTo>
                    <a:pt x="219" y="246"/>
                  </a:lnTo>
                  <a:lnTo>
                    <a:pt x="217" y="247"/>
                  </a:lnTo>
                  <a:lnTo>
                    <a:pt x="215" y="246"/>
                  </a:lnTo>
                  <a:lnTo>
                    <a:pt x="208" y="241"/>
                  </a:lnTo>
                  <a:lnTo>
                    <a:pt x="204" y="242"/>
                  </a:lnTo>
                  <a:lnTo>
                    <a:pt x="197" y="229"/>
                  </a:lnTo>
                  <a:lnTo>
                    <a:pt x="195" y="218"/>
                  </a:lnTo>
                  <a:lnTo>
                    <a:pt x="175" y="202"/>
                  </a:lnTo>
                  <a:lnTo>
                    <a:pt x="170" y="197"/>
                  </a:lnTo>
                  <a:lnTo>
                    <a:pt x="168" y="192"/>
                  </a:lnTo>
                  <a:lnTo>
                    <a:pt x="164" y="190"/>
                  </a:lnTo>
                  <a:lnTo>
                    <a:pt x="157" y="188"/>
                  </a:lnTo>
                  <a:lnTo>
                    <a:pt x="156" y="183"/>
                  </a:lnTo>
                  <a:lnTo>
                    <a:pt x="152" y="176"/>
                  </a:lnTo>
                  <a:lnTo>
                    <a:pt x="148" y="169"/>
                  </a:lnTo>
                  <a:lnTo>
                    <a:pt x="143" y="164"/>
                  </a:lnTo>
                  <a:lnTo>
                    <a:pt x="140" y="143"/>
                  </a:lnTo>
                  <a:lnTo>
                    <a:pt x="138" y="125"/>
                  </a:lnTo>
                  <a:lnTo>
                    <a:pt x="137" y="115"/>
                  </a:lnTo>
                  <a:lnTo>
                    <a:pt x="132" y="107"/>
                  </a:lnTo>
                  <a:lnTo>
                    <a:pt x="130" y="100"/>
                  </a:lnTo>
                  <a:lnTo>
                    <a:pt x="127" y="82"/>
                  </a:lnTo>
                  <a:lnTo>
                    <a:pt x="127" y="72"/>
                  </a:lnTo>
                  <a:lnTo>
                    <a:pt x="129" y="64"/>
                  </a:lnTo>
                  <a:lnTo>
                    <a:pt x="127" y="5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grpSp>
          <p:nvGrpSpPr>
            <p:cNvPr id="76" name="Group 270"/>
            <p:cNvGrpSpPr>
              <a:grpSpLocks noChangeAspect="1"/>
            </p:cNvGrpSpPr>
            <p:nvPr/>
          </p:nvGrpSpPr>
          <p:grpSpPr>
            <a:xfrm>
              <a:off x="2976146" y="2285477"/>
              <a:ext cx="1757105" cy="1480721"/>
              <a:chOff x="679" y="1356"/>
              <a:chExt cx="1105" cy="848"/>
            </a:xfrm>
            <a:grpFill/>
          </p:grpSpPr>
          <p:grpSp>
            <p:nvGrpSpPr>
              <p:cNvPr id="251" name="Group 271"/>
              <p:cNvGrpSpPr>
                <a:grpSpLocks noChangeAspect="1"/>
              </p:cNvGrpSpPr>
              <p:nvPr/>
            </p:nvGrpSpPr>
            <p:grpSpPr>
              <a:xfrm>
                <a:off x="679" y="1356"/>
                <a:ext cx="411" cy="413"/>
                <a:chOff x="679" y="1356"/>
                <a:chExt cx="411" cy="413"/>
              </a:xfrm>
              <a:grpFill/>
            </p:grpSpPr>
            <p:sp>
              <p:nvSpPr>
                <p:cNvPr id="258" name="Freeform 272"/>
                <p:cNvSpPr>
                  <a:spLocks noChangeAspect="1"/>
                </p:cNvSpPr>
                <p:nvPr/>
              </p:nvSpPr>
              <p:spPr bwMode="gray">
                <a:xfrm>
                  <a:off x="776" y="1738"/>
                  <a:ext cx="3" cy="7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5"/>
                    </a:cxn>
                    <a:cxn ang="0">
                      <a:pos x="1" y="3"/>
                    </a:cxn>
                    <a:cxn ang="0">
                      <a:pos x="7" y="3"/>
                    </a:cxn>
                    <a:cxn ang="0">
                      <a:pos x="12" y="6"/>
                    </a:cxn>
                    <a:cxn ang="0">
                      <a:pos x="9" y="10"/>
                    </a:cxn>
                    <a:cxn ang="0">
                      <a:pos x="11" y="13"/>
                    </a:cxn>
                    <a:cxn ang="0">
                      <a:pos x="5" y="33"/>
                    </a:cxn>
                    <a:cxn ang="0">
                      <a:pos x="4" y="29"/>
                    </a:cxn>
                    <a:cxn ang="0">
                      <a:pos x="4" y="9"/>
                    </a:cxn>
                    <a:cxn ang="0">
                      <a:pos x="3" y="6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12" h="33">
                      <a:moveTo>
                        <a:pt x="3" y="0"/>
                      </a:moveTo>
                      <a:lnTo>
                        <a:pt x="0" y="5"/>
                      </a:lnTo>
                      <a:lnTo>
                        <a:pt x="1" y="3"/>
                      </a:lnTo>
                      <a:lnTo>
                        <a:pt x="7" y="3"/>
                      </a:lnTo>
                      <a:lnTo>
                        <a:pt x="12" y="6"/>
                      </a:lnTo>
                      <a:lnTo>
                        <a:pt x="9" y="10"/>
                      </a:lnTo>
                      <a:lnTo>
                        <a:pt x="11" y="13"/>
                      </a:lnTo>
                      <a:lnTo>
                        <a:pt x="5" y="33"/>
                      </a:lnTo>
                      <a:lnTo>
                        <a:pt x="4" y="29"/>
                      </a:lnTo>
                      <a:lnTo>
                        <a:pt x="4" y="9"/>
                      </a:lnTo>
                      <a:lnTo>
                        <a:pt x="3" y="6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259" name="Freeform 273"/>
                <p:cNvSpPr>
                  <a:spLocks noChangeAspect="1"/>
                </p:cNvSpPr>
                <p:nvPr/>
              </p:nvSpPr>
              <p:spPr bwMode="gray">
                <a:xfrm>
                  <a:off x="833" y="1721"/>
                  <a:ext cx="6" cy="4"/>
                </a:xfrm>
                <a:custGeom>
                  <a:avLst/>
                  <a:gdLst/>
                  <a:ahLst/>
                  <a:cxnLst>
                    <a:cxn ang="0">
                      <a:pos x="13" y="9"/>
                    </a:cxn>
                    <a:cxn ang="0">
                      <a:pos x="5" y="18"/>
                    </a:cxn>
                    <a:cxn ang="0">
                      <a:pos x="0" y="9"/>
                    </a:cxn>
                    <a:cxn ang="0">
                      <a:pos x="5" y="2"/>
                    </a:cxn>
                    <a:cxn ang="0">
                      <a:pos x="10" y="0"/>
                    </a:cxn>
                    <a:cxn ang="0">
                      <a:pos x="13" y="1"/>
                    </a:cxn>
                    <a:cxn ang="0">
                      <a:pos x="26" y="1"/>
                    </a:cxn>
                    <a:cxn ang="0">
                      <a:pos x="27" y="3"/>
                    </a:cxn>
                    <a:cxn ang="0">
                      <a:pos x="13" y="9"/>
                    </a:cxn>
                  </a:cxnLst>
                  <a:rect l="0" t="0" r="r" b="b"/>
                  <a:pathLst>
                    <a:path w="27" h="18">
                      <a:moveTo>
                        <a:pt x="13" y="9"/>
                      </a:moveTo>
                      <a:lnTo>
                        <a:pt x="5" y="18"/>
                      </a:lnTo>
                      <a:lnTo>
                        <a:pt x="0" y="9"/>
                      </a:lnTo>
                      <a:lnTo>
                        <a:pt x="5" y="2"/>
                      </a:lnTo>
                      <a:lnTo>
                        <a:pt x="10" y="0"/>
                      </a:lnTo>
                      <a:lnTo>
                        <a:pt x="13" y="1"/>
                      </a:lnTo>
                      <a:lnTo>
                        <a:pt x="26" y="1"/>
                      </a:lnTo>
                      <a:lnTo>
                        <a:pt x="27" y="3"/>
                      </a:lnTo>
                      <a:lnTo>
                        <a:pt x="13" y="9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260" name="Freeform 274"/>
                <p:cNvSpPr>
                  <a:spLocks noChangeAspect="1"/>
                </p:cNvSpPr>
                <p:nvPr/>
              </p:nvSpPr>
              <p:spPr bwMode="gray">
                <a:xfrm>
                  <a:off x="817" y="1706"/>
                  <a:ext cx="29" cy="24"/>
                </a:xfrm>
                <a:custGeom>
                  <a:avLst/>
                  <a:gdLst/>
                  <a:ahLst/>
                  <a:cxnLst>
                    <a:cxn ang="0">
                      <a:pos x="0" y="60"/>
                    </a:cxn>
                    <a:cxn ang="0">
                      <a:pos x="9" y="56"/>
                    </a:cxn>
                    <a:cxn ang="0">
                      <a:pos x="21" y="33"/>
                    </a:cxn>
                    <a:cxn ang="0">
                      <a:pos x="28" y="30"/>
                    </a:cxn>
                    <a:cxn ang="0">
                      <a:pos x="45" y="29"/>
                    </a:cxn>
                    <a:cxn ang="0">
                      <a:pos x="44" y="39"/>
                    </a:cxn>
                    <a:cxn ang="0">
                      <a:pos x="48" y="51"/>
                    </a:cxn>
                    <a:cxn ang="0">
                      <a:pos x="58" y="43"/>
                    </a:cxn>
                    <a:cxn ang="0">
                      <a:pos x="58" y="34"/>
                    </a:cxn>
                    <a:cxn ang="0">
                      <a:pos x="50" y="16"/>
                    </a:cxn>
                    <a:cxn ang="0">
                      <a:pos x="53" y="6"/>
                    </a:cxn>
                    <a:cxn ang="0">
                      <a:pos x="66" y="14"/>
                    </a:cxn>
                    <a:cxn ang="0">
                      <a:pos x="70" y="25"/>
                    </a:cxn>
                    <a:cxn ang="0">
                      <a:pos x="80" y="12"/>
                    </a:cxn>
                    <a:cxn ang="0">
                      <a:pos x="93" y="9"/>
                    </a:cxn>
                    <a:cxn ang="0">
                      <a:pos x="90" y="0"/>
                    </a:cxn>
                    <a:cxn ang="0">
                      <a:pos x="100" y="1"/>
                    </a:cxn>
                    <a:cxn ang="0">
                      <a:pos x="104" y="14"/>
                    </a:cxn>
                    <a:cxn ang="0">
                      <a:pos x="117" y="4"/>
                    </a:cxn>
                    <a:cxn ang="0">
                      <a:pos x="128" y="7"/>
                    </a:cxn>
                    <a:cxn ang="0">
                      <a:pos x="125" y="23"/>
                    </a:cxn>
                    <a:cxn ang="0">
                      <a:pos x="127" y="29"/>
                    </a:cxn>
                    <a:cxn ang="0">
                      <a:pos x="145" y="34"/>
                    </a:cxn>
                    <a:cxn ang="0">
                      <a:pos x="129" y="49"/>
                    </a:cxn>
                    <a:cxn ang="0">
                      <a:pos x="104" y="40"/>
                    </a:cxn>
                    <a:cxn ang="0">
                      <a:pos x="118" y="52"/>
                    </a:cxn>
                    <a:cxn ang="0">
                      <a:pos x="122" y="65"/>
                    </a:cxn>
                    <a:cxn ang="0">
                      <a:pos x="112" y="56"/>
                    </a:cxn>
                    <a:cxn ang="0">
                      <a:pos x="103" y="61"/>
                    </a:cxn>
                    <a:cxn ang="0">
                      <a:pos x="96" y="63"/>
                    </a:cxn>
                    <a:cxn ang="0">
                      <a:pos x="95" y="68"/>
                    </a:cxn>
                    <a:cxn ang="0">
                      <a:pos x="74" y="86"/>
                    </a:cxn>
                    <a:cxn ang="0">
                      <a:pos x="65" y="90"/>
                    </a:cxn>
                    <a:cxn ang="0">
                      <a:pos x="66" y="102"/>
                    </a:cxn>
                    <a:cxn ang="0">
                      <a:pos x="43" y="117"/>
                    </a:cxn>
                    <a:cxn ang="0">
                      <a:pos x="53" y="100"/>
                    </a:cxn>
                    <a:cxn ang="0">
                      <a:pos x="44" y="93"/>
                    </a:cxn>
                    <a:cxn ang="0">
                      <a:pos x="44" y="83"/>
                    </a:cxn>
                    <a:cxn ang="0">
                      <a:pos x="31" y="77"/>
                    </a:cxn>
                    <a:cxn ang="0">
                      <a:pos x="29" y="82"/>
                    </a:cxn>
                    <a:cxn ang="0">
                      <a:pos x="37" y="102"/>
                    </a:cxn>
                    <a:cxn ang="0">
                      <a:pos x="20" y="98"/>
                    </a:cxn>
                    <a:cxn ang="0">
                      <a:pos x="16" y="78"/>
                    </a:cxn>
                    <a:cxn ang="0">
                      <a:pos x="7" y="66"/>
                    </a:cxn>
                  </a:cxnLst>
                  <a:rect l="0" t="0" r="r" b="b"/>
                  <a:pathLst>
                    <a:path w="145" h="117">
                      <a:moveTo>
                        <a:pt x="4" y="59"/>
                      </a:moveTo>
                      <a:lnTo>
                        <a:pt x="0" y="60"/>
                      </a:lnTo>
                      <a:lnTo>
                        <a:pt x="0" y="56"/>
                      </a:lnTo>
                      <a:lnTo>
                        <a:pt x="9" y="56"/>
                      </a:lnTo>
                      <a:lnTo>
                        <a:pt x="9" y="47"/>
                      </a:lnTo>
                      <a:lnTo>
                        <a:pt x="21" y="33"/>
                      </a:lnTo>
                      <a:lnTo>
                        <a:pt x="25" y="34"/>
                      </a:lnTo>
                      <a:lnTo>
                        <a:pt x="28" y="30"/>
                      </a:lnTo>
                      <a:lnTo>
                        <a:pt x="39" y="29"/>
                      </a:lnTo>
                      <a:lnTo>
                        <a:pt x="45" y="29"/>
                      </a:lnTo>
                      <a:lnTo>
                        <a:pt x="39" y="38"/>
                      </a:lnTo>
                      <a:lnTo>
                        <a:pt x="44" y="39"/>
                      </a:lnTo>
                      <a:lnTo>
                        <a:pt x="47" y="44"/>
                      </a:lnTo>
                      <a:lnTo>
                        <a:pt x="48" y="51"/>
                      </a:lnTo>
                      <a:lnTo>
                        <a:pt x="57" y="54"/>
                      </a:lnTo>
                      <a:lnTo>
                        <a:pt x="58" y="43"/>
                      </a:lnTo>
                      <a:lnTo>
                        <a:pt x="60" y="39"/>
                      </a:lnTo>
                      <a:lnTo>
                        <a:pt x="58" y="34"/>
                      </a:lnTo>
                      <a:lnTo>
                        <a:pt x="63" y="32"/>
                      </a:lnTo>
                      <a:lnTo>
                        <a:pt x="50" y="16"/>
                      </a:lnTo>
                      <a:lnTo>
                        <a:pt x="49" y="9"/>
                      </a:lnTo>
                      <a:lnTo>
                        <a:pt x="53" y="6"/>
                      </a:lnTo>
                      <a:lnTo>
                        <a:pt x="61" y="4"/>
                      </a:lnTo>
                      <a:lnTo>
                        <a:pt x="66" y="14"/>
                      </a:lnTo>
                      <a:lnTo>
                        <a:pt x="68" y="24"/>
                      </a:lnTo>
                      <a:lnTo>
                        <a:pt x="70" y="25"/>
                      </a:lnTo>
                      <a:lnTo>
                        <a:pt x="75" y="16"/>
                      </a:lnTo>
                      <a:lnTo>
                        <a:pt x="80" y="12"/>
                      </a:lnTo>
                      <a:lnTo>
                        <a:pt x="90" y="14"/>
                      </a:lnTo>
                      <a:lnTo>
                        <a:pt x="93" y="9"/>
                      </a:lnTo>
                      <a:lnTo>
                        <a:pt x="95" y="6"/>
                      </a:lnTo>
                      <a:lnTo>
                        <a:pt x="90" y="0"/>
                      </a:lnTo>
                      <a:lnTo>
                        <a:pt x="96" y="2"/>
                      </a:lnTo>
                      <a:lnTo>
                        <a:pt x="100" y="1"/>
                      </a:lnTo>
                      <a:lnTo>
                        <a:pt x="104" y="2"/>
                      </a:lnTo>
                      <a:lnTo>
                        <a:pt x="104" y="14"/>
                      </a:lnTo>
                      <a:lnTo>
                        <a:pt x="108" y="18"/>
                      </a:lnTo>
                      <a:lnTo>
                        <a:pt x="117" y="4"/>
                      </a:lnTo>
                      <a:lnTo>
                        <a:pt x="125" y="2"/>
                      </a:lnTo>
                      <a:lnTo>
                        <a:pt x="128" y="7"/>
                      </a:lnTo>
                      <a:lnTo>
                        <a:pt x="127" y="20"/>
                      </a:lnTo>
                      <a:lnTo>
                        <a:pt x="125" y="23"/>
                      </a:lnTo>
                      <a:lnTo>
                        <a:pt x="125" y="29"/>
                      </a:lnTo>
                      <a:lnTo>
                        <a:pt x="127" y="29"/>
                      </a:lnTo>
                      <a:lnTo>
                        <a:pt x="128" y="34"/>
                      </a:lnTo>
                      <a:lnTo>
                        <a:pt x="145" y="34"/>
                      </a:lnTo>
                      <a:lnTo>
                        <a:pt x="138" y="49"/>
                      </a:lnTo>
                      <a:lnTo>
                        <a:pt x="129" y="49"/>
                      </a:lnTo>
                      <a:lnTo>
                        <a:pt x="111" y="39"/>
                      </a:lnTo>
                      <a:lnTo>
                        <a:pt x="104" y="40"/>
                      </a:lnTo>
                      <a:lnTo>
                        <a:pt x="102" y="49"/>
                      </a:lnTo>
                      <a:lnTo>
                        <a:pt x="118" y="52"/>
                      </a:lnTo>
                      <a:lnTo>
                        <a:pt x="122" y="56"/>
                      </a:lnTo>
                      <a:lnTo>
                        <a:pt x="122" y="65"/>
                      </a:lnTo>
                      <a:lnTo>
                        <a:pt x="112" y="63"/>
                      </a:lnTo>
                      <a:lnTo>
                        <a:pt x="112" y="56"/>
                      </a:lnTo>
                      <a:lnTo>
                        <a:pt x="108" y="56"/>
                      </a:lnTo>
                      <a:lnTo>
                        <a:pt x="103" y="61"/>
                      </a:lnTo>
                      <a:lnTo>
                        <a:pt x="93" y="63"/>
                      </a:lnTo>
                      <a:lnTo>
                        <a:pt x="96" y="63"/>
                      </a:lnTo>
                      <a:lnTo>
                        <a:pt x="100" y="68"/>
                      </a:lnTo>
                      <a:lnTo>
                        <a:pt x="95" y="68"/>
                      </a:lnTo>
                      <a:lnTo>
                        <a:pt x="84" y="72"/>
                      </a:lnTo>
                      <a:lnTo>
                        <a:pt x="74" y="86"/>
                      </a:lnTo>
                      <a:lnTo>
                        <a:pt x="66" y="87"/>
                      </a:lnTo>
                      <a:lnTo>
                        <a:pt x="65" y="90"/>
                      </a:lnTo>
                      <a:lnTo>
                        <a:pt x="66" y="94"/>
                      </a:lnTo>
                      <a:lnTo>
                        <a:pt x="66" y="102"/>
                      </a:lnTo>
                      <a:lnTo>
                        <a:pt x="63" y="109"/>
                      </a:lnTo>
                      <a:lnTo>
                        <a:pt x="43" y="117"/>
                      </a:lnTo>
                      <a:lnTo>
                        <a:pt x="47" y="108"/>
                      </a:lnTo>
                      <a:lnTo>
                        <a:pt x="53" y="100"/>
                      </a:lnTo>
                      <a:lnTo>
                        <a:pt x="53" y="95"/>
                      </a:lnTo>
                      <a:lnTo>
                        <a:pt x="44" y="93"/>
                      </a:lnTo>
                      <a:lnTo>
                        <a:pt x="43" y="87"/>
                      </a:lnTo>
                      <a:lnTo>
                        <a:pt x="44" y="83"/>
                      </a:lnTo>
                      <a:lnTo>
                        <a:pt x="39" y="79"/>
                      </a:lnTo>
                      <a:lnTo>
                        <a:pt x="31" y="77"/>
                      </a:lnTo>
                      <a:lnTo>
                        <a:pt x="27" y="79"/>
                      </a:lnTo>
                      <a:lnTo>
                        <a:pt x="29" y="82"/>
                      </a:lnTo>
                      <a:lnTo>
                        <a:pt x="36" y="83"/>
                      </a:lnTo>
                      <a:lnTo>
                        <a:pt x="37" y="102"/>
                      </a:lnTo>
                      <a:lnTo>
                        <a:pt x="29" y="106"/>
                      </a:lnTo>
                      <a:lnTo>
                        <a:pt x="20" y="98"/>
                      </a:lnTo>
                      <a:lnTo>
                        <a:pt x="17" y="88"/>
                      </a:lnTo>
                      <a:lnTo>
                        <a:pt x="16" y="78"/>
                      </a:lnTo>
                      <a:lnTo>
                        <a:pt x="14" y="68"/>
                      </a:lnTo>
                      <a:lnTo>
                        <a:pt x="7" y="66"/>
                      </a:lnTo>
                      <a:lnTo>
                        <a:pt x="4" y="59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261" name="Freeform 275"/>
                <p:cNvSpPr>
                  <a:spLocks noChangeAspect="1"/>
                </p:cNvSpPr>
                <p:nvPr/>
              </p:nvSpPr>
              <p:spPr bwMode="gray">
                <a:xfrm>
                  <a:off x="679" y="1356"/>
                  <a:ext cx="328" cy="411"/>
                </a:xfrm>
                <a:custGeom>
                  <a:avLst/>
                  <a:gdLst/>
                  <a:ahLst/>
                  <a:cxnLst>
                    <a:cxn ang="0">
                      <a:pos x="1427" y="242"/>
                    </a:cxn>
                    <a:cxn ang="0">
                      <a:pos x="1252" y="223"/>
                    </a:cxn>
                    <a:cxn ang="0">
                      <a:pos x="977" y="152"/>
                    </a:cxn>
                    <a:cxn ang="0">
                      <a:pos x="845" y="94"/>
                    </a:cxn>
                    <a:cxn ang="0">
                      <a:pos x="709" y="40"/>
                    </a:cxn>
                    <a:cxn ang="0">
                      <a:pos x="672" y="64"/>
                    </a:cxn>
                    <a:cxn ang="0">
                      <a:pos x="602" y="33"/>
                    </a:cxn>
                    <a:cxn ang="0">
                      <a:pos x="466" y="88"/>
                    </a:cxn>
                    <a:cxn ang="0">
                      <a:pos x="440" y="158"/>
                    </a:cxn>
                    <a:cxn ang="0">
                      <a:pos x="353" y="233"/>
                    </a:cxn>
                    <a:cxn ang="0">
                      <a:pos x="270" y="323"/>
                    </a:cxn>
                    <a:cxn ang="0">
                      <a:pos x="102" y="459"/>
                    </a:cxn>
                    <a:cxn ang="0">
                      <a:pos x="233" y="608"/>
                    </a:cxn>
                    <a:cxn ang="0">
                      <a:pos x="319" y="670"/>
                    </a:cxn>
                    <a:cxn ang="0">
                      <a:pos x="436" y="717"/>
                    </a:cxn>
                    <a:cxn ang="0">
                      <a:pos x="392" y="748"/>
                    </a:cxn>
                    <a:cxn ang="0">
                      <a:pos x="393" y="780"/>
                    </a:cxn>
                    <a:cxn ang="0">
                      <a:pos x="289" y="796"/>
                    </a:cxn>
                    <a:cxn ang="0">
                      <a:pos x="160" y="749"/>
                    </a:cxn>
                    <a:cxn ang="0">
                      <a:pos x="36" y="829"/>
                    </a:cxn>
                    <a:cxn ang="0">
                      <a:pos x="70" y="906"/>
                    </a:cxn>
                    <a:cxn ang="0">
                      <a:pos x="270" y="1001"/>
                    </a:cxn>
                    <a:cxn ang="0">
                      <a:pos x="405" y="970"/>
                    </a:cxn>
                    <a:cxn ang="0">
                      <a:pos x="394" y="1115"/>
                    </a:cxn>
                    <a:cxn ang="0">
                      <a:pos x="256" y="1179"/>
                    </a:cxn>
                    <a:cxn ang="0">
                      <a:pos x="127" y="1305"/>
                    </a:cxn>
                    <a:cxn ang="0">
                      <a:pos x="155" y="1358"/>
                    </a:cxn>
                    <a:cxn ang="0">
                      <a:pos x="193" y="1420"/>
                    </a:cxn>
                    <a:cxn ang="0">
                      <a:pos x="222" y="1535"/>
                    </a:cxn>
                    <a:cxn ang="0">
                      <a:pos x="313" y="1517"/>
                    </a:cxn>
                    <a:cxn ang="0">
                      <a:pos x="349" y="1583"/>
                    </a:cxn>
                    <a:cxn ang="0">
                      <a:pos x="345" y="1683"/>
                    </a:cxn>
                    <a:cxn ang="0">
                      <a:pos x="461" y="1652"/>
                    </a:cxn>
                    <a:cxn ang="0">
                      <a:pos x="548" y="1679"/>
                    </a:cxn>
                    <a:cxn ang="0">
                      <a:pos x="549" y="1814"/>
                    </a:cxn>
                    <a:cxn ang="0">
                      <a:pos x="414" y="1939"/>
                    </a:cxn>
                    <a:cxn ang="0">
                      <a:pos x="326" y="1968"/>
                    </a:cxn>
                    <a:cxn ang="0">
                      <a:pos x="263" y="2054"/>
                    </a:cxn>
                    <a:cxn ang="0">
                      <a:pos x="334" y="2020"/>
                    </a:cxn>
                    <a:cxn ang="0">
                      <a:pos x="432" y="1975"/>
                    </a:cxn>
                    <a:cxn ang="0">
                      <a:pos x="515" y="1925"/>
                    </a:cxn>
                    <a:cxn ang="0">
                      <a:pos x="576" y="1872"/>
                    </a:cxn>
                    <a:cxn ang="0">
                      <a:pos x="658" y="1788"/>
                    </a:cxn>
                    <a:cxn ang="0">
                      <a:pos x="767" y="1707"/>
                    </a:cxn>
                    <a:cxn ang="0">
                      <a:pos x="785" y="1592"/>
                    </a:cxn>
                    <a:cxn ang="0">
                      <a:pos x="827" y="1501"/>
                    </a:cxn>
                    <a:cxn ang="0">
                      <a:pos x="983" y="1287"/>
                    </a:cxn>
                    <a:cxn ang="0">
                      <a:pos x="1042" y="1436"/>
                    </a:cxn>
                    <a:cxn ang="0">
                      <a:pos x="892" y="1567"/>
                    </a:cxn>
                    <a:cxn ang="0">
                      <a:pos x="892" y="1617"/>
                    </a:cxn>
                    <a:cxn ang="0">
                      <a:pos x="1000" y="1550"/>
                    </a:cxn>
                    <a:cxn ang="0">
                      <a:pos x="1088" y="1509"/>
                    </a:cxn>
                    <a:cxn ang="0">
                      <a:pos x="1066" y="1448"/>
                    </a:cxn>
                    <a:cxn ang="0">
                      <a:pos x="1115" y="1405"/>
                    </a:cxn>
                    <a:cxn ang="0">
                      <a:pos x="1168" y="1454"/>
                    </a:cxn>
                    <a:cxn ang="0">
                      <a:pos x="1263" y="1481"/>
                    </a:cxn>
                    <a:cxn ang="0">
                      <a:pos x="1383" y="1528"/>
                    </a:cxn>
                    <a:cxn ang="0">
                      <a:pos x="1574" y="1540"/>
                    </a:cxn>
                    <a:cxn ang="0">
                      <a:pos x="1564" y="1570"/>
                    </a:cxn>
                    <a:cxn ang="0">
                      <a:pos x="1628" y="1599"/>
                    </a:cxn>
                  </a:cxnLst>
                  <a:rect l="0" t="0" r="r" b="b"/>
                  <a:pathLst>
                    <a:path w="1638" h="2054">
                      <a:moveTo>
                        <a:pt x="1486" y="1466"/>
                      </a:moveTo>
                      <a:lnTo>
                        <a:pt x="1486" y="1356"/>
                      </a:lnTo>
                      <a:lnTo>
                        <a:pt x="1486" y="1249"/>
                      </a:lnTo>
                      <a:lnTo>
                        <a:pt x="1486" y="1148"/>
                      </a:lnTo>
                      <a:lnTo>
                        <a:pt x="1486" y="1039"/>
                      </a:lnTo>
                      <a:lnTo>
                        <a:pt x="1486" y="915"/>
                      </a:lnTo>
                      <a:lnTo>
                        <a:pt x="1486" y="793"/>
                      </a:lnTo>
                      <a:lnTo>
                        <a:pt x="1486" y="678"/>
                      </a:lnTo>
                      <a:lnTo>
                        <a:pt x="1486" y="553"/>
                      </a:lnTo>
                      <a:lnTo>
                        <a:pt x="1486" y="409"/>
                      </a:lnTo>
                      <a:lnTo>
                        <a:pt x="1486" y="266"/>
                      </a:lnTo>
                      <a:lnTo>
                        <a:pt x="1484" y="263"/>
                      </a:lnTo>
                      <a:lnTo>
                        <a:pt x="1477" y="263"/>
                      </a:lnTo>
                      <a:lnTo>
                        <a:pt x="1475" y="270"/>
                      </a:lnTo>
                      <a:lnTo>
                        <a:pt x="1470" y="280"/>
                      </a:lnTo>
                      <a:lnTo>
                        <a:pt x="1467" y="276"/>
                      </a:lnTo>
                      <a:lnTo>
                        <a:pt x="1456" y="259"/>
                      </a:lnTo>
                      <a:lnTo>
                        <a:pt x="1429" y="248"/>
                      </a:lnTo>
                      <a:lnTo>
                        <a:pt x="1427" y="242"/>
                      </a:lnTo>
                      <a:lnTo>
                        <a:pt x="1408" y="232"/>
                      </a:lnTo>
                      <a:lnTo>
                        <a:pt x="1408" y="228"/>
                      </a:lnTo>
                      <a:lnTo>
                        <a:pt x="1403" y="221"/>
                      </a:lnTo>
                      <a:lnTo>
                        <a:pt x="1365" y="201"/>
                      </a:lnTo>
                      <a:lnTo>
                        <a:pt x="1361" y="205"/>
                      </a:lnTo>
                      <a:lnTo>
                        <a:pt x="1355" y="206"/>
                      </a:lnTo>
                      <a:lnTo>
                        <a:pt x="1350" y="202"/>
                      </a:lnTo>
                      <a:lnTo>
                        <a:pt x="1351" y="214"/>
                      </a:lnTo>
                      <a:lnTo>
                        <a:pt x="1349" y="220"/>
                      </a:lnTo>
                      <a:lnTo>
                        <a:pt x="1341" y="209"/>
                      </a:lnTo>
                      <a:lnTo>
                        <a:pt x="1335" y="205"/>
                      </a:lnTo>
                      <a:lnTo>
                        <a:pt x="1330" y="209"/>
                      </a:lnTo>
                      <a:lnTo>
                        <a:pt x="1303" y="214"/>
                      </a:lnTo>
                      <a:lnTo>
                        <a:pt x="1302" y="217"/>
                      </a:lnTo>
                      <a:lnTo>
                        <a:pt x="1290" y="225"/>
                      </a:lnTo>
                      <a:lnTo>
                        <a:pt x="1280" y="225"/>
                      </a:lnTo>
                      <a:lnTo>
                        <a:pt x="1273" y="217"/>
                      </a:lnTo>
                      <a:lnTo>
                        <a:pt x="1271" y="225"/>
                      </a:lnTo>
                      <a:lnTo>
                        <a:pt x="1252" y="223"/>
                      </a:lnTo>
                      <a:lnTo>
                        <a:pt x="1251" y="221"/>
                      </a:lnTo>
                      <a:lnTo>
                        <a:pt x="1253" y="215"/>
                      </a:lnTo>
                      <a:lnTo>
                        <a:pt x="1232" y="211"/>
                      </a:lnTo>
                      <a:lnTo>
                        <a:pt x="1222" y="201"/>
                      </a:lnTo>
                      <a:lnTo>
                        <a:pt x="1211" y="194"/>
                      </a:lnTo>
                      <a:lnTo>
                        <a:pt x="1178" y="194"/>
                      </a:lnTo>
                      <a:lnTo>
                        <a:pt x="1158" y="199"/>
                      </a:lnTo>
                      <a:lnTo>
                        <a:pt x="1128" y="183"/>
                      </a:lnTo>
                      <a:lnTo>
                        <a:pt x="1115" y="180"/>
                      </a:lnTo>
                      <a:lnTo>
                        <a:pt x="1107" y="172"/>
                      </a:lnTo>
                      <a:lnTo>
                        <a:pt x="1091" y="167"/>
                      </a:lnTo>
                      <a:lnTo>
                        <a:pt x="1074" y="166"/>
                      </a:lnTo>
                      <a:lnTo>
                        <a:pt x="1072" y="156"/>
                      </a:lnTo>
                      <a:lnTo>
                        <a:pt x="1054" y="152"/>
                      </a:lnTo>
                      <a:lnTo>
                        <a:pt x="1032" y="142"/>
                      </a:lnTo>
                      <a:lnTo>
                        <a:pt x="1010" y="142"/>
                      </a:lnTo>
                      <a:lnTo>
                        <a:pt x="1001" y="148"/>
                      </a:lnTo>
                      <a:lnTo>
                        <a:pt x="975" y="158"/>
                      </a:lnTo>
                      <a:lnTo>
                        <a:pt x="977" y="152"/>
                      </a:lnTo>
                      <a:lnTo>
                        <a:pt x="985" y="151"/>
                      </a:lnTo>
                      <a:lnTo>
                        <a:pt x="983" y="144"/>
                      </a:lnTo>
                      <a:lnTo>
                        <a:pt x="977" y="141"/>
                      </a:lnTo>
                      <a:lnTo>
                        <a:pt x="967" y="140"/>
                      </a:lnTo>
                      <a:lnTo>
                        <a:pt x="929" y="151"/>
                      </a:lnTo>
                      <a:lnTo>
                        <a:pt x="899" y="148"/>
                      </a:lnTo>
                      <a:lnTo>
                        <a:pt x="908" y="140"/>
                      </a:lnTo>
                      <a:lnTo>
                        <a:pt x="909" y="132"/>
                      </a:lnTo>
                      <a:lnTo>
                        <a:pt x="872" y="132"/>
                      </a:lnTo>
                      <a:lnTo>
                        <a:pt x="866" y="129"/>
                      </a:lnTo>
                      <a:lnTo>
                        <a:pt x="887" y="128"/>
                      </a:lnTo>
                      <a:lnTo>
                        <a:pt x="882" y="120"/>
                      </a:lnTo>
                      <a:lnTo>
                        <a:pt x="872" y="120"/>
                      </a:lnTo>
                      <a:lnTo>
                        <a:pt x="870" y="114"/>
                      </a:lnTo>
                      <a:lnTo>
                        <a:pt x="877" y="99"/>
                      </a:lnTo>
                      <a:lnTo>
                        <a:pt x="877" y="87"/>
                      </a:lnTo>
                      <a:lnTo>
                        <a:pt x="859" y="80"/>
                      </a:lnTo>
                      <a:lnTo>
                        <a:pt x="843" y="80"/>
                      </a:lnTo>
                      <a:lnTo>
                        <a:pt x="845" y="94"/>
                      </a:lnTo>
                      <a:lnTo>
                        <a:pt x="843" y="91"/>
                      </a:lnTo>
                      <a:lnTo>
                        <a:pt x="835" y="94"/>
                      </a:lnTo>
                      <a:lnTo>
                        <a:pt x="832" y="81"/>
                      </a:lnTo>
                      <a:lnTo>
                        <a:pt x="827" y="69"/>
                      </a:lnTo>
                      <a:lnTo>
                        <a:pt x="817" y="69"/>
                      </a:lnTo>
                      <a:lnTo>
                        <a:pt x="807" y="71"/>
                      </a:lnTo>
                      <a:lnTo>
                        <a:pt x="790" y="83"/>
                      </a:lnTo>
                      <a:lnTo>
                        <a:pt x="785" y="75"/>
                      </a:lnTo>
                      <a:lnTo>
                        <a:pt x="778" y="80"/>
                      </a:lnTo>
                      <a:lnTo>
                        <a:pt x="771" y="91"/>
                      </a:lnTo>
                      <a:lnTo>
                        <a:pt x="763" y="91"/>
                      </a:lnTo>
                      <a:lnTo>
                        <a:pt x="757" y="83"/>
                      </a:lnTo>
                      <a:lnTo>
                        <a:pt x="747" y="83"/>
                      </a:lnTo>
                      <a:lnTo>
                        <a:pt x="740" y="78"/>
                      </a:lnTo>
                      <a:lnTo>
                        <a:pt x="744" y="70"/>
                      </a:lnTo>
                      <a:lnTo>
                        <a:pt x="733" y="45"/>
                      </a:lnTo>
                      <a:lnTo>
                        <a:pt x="716" y="39"/>
                      </a:lnTo>
                      <a:lnTo>
                        <a:pt x="716" y="48"/>
                      </a:lnTo>
                      <a:lnTo>
                        <a:pt x="709" y="40"/>
                      </a:lnTo>
                      <a:lnTo>
                        <a:pt x="710" y="51"/>
                      </a:lnTo>
                      <a:lnTo>
                        <a:pt x="704" y="51"/>
                      </a:lnTo>
                      <a:lnTo>
                        <a:pt x="697" y="58"/>
                      </a:lnTo>
                      <a:lnTo>
                        <a:pt x="695" y="72"/>
                      </a:lnTo>
                      <a:lnTo>
                        <a:pt x="704" y="83"/>
                      </a:lnTo>
                      <a:lnTo>
                        <a:pt x="704" y="91"/>
                      </a:lnTo>
                      <a:lnTo>
                        <a:pt x="705" y="103"/>
                      </a:lnTo>
                      <a:lnTo>
                        <a:pt x="695" y="103"/>
                      </a:lnTo>
                      <a:lnTo>
                        <a:pt x="694" y="94"/>
                      </a:lnTo>
                      <a:lnTo>
                        <a:pt x="688" y="87"/>
                      </a:lnTo>
                      <a:lnTo>
                        <a:pt x="683" y="94"/>
                      </a:lnTo>
                      <a:lnTo>
                        <a:pt x="678" y="83"/>
                      </a:lnTo>
                      <a:lnTo>
                        <a:pt x="676" y="96"/>
                      </a:lnTo>
                      <a:lnTo>
                        <a:pt x="657" y="83"/>
                      </a:lnTo>
                      <a:lnTo>
                        <a:pt x="649" y="82"/>
                      </a:lnTo>
                      <a:lnTo>
                        <a:pt x="646" y="85"/>
                      </a:lnTo>
                      <a:lnTo>
                        <a:pt x="654" y="66"/>
                      </a:lnTo>
                      <a:lnTo>
                        <a:pt x="660" y="70"/>
                      </a:lnTo>
                      <a:lnTo>
                        <a:pt x="672" y="64"/>
                      </a:lnTo>
                      <a:lnTo>
                        <a:pt x="689" y="49"/>
                      </a:lnTo>
                      <a:lnTo>
                        <a:pt x="690" y="42"/>
                      </a:lnTo>
                      <a:lnTo>
                        <a:pt x="689" y="33"/>
                      </a:lnTo>
                      <a:lnTo>
                        <a:pt x="681" y="26"/>
                      </a:lnTo>
                      <a:lnTo>
                        <a:pt x="661" y="30"/>
                      </a:lnTo>
                      <a:lnTo>
                        <a:pt x="660" y="27"/>
                      </a:lnTo>
                      <a:lnTo>
                        <a:pt x="658" y="16"/>
                      </a:lnTo>
                      <a:lnTo>
                        <a:pt x="650" y="11"/>
                      </a:lnTo>
                      <a:lnTo>
                        <a:pt x="642" y="15"/>
                      </a:lnTo>
                      <a:lnTo>
                        <a:pt x="635" y="10"/>
                      </a:lnTo>
                      <a:lnTo>
                        <a:pt x="627" y="0"/>
                      </a:lnTo>
                      <a:lnTo>
                        <a:pt x="622" y="3"/>
                      </a:lnTo>
                      <a:lnTo>
                        <a:pt x="619" y="10"/>
                      </a:lnTo>
                      <a:lnTo>
                        <a:pt x="613" y="17"/>
                      </a:lnTo>
                      <a:lnTo>
                        <a:pt x="612" y="24"/>
                      </a:lnTo>
                      <a:lnTo>
                        <a:pt x="609" y="22"/>
                      </a:lnTo>
                      <a:lnTo>
                        <a:pt x="612" y="33"/>
                      </a:lnTo>
                      <a:lnTo>
                        <a:pt x="608" y="37"/>
                      </a:lnTo>
                      <a:lnTo>
                        <a:pt x="602" y="33"/>
                      </a:lnTo>
                      <a:lnTo>
                        <a:pt x="598" y="35"/>
                      </a:lnTo>
                      <a:lnTo>
                        <a:pt x="597" y="40"/>
                      </a:lnTo>
                      <a:lnTo>
                        <a:pt x="591" y="48"/>
                      </a:lnTo>
                      <a:lnTo>
                        <a:pt x="584" y="60"/>
                      </a:lnTo>
                      <a:lnTo>
                        <a:pt x="558" y="86"/>
                      </a:lnTo>
                      <a:lnTo>
                        <a:pt x="536" y="86"/>
                      </a:lnTo>
                      <a:lnTo>
                        <a:pt x="537" y="91"/>
                      </a:lnTo>
                      <a:lnTo>
                        <a:pt x="511" y="96"/>
                      </a:lnTo>
                      <a:lnTo>
                        <a:pt x="491" y="91"/>
                      </a:lnTo>
                      <a:lnTo>
                        <a:pt x="495" y="96"/>
                      </a:lnTo>
                      <a:lnTo>
                        <a:pt x="486" y="101"/>
                      </a:lnTo>
                      <a:lnTo>
                        <a:pt x="489" y="113"/>
                      </a:lnTo>
                      <a:lnTo>
                        <a:pt x="472" y="103"/>
                      </a:lnTo>
                      <a:lnTo>
                        <a:pt x="480" y="92"/>
                      </a:lnTo>
                      <a:lnTo>
                        <a:pt x="483" y="83"/>
                      </a:lnTo>
                      <a:lnTo>
                        <a:pt x="496" y="78"/>
                      </a:lnTo>
                      <a:lnTo>
                        <a:pt x="500" y="73"/>
                      </a:lnTo>
                      <a:lnTo>
                        <a:pt x="478" y="81"/>
                      </a:lnTo>
                      <a:lnTo>
                        <a:pt x="466" y="88"/>
                      </a:lnTo>
                      <a:lnTo>
                        <a:pt x="452" y="101"/>
                      </a:lnTo>
                      <a:lnTo>
                        <a:pt x="448" y="109"/>
                      </a:lnTo>
                      <a:lnTo>
                        <a:pt x="448" y="113"/>
                      </a:lnTo>
                      <a:lnTo>
                        <a:pt x="440" y="116"/>
                      </a:lnTo>
                      <a:lnTo>
                        <a:pt x="445" y="121"/>
                      </a:lnTo>
                      <a:lnTo>
                        <a:pt x="452" y="124"/>
                      </a:lnTo>
                      <a:lnTo>
                        <a:pt x="457" y="136"/>
                      </a:lnTo>
                      <a:lnTo>
                        <a:pt x="464" y="141"/>
                      </a:lnTo>
                      <a:lnTo>
                        <a:pt x="474" y="139"/>
                      </a:lnTo>
                      <a:lnTo>
                        <a:pt x="461" y="145"/>
                      </a:lnTo>
                      <a:lnTo>
                        <a:pt x="453" y="145"/>
                      </a:lnTo>
                      <a:lnTo>
                        <a:pt x="450" y="155"/>
                      </a:lnTo>
                      <a:lnTo>
                        <a:pt x="453" y="162"/>
                      </a:lnTo>
                      <a:lnTo>
                        <a:pt x="452" y="174"/>
                      </a:lnTo>
                      <a:lnTo>
                        <a:pt x="447" y="182"/>
                      </a:lnTo>
                      <a:lnTo>
                        <a:pt x="442" y="175"/>
                      </a:lnTo>
                      <a:lnTo>
                        <a:pt x="442" y="162"/>
                      </a:lnTo>
                      <a:lnTo>
                        <a:pt x="434" y="168"/>
                      </a:lnTo>
                      <a:lnTo>
                        <a:pt x="440" y="158"/>
                      </a:lnTo>
                      <a:lnTo>
                        <a:pt x="439" y="146"/>
                      </a:lnTo>
                      <a:lnTo>
                        <a:pt x="445" y="140"/>
                      </a:lnTo>
                      <a:lnTo>
                        <a:pt x="442" y="131"/>
                      </a:lnTo>
                      <a:lnTo>
                        <a:pt x="432" y="128"/>
                      </a:lnTo>
                      <a:lnTo>
                        <a:pt x="405" y="148"/>
                      </a:lnTo>
                      <a:lnTo>
                        <a:pt x="405" y="152"/>
                      </a:lnTo>
                      <a:lnTo>
                        <a:pt x="418" y="145"/>
                      </a:lnTo>
                      <a:lnTo>
                        <a:pt x="408" y="156"/>
                      </a:lnTo>
                      <a:lnTo>
                        <a:pt x="366" y="184"/>
                      </a:lnTo>
                      <a:lnTo>
                        <a:pt x="348" y="188"/>
                      </a:lnTo>
                      <a:lnTo>
                        <a:pt x="338" y="200"/>
                      </a:lnTo>
                      <a:lnTo>
                        <a:pt x="342" y="191"/>
                      </a:lnTo>
                      <a:lnTo>
                        <a:pt x="342" y="183"/>
                      </a:lnTo>
                      <a:lnTo>
                        <a:pt x="348" y="177"/>
                      </a:lnTo>
                      <a:lnTo>
                        <a:pt x="337" y="175"/>
                      </a:lnTo>
                      <a:lnTo>
                        <a:pt x="326" y="200"/>
                      </a:lnTo>
                      <a:lnTo>
                        <a:pt x="323" y="211"/>
                      </a:lnTo>
                      <a:lnTo>
                        <a:pt x="342" y="228"/>
                      </a:lnTo>
                      <a:lnTo>
                        <a:pt x="353" y="233"/>
                      </a:lnTo>
                      <a:lnTo>
                        <a:pt x="353" y="239"/>
                      </a:lnTo>
                      <a:lnTo>
                        <a:pt x="324" y="225"/>
                      </a:lnTo>
                      <a:lnTo>
                        <a:pt x="321" y="218"/>
                      </a:lnTo>
                      <a:lnTo>
                        <a:pt x="312" y="217"/>
                      </a:lnTo>
                      <a:lnTo>
                        <a:pt x="307" y="227"/>
                      </a:lnTo>
                      <a:lnTo>
                        <a:pt x="285" y="253"/>
                      </a:lnTo>
                      <a:lnTo>
                        <a:pt x="295" y="258"/>
                      </a:lnTo>
                      <a:lnTo>
                        <a:pt x="318" y="259"/>
                      </a:lnTo>
                      <a:lnTo>
                        <a:pt x="314" y="261"/>
                      </a:lnTo>
                      <a:lnTo>
                        <a:pt x="287" y="261"/>
                      </a:lnTo>
                      <a:lnTo>
                        <a:pt x="280" y="264"/>
                      </a:lnTo>
                      <a:lnTo>
                        <a:pt x="279" y="268"/>
                      </a:lnTo>
                      <a:lnTo>
                        <a:pt x="291" y="282"/>
                      </a:lnTo>
                      <a:lnTo>
                        <a:pt x="302" y="288"/>
                      </a:lnTo>
                      <a:lnTo>
                        <a:pt x="299" y="293"/>
                      </a:lnTo>
                      <a:lnTo>
                        <a:pt x="279" y="279"/>
                      </a:lnTo>
                      <a:lnTo>
                        <a:pt x="280" y="287"/>
                      </a:lnTo>
                      <a:lnTo>
                        <a:pt x="273" y="318"/>
                      </a:lnTo>
                      <a:lnTo>
                        <a:pt x="270" y="323"/>
                      </a:lnTo>
                      <a:lnTo>
                        <a:pt x="269" y="306"/>
                      </a:lnTo>
                      <a:lnTo>
                        <a:pt x="263" y="331"/>
                      </a:lnTo>
                      <a:lnTo>
                        <a:pt x="251" y="356"/>
                      </a:lnTo>
                      <a:lnTo>
                        <a:pt x="226" y="379"/>
                      </a:lnTo>
                      <a:lnTo>
                        <a:pt x="189" y="388"/>
                      </a:lnTo>
                      <a:lnTo>
                        <a:pt x="155" y="393"/>
                      </a:lnTo>
                      <a:lnTo>
                        <a:pt x="127" y="401"/>
                      </a:lnTo>
                      <a:lnTo>
                        <a:pt x="117" y="400"/>
                      </a:lnTo>
                      <a:lnTo>
                        <a:pt x="125" y="397"/>
                      </a:lnTo>
                      <a:lnTo>
                        <a:pt x="124" y="393"/>
                      </a:lnTo>
                      <a:lnTo>
                        <a:pt x="102" y="395"/>
                      </a:lnTo>
                      <a:lnTo>
                        <a:pt x="102" y="397"/>
                      </a:lnTo>
                      <a:lnTo>
                        <a:pt x="103" y="401"/>
                      </a:lnTo>
                      <a:lnTo>
                        <a:pt x="101" y="419"/>
                      </a:lnTo>
                      <a:lnTo>
                        <a:pt x="101" y="435"/>
                      </a:lnTo>
                      <a:lnTo>
                        <a:pt x="98" y="453"/>
                      </a:lnTo>
                      <a:lnTo>
                        <a:pt x="103" y="455"/>
                      </a:lnTo>
                      <a:lnTo>
                        <a:pt x="108" y="452"/>
                      </a:lnTo>
                      <a:lnTo>
                        <a:pt x="102" y="459"/>
                      </a:lnTo>
                      <a:lnTo>
                        <a:pt x="88" y="465"/>
                      </a:lnTo>
                      <a:lnTo>
                        <a:pt x="85" y="471"/>
                      </a:lnTo>
                      <a:lnTo>
                        <a:pt x="79" y="471"/>
                      </a:lnTo>
                      <a:lnTo>
                        <a:pt x="86" y="465"/>
                      </a:lnTo>
                      <a:lnTo>
                        <a:pt x="88" y="457"/>
                      </a:lnTo>
                      <a:lnTo>
                        <a:pt x="86" y="458"/>
                      </a:lnTo>
                      <a:lnTo>
                        <a:pt x="71" y="468"/>
                      </a:lnTo>
                      <a:lnTo>
                        <a:pt x="69" y="474"/>
                      </a:lnTo>
                      <a:lnTo>
                        <a:pt x="102" y="489"/>
                      </a:lnTo>
                      <a:lnTo>
                        <a:pt x="112" y="500"/>
                      </a:lnTo>
                      <a:lnTo>
                        <a:pt x="118" y="511"/>
                      </a:lnTo>
                      <a:lnTo>
                        <a:pt x="140" y="524"/>
                      </a:lnTo>
                      <a:lnTo>
                        <a:pt x="152" y="527"/>
                      </a:lnTo>
                      <a:lnTo>
                        <a:pt x="182" y="556"/>
                      </a:lnTo>
                      <a:lnTo>
                        <a:pt x="206" y="572"/>
                      </a:lnTo>
                      <a:lnTo>
                        <a:pt x="221" y="587"/>
                      </a:lnTo>
                      <a:lnTo>
                        <a:pt x="221" y="592"/>
                      </a:lnTo>
                      <a:lnTo>
                        <a:pt x="230" y="599"/>
                      </a:lnTo>
                      <a:lnTo>
                        <a:pt x="233" y="608"/>
                      </a:lnTo>
                      <a:lnTo>
                        <a:pt x="237" y="621"/>
                      </a:lnTo>
                      <a:lnTo>
                        <a:pt x="241" y="626"/>
                      </a:lnTo>
                      <a:lnTo>
                        <a:pt x="238" y="629"/>
                      </a:lnTo>
                      <a:lnTo>
                        <a:pt x="240" y="641"/>
                      </a:lnTo>
                      <a:lnTo>
                        <a:pt x="244" y="657"/>
                      </a:lnTo>
                      <a:lnTo>
                        <a:pt x="259" y="659"/>
                      </a:lnTo>
                      <a:lnTo>
                        <a:pt x="268" y="666"/>
                      </a:lnTo>
                      <a:lnTo>
                        <a:pt x="291" y="675"/>
                      </a:lnTo>
                      <a:lnTo>
                        <a:pt x="287" y="670"/>
                      </a:lnTo>
                      <a:lnTo>
                        <a:pt x="292" y="666"/>
                      </a:lnTo>
                      <a:lnTo>
                        <a:pt x="294" y="658"/>
                      </a:lnTo>
                      <a:lnTo>
                        <a:pt x="308" y="659"/>
                      </a:lnTo>
                      <a:lnTo>
                        <a:pt x="310" y="657"/>
                      </a:lnTo>
                      <a:lnTo>
                        <a:pt x="307" y="651"/>
                      </a:lnTo>
                      <a:lnTo>
                        <a:pt x="313" y="648"/>
                      </a:lnTo>
                      <a:lnTo>
                        <a:pt x="317" y="648"/>
                      </a:lnTo>
                      <a:lnTo>
                        <a:pt x="305" y="673"/>
                      </a:lnTo>
                      <a:lnTo>
                        <a:pt x="310" y="677"/>
                      </a:lnTo>
                      <a:lnTo>
                        <a:pt x="319" y="670"/>
                      </a:lnTo>
                      <a:lnTo>
                        <a:pt x="335" y="666"/>
                      </a:lnTo>
                      <a:lnTo>
                        <a:pt x="348" y="667"/>
                      </a:lnTo>
                      <a:lnTo>
                        <a:pt x="354" y="669"/>
                      </a:lnTo>
                      <a:lnTo>
                        <a:pt x="362" y="678"/>
                      </a:lnTo>
                      <a:lnTo>
                        <a:pt x="359" y="683"/>
                      </a:lnTo>
                      <a:lnTo>
                        <a:pt x="349" y="686"/>
                      </a:lnTo>
                      <a:lnTo>
                        <a:pt x="343" y="705"/>
                      </a:lnTo>
                      <a:lnTo>
                        <a:pt x="355" y="723"/>
                      </a:lnTo>
                      <a:lnTo>
                        <a:pt x="372" y="736"/>
                      </a:lnTo>
                      <a:lnTo>
                        <a:pt x="375" y="729"/>
                      </a:lnTo>
                      <a:lnTo>
                        <a:pt x="375" y="718"/>
                      </a:lnTo>
                      <a:lnTo>
                        <a:pt x="378" y="713"/>
                      </a:lnTo>
                      <a:lnTo>
                        <a:pt x="377" y="724"/>
                      </a:lnTo>
                      <a:lnTo>
                        <a:pt x="381" y="727"/>
                      </a:lnTo>
                      <a:lnTo>
                        <a:pt x="383" y="721"/>
                      </a:lnTo>
                      <a:lnTo>
                        <a:pt x="399" y="720"/>
                      </a:lnTo>
                      <a:lnTo>
                        <a:pt x="415" y="731"/>
                      </a:lnTo>
                      <a:lnTo>
                        <a:pt x="427" y="727"/>
                      </a:lnTo>
                      <a:lnTo>
                        <a:pt x="436" y="717"/>
                      </a:lnTo>
                      <a:lnTo>
                        <a:pt x="446" y="720"/>
                      </a:lnTo>
                      <a:lnTo>
                        <a:pt x="453" y="713"/>
                      </a:lnTo>
                      <a:lnTo>
                        <a:pt x="469" y="716"/>
                      </a:lnTo>
                      <a:lnTo>
                        <a:pt x="464" y="722"/>
                      </a:lnTo>
                      <a:lnTo>
                        <a:pt x="440" y="731"/>
                      </a:lnTo>
                      <a:lnTo>
                        <a:pt x="435" y="739"/>
                      </a:lnTo>
                      <a:lnTo>
                        <a:pt x="441" y="742"/>
                      </a:lnTo>
                      <a:lnTo>
                        <a:pt x="443" y="736"/>
                      </a:lnTo>
                      <a:lnTo>
                        <a:pt x="467" y="728"/>
                      </a:lnTo>
                      <a:lnTo>
                        <a:pt x="472" y="732"/>
                      </a:lnTo>
                      <a:lnTo>
                        <a:pt x="472" y="739"/>
                      </a:lnTo>
                      <a:lnTo>
                        <a:pt x="464" y="745"/>
                      </a:lnTo>
                      <a:lnTo>
                        <a:pt x="442" y="747"/>
                      </a:lnTo>
                      <a:lnTo>
                        <a:pt x="434" y="750"/>
                      </a:lnTo>
                      <a:lnTo>
                        <a:pt x="430" y="756"/>
                      </a:lnTo>
                      <a:lnTo>
                        <a:pt x="410" y="759"/>
                      </a:lnTo>
                      <a:lnTo>
                        <a:pt x="403" y="758"/>
                      </a:lnTo>
                      <a:lnTo>
                        <a:pt x="398" y="750"/>
                      </a:lnTo>
                      <a:lnTo>
                        <a:pt x="392" y="748"/>
                      </a:lnTo>
                      <a:lnTo>
                        <a:pt x="389" y="744"/>
                      </a:lnTo>
                      <a:lnTo>
                        <a:pt x="382" y="743"/>
                      </a:lnTo>
                      <a:lnTo>
                        <a:pt x="381" y="737"/>
                      </a:lnTo>
                      <a:lnTo>
                        <a:pt x="376" y="738"/>
                      </a:lnTo>
                      <a:lnTo>
                        <a:pt x="369" y="744"/>
                      </a:lnTo>
                      <a:lnTo>
                        <a:pt x="351" y="744"/>
                      </a:lnTo>
                      <a:lnTo>
                        <a:pt x="342" y="736"/>
                      </a:lnTo>
                      <a:lnTo>
                        <a:pt x="332" y="717"/>
                      </a:lnTo>
                      <a:lnTo>
                        <a:pt x="338" y="734"/>
                      </a:lnTo>
                      <a:lnTo>
                        <a:pt x="344" y="744"/>
                      </a:lnTo>
                      <a:lnTo>
                        <a:pt x="339" y="755"/>
                      </a:lnTo>
                      <a:lnTo>
                        <a:pt x="339" y="766"/>
                      </a:lnTo>
                      <a:lnTo>
                        <a:pt x="346" y="769"/>
                      </a:lnTo>
                      <a:lnTo>
                        <a:pt x="344" y="764"/>
                      </a:lnTo>
                      <a:lnTo>
                        <a:pt x="349" y="753"/>
                      </a:lnTo>
                      <a:lnTo>
                        <a:pt x="361" y="755"/>
                      </a:lnTo>
                      <a:lnTo>
                        <a:pt x="388" y="764"/>
                      </a:lnTo>
                      <a:lnTo>
                        <a:pt x="394" y="771"/>
                      </a:lnTo>
                      <a:lnTo>
                        <a:pt x="393" y="780"/>
                      </a:lnTo>
                      <a:lnTo>
                        <a:pt x="385" y="791"/>
                      </a:lnTo>
                      <a:lnTo>
                        <a:pt x="386" y="785"/>
                      </a:lnTo>
                      <a:lnTo>
                        <a:pt x="383" y="779"/>
                      </a:lnTo>
                      <a:lnTo>
                        <a:pt x="364" y="771"/>
                      </a:lnTo>
                      <a:lnTo>
                        <a:pt x="354" y="793"/>
                      </a:lnTo>
                      <a:lnTo>
                        <a:pt x="350" y="802"/>
                      </a:lnTo>
                      <a:lnTo>
                        <a:pt x="350" y="809"/>
                      </a:lnTo>
                      <a:lnTo>
                        <a:pt x="346" y="814"/>
                      </a:lnTo>
                      <a:lnTo>
                        <a:pt x="339" y="810"/>
                      </a:lnTo>
                      <a:lnTo>
                        <a:pt x="337" y="804"/>
                      </a:lnTo>
                      <a:lnTo>
                        <a:pt x="332" y="798"/>
                      </a:lnTo>
                      <a:lnTo>
                        <a:pt x="322" y="801"/>
                      </a:lnTo>
                      <a:lnTo>
                        <a:pt x="321" y="803"/>
                      </a:lnTo>
                      <a:lnTo>
                        <a:pt x="314" y="799"/>
                      </a:lnTo>
                      <a:lnTo>
                        <a:pt x="302" y="802"/>
                      </a:lnTo>
                      <a:lnTo>
                        <a:pt x="300" y="797"/>
                      </a:lnTo>
                      <a:lnTo>
                        <a:pt x="296" y="801"/>
                      </a:lnTo>
                      <a:lnTo>
                        <a:pt x="297" y="795"/>
                      </a:lnTo>
                      <a:lnTo>
                        <a:pt x="289" y="796"/>
                      </a:lnTo>
                      <a:lnTo>
                        <a:pt x="285" y="802"/>
                      </a:lnTo>
                      <a:lnTo>
                        <a:pt x="280" y="799"/>
                      </a:lnTo>
                      <a:lnTo>
                        <a:pt x="269" y="797"/>
                      </a:lnTo>
                      <a:lnTo>
                        <a:pt x="246" y="799"/>
                      </a:lnTo>
                      <a:lnTo>
                        <a:pt x="237" y="792"/>
                      </a:lnTo>
                      <a:lnTo>
                        <a:pt x="237" y="782"/>
                      </a:lnTo>
                      <a:lnTo>
                        <a:pt x="221" y="781"/>
                      </a:lnTo>
                      <a:lnTo>
                        <a:pt x="238" y="767"/>
                      </a:lnTo>
                      <a:lnTo>
                        <a:pt x="237" y="756"/>
                      </a:lnTo>
                      <a:lnTo>
                        <a:pt x="238" y="744"/>
                      </a:lnTo>
                      <a:lnTo>
                        <a:pt x="237" y="736"/>
                      </a:lnTo>
                      <a:lnTo>
                        <a:pt x="227" y="729"/>
                      </a:lnTo>
                      <a:lnTo>
                        <a:pt x="230" y="727"/>
                      </a:lnTo>
                      <a:lnTo>
                        <a:pt x="246" y="724"/>
                      </a:lnTo>
                      <a:lnTo>
                        <a:pt x="227" y="723"/>
                      </a:lnTo>
                      <a:lnTo>
                        <a:pt x="215" y="727"/>
                      </a:lnTo>
                      <a:lnTo>
                        <a:pt x="188" y="728"/>
                      </a:lnTo>
                      <a:lnTo>
                        <a:pt x="172" y="747"/>
                      </a:lnTo>
                      <a:lnTo>
                        <a:pt x="160" y="749"/>
                      </a:lnTo>
                      <a:lnTo>
                        <a:pt x="154" y="753"/>
                      </a:lnTo>
                      <a:lnTo>
                        <a:pt x="149" y="752"/>
                      </a:lnTo>
                      <a:lnTo>
                        <a:pt x="136" y="761"/>
                      </a:lnTo>
                      <a:lnTo>
                        <a:pt x="125" y="772"/>
                      </a:lnTo>
                      <a:lnTo>
                        <a:pt x="135" y="780"/>
                      </a:lnTo>
                      <a:lnTo>
                        <a:pt x="141" y="790"/>
                      </a:lnTo>
                      <a:lnTo>
                        <a:pt x="136" y="792"/>
                      </a:lnTo>
                      <a:lnTo>
                        <a:pt x="115" y="793"/>
                      </a:lnTo>
                      <a:lnTo>
                        <a:pt x="111" y="790"/>
                      </a:lnTo>
                      <a:lnTo>
                        <a:pt x="109" y="783"/>
                      </a:lnTo>
                      <a:lnTo>
                        <a:pt x="101" y="787"/>
                      </a:lnTo>
                      <a:lnTo>
                        <a:pt x="77" y="802"/>
                      </a:lnTo>
                      <a:lnTo>
                        <a:pt x="71" y="810"/>
                      </a:lnTo>
                      <a:lnTo>
                        <a:pt x="68" y="808"/>
                      </a:lnTo>
                      <a:lnTo>
                        <a:pt x="66" y="814"/>
                      </a:lnTo>
                      <a:lnTo>
                        <a:pt x="61" y="823"/>
                      </a:lnTo>
                      <a:lnTo>
                        <a:pt x="50" y="828"/>
                      </a:lnTo>
                      <a:lnTo>
                        <a:pt x="45" y="822"/>
                      </a:lnTo>
                      <a:lnTo>
                        <a:pt x="36" y="829"/>
                      </a:lnTo>
                      <a:lnTo>
                        <a:pt x="32" y="835"/>
                      </a:lnTo>
                      <a:lnTo>
                        <a:pt x="32" y="840"/>
                      </a:lnTo>
                      <a:lnTo>
                        <a:pt x="34" y="842"/>
                      </a:lnTo>
                      <a:lnTo>
                        <a:pt x="11" y="855"/>
                      </a:lnTo>
                      <a:lnTo>
                        <a:pt x="6" y="856"/>
                      </a:lnTo>
                      <a:lnTo>
                        <a:pt x="12" y="842"/>
                      </a:lnTo>
                      <a:lnTo>
                        <a:pt x="0" y="850"/>
                      </a:lnTo>
                      <a:lnTo>
                        <a:pt x="0" y="858"/>
                      </a:lnTo>
                      <a:lnTo>
                        <a:pt x="6" y="865"/>
                      </a:lnTo>
                      <a:lnTo>
                        <a:pt x="43" y="889"/>
                      </a:lnTo>
                      <a:lnTo>
                        <a:pt x="71" y="899"/>
                      </a:lnTo>
                      <a:lnTo>
                        <a:pt x="75" y="898"/>
                      </a:lnTo>
                      <a:lnTo>
                        <a:pt x="70" y="890"/>
                      </a:lnTo>
                      <a:lnTo>
                        <a:pt x="107" y="903"/>
                      </a:lnTo>
                      <a:lnTo>
                        <a:pt x="90" y="910"/>
                      </a:lnTo>
                      <a:lnTo>
                        <a:pt x="81" y="922"/>
                      </a:lnTo>
                      <a:lnTo>
                        <a:pt x="72" y="919"/>
                      </a:lnTo>
                      <a:lnTo>
                        <a:pt x="74" y="911"/>
                      </a:lnTo>
                      <a:lnTo>
                        <a:pt x="70" y="906"/>
                      </a:lnTo>
                      <a:lnTo>
                        <a:pt x="68" y="915"/>
                      </a:lnTo>
                      <a:lnTo>
                        <a:pt x="80" y="941"/>
                      </a:lnTo>
                      <a:lnTo>
                        <a:pt x="91" y="952"/>
                      </a:lnTo>
                      <a:lnTo>
                        <a:pt x="91" y="963"/>
                      </a:lnTo>
                      <a:lnTo>
                        <a:pt x="88" y="976"/>
                      </a:lnTo>
                      <a:lnTo>
                        <a:pt x="100" y="990"/>
                      </a:lnTo>
                      <a:lnTo>
                        <a:pt x="104" y="991"/>
                      </a:lnTo>
                      <a:lnTo>
                        <a:pt x="108" y="996"/>
                      </a:lnTo>
                      <a:lnTo>
                        <a:pt x="150" y="1005"/>
                      </a:lnTo>
                      <a:lnTo>
                        <a:pt x="160" y="1003"/>
                      </a:lnTo>
                      <a:lnTo>
                        <a:pt x="179" y="1013"/>
                      </a:lnTo>
                      <a:lnTo>
                        <a:pt x="210" y="997"/>
                      </a:lnTo>
                      <a:lnTo>
                        <a:pt x="231" y="1001"/>
                      </a:lnTo>
                      <a:lnTo>
                        <a:pt x="247" y="996"/>
                      </a:lnTo>
                      <a:lnTo>
                        <a:pt x="263" y="1003"/>
                      </a:lnTo>
                      <a:lnTo>
                        <a:pt x="275" y="1017"/>
                      </a:lnTo>
                      <a:lnTo>
                        <a:pt x="278" y="1013"/>
                      </a:lnTo>
                      <a:lnTo>
                        <a:pt x="279" y="1003"/>
                      </a:lnTo>
                      <a:lnTo>
                        <a:pt x="270" y="1001"/>
                      </a:lnTo>
                      <a:lnTo>
                        <a:pt x="263" y="995"/>
                      </a:lnTo>
                      <a:lnTo>
                        <a:pt x="260" y="990"/>
                      </a:lnTo>
                      <a:lnTo>
                        <a:pt x="275" y="989"/>
                      </a:lnTo>
                      <a:lnTo>
                        <a:pt x="280" y="997"/>
                      </a:lnTo>
                      <a:lnTo>
                        <a:pt x="290" y="1005"/>
                      </a:lnTo>
                      <a:lnTo>
                        <a:pt x="294" y="1033"/>
                      </a:lnTo>
                      <a:lnTo>
                        <a:pt x="297" y="1033"/>
                      </a:lnTo>
                      <a:lnTo>
                        <a:pt x="303" y="1017"/>
                      </a:lnTo>
                      <a:lnTo>
                        <a:pt x="312" y="1002"/>
                      </a:lnTo>
                      <a:lnTo>
                        <a:pt x="324" y="990"/>
                      </a:lnTo>
                      <a:lnTo>
                        <a:pt x="330" y="981"/>
                      </a:lnTo>
                      <a:lnTo>
                        <a:pt x="351" y="971"/>
                      </a:lnTo>
                      <a:lnTo>
                        <a:pt x="350" y="964"/>
                      </a:lnTo>
                      <a:lnTo>
                        <a:pt x="365" y="970"/>
                      </a:lnTo>
                      <a:lnTo>
                        <a:pt x="371" y="969"/>
                      </a:lnTo>
                      <a:lnTo>
                        <a:pt x="377" y="962"/>
                      </a:lnTo>
                      <a:lnTo>
                        <a:pt x="389" y="954"/>
                      </a:lnTo>
                      <a:lnTo>
                        <a:pt x="400" y="968"/>
                      </a:lnTo>
                      <a:lnTo>
                        <a:pt x="405" y="970"/>
                      </a:lnTo>
                      <a:lnTo>
                        <a:pt x="405" y="984"/>
                      </a:lnTo>
                      <a:lnTo>
                        <a:pt x="400" y="995"/>
                      </a:lnTo>
                      <a:lnTo>
                        <a:pt x="394" y="1003"/>
                      </a:lnTo>
                      <a:lnTo>
                        <a:pt x="382" y="1008"/>
                      </a:lnTo>
                      <a:lnTo>
                        <a:pt x="373" y="1003"/>
                      </a:lnTo>
                      <a:lnTo>
                        <a:pt x="365" y="1003"/>
                      </a:lnTo>
                      <a:lnTo>
                        <a:pt x="365" y="1014"/>
                      </a:lnTo>
                      <a:lnTo>
                        <a:pt x="367" y="1021"/>
                      </a:lnTo>
                      <a:lnTo>
                        <a:pt x="372" y="1016"/>
                      </a:lnTo>
                      <a:lnTo>
                        <a:pt x="382" y="1019"/>
                      </a:lnTo>
                      <a:lnTo>
                        <a:pt x="387" y="1033"/>
                      </a:lnTo>
                      <a:lnTo>
                        <a:pt x="397" y="1052"/>
                      </a:lnTo>
                      <a:lnTo>
                        <a:pt x="396" y="1061"/>
                      </a:lnTo>
                      <a:lnTo>
                        <a:pt x="394" y="1065"/>
                      </a:lnTo>
                      <a:lnTo>
                        <a:pt x="400" y="1070"/>
                      </a:lnTo>
                      <a:lnTo>
                        <a:pt x="403" y="1077"/>
                      </a:lnTo>
                      <a:lnTo>
                        <a:pt x="404" y="1084"/>
                      </a:lnTo>
                      <a:lnTo>
                        <a:pt x="403" y="1098"/>
                      </a:lnTo>
                      <a:lnTo>
                        <a:pt x="394" y="1115"/>
                      </a:lnTo>
                      <a:lnTo>
                        <a:pt x="387" y="1125"/>
                      </a:lnTo>
                      <a:lnTo>
                        <a:pt x="380" y="1132"/>
                      </a:lnTo>
                      <a:lnTo>
                        <a:pt x="371" y="1135"/>
                      </a:lnTo>
                      <a:lnTo>
                        <a:pt x="360" y="1135"/>
                      </a:lnTo>
                      <a:lnTo>
                        <a:pt x="353" y="1140"/>
                      </a:lnTo>
                      <a:lnTo>
                        <a:pt x="344" y="1138"/>
                      </a:lnTo>
                      <a:lnTo>
                        <a:pt x="326" y="1143"/>
                      </a:lnTo>
                      <a:lnTo>
                        <a:pt x="322" y="1143"/>
                      </a:lnTo>
                      <a:lnTo>
                        <a:pt x="332" y="1132"/>
                      </a:lnTo>
                      <a:lnTo>
                        <a:pt x="330" y="1130"/>
                      </a:lnTo>
                      <a:lnTo>
                        <a:pt x="321" y="1131"/>
                      </a:lnTo>
                      <a:lnTo>
                        <a:pt x="317" y="1135"/>
                      </a:lnTo>
                      <a:lnTo>
                        <a:pt x="312" y="1147"/>
                      </a:lnTo>
                      <a:lnTo>
                        <a:pt x="303" y="1158"/>
                      </a:lnTo>
                      <a:lnTo>
                        <a:pt x="286" y="1174"/>
                      </a:lnTo>
                      <a:lnTo>
                        <a:pt x="280" y="1183"/>
                      </a:lnTo>
                      <a:lnTo>
                        <a:pt x="271" y="1186"/>
                      </a:lnTo>
                      <a:lnTo>
                        <a:pt x="260" y="1183"/>
                      </a:lnTo>
                      <a:lnTo>
                        <a:pt x="256" y="1179"/>
                      </a:lnTo>
                      <a:lnTo>
                        <a:pt x="240" y="1191"/>
                      </a:lnTo>
                      <a:lnTo>
                        <a:pt x="222" y="1197"/>
                      </a:lnTo>
                      <a:lnTo>
                        <a:pt x="219" y="1202"/>
                      </a:lnTo>
                      <a:lnTo>
                        <a:pt x="217" y="1207"/>
                      </a:lnTo>
                      <a:lnTo>
                        <a:pt x="220" y="1211"/>
                      </a:lnTo>
                      <a:lnTo>
                        <a:pt x="222" y="1219"/>
                      </a:lnTo>
                      <a:lnTo>
                        <a:pt x="219" y="1224"/>
                      </a:lnTo>
                      <a:lnTo>
                        <a:pt x="201" y="1221"/>
                      </a:lnTo>
                      <a:lnTo>
                        <a:pt x="190" y="1223"/>
                      </a:lnTo>
                      <a:lnTo>
                        <a:pt x="178" y="1237"/>
                      </a:lnTo>
                      <a:lnTo>
                        <a:pt x="174" y="1245"/>
                      </a:lnTo>
                      <a:lnTo>
                        <a:pt x="170" y="1243"/>
                      </a:lnTo>
                      <a:lnTo>
                        <a:pt x="162" y="1244"/>
                      </a:lnTo>
                      <a:lnTo>
                        <a:pt x="145" y="1266"/>
                      </a:lnTo>
                      <a:lnTo>
                        <a:pt x="142" y="1267"/>
                      </a:lnTo>
                      <a:lnTo>
                        <a:pt x="139" y="1271"/>
                      </a:lnTo>
                      <a:lnTo>
                        <a:pt x="138" y="1277"/>
                      </a:lnTo>
                      <a:lnTo>
                        <a:pt x="128" y="1299"/>
                      </a:lnTo>
                      <a:lnTo>
                        <a:pt x="127" y="1305"/>
                      </a:lnTo>
                      <a:lnTo>
                        <a:pt x="128" y="1323"/>
                      </a:lnTo>
                      <a:lnTo>
                        <a:pt x="125" y="1328"/>
                      </a:lnTo>
                      <a:lnTo>
                        <a:pt x="117" y="1330"/>
                      </a:lnTo>
                      <a:lnTo>
                        <a:pt x="111" y="1329"/>
                      </a:lnTo>
                      <a:lnTo>
                        <a:pt x="107" y="1330"/>
                      </a:lnTo>
                      <a:lnTo>
                        <a:pt x="107" y="1336"/>
                      </a:lnTo>
                      <a:lnTo>
                        <a:pt x="118" y="1345"/>
                      </a:lnTo>
                      <a:lnTo>
                        <a:pt x="115" y="1348"/>
                      </a:lnTo>
                      <a:lnTo>
                        <a:pt x="104" y="1351"/>
                      </a:lnTo>
                      <a:lnTo>
                        <a:pt x="102" y="1358"/>
                      </a:lnTo>
                      <a:lnTo>
                        <a:pt x="101" y="1366"/>
                      </a:lnTo>
                      <a:lnTo>
                        <a:pt x="104" y="1363"/>
                      </a:lnTo>
                      <a:lnTo>
                        <a:pt x="124" y="1360"/>
                      </a:lnTo>
                      <a:lnTo>
                        <a:pt x="131" y="1357"/>
                      </a:lnTo>
                      <a:lnTo>
                        <a:pt x="138" y="1351"/>
                      </a:lnTo>
                      <a:lnTo>
                        <a:pt x="156" y="1348"/>
                      </a:lnTo>
                      <a:lnTo>
                        <a:pt x="157" y="1352"/>
                      </a:lnTo>
                      <a:lnTo>
                        <a:pt x="151" y="1355"/>
                      </a:lnTo>
                      <a:lnTo>
                        <a:pt x="155" y="1358"/>
                      </a:lnTo>
                      <a:lnTo>
                        <a:pt x="134" y="1362"/>
                      </a:lnTo>
                      <a:lnTo>
                        <a:pt x="125" y="1366"/>
                      </a:lnTo>
                      <a:lnTo>
                        <a:pt x="119" y="1373"/>
                      </a:lnTo>
                      <a:lnTo>
                        <a:pt x="118" y="1378"/>
                      </a:lnTo>
                      <a:lnTo>
                        <a:pt x="133" y="1388"/>
                      </a:lnTo>
                      <a:lnTo>
                        <a:pt x="145" y="1378"/>
                      </a:lnTo>
                      <a:lnTo>
                        <a:pt x="151" y="1379"/>
                      </a:lnTo>
                      <a:lnTo>
                        <a:pt x="146" y="1385"/>
                      </a:lnTo>
                      <a:lnTo>
                        <a:pt x="144" y="1394"/>
                      </a:lnTo>
                      <a:lnTo>
                        <a:pt x="147" y="1405"/>
                      </a:lnTo>
                      <a:lnTo>
                        <a:pt x="151" y="1410"/>
                      </a:lnTo>
                      <a:lnTo>
                        <a:pt x="152" y="1417"/>
                      </a:lnTo>
                      <a:lnTo>
                        <a:pt x="156" y="1423"/>
                      </a:lnTo>
                      <a:lnTo>
                        <a:pt x="161" y="1427"/>
                      </a:lnTo>
                      <a:lnTo>
                        <a:pt x="165" y="1425"/>
                      </a:lnTo>
                      <a:lnTo>
                        <a:pt x="174" y="1411"/>
                      </a:lnTo>
                      <a:lnTo>
                        <a:pt x="176" y="1420"/>
                      </a:lnTo>
                      <a:lnTo>
                        <a:pt x="179" y="1422"/>
                      </a:lnTo>
                      <a:lnTo>
                        <a:pt x="193" y="1420"/>
                      </a:lnTo>
                      <a:lnTo>
                        <a:pt x="184" y="1436"/>
                      </a:lnTo>
                      <a:lnTo>
                        <a:pt x="197" y="1441"/>
                      </a:lnTo>
                      <a:lnTo>
                        <a:pt x="219" y="1446"/>
                      </a:lnTo>
                      <a:lnTo>
                        <a:pt x="230" y="1439"/>
                      </a:lnTo>
                      <a:lnTo>
                        <a:pt x="238" y="1439"/>
                      </a:lnTo>
                      <a:lnTo>
                        <a:pt x="242" y="1449"/>
                      </a:lnTo>
                      <a:lnTo>
                        <a:pt x="237" y="1457"/>
                      </a:lnTo>
                      <a:lnTo>
                        <a:pt x="220" y="1463"/>
                      </a:lnTo>
                      <a:lnTo>
                        <a:pt x="214" y="1474"/>
                      </a:lnTo>
                      <a:lnTo>
                        <a:pt x="203" y="1487"/>
                      </a:lnTo>
                      <a:lnTo>
                        <a:pt x="197" y="1497"/>
                      </a:lnTo>
                      <a:lnTo>
                        <a:pt x="194" y="1506"/>
                      </a:lnTo>
                      <a:lnTo>
                        <a:pt x="194" y="1514"/>
                      </a:lnTo>
                      <a:lnTo>
                        <a:pt x="204" y="1533"/>
                      </a:lnTo>
                      <a:lnTo>
                        <a:pt x="209" y="1534"/>
                      </a:lnTo>
                      <a:lnTo>
                        <a:pt x="216" y="1529"/>
                      </a:lnTo>
                      <a:lnTo>
                        <a:pt x="224" y="1527"/>
                      </a:lnTo>
                      <a:lnTo>
                        <a:pt x="226" y="1531"/>
                      </a:lnTo>
                      <a:lnTo>
                        <a:pt x="222" y="1535"/>
                      </a:lnTo>
                      <a:lnTo>
                        <a:pt x="224" y="1538"/>
                      </a:lnTo>
                      <a:lnTo>
                        <a:pt x="237" y="1538"/>
                      </a:lnTo>
                      <a:lnTo>
                        <a:pt x="235" y="1540"/>
                      </a:lnTo>
                      <a:lnTo>
                        <a:pt x="222" y="1541"/>
                      </a:lnTo>
                      <a:lnTo>
                        <a:pt x="215" y="1546"/>
                      </a:lnTo>
                      <a:lnTo>
                        <a:pt x="220" y="1554"/>
                      </a:lnTo>
                      <a:lnTo>
                        <a:pt x="232" y="1563"/>
                      </a:lnTo>
                      <a:lnTo>
                        <a:pt x="238" y="1563"/>
                      </a:lnTo>
                      <a:lnTo>
                        <a:pt x="243" y="1566"/>
                      </a:lnTo>
                      <a:lnTo>
                        <a:pt x="248" y="1565"/>
                      </a:lnTo>
                      <a:lnTo>
                        <a:pt x="254" y="1568"/>
                      </a:lnTo>
                      <a:lnTo>
                        <a:pt x="262" y="1567"/>
                      </a:lnTo>
                      <a:lnTo>
                        <a:pt x="269" y="1571"/>
                      </a:lnTo>
                      <a:lnTo>
                        <a:pt x="276" y="1571"/>
                      </a:lnTo>
                      <a:lnTo>
                        <a:pt x="278" y="1565"/>
                      </a:lnTo>
                      <a:lnTo>
                        <a:pt x="285" y="1559"/>
                      </a:lnTo>
                      <a:lnTo>
                        <a:pt x="301" y="1536"/>
                      </a:lnTo>
                      <a:lnTo>
                        <a:pt x="307" y="1519"/>
                      </a:lnTo>
                      <a:lnTo>
                        <a:pt x="313" y="1517"/>
                      </a:lnTo>
                      <a:lnTo>
                        <a:pt x="312" y="1512"/>
                      </a:lnTo>
                      <a:lnTo>
                        <a:pt x="305" y="1507"/>
                      </a:lnTo>
                      <a:lnTo>
                        <a:pt x="301" y="1496"/>
                      </a:lnTo>
                      <a:lnTo>
                        <a:pt x="318" y="1468"/>
                      </a:lnTo>
                      <a:lnTo>
                        <a:pt x="334" y="1457"/>
                      </a:lnTo>
                      <a:lnTo>
                        <a:pt x="342" y="1447"/>
                      </a:lnTo>
                      <a:lnTo>
                        <a:pt x="348" y="1442"/>
                      </a:lnTo>
                      <a:lnTo>
                        <a:pt x="361" y="1441"/>
                      </a:lnTo>
                      <a:lnTo>
                        <a:pt x="328" y="1471"/>
                      </a:lnTo>
                      <a:lnTo>
                        <a:pt x="312" y="1495"/>
                      </a:lnTo>
                      <a:lnTo>
                        <a:pt x="311" y="1501"/>
                      </a:lnTo>
                      <a:lnTo>
                        <a:pt x="312" y="1504"/>
                      </a:lnTo>
                      <a:lnTo>
                        <a:pt x="318" y="1509"/>
                      </a:lnTo>
                      <a:lnTo>
                        <a:pt x="321" y="1519"/>
                      </a:lnTo>
                      <a:lnTo>
                        <a:pt x="322" y="1528"/>
                      </a:lnTo>
                      <a:lnTo>
                        <a:pt x="326" y="1538"/>
                      </a:lnTo>
                      <a:lnTo>
                        <a:pt x="333" y="1546"/>
                      </a:lnTo>
                      <a:lnTo>
                        <a:pt x="343" y="1576"/>
                      </a:lnTo>
                      <a:lnTo>
                        <a:pt x="349" y="1583"/>
                      </a:lnTo>
                      <a:lnTo>
                        <a:pt x="349" y="1589"/>
                      </a:lnTo>
                      <a:lnTo>
                        <a:pt x="338" y="1604"/>
                      </a:lnTo>
                      <a:lnTo>
                        <a:pt x="337" y="1608"/>
                      </a:lnTo>
                      <a:lnTo>
                        <a:pt x="333" y="1609"/>
                      </a:lnTo>
                      <a:lnTo>
                        <a:pt x="332" y="1617"/>
                      </a:lnTo>
                      <a:lnTo>
                        <a:pt x="338" y="1631"/>
                      </a:lnTo>
                      <a:lnTo>
                        <a:pt x="343" y="1627"/>
                      </a:lnTo>
                      <a:lnTo>
                        <a:pt x="350" y="1627"/>
                      </a:lnTo>
                      <a:lnTo>
                        <a:pt x="356" y="1631"/>
                      </a:lnTo>
                      <a:lnTo>
                        <a:pt x="351" y="1633"/>
                      </a:lnTo>
                      <a:lnTo>
                        <a:pt x="345" y="1641"/>
                      </a:lnTo>
                      <a:lnTo>
                        <a:pt x="346" y="1657"/>
                      </a:lnTo>
                      <a:lnTo>
                        <a:pt x="351" y="1657"/>
                      </a:lnTo>
                      <a:lnTo>
                        <a:pt x="355" y="1660"/>
                      </a:lnTo>
                      <a:lnTo>
                        <a:pt x="351" y="1662"/>
                      </a:lnTo>
                      <a:lnTo>
                        <a:pt x="342" y="1673"/>
                      </a:lnTo>
                      <a:lnTo>
                        <a:pt x="333" y="1673"/>
                      </a:lnTo>
                      <a:lnTo>
                        <a:pt x="326" y="1680"/>
                      </a:lnTo>
                      <a:lnTo>
                        <a:pt x="345" y="1683"/>
                      </a:lnTo>
                      <a:lnTo>
                        <a:pt x="357" y="1676"/>
                      </a:lnTo>
                      <a:lnTo>
                        <a:pt x="366" y="1664"/>
                      </a:lnTo>
                      <a:lnTo>
                        <a:pt x="373" y="1662"/>
                      </a:lnTo>
                      <a:lnTo>
                        <a:pt x="388" y="1649"/>
                      </a:lnTo>
                      <a:lnTo>
                        <a:pt x="399" y="1649"/>
                      </a:lnTo>
                      <a:lnTo>
                        <a:pt x="413" y="1637"/>
                      </a:lnTo>
                      <a:lnTo>
                        <a:pt x="426" y="1611"/>
                      </a:lnTo>
                      <a:lnTo>
                        <a:pt x="429" y="1620"/>
                      </a:lnTo>
                      <a:lnTo>
                        <a:pt x="429" y="1630"/>
                      </a:lnTo>
                      <a:lnTo>
                        <a:pt x="425" y="1635"/>
                      </a:lnTo>
                      <a:lnTo>
                        <a:pt x="425" y="1642"/>
                      </a:lnTo>
                      <a:lnTo>
                        <a:pt x="426" y="1648"/>
                      </a:lnTo>
                      <a:lnTo>
                        <a:pt x="432" y="1654"/>
                      </a:lnTo>
                      <a:lnTo>
                        <a:pt x="436" y="1653"/>
                      </a:lnTo>
                      <a:lnTo>
                        <a:pt x="440" y="1659"/>
                      </a:lnTo>
                      <a:lnTo>
                        <a:pt x="446" y="1662"/>
                      </a:lnTo>
                      <a:lnTo>
                        <a:pt x="456" y="1653"/>
                      </a:lnTo>
                      <a:lnTo>
                        <a:pt x="458" y="1648"/>
                      </a:lnTo>
                      <a:lnTo>
                        <a:pt x="461" y="1652"/>
                      </a:lnTo>
                      <a:lnTo>
                        <a:pt x="466" y="1652"/>
                      </a:lnTo>
                      <a:lnTo>
                        <a:pt x="464" y="1658"/>
                      </a:lnTo>
                      <a:lnTo>
                        <a:pt x="470" y="1662"/>
                      </a:lnTo>
                      <a:lnTo>
                        <a:pt x="477" y="1670"/>
                      </a:lnTo>
                      <a:lnTo>
                        <a:pt x="491" y="1699"/>
                      </a:lnTo>
                      <a:lnTo>
                        <a:pt x="498" y="1703"/>
                      </a:lnTo>
                      <a:lnTo>
                        <a:pt x="501" y="1702"/>
                      </a:lnTo>
                      <a:lnTo>
                        <a:pt x="509" y="1694"/>
                      </a:lnTo>
                      <a:lnTo>
                        <a:pt x="509" y="1678"/>
                      </a:lnTo>
                      <a:lnTo>
                        <a:pt x="504" y="1668"/>
                      </a:lnTo>
                      <a:lnTo>
                        <a:pt x="506" y="1664"/>
                      </a:lnTo>
                      <a:lnTo>
                        <a:pt x="511" y="1654"/>
                      </a:lnTo>
                      <a:lnTo>
                        <a:pt x="520" y="1647"/>
                      </a:lnTo>
                      <a:lnTo>
                        <a:pt x="522" y="1641"/>
                      </a:lnTo>
                      <a:lnTo>
                        <a:pt x="526" y="1640"/>
                      </a:lnTo>
                      <a:lnTo>
                        <a:pt x="526" y="1647"/>
                      </a:lnTo>
                      <a:lnTo>
                        <a:pt x="522" y="1660"/>
                      </a:lnTo>
                      <a:lnTo>
                        <a:pt x="538" y="1676"/>
                      </a:lnTo>
                      <a:lnTo>
                        <a:pt x="548" y="1679"/>
                      </a:lnTo>
                      <a:lnTo>
                        <a:pt x="572" y="1667"/>
                      </a:lnTo>
                      <a:lnTo>
                        <a:pt x="590" y="1653"/>
                      </a:lnTo>
                      <a:lnTo>
                        <a:pt x="607" y="1636"/>
                      </a:lnTo>
                      <a:lnTo>
                        <a:pt x="619" y="1629"/>
                      </a:lnTo>
                      <a:lnTo>
                        <a:pt x="620" y="1632"/>
                      </a:lnTo>
                      <a:lnTo>
                        <a:pt x="606" y="1658"/>
                      </a:lnTo>
                      <a:lnTo>
                        <a:pt x="599" y="1663"/>
                      </a:lnTo>
                      <a:lnTo>
                        <a:pt x="603" y="1664"/>
                      </a:lnTo>
                      <a:lnTo>
                        <a:pt x="603" y="1667"/>
                      </a:lnTo>
                      <a:lnTo>
                        <a:pt x="595" y="1679"/>
                      </a:lnTo>
                      <a:lnTo>
                        <a:pt x="584" y="1686"/>
                      </a:lnTo>
                      <a:lnTo>
                        <a:pt x="579" y="1713"/>
                      </a:lnTo>
                      <a:lnTo>
                        <a:pt x="588" y="1714"/>
                      </a:lnTo>
                      <a:lnTo>
                        <a:pt x="575" y="1729"/>
                      </a:lnTo>
                      <a:lnTo>
                        <a:pt x="570" y="1760"/>
                      </a:lnTo>
                      <a:lnTo>
                        <a:pt x="569" y="1775"/>
                      </a:lnTo>
                      <a:lnTo>
                        <a:pt x="566" y="1783"/>
                      </a:lnTo>
                      <a:lnTo>
                        <a:pt x="560" y="1792"/>
                      </a:lnTo>
                      <a:lnTo>
                        <a:pt x="549" y="1814"/>
                      </a:lnTo>
                      <a:lnTo>
                        <a:pt x="545" y="1810"/>
                      </a:lnTo>
                      <a:lnTo>
                        <a:pt x="541" y="1812"/>
                      </a:lnTo>
                      <a:lnTo>
                        <a:pt x="538" y="1819"/>
                      </a:lnTo>
                      <a:lnTo>
                        <a:pt x="525" y="1837"/>
                      </a:lnTo>
                      <a:lnTo>
                        <a:pt x="522" y="1837"/>
                      </a:lnTo>
                      <a:lnTo>
                        <a:pt x="518" y="1846"/>
                      </a:lnTo>
                      <a:lnTo>
                        <a:pt x="516" y="1858"/>
                      </a:lnTo>
                      <a:lnTo>
                        <a:pt x="512" y="1866"/>
                      </a:lnTo>
                      <a:lnTo>
                        <a:pt x="506" y="1863"/>
                      </a:lnTo>
                      <a:lnTo>
                        <a:pt x="502" y="1867"/>
                      </a:lnTo>
                      <a:lnTo>
                        <a:pt x="498" y="1863"/>
                      </a:lnTo>
                      <a:lnTo>
                        <a:pt x="484" y="1877"/>
                      </a:lnTo>
                      <a:lnTo>
                        <a:pt x="472" y="1879"/>
                      </a:lnTo>
                      <a:lnTo>
                        <a:pt x="456" y="1891"/>
                      </a:lnTo>
                      <a:lnTo>
                        <a:pt x="451" y="1890"/>
                      </a:lnTo>
                      <a:lnTo>
                        <a:pt x="431" y="1910"/>
                      </a:lnTo>
                      <a:lnTo>
                        <a:pt x="423" y="1925"/>
                      </a:lnTo>
                      <a:lnTo>
                        <a:pt x="416" y="1932"/>
                      </a:lnTo>
                      <a:lnTo>
                        <a:pt x="414" y="1939"/>
                      </a:lnTo>
                      <a:lnTo>
                        <a:pt x="412" y="1952"/>
                      </a:lnTo>
                      <a:lnTo>
                        <a:pt x="410" y="1953"/>
                      </a:lnTo>
                      <a:lnTo>
                        <a:pt x="424" y="1958"/>
                      </a:lnTo>
                      <a:lnTo>
                        <a:pt x="427" y="1964"/>
                      </a:lnTo>
                      <a:lnTo>
                        <a:pt x="418" y="1963"/>
                      </a:lnTo>
                      <a:lnTo>
                        <a:pt x="412" y="1958"/>
                      </a:lnTo>
                      <a:lnTo>
                        <a:pt x="404" y="1955"/>
                      </a:lnTo>
                      <a:lnTo>
                        <a:pt x="403" y="1960"/>
                      </a:lnTo>
                      <a:lnTo>
                        <a:pt x="399" y="1963"/>
                      </a:lnTo>
                      <a:lnTo>
                        <a:pt x="394" y="1960"/>
                      </a:lnTo>
                      <a:lnTo>
                        <a:pt x="389" y="1953"/>
                      </a:lnTo>
                      <a:lnTo>
                        <a:pt x="393" y="1948"/>
                      </a:lnTo>
                      <a:lnTo>
                        <a:pt x="393" y="1943"/>
                      </a:lnTo>
                      <a:lnTo>
                        <a:pt x="383" y="1945"/>
                      </a:lnTo>
                      <a:lnTo>
                        <a:pt x="375" y="1942"/>
                      </a:lnTo>
                      <a:lnTo>
                        <a:pt x="370" y="1943"/>
                      </a:lnTo>
                      <a:lnTo>
                        <a:pt x="365" y="1947"/>
                      </a:lnTo>
                      <a:lnTo>
                        <a:pt x="349" y="1953"/>
                      </a:lnTo>
                      <a:lnTo>
                        <a:pt x="326" y="1968"/>
                      </a:lnTo>
                      <a:lnTo>
                        <a:pt x="310" y="1982"/>
                      </a:lnTo>
                      <a:lnTo>
                        <a:pt x="303" y="1992"/>
                      </a:lnTo>
                      <a:lnTo>
                        <a:pt x="301" y="1995"/>
                      </a:lnTo>
                      <a:lnTo>
                        <a:pt x="300" y="1997"/>
                      </a:lnTo>
                      <a:lnTo>
                        <a:pt x="300" y="2006"/>
                      </a:lnTo>
                      <a:lnTo>
                        <a:pt x="286" y="2013"/>
                      </a:lnTo>
                      <a:lnTo>
                        <a:pt x="286" y="2018"/>
                      </a:lnTo>
                      <a:lnTo>
                        <a:pt x="281" y="2022"/>
                      </a:lnTo>
                      <a:lnTo>
                        <a:pt x="276" y="2018"/>
                      </a:lnTo>
                      <a:lnTo>
                        <a:pt x="274" y="2018"/>
                      </a:lnTo>
                      <a:lnTo>
                        <a:pt x="270" y="2022"/>
                      </a:lnTo>
                      <a:lnTo>
                        <a:pt x="263" y="2026"/>
                      </a:lnTo>
                      <a:lnTo>
                        <a:pt x="258" y="2028"/>
                      </a:lnTo>
                      <a:lnTo>
                        <a:pt x="252" y="2031"/>
                      </a:lnTo>
                      <a:lnTo>
                        <a:pt x="252" y="2033"/>
                      </a:lnTo>
                      <a:lnTo>
                        <a:pt x="257" y="2033"/>
                      </a:lnTo>
                      <a:lnTo>
                        <a:pt x="260" y="2042"/>
                      </a:lnTo>
                      <a:lnTo>
                        <a:pt x="259" y="2054"/>
                      </a:lnTo>
                      <a:lnTo>
                        <a:pt x="263" y="2054"/>
                      </a:lnTo>
                      <a:lnTo>
                        <a:pt x="269" y="2050"/>
                      </a:lnTo>
                      <a:lnTo>
                        <a:pt x="271" y="2044"/>
                      </a:lnTo>
                      <a:lnTo>
                        <a:pt x="269" y="2031"/>
                      </a:lnTo>
                      <a:lnTo>
                        <a:pt x="274" y="2031"/>
                      </a:lnTo>
                      <a:lnTo>
                        <a:pt x="278" y="2040"/>
                      </a:lnTo>
                      <a:lnTo>
                        <a:pt x="284" y="2045"/>
                      </a:lnTo>
                      <a:lnTo>
                        <a:pt x="301" y="2038"/>
                      </a:lnTo>
                      <a:lnTo>
                        <a:pt x="297" y="2019"/>
                      </a:lnTo>
                      <a:lnTo>
                        <a:pt x="299" y="2017"/>
                      </a:lnTo>
                      <a:lnTo>
                        <a:pt x="305" y="2023"/>
                      </a:lnTo>
                      <a:lnTo>
                        <a:pt x="307" y="2028"/>
                      </a:lnTo>
                      <a:lnTo>
                        <a:pt x="306" y="2034"/>
                      </a:lnTo>
                      <a:lnTo>
                        <a:pt x="312" y="2034"/>
                      </a:lnTo>
                      <a:lnTo>
                        <a:pt x="316" y="2036"/>
                      </a:lnTo>
                      <a:lnTo>
                        <a:pt x="322" y="2033"/>
                      </a:lnTo>
                      <a:lnTo>
                        <a:pt x="324" y="2029"/>
                      </a:lnTo>
                      <a:lnTo>
                        <a:pt x="328" y="2031"/>
                      </a:lnTo>
                      <a:lnTo>
                        <a:pt x="332" y="2028"/>
                      </a:lnTo>
                      <a:lnTo>
                        <a:pt x="334" y="2020"/>
                      </a:lnTo>
                      <a:lnTo>
                        <a:pt x="342" y="2013"/>
                      </a:lnTo>
                      <a:lnTo>
                        <a:pt x="344" y="2001"/>
                      </a:lnTo>
                      <a:lnTo>
                        <a:pt x="349" y="1987"/>
                      </a:lnTo>
                      <a:lnTo>
                        <a:pt x="356" y="1982"/>
                      </a:lnTo>
                      <a:lnTo>
                        <a:pt x="364" y="1981"/>
                      </a:lnTo>
                      <a:lnTo>
                        <a:pt x="365" y="1992"/>
                      </a:lnTo>
                      <a:lnTo>
                        <a:pt x="357" y="2001"/>
                      </a:lnTo>
                      <a:lnTo>
                        <a:pt x="360" y="2006"/>
                      </a:lnTo>
                      <a:lnTo>
                        <a:pt x="373" y="2002"/>
                      </a:lnTo>
                      <a:lnTo>
                        <a:pt x="388" y="1993"/>
                      </a:lnTo>
                      <a:lnTo>
                        <a:pt x="402" y="1996"/>
                      </a:lnTo>
                      <a:lnTo>
                        <a:pt x="402" y="1990"/>
                      </a:lnTo>
                      <a:lnTo>
                        <a:pt x="404" y="1988"/>
                      </a:lnTo>
                      <a:lnTo>
                        <a:pt x="405" y="1983"/>
                      </a:lnTo>
                      <a:lnTo>
                        <a:pt x="413" y="1991"/>
                      </a:lnTo>
                      <a:lnTo>
                        <a:pt x="418" y="1982"/>
                      </a:lnTo>
                      <a:lnTo>
                        <a:pt x="419" y="1980"/>
                      </a:lnTo>
                      <a:lnTo>
                        <a:pt x="423" y="1976"/>
                      </a:lnTo>
                      <a:lnTo>
                        <a:pt x="432" y="1975"/>
                      </a:lnTo>
                      <a:lnTo>
                        <a:pt x="436" y="1969"/>
                      </a:lnTo>
                      <a:lnTo>
                        <a:pt x="441" y="1966"/>
                      </a:lnTo>
                      <a:lnTo>
                        <a:pt x="446" y="1966"/>
                      </a:lnTo>
                      <a:lnTo>
                        <a:pt x="450" y="1961"/>
                      </a:lnTo>
                      <a:lnTo>
                        <a:pt x="457" y="1961"/>
                      </a:lnTo>
                      <a:lnTo>
                        <a:pt x="459" y="1968"/>
                      </a:lnTo>
                      <a:lnTo>
                        <a:pt x="459" y="1979"/>
                      </a:lnTo>
                      <a:lnTo>
                        <a:pt x="458" y="1986"/>
                      </a:lnTo>
                      <a:lnTo>
                        <a:pt x="459" y="1987"/>
                      </a:lnTo>
                      <a:lnTo>
                        <a:pt x="468" y="1969"/>
                      </a:lnTo>
                      <a:lnTo>
                        <a:pt x="470" y="1955"/>
                      </a:lnTo>
                      <a:lnTo>
                        <a:pt x="473" y="1958"/>
                      </a:lnTo>
                      <a:lnTo>
                        <a:pt x="478" y="1958"/>
                      </a:lnTo>
                      <a:lnTo>
                        <a:pt x="495" y="1954"/>
                      </a:lnTo>
                      <a:lnTo>
                        <a:pt x="506" y="1945"/>
                      </a:lnTo>
                      <a:lnTo>
                        <a:pt x="512" y="1945"/>
                      </a:lnTo>
                      <a:lnTo>
                        <a:pt x="516" y="1941"/>
                      </a:lnTo>
                      <a:lnTo>
                        <a:pt x="515" y="1931"/>
                      </a:lnTo>
                      <a:lnTo>
                        <a:pt x="515" y="1925"/>
                      </a:lnTo>
                      <a:lnTo>
                        <a:pt x="506" y="1922"/>
                      </a:lnTo>
                      <a:lnTo>
                        <a:pt x="498" y="1915"/>
                      </a:lnTo>
                      <a:lnTo>
                        <a:pt x="493" y="1907"/>
                      </a:lnTo>
                      <a:lnTo>
                        <a:pt x="490" y="1898"/>
                      </a:lnTo>
                      <a:lnTo>
                        <a:pt x="495" y="1898"/>
                      </a:lnTo>
                      <a:lnTo>
                        <a:pt x="499" y="1909"/>
                      </a:lnTo>
                      <a:lnTo>
                        <a:pt x="504" y="1915"/>
                      </a:lnTo>
                      <a:lnTo>
                        <a:pt x="513" y="1916"/>
                      </a:lnTo>
                      <a:lnTo>
                        <a:pt x="528" y="1902"/>
                      </a:lnTo>
                      <a:lnTo>
                        <a:pt x="538" y="1899"/>
                      </a:lnTo>
                      <a:lnTo>
                        <a:pt x="556" y="1899"/>
                      </a:lnTo>
                      <a:lnTo>
                        <a:pt x="560" y="1890"/>
                      </a:lnTo>
                      <a:lnTo>
                        <a:pt x="558" y="1889"/>
                      </a:lnTo>
                      <a:lnTo>
                        <a:pt x="548" y="1891"/>
                      </a:lnTo>
                      <a:lnTo>
                        <a:pt x="552" y="1886"/>
                      </a:lnTo>
                      <a:lnTo>
                        <a:pt x="564" y="1879"/>
                      </a:lnTo>
                      <a:lnTo>
                        <a:pt x="569" y="1884"/>
                      </a:lnTo>
                      <a:lnTo>
                        <a:pt x="577" y="1884"/>
                      </a:lnTo>
                      <a:lnTo>
                        <a:pt x="576" y="1872"/>
                      </a:lnTo>
                      <a:lnTo>
                        <a:pt x="577" y="1864"/>
                      </a:lnTo>
                      <a:lnTo>
                        <a:pt x="584" y="1862"/>
                      </a:lnTo>
                      <a:lnTo>
                        <a:pt x="596" y="1867"/>
                      </a:lnTo>
                      <a:lnTo>
                        <a:pt x="609" y="1855"/>
                      </a:lnTo>
                      <a:lnTo>
                        <a:pt x="611" y="1850"/>
                      </a:lnTo>
                      <a:lnTo>
                        <a:pt x="615" y="1851"/>
                      </a:lnTo>
                      <a:lnTo>
                        <a:pt x="618" y="1848"/>
                      </a:lnTo>
                      <a:lnTo>
                        <a:pt x="619" y="1843"/>
                      </a:lnTo>
                      <a:lnTo>
                        <a:pt x="625" y="1847"/>
                      </a:lnTo>
                      <a:lnTo>
                        <a:pt x="627" y="1843"/>
                      </a:lnTo>
                      <a:lnTo>
                        <a:pt x="634" y="1839"/>
                      </a:lnTo>
                      <a:lnTo>
                        <a:pt x="639" y="1831"/>
                      </a:lnTo>
                      <a:lnTo>
                        <a:pt x="639" y="1818"/>
                      </a:lnTo>
                      <a:lnTo>
                        <a:pt x="633" y="1818"/>
                      </a:lnTo>
                      <a:lnTo>
                        <a:pt x="630" y="1815"/>
                      </a:lnTo>
                      <a:lnTo>
                        <a:pt x="635" y="1809"/>
                      </a:lnTo>
                      <a:lnTo>
                        <a:pt x="652" y="1797"/>
                      </a:lnTo>
                      <a:lnTo>
                        <a:pt x="655" y="1800"/>
                      </a:lnTo>
                      <a:lnTo>
                        <a:pt x="658" y="1788"/>
                      </a:lnTo>
                      <a:lnTo>
                        <a:pt x="672" y="1788"/>
                      </a:lnTo>
                      <a:lnTo>
                        <a:pt x="673" y="1783"/>
                      </a:lnTo>
                      <a:lnTo>
                        <a:pt x="676" y="1778"/>
                      </a:lnTo>
                      <a:lnTo>
                        <a:pt x="677" y="1770"/>
                      </a:lnTo>
                      <a:lnTo>
                        <a:pt x="684" y="1770"/>
                      </a:lnTo>
                      <a:lnTo>
                        <a:pt x="693" y="1775"/>
                      </a:lnTo>
                      <a:lnTo>
                        <a:pt x="698" y="1764"/>
                      </a:lnTo>
                      <a:lnTo>
                        <a:pt x="701" y="1762"/>
                      </a:lnTo>
                      <a:lnTo>
                        <a:pt x="708" y="1757"/>
                      </a:lnTo>
                      <a:lnTo>
                        <a:pt x="712" y="1751"/>
                      </a:lnTo>
                      <a:lnTo>
                        <a:pt x="714" y="1746"/>
                      </a:lnTo>
                      <a:lnTo>
                        <a:pt x="726" y="1742"/>
                      </a:lnTo>
                      <a:lnTo>
                        <a:pt x="740" y="1739"/>
                      </a:lnTo>
                      <a:lnTo>
                        <a:pt x="746" y="1729"/>
                      </a:lnTo>
                      <a:lnTo>
                        <a:pt x="752" y="1732"/>
                      </a:lnTo>
                      <a:lnTo>
                        <a:pt x="763" y="1726"/>
                      </a:lnTo>
                      <a:lnTo>
                        <a:pt x="764" y="1717"/>
                      </a:lnTo>
                      <a:lnTo>
                        <a:pt x="757" y="1712"/>
                      </a:lnTo>
                      <a:lnTo>
                        <a:pt x="767" y="1707"/>
                      </a:lnTo>
                      <a:lnTo>
                        <a:pt x="767" y="1703"/>
                      </a:lnTo>
                      <a:lnTo>
                        <a:pt x="765" y="1699"/>
                      </a:lnTo>
                      <a:lnTo>
                        <a:pt x="767" y="1692"/>
                      </a:lnTo>
                      <a:lnTo>
                        <a:pt x="773" y="1691"/>
                      </a:lnTo>
                      <a:lnTo>
                        <a:pt x="779" y="1681"/>
                      </a:lnTo>
                      <a:lnTo>
                        <a:pt x="796" y="1675"/>
                      </a:lnTo>
                      <a:lnTo>
                        <a:pt x="803" y="1668"/>
                      </a:lnTo>
                      <a:lnTo>
                        <a:pt x="805" y="1660"/>
                      </a:lnTo>
                      <a:lnTo>
                        <a:pt x="805" y="1653"/>
                      </a:lnTo>
                      <a:lnTo>
                        <a:pt x="801" y="1649"/>
                      </a:lnTo>
                      <a:lnTo>
                        <a:pt x="787" y="1642"/>
                      </a:lnTo>
                      <a:lnTo>
                        <a:pt x="785" y="1637"/>
                      </a:lnTo>
                      <a:lnTo>
                        <a:pt x="776" y="1633"/>
                      </a:lnTo>
                      <a:lnTo>
                        <a:pt x="762" y="1638"/>
                      </a:lnTo>
                      <a:lnTo>
                        <a:pt x="757" y="1636"/>
                      </a:lnTo>
                      <a:lnTo>
                        <a:pt x="765" y="1605"/>
                      </a:lnTo>
                      <a:lnTo>
                        <a:pt x="765" y="1600"/>
                      </a:lnTo>
                      <a:lnTo>
                        <a:pt x="779" y="1598"/>
                      </a:lnTo>
                      <a:lnTo>
                        <a:pt x="785" y="1592"/>
                      </a:lnTo>
                      <a:lnTo>
                        <a:pt x="785" y="1586"/>
                      </a:lnTo>
                      <a:lnTo>
                        <a:pt x="791" y="1582"/>
                      </a:lnTo>
                      <a:lnTo>
                        <a:pt x="791" y="1574"/>
                      </a:lnTo>
                      <a:lnTo>
                        <a:pt x="790" y="1566"/>
                      </a:lnTo>
                      <a:lnTo>
                        <a:pt x="795" y="1570"/>
                      </a:lnTo>
                      <a:lnTo>
                        <a:pt x="797" y="1561"/>
                      </a:lnTo>
                      <a:lnTo>
                        <a:pt x="805" y="1559"/>
                      </a:lnTo>
                      <a:lnTo>
                        <a:pt x="805" y="1568"/>
                      </a:lnTo>
                      <a:lnTo>
                        <a:pt x="816" y="1566"/>
                      </a:lnTo>
                      <a:lnTo>
                        <a:pt x="822" y="1561"/>
                      </a:lnTo>
                      <a:lnTo>
                        <a:pt x="822" y="1554"/>
                      </a:lnTo>
                      <a:lnTo>
                        <a:pt x="812" y="1550"/>
                      </a:lnTo>
                      <a:lnTo>
                        <a:pt x="818" y="1546"/>
                      </a:lnTo>
                      <a:lnTo>
                        <a:pt x="834" y="1545"/>
                      </a:lnTo>
                      <a:lnTo>
                        <a:pt x="843" y="1533"/>
                      </a:lnTo>
                      <a:lnTo>
                        <a:pt x="843" y="1525"/>
                      </a:lnTo>
                      <a:lnTo>
                        <a:pt x="840" y="1519"/>
                      </a:lnTo>
                      <a:lnTo>
                        <a:pt x="821" y="1502"/>
                      </a:lnTo>
                      <a:lnTo>
                        <a:pt x="827" y="1501"/>
                      </a:lnTo>
                      <a:lnTo>
                        <a:pt x="833" y="1508"/>
                      </a:lnTo>
                      <a:lnTo>
                        <a:pt x="846" y="1508"/>
                      </a:lnTo>
                      <a:lnTo>
                        <a:pt x="864" y="1490"/>
                      </a:lnTo>
                      <a:lnTo>
                        <a:pt x="870" y="1470"/>
                      </a:lnTo>
                      <a:lnTo>
                        <a:pt x="889" y="1447"/>
                      </a:lnTo>
                      <a:lnTo>
                        <a:pt x="892" y="1433"/>
                      </a:lnTo>
                      <a:lnTo>
                        <a:pt x="925" y="1415"/>
                      </a:lnTo>
                      <a:lnTo>
                        <a:pt x="950" y="1390"/>
                      </a:lnTo>
                      <a:lnTo>
                        <a:pt x="950" y="1383"/>
                      </a:lnTo>
                      <a:lnTo>
                        <a:pt x="948" y="1374"/>
                      </a:lnTo>
                      <a:lnTo>
                        <a:pt x="950" y="1362"/>
                      </a:lnTo>
                      <a:lnTo>
                        <a:pt x="953" y="1353"/>
                      </a:lnTo>
                      <a:lnTo>
                        <a:pt x="959" y="1342"/>
                      </a:lnTo>
                      <a:lnTo>
                        <a:pt x="973" y="1305"/>
                      </a:lnTo>
                      <a:lnTo>
                        <a:pt x="974" y="1296"/>
                      </a:lnTo>
                      <a:lnTo>
                        <a:pt x="974" y="1287"/>
                      </a:lnTo>
                      <a:lnTo>
                        <a:pt x="977" y="1276"/>
                      </a:lnTo>
                      <a:lnTo>
                        <a:pt x="982" y="1278"/>
                      </a:lnTo>
                      <a:lnTo>
                        <a:pt x="983" y="1287"/>
                      </a:lnTo>
                      <a:lnTo>
                        <a:pt x="978" y="1329"/>
                      </a:lnTo>
                      <a:lnTo>
                        <a:pt x="973" y="1342"/>
                      </a:lnTo>
                      <a:lnTo>
                        <a:pt x="961" y="1364"/>
                      </a:lnTo>
                      <a:lnTo>
                        <a:pt x="957" y="1378"/>
                      </a:lnTo>
                      <a:lnTo>
                        <a:pt x="957" y="1390"/>
                      </a:lnTo>
                      <a:lnTo>
                        <a:pt x="962" y="1395"/>
                      </a:lnTo>
                      <a:lnTo>
                        <a:pt x="983" y="1394"/>
                      </a:lnTo>
                      <a:lnTo>
                        <a:pt x="1002" y="1373"/>
                      </a:lnTo>
                      <a:lnTo>
                        <a:pt x="1017" y="1366"/>
                      </a:lnTo>
                      <a:lnTo>
                        <a:pt x="1027" y="1364"/>
                      </a:lnTo>
                      <a:lnTo>
                        <a:pt x="1018" y="1374"/>
                      </a:lnTo>
                      <a:lnTo>
                        <a:pt x="1011" y="1378"/>
                      </a:lnTo>
                      <a:lnTo>
                        <a:pt x="1001" y="1385"/>
                      </a:lnTo>
                      <a:lnTo>
                        <a:pt x="996" y="1395"/>
                      </a:lnTo>
                      <a:lnTo>
                        <a:pt x="988" y="1401"/>
                      </a:lnTo>
                      <a:lnTo>
                        <a:pt x="988" y="1411"/>
                      </a:lnTo>
                      <a:lnTo>
                        <a:pt x="995" y="1418"/>
                      </a:lnTo>
                      <a:lnTo>
                        <a:pt x="1021" y="1425"/>
                      </a:lnTo>
                      <a:lnTo>
                        <a:pt x="1042" y="1436"/>
                      </a:lnTo>
                      <a:lnTo>
                        <a:pt x="999" y="1428"/>
                      </a:lnTo>
                      <a:lnTo>
                        <a:pt x="983" y="1436"/>
                      </a:lnTo>
                      <a:lnTo>
                        <a:pt x="975" y="1434"/>
                      </a:lnTo>
                      <a:lnTo>
                        <a:pt x="968" y="1422"/>
                      </a:lnTo>
                      <a:lnTo>
                        <a:pt x="962" y="1423"/>
                      </a:lnTo>
                      <a:lnTo>
                        <a:pt x="954" y="1428"/>
                      </a:lnTo>
                      <a:lnTo>
                        <a:pt x="946" y="1437"/>
                      </a:lnTo>
                      <a:lnTo>
                        <a:pt x="918" y="1450"/>
                      </a:lnTo>
                      <a:lnTo>
                        <a:pt x="913" y="1459"/>
                      </a:lnTo>
                      <a:lnTo>
                        <a:pt x="916" y="1471"/>
                      </a:lnTo>
                      <a:lnTo>
                        <a:pt x="916" y="1487"/>
                      </a:lnTo>
                      <a:lnTo>
                        <a:pt x="914" y="1504"/>
                      </a:lnTo>
                      <a:lnTo>
                        <a:pt x="910" y="1513"/>
                      </a:lnTo>
                      <a:lnTo>
                        <a:pt x="902" y="1522"/>
                      </a:lnTo>
                      <a:lnTo>
                        <a:pt x="897" y="1534"/>
                      </a:lnTo>
                      <a:lnTo>
                        <a:pt x="896" y="1541"/>
                      </a:lnTo>
                      <a:lnTo>
                        <a:pt x="891" y="1551"/>
                      </a:lnTo>
                      <a:lnTo>
                        <a:pt x="888" y="1561"/>
                      </a:lnTo>
                      <a:lnTo>
                        <a:pt x="892" y="1567"/>
                      </a:lnTo>
                      <a:lnTo>
                        <a:pt x="904" y="1574"/>
                      </a:lnTo>
                      <a:lnTo>
                        <a:pt x="931" y="1557"/>
                      </a:lnTo>
                      <a:lnTo>
                        <a:pt x="936" y="1559"/>
                      </a:lnTo>
                      <a:lnTo>
                        <a:pt x="931" y="1571"/>
                      </a:lnTo>
                      <a:lnTo>
                        <a:pt x="926" y="1579"/>
                      </a:lnTo>
                      <a:lnTo>
                        <a:pt x="919" y="1586"/>
                      </a:lnTo>
                      <a:lnTo>
                        <a:pt x="913" y="1586"/>
                      </a:lnTo>
                      <a:lnTo>
                        <a:pt x="912" y="1589"/>
                      </a:lnTo>
                      <a:lnTo>
                        <a:pt x="916" y="1593"/>
                      </a:lnTo>
                      <a:lnTo>
                        <a:pt x="904" y="1589"/>
                      </a:lnTo>
                      <a:lnTo>
                        <a:pt x="902" y="1589"/>
                      </a:lnTo>
                      <a:lnTo>
                        <a:pt x="899" y="1592"/>
                      </a:lnTo>
                      <a:lnTo>
                        <a:pt x="898" y="1598"/>
                      </a:lnTo>
                      <a:lnTo>
                        <a:pt x="892" y="1592"/>
                      </a:lnTo>
                      <a:lnTo>
                        <a:pt x="888" y="1598"/>
                      </a:lnTo>
                      <a:lnTo>
                        <a:pt x="889" y="1604"/>
                      </a:lnTo>
                      <a:lnTo>
                        <a:pt x="883" y="1606"/>
                      </a:lnTo>
                      <a:lnTo>
                        <a:pt x="883" y="1615"/>
                      </a:lnTo>
                      <a:lnTo>
                        <a:pt x="892" y="1617"/>
                      </a:lnTo>
                      <a:lnTo>
                        <a:pt x="896" y="1622"/>
                      </a:lnTo>
                      <a:lnTo>
                        <a:pt x="907" y="1619"/>
                      </a:lnTo>
                      <a:lnTo>
                        <a:pt x="923" y="1617"/>
                      </a:lnTo>
                      <a:lnTo>
                        <a:pt x="923" y="1608"/>
                      </a:lnTo>
                      <a:lnTo>
                        <a:pt x="924" y="1605"/>
                      </a:lnTo>
                      <a:lnTo>
                        <a:pt x="932" y="1609"/>
                      </a:lnTo>
                      <a:lnTo>
                        <a:pt x="939" y="1614"/>
                      </a:lnTo>
                      <a:lnTo>
                        <a:pt x="948" y="1595"/>
                      </a:lnTo>
                      <a:lnTo>
                        <a:pt x="957" y="1584"/>
                      </a:lnTo>
                      <a:lnTo>
                        <a:pt x="963" y="1586"/>
                      </a:lnTo>
                      <a:lnTo>
                        <a:pt x="970" y="1581"/>
                      </a:lnTo>
                      <a:lnTo>
                        <a:pt x="970" y="1592"/>
                      </a:lnTo>
                      <a:lnTo>
                        <a:pt x="968" y="1603"/>
                      </a:lnTo>
                      <a:lnTo>
                        <a:pt x="980" y="1583"/>
                      </a:lnTo>
                      <a:lnTo>
                        <a:pt x="980" y="1572"/>
                      </a:lnTo>
                      <a:lnTo>
                        <a:pt x="993" y="1565"/>
                      </a:lnTo>
                      <a:lnTo>
                        <a:pt x="997" y="1568"/>
                      </a:lnTo>
                      <a:lnTo>
                        <a:pt x="1002" y="1560"/>
                      </a:lnTo>
                      <a:lnTo>
                        <a:pt x="1000" y="1550"/>
                      </a:lnTo>
                      <a:lnTo>
                        <a:pt x="1001" y="1546"/>
                      </a:lnTo>
                      <a:lnTo>
                        <a:pt x="1005" y="1540"/>
                      </a:lnTo>
                      <a:lnTo>
                        <a:pt x="1007" y="1554"/>
                      </a:lnTo>
                      <a:lnTo>
                        <a:pt x="1011" y="1566"/>
                      </a:lnTo>
                      <a:lnTo>
                        <a:pt x="1013" y="1551"/>
                      </a:lnTo>
                      <a:lnTo>
                        <a:pt x="1015" y="1540"/>
                      </a:lnTo>
                      <a:lnTo>
                        <a:pt x="1020" y="1534"/>
                      </a:lnTo>
                      <a:lnTo>
                        <a:pt x="1020" y="1524"/>
                      </a:lnTo>
                      <a:lnTo>
                        <a:pt x="1023" y="1536"/>
                      </a:lnTo>
                      <a:lnTo>
                        <a:pt x="1028" y="1534"/>
                      </a:lnTo>
                      <a:lnTo>
                        <a:pt x="1033" y="1534"/>
                      </a:lnTo>
                      <a:lnTo>
                        <a:pt x="1038" y="1538"/>
                      </a:lnTo>
                      <a:lnTo>
                        <a:pt x="1055" y="1540"/>
                      </a:lnTo>
                      <a:lnTo>
                        <a:pt x="1064" y="1534"/>
                      </a:lnTo>
                      <a:lnTo>
                        <a:pt x="1069" y="1533"/>
                      </a:lnTo>
                      <a:lnTo>
                        <a:pt x="1074" y="1518"/>
                      </a:lnTo>
                      <a:lnTo>
                        <a:pt x="1077" y="1519"/>
                      </a:lnTo>
                      <a:lnTo>
                        <a:pt x="1083" y="1517"/>
                      </a:lnTo>
                      <a:lnTo>
                        <a:pt x="1088" y="1509"/>
                      </a:lnTo>
                      <a:lnTo>
                        <a:pt x="1085" y="1508"/>
                      </a:lnTo>
                      <a:lnTo>
                        <a:pt x="1082" y="1504"/>
                      </a:lnTo>
                      <a:lnTo>
                        <a:pt x="1076" y="1506"/>
                      </a:lnTo>
                      <a:lnTo>
                        <a:pt x="1081" y="1496"/>
                      </a:lnTo>
                      <a:lnTo>
                        <a:pt x="1088" y="1486"/>
                      </a:lnTo>
                      <a:lnTo>
                        <a:pt x="1093" y="1486"/>
                      </a:lnTo>
                      <a:lnTo>
                        <a:pt x="1096" y="1476"/>
                      </a:lnTo>
                      <a:lnTo>
                        <a:pt x="1091" y="1469"/>
                      </a:lnTo>
                      <a:lnTo>
                        <a:pt x="1082" y="1477"/>
                      </a:lnTo>
                      <a:lnTo>
                        <a:pt x="1076" y="1477"/>
                      </a:lnTo>
                      <a:lnTo>
                        <a:pt x="1065" y="1482"/>
                      </a:lnTo>
                      <a:lnTo>
                        <a:pt x="1064" y="1474"/>
                      </a:lnTo>
                      <a:lnTo>
                        <a:pt x="1074" y="1470"/>
                      </a:lnTo>
                      <a:lnTo>
                        <a:pt x="1082" y="1463"/>
                      </a:lnTo>
                      <a:lnTo>
                        <a:pt x="1083" y="1453"/>
                      </a:lnTo>
                      <a:lnTo>
                        <a:pt x="1076" y="1458"/>
                      </a:lnTo>
                      <a:lnTo>
                        <a:pt x="1076" y="1453"/>
                      </a:lnTo>
                      <a:lnTo>
                        <a:pt x="1066" y="1454"/>
                      </a:lnTo>
                      <a:lnTo>
                        <a:pt x="1066" y="1448"/>
                      </a:lnTo>
                      <a:lnTo>
                        <a:pt x="1063" y="1447"/>
                      </a:lnTo>
                      <a:lnTo>
                        <a:pt x="1066" y="1439"/>
                      </a:lnTo>
                      <a:lnTo>
                        <a:pt x="1077" y="1436"/>
                      </a:lnTo>
                      <a:lnTo>
                        <a:pt x="1083" y="1425"/>
                      </a:lnTo>
                      <a:lnTo>
                        <a:pt x="1074" y="1423"/>
                      </a:lnTo>
                      <a:lnTo>
                        <a:pt x="1082" y="1411"/>
                      </a:lnTo>
                      <a:lnTo>
                        <a:pt x="1086" y="1409"/>
                      </a:lnTo>
                      <a:lnTo>
                        <a:pt x="1090" y="1417"/>
                      </a:lnTo>
                      <a:lnTo>
                        <a:pt x="1093" y="1416"/>
                      </a:lnTo>
                      <a:lnTo>
                        <a:pt x="1098" y="1405"/>
                      </a:lnTo>
                      <a:lnTo>
                        <a:pt x="1109" y="1394"/>
                      </a:lnTo>
                      <a:lnTo>
                        <a:pt x="1109" y="1404"/>
                      </a:lnTo>
                      <a:lnTo>
                        <a:pt x="1099" y="1421"/>
                      </a:lnTo>
                      <a:lnTo>
                        <a:pt x="1096" y="1431"/>
                      </a:lnTo>
                      <a:lnTo>
                        <a:pt x="1102" y="1437"/>
                      </a:lnTo>
                      <a:lnTo>
                        <a:pt x="1111" y="1436"/>
                      </a:lnTo>
                      <a:lnTo>
                        <a:pt x="1114" y="1431"/>
                      </a:lnTo>
                      <a:lnTo>
                        <a:pt x="1114" y="1415"/>
                      </a:lnTo>
                      <a:lnTo>
                        <a:pt x="1115" y="1405"/>
                      </a:lnTo>
                      <a:lnTo>
                        <a:pt x="1120" y="1418"/>
                      </a:lnTo>
                      <a:lnTo>
                        <a:pt x="1120" y="1426"/>
                      </a:lnTo>
                      <a:lnTo>
                        <a:pt x="1128" y="1427"/>
                      </a:lnTo>
                      <a:lnTo>
                        <a:pt x="1144" y="1425"/>
                      </a:lnTo>
                      <a:lnTo>
                        <a:pt x="1150" y="1426"/>
                      </a:lnTo>
                      <a:lnTo>
                        <a:pt x="1160" y="1423"/>
                      </a:lnTo>
                      <a:lnTo>
                        <a:pt x="1166" y="1414"/>
                      </a:lnTo>
                      <a:lnTo>
                        <a:pt x="1178" y="1409"/>
                      </a:lnTo>
                      <a:lnTo>
                        <a:pt x="1190" y="1409"/>
                      </a:lnTo>
                      <a:lnTo>
                        <a:pt x="1189" y="1412"/>
                      </a:lnTo>
                      <a:lnTo>
                        <a:pt x="1173" y="1415"/>
                      </a:lnTo>
                      <a:lnTo>
                        <a:pt x="1173" y="1422"/>
                      </a:lnTo>
                      <a:lnTo>
                        <a:pt x="1171" y="1432"/>
                      </a:lnTo>
                      <a:lnTo>
                        <a:pt x="1171" y="1439"/>
                      </a:lnTo>
                      <a:lnTo>
                        <a:pt x="1177" y="1442"/>
                      </a:lnTo>
                      <a:lnTo>
                        <a:pt x="1194" y="1436"/>
                      </a:lnTo>
                      <a:lnTo>
                        <a:pt x="1195" y="1441"/>
                      </a:lnTo>
                      <a:lnTo>
                        <a:pt x="1179" y="1450"/>
                      </a:lnTo>
                      <a:lnTo>
                        <a:pt x="1168" y="1454"/>
                      </a:lnTo>
                      <a:lnTo>
                        <a:pt x="1183" y="1457"/>
                      </a:lnTo>
                      <a:lnTo>
                        <a:pt x="1190" y="1448"/>
                      </a:lnTo>
                      <a:lnTo>
                        <a:pt x="1200" y="1443"/>
                      </a:lnTo>
                      <a:lnTo>
                        <a:pt x="1204" y="1446"/>
                      </a:lnTo>
                      <a:lnTo>
                        <a:pt x="1190" y="1463"/>
                      </a:lnTo>
                      <a:lnTo>
                        <a:pt x="1208" y="1458"/>
                      </a:lnTo>
                      <a:lnTo>
                        <a:pt x="1212" y="1461"/>
                      </a:lnTo>
                      <a:lnTo>
                        <a:pt x="1222" y="1460"/>
                      </a:lnTo>
                      <a:lnTo>
                        <a:pt x="1224" y="1463"/>
                      </a:lnTo>
                      <a:lnTo>
                        <a:pt x="1216" y="1475"/>
                      </a:lnTo>
                      <a:lnTo>
                        <a:pt x="1224" y="1477"/>
                      </a:lnTo>
                      <a:lnTo>
                        <a:pt x="1238" y="1495"/>
                      </a:lnTo>
                      <a:lnTo>
                        <a:pt x="1246" y="1498"/>
                      </a:lnTo>
                      <a:lnTo>
                        <a:pt x="1253" y="1497"/>
                      </a:lnTo>
                      <a:lnTo>
                        <a:pt x="1253" y="1493"/>
                      </a:lnTo>
                      <a:lnTo>
                        <a:pt x="1254" y="1490"/>
                      </a:lnTo>
                      <a:lnTo>
                        <a:pt x="1254" y="1485"/>
                      </a:lnTo>
                      <a:lnTo>
                        <a:pt x="1258" y="1482"/>
                      </a:lnTo>
                      <a:lnTo>
                        <a:pt x="1263" y="1481"/>
                      </a:lnTo>
                      <a:lnTo>
                        <a:pt x="1268" y="1485"/>
                      </a:lnTo>
                      <a:lnTo>
                        <a:pt x="1270" y="1491"/>
                      </a:lnTo>
                      <a:lnTo>
                        <a:pt x="1270" y="1500"/>
                      </a:lnTo>
                      <a:lnTo>
                        <a:pt x="1279" y="1506"/>
                      </a:lnTo>
                      <a:lnTo>
                        <a:pt x="1284" y="1512"/>
                      </a:lnTo>
                      <a:lnTo>
                        <a:pt x="1287" y="1514"/>
                      </a:lnTo>
                      <a:lnTo>
                        <a:pt x="1289" y="1509"/>
                      </a:lnTo>
                      <a:lnTo>
                        <a:pt x="1296" y="1514"/>
                      </a:lnTo>
                      <a:lnTo>
                        <a:pt x="1301" y="1513"/>
                      </a:lnTo>
                      <a:lnTo>
                        <a:pt x="1307" y="1517"/>
                      </a:lnTo>
                      <a:lnTo>
                        <a:pt x="1313" y="1524"/>
                      </a:lnTo>
                      <a:lnTo>
                        <a:pt x="1313" y="1528"/>
                      </a:lnTo>
                      <a:lnTo>
                        <a:pt x="1312" y="1531"/>
                      </a:lnTo>
                      <a:lnTo>
                        <a:pt x="1316" y="1534"/>
                      </a:lnTo>
                      <a:lnTo>
                        <a:pt x="1324" y="1535"/>
                      </a:lnTo>
                      <a:lnTo>
                        <a:pt x="1337" y="1530"/>
                      </a:lnTo>
                      <a:lnTo>
                        <a:pt x="1370" y="1529"/>
                      </a:lnTo>
                      <a:lnTo>
                        <a:pt x="1373" y="1523"/>
                      </a:lnTo>
                      <a:lnTo>
                        <a:pt x="1383" y="1528"/>
                      </a:lnTo>
                      <a:lnTo>
                        <a:pt x="1387" y="1523"/>
                      </a:lnTo>
                      <a:lnTo>
                        <a:pt x="1399" y="1525"/>
                      </a:lnTo>
                      <a:lnTo>
                        <a:pt x="1405" y="1531"/>
                      </a:lnTo>
                      <a:lnTo>
                        <a:pt x="1437" y="1538"/>
                      </a:lnTo>
                      <a:lnTo>
                        <a:pt x="1445" y="1539"/>
                      </a:lnTo>
                      <a:lnTo>
                        <a:pt x="1459" y="1531"/>
                      </a:lnTo>
                      <a:lnTo>
                        <a:pt x="1466" y="1536"/>
                      </a:lnTo>
                      <a:lnTo>
                        <a:pt x="1467" y="1539"/>
                      </a:lnTo>
                      <a:lnTo>
                        <a:pt x="1459" y="1541"/>
                      </a:lnTo>
                      <a:lnTo>
                        <a:pt x="1458" y="1545"/>
                      </a:lnTo>
                      <a:lnTo>
                        <a:pt x="1463" y="1549"/>
                      </a:lnTo>
                      <a:lnTo>
                        <a:pt x="1483" y="1557"/>
                      </a:lnTo>
                      <a:lnTo>
                        <a:pt x="1504" y="1562"/>
                      </a:lnTo>
                      <a:lnTo>
                        <a:pt x="1522" y="1565"/>
                      </a:lnTo>
                      <a:lnTo>
                        <a:pt x="1540" y="1556"/>
                      </a:lnTo>
                      <a:lnTo>
                        <a:pt x="1555" y="1538"/>
                      </a:lnTo>
                      <a:lnTo>
                        <a:pt x="1559" y="1529"/>
                      </a:lnTo>
                      <a:lnTo>
                        <a:pt x="1563" y="1525"/>
                      </a:lnTo>
                      <a:lnTo>
                        <a:pt x="1574" y="1540"/>
                      </a:lnTo>
                      <a:lnTo>
                        <a:pt x="1580" y="1546"/>
                      </a:lnTo>
                      <a:lnTo>
                        <a:pt x="1590" y="1550"/>
                      </a:lnTo>
                      <a:lnTo>
                        <a:pt x="1586" y="1551"/>
                      </a:lnTo>
                      <a:lnTo>
                        <a:pt x="1579" y="1557"/>
                      </a:lnTo>
                      <a:lnTo>
                        <a:pt x="1579" y="1565"/>
                      </a:lnTo>
                      <a:lnTo>
                        <a:pt x="1580" y="1571"/>
                      </a:lnTo>
                      <a:lnTo>
                        <a:pt x="1581" y="1578"/>
                      </a:lnTo>
                      <a:lnTo>
                        <a:pt x="1579" y="1582"/>
                      </a:lnTo>
                      <a:lnTo>
                        <a:pt x="1574" y="1577"/>
                      </a:lnTo>
                      <a:lnTo>
                        <a:pt x="1572" y="1557"/>
                      </a:lnTo>
                      <a:lnTo>
                        <a:pt x="1574" y="1552"/>
                      </a:lnTo>
                      <a:lnTo>
                        <a:pt x="1574" y="1545"/>
                      </a:lnTo>
                      <a:lnTo>
                        <a:pt x="1570" y="1539"/>
                      </a:lnTo>
                      <a:lnTo>
                        <a:pt x="1567" y="1536"/>
                      </a:lnTo>
                      <a:lnTo>
                        <a:pt x="1563" y="1541"/>
                      </a:lnTo>
                      <a:lnTo>
                        <a:pt x="1561" y="1546"/>
                      </a:lnTo>
                      <a:lnTo>
                        <a:pt x="1561" y="1560"/>
                      </a:lnTo>
                      <a:lnTo>
                        <a:pt x="1564" y="1563"/>
                      </a:lnTo>
                      <a:lnTo>
                        <a:pt x="1564" y="1570"/>
                      </a:lnTo>
                      <a:lnTo>
                        <a:pt x="1563" y="1574"/>
                      </a:lnTo>
                      <a:lnTo>
                        <a:pt x="1560" y="1578"/>
                      </a:lnTo>
                      <a:lnTo>
                        <a:pt x="1555" y="1579"/>
                      </a:lnTo>
                      <a:lnTo>
                        <a:pt x="1548" y="1587"/>
                      </a:lnTo>
                      <a:lnTo>
                        <a:pt x="1552" y="1592"/>
                      </a:lnTo>
                      <a:lnTo>
                        <a:pt x="1567" y="1595"/>
                      </a:lnTo>
                      <a:lnTo>
                        <a:pt x="1567" y="1599"/>
                      </a:lnTo>
                      <a:lnTo>
                        <a:pt x="1572" y="1601"/>
                      </a:lnTo>
                      <a:lnTo>
                        <a:pt x="1579" y="1601"/>
                      </a:lnTo>
                      <a:lnTo>
                        <a:pt x="1581" y="1603"/>
                      </a:lnTo>
                      <a:lnTo>
                        <a:pt x="1580" y="1606"/>
                      </a:lnTo>
                      <a:lnTo>
                        <a:pt x="1598" y="1614"/>
                      </a:lnTo>
                      <a:lnTo>
                        <a:pt x="1612" y="1627"/>
                      </a:lnTo>
                      <a:lnTo>
                        <a:pt x="1612" y="1624"/>
                      </a:lnTo>
                      <a:lnTo>
                        <a:pt x="1615" y="1620"/>
                      </a:lnTo>
                      <a:lnTo>
                        <a:pt x="1629" y="1620"/>
                      </a:lnTo>
                      <a:lnTo>
                        <a:pt x="1630" y="1619"/>
                      </a:lnTo>
                      <a:lnTo>
                        <a:pt x="1631" y="1608"/>
                      </a:lnTo>
                      <a:lnTo>
                        <a:pt x="1628" y="1599"/>
                      </a:lnTo>
                      <a:lnTo>
                        <a:pt x="1630" y="1598"/>
                      </a:lnTo>
                      <a:lnTo>
                        <a:pt x="1635" y="1600"/>
                      </a:lnTo>
                      <a:lnTo>
                        <a:pt x="1638" y="1595"/>
                      </a:lnTo>
                      <a:lnTo>
                        <a:pt x="1635" y="1592"/>
                      </a:lnTo>
                      <a:lnTo>
                        <a:pt x="1608" y="1557"/>
                      </a:lnTo>
                      <a:lnTo>
                        <a:pt x="1603" y="1546"/>
                      </a:lnTo>
                      <a:lnTo>
                        <a:pt x="1590" y="1535"/>
                      </a:lnTo>
                      <a:lnTo>
                        <a:pt x="1583" y="1529"/>
                      </a:lnTo>
                      <a:lnTo>
                        <a:pt x="1587" y="1529"/>
                      </a:lnTo>
                      <a:lnTo>
                        <a:pt x="1587" y="1523"/>
                      </a:lnTo>
                      <a:lnTo>
                        <a:pt x="1587" y="1501"/>
                      </a:lnTo>
                      <a:lnTo>
                        <a:pt x="1554" y="1502"/>
                      </a:lnTo>
                      <a:lnTo>
                        <a:pt x="1542" y="1517"/>
                      </a:lnTo>
                      <a:lnTo>
                        <a:pt x="1536" y="1514"/>
                      </a:lnTo>
                      <a:lnTo>
                        <a:pt x="1521" y="1503"/>
                      </a:lnTo>
                      <a:lnTo>
                        <a:pt x="1506" y="1514"/>
                      </a:lnTo>
                      <a:lnTo>
                        <a:pt x="1486" y="1502"/>
                      </a:lnTo>
                      <a:lnTo>
                        <a:pt x="1486" y="146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262" name="Freeform 276"/>
                <p:cNvSpPr>
                  <a:spLocks noChangeAspect="1"/>
                </p:cNvSpPr>
                <p:nvPr/>
              </p:nvSpPr>
              <p:spPr bwMode="gray">
                <a:xfrm>
                  <a:off x="999" y="1668"/>
                  <a:ext cx="91" cy="101"/>
                </a:xfrm>
                <a:custGeom>
                  <a:avLst/>
                  <a:gdLst/>
                  <a:ahLst/>
                  <a:cxnLst>
                    <a:cxn ang="0">
                      <a:pos x="39" y="90"/>
                    </a:cxn>
                    <a:cxn ang="0">
                      <a:pos x="91" y="60"/>
                    </a:cxn>
                    <a:cxn ang="0">
                      <a:pos x="103" y="29"/>
                    </a:cxn>
                    <a:cxn ang="0">
                      <a:pos x="162" y="7"/>
                    </a:cxn>
                    <a:cxn ang="0">
                      <a:pos x="192" y="55"/>
                    </a:cxn>
                    <a:cxn ang="0">
                      <a:pos x="214" y="100"/>
                    </a:cxn>
                    <a:cxn ang="0">
                      <a:pos x="292" y="206"/>
                    </a:cxn>
                    <a:cxn ang="0">
                      <a:pos x="322" y="262"/>
                    </a:cxn>
                    <a:cxn ang="0">
                      <a:pos x="334" y="292"/>
                    </a:cxn>
                    <a:cxn ang="0">
                      <a:pos x="353" y="335"/>
                    </a:cxn>
                    <a:cxn ang="0">
                      <a:pos x="450" y="384"/>
                    </a:cxn>
                    <a:cxn ang="0">
                      <a:pos x="451" y="416"/>
                    </a:cxn>
                    <a:cxn ang="0">
                      <a:pos x="451" y="474"/>
                    </a:cxn>
                    <a:cxn ang="0">
                      <a:pos x="424" y="498"/>
                    </a:cxn>
                    <a:cxn ang="0">
                      <a:pos x="404" y="506"/>
                    </a:cxn>
                    <a:cxn ang="0">
                      <a:pos x="416" y="479"/>
                    </a:cxn>
                    <a:cxn ang="0">
                      <a:pos x="421" y="454"/>
                    </a:cxn>
                    <a:cxn ang="0">
                      <a:pos x="407" y="439"/>
                    </a:cxn>
                    <a:cxn ang="0">
                      <a:pos x="394" y="390"/>
                    </a:cxn>
                    <a:cxn ang="0">
                      <a:pos x="389" y="378"/>
                    </a:cxn>
                    <a:cxn ang="0">
                      <a:pos x="362" y="396"/>
                    </a:cxn>
                    <a:cxn ang="0">
                      <a:pos x="354" y="418"/>
                    </a:cxn>
                    <a:cxn ang="0">
                      <a:pos x="338" y="431"/>
                    </a:cxn>
                    <a:cxn ang="0">
                      <a:pos x="342" y="405"/>
                    </a:cxn>
                    <a:cxn ang="0">
                      <a:pos x="369" y="366"/>
                    </a:cxn>
                    <a:cxn ang="0">
                      <a:pos x="328" y="320"/>
                    </a:cxn>
                    <a:cxn ang="0">
                      <a:pos x="302" y="305"/>
                    </a:cxn>
                    <a:cxn ang="0">
                      <a:pos x="305" y="299"/>
                    </a:cxn>
                    <a:cxn ang="0">
                      <a:pos x="286" y="282"/>
                    </a:cxn>
                    <a:cxn ang="0">
                      <a:pos x="275" y="276"/>
                    </a:cxn>
                    <a:cxn ang="0">
                      <a:pos x="279" y="260"/>
                    </a:cxn>
                    <a:cxn ang="0">
                      <a:pos x="268" y="246"/>
                    </a:cxn>
                    <a:cxn ang="0">
                      <a:pos x="267" y="229"/>
                    </a:cxn>
                    <a:cxn ang="0">
                      <a:pos x="284" y="238"/>
                    </a:cxn>
                    <a:cxn ang="0">
                      <a:pos x="276" y="219"/>
                    </a:cxn>
                    <a:cxn ang="0">
                      <a:pos x="264" y="198"/>
                    </a:cxn>
                    <a:cxn ang="0">
                      <a:pos x="254" y="203"/>
                    </a:cxn>
                    <a:cxn ang="0">
                      <a:pos x="251" y="190"/>
                    </a:cxn>
                    <a:cxn ang="0">
                      <a:pos x="256" y="169"/>
                    </a:cxn>
                    <a:cxn ang="0">
                      <a:pos x="233" y="183"/>
                    </a:cxn>
                    <a:cxn ang="0">
                      <a:pos x="219" y="165"/>
                    </a:cxn>
                    <a:cxn ang="0">
                      <a:pos x="178" y="124"/>
                    </a:cxn>
                    <a:cxn ang="0">
                      <a:pos x="156" y="52"/>
                    </a:cxn>
                    <a:cxn ang="0">
                      <a:pos x="150" y="63"/>
                    </a:cxn>
                    <a:cxn ang="0">
                      <a:pos x="172" y="142"/>
                    </a:cxn>
                    <a:cxn ang="0">
                      <a:pos x="152" y="142"/>
                    </a:cxn>
                    <a:cxn ang="0">
                      <a:pos x="133" y="127"/>
                    </a:cxn>
                    <a:cxn ang="0">
                      <a:pos x="117" y="90"/>
                    </a:cxn>
                    <a:cxn ang="0">
                      <a:pos x="90" y="85"/>
                    </a:cxn>
                    <a:cxn ang="0">
                      <a:pos x="71" y="82"/>
                    </a:cxn>
                    <a:cxn ang="0">
                      <a:pos x="77" y="95"/>
                    </a:cxn>
                    <a:cxn ang="0">
                      <a:pos x="98" y="121"/>
                    </a:cxn>
                    <a:cxn ang="0">
                      <a:pos x="117" y="141"/>
                    </a:cxn>
                    <a:cxn ang="0">
                      <a:pos x="97" y="149"/>
                    </a:cxn>
                    <a:cxn ang="0">
                      <a:pos x="48" y="135"/>
                    </a:cxn>
                    <a:cxn ang="0">
                      <a:pos x="27" y="116"/>
                    </a:cxn>
                    <a:cxn ang="0">
                      <a:pos x="5" y="47"/>
                    </a:cxn>
                  </a:cxnLst>
                  <a:rect l="0" t="0" r="r" b="b"/>
                  <a:pathLst>
                    <a:path w="456" h="507">
                      <a:moveTo>
                        <a:pt x="10" y="44"/>
                      </a:moveTo>
                      <a:lnTo>
                        <a:pt x="26" y="57"/>
                      </a:lnTo>
                      <a:lnTo>
                        <a:pt x="36" y="81"/>
                      </a:lnTo>
                      <a:lnTo>
                        <a:pt x="39" y="87"/>
                      </a:lnTo>
                      <a:lnTo>
                        <a:pt x="39" y="90"/>
                      </a:lnTo>
                      <a:lnTo>
                        <a:pt x="42" y="92"/>
                      </a:lnTo>
                      <a:lnTo>
                        <a:pt x="55" y="87"/>
                      </a:lnTo>
                      <a:lnTo>
                        <a:pt x="71" y="73"/>
                      </a:lnTo>
                      <a:lnTo>
                        <a:pt x="87" y="68"/>
                      </a:lnTo>
                      <a:lnTo>
                        <a:pt x="91" y="60"/>
                      </a:lnTo>
                      <a:lnTo>
                        <a:pt x="91" y="51"/>
                      </a:lnTo>
                      <a:lnTo>
                        <a:pt x="93" y="47"/>
                      </a:lnTo>
                      <a:lnTo>
                        <a:pt x="100" y="44"/>
                      </a:lnTo>
                      <a:lnTo>
                        <a:pt x="102" y="41"/>
                      </a:lnTo>
                      <a:lnTo>
                        <a:pt x="103" y="29"/>
                      </a:lnTo>
                      <a:lnTo>
                        <a:pt x="108" y="23"/>
                      </a:lnTo>
                      <a:lnTo>
                        <a:pt x="129" y="17"/>
                      </a:lnTo>
                      <a:lnTo>
                        <a:pt x="151" y="0"/>
                      </a:lnTo>
                      <a:lnTo>
                        <a:pt x="156" y="1"/>
                      </a:lnTo>
                      <a:lnTo>
                        <a:pt x="162" y="7"/>
                      </a:lnTo>
                      <a:lnTo>
                        <a:pt x="171" y="25"/>
                      </a:lnTo>
                      <a:lnTo>
                        <a:pt x="174" y="29"/>
                      </a:lnTo>
                      <a:lnTo>
                        <a:pt x="179" y="29"/>
                      </a:lnTo>
                      <a:lnTo>
                        <a:pt x="183" y="41"/>
                      </a:lnTo>
                      <a:lnTo>
                        <a:pt x="192" y="55"/>
                      </a:lnTo>
                      <a:lnTo>
                        <a:pt x="194" y="63"/>
                      </a:lnTo>
                      <a:lnTo>
                        <a:pt x="206" y="74"/>
                      </a:lnTo>
                      <a:lnTo>
                        <a:pt x="210" y="90"/>
                      </a:lnTo>
                      <a:lnTo>
                        <a:pt x="210" y="93"/>
                      </a:lnTo>
                      <a:lnTo>
                        <a:pt x="214" y="100"/>
                      </a:lnTo>
                      <a:lnTo>
                        <a:pt x="235" y="109"/>
                      </a:lnTo>
                      <a:lnTo>
                        <a:pt x="246" y="120"/>
                      </a:lnTo>
                      <a:lnTo>
                        <a:pt x="253" y="141"/>
                      </a:lnTo>
                      <a:lnTo>
                        <a:pt x="264" y="160"/>
                      </a:lnTo>
                      <a:lnTo>
                        <a:pt x="292" y="206"/>
                      </a:lnTo>
                      <a:lnTo>
                        <a:pt x="299" y="224"/>
                      </a:lnTo>
                      <a:lnTo>
                        <a:pt x="300" y="227"/>
                      </a:lnTo>
                      <a:lnTo>
                        <a:pt x="303" y="227"/>
                      </a:lnTo>
                      <a:lnTo>
                        <a:pt x="308" y="245"/>
                      </a:lnTo>
                      <a:lnTo>
                        <a:pt x="322" y="262"/>
                      </a:lnTo>
                      <a:lnTo>
                        <a:pt x="326" y="270"/>
                      </a:lnTo>
                      <a:lnTo>
                        <a:pt x="326" y="273"/>
                      </a:lnTo>
                      <a:lnTo>
                        <a:pt x="323" y="278"/>
                      </a:lnTo>
                      <a:lnTo>
                        <a:pt x="324" y="283"/>
                      </a:lnTo>
                      <a:lnTo>
                        <a:pt x="334" y="292"/>
                      </a:lnTo>
                      <a:lnTo>
                        <a:pt x="338" y="299"/>
                      </a:lnTo>
                      <a:lnTo>
                        <a:pt x="338" y="303"/>
                      </a:lnTo>
                      <a:lnTo>
                        <a:pt x="343" y="320"/>
                      </a:lnTo>
                      <a:lnTo>
                        <a:pt x="348" y="329"/>
                      </a:lnTo>
                      <a:lnTo>
                        <a:pt x="353" y="335"/>
                      </a:lnTo>
                      <a:lnTo>
                        <a:pt x="365" y="342"/>
                      </a:lnTo>
                      <a:lnTo>
                        <a:pt x="401" y="352"/>
                      </a:lnTo>
                      <a:lnTo>
                        <a:pt x="426" y="373"/>
                      </a:lnTo>
                      <a:lnTo>
                        <a:pt x="431" y="379"/>
                      </a:lnTo>
                      <a:lnTo>
                        <a:pt x="450" y="384"/>
                      </a:lnTo>
                      <a:lnTo>
                        <a:pt x="452" y="388"/>
                      </a:lnTo>
                      <a:lnTo>
                        <a:pt x="456" y="394"/>
                      </a:lnTo>
                      <a:lnTo>
                        <a:pt x="456" y="396"/>
                      </a:lnTo>
                      <a:lnTo>
                        <a:pt x="453" y="401"/>
                      </a:lnTo>
                      <a:lnTo>
                        <a:pt x="451" y="416"/>
                      </a:lnTo>
                      <a:lnTo>
                        <a:pt x="451" y="443"/>
                      </a:lnTo>
                      <a:lnTo>
                        <a:pt x="456" y="459"/>
                      </a:lnTo>
                      <a:lnTo>
                        <a:pt x="456" y="464"/>
                      </a:lnTo>
                      <a:lnTo>
                        <a:pt x="453" y="470"/>
                      </a:lnTo>
                      <a:lnTo>
                        <a:pt x="451" y="474"/>
                      </a:lnTo>
                      <a:lnTo>
                        <a:pt x="450" y="481"/>
                      </a:lnTo>
                      <a:lnTo>
                        <a:pt x="441" y="480"/>
                      </a:lnTo>
                      <a:lnTo>
                        <a:pt x="435" y="488"/>
                      </a:lnTo>
                      <a:lnTo>
                        <a:pt x="429" y="496"/>
                      </a:lnTo>
                      <a:lnTo>
                        <a:pt x="424" y="498"/>
                      </a:lnTo>
                      <a:lnTo>
                        <a:pt x="419" y="498"/>
                      </a:lnTo>
                      <a:lnTo>
                        <a:pt x="415" y="503"/>
                      </a:lnTo>
                      <a:lnTo>
                        <a:pt x="410" y="496"/>
                      </a:lnTo>
                      <a:lnTo>
                        <a:pt x="409" y="507"/>
                      </a:lnTo>
                      <a:lnTo>
                        <a:pt x="404" y="506"/>
                      </a:lnTo>
                      <a:lnTo>
                        <a:pt x="403" y="496"/>
                      </a:lnTo>
                      <a:lnTo>
                        <a:pt x="403" y="482"/>
                      </a:lnTo>
                      <a:lnTo>
                        <a:pt x="409" y="480"/>
                      </a:lnTo>
                      <a:lnTo>
                        <a:pt x="413" y="482"/>
                      </a:lnTo>
                      <a:lnTo>
                        <a:pt x="416" y="479"/>
                      </a:lnTo>
                      <a:lnTo>
                        <a:pt x="419" y="480"/>
                      </a:lnTo>
                      <a:lnTo>
                        <a:pt x="421" y="475"/>
                      </a:lnTo>
                      <a:lnTo>
                        <a:pt x="425" y="474"/>
                      </a:lnTo>
                      <a:lnTo>
                        <a:pt x="423" y="467"/>
                      </a:lnTo>
                      <a:lnTo>
                        <a:pt x="421" y="454"/>
                      </a:lnTo>
                      <a:lnTo>
                        <a:pt x="416" y="453"/>
                      </a:lnTo>
                      <a:lnTo>
                        <a:pt x="414" y="456"/>
                      </a:lnTo>
                      <a:lnTo>
                        <a:pt x="410" y="456"/>
                      </a:lnTo>
                      <a:lnTo>
                        <a:pt x="408" y="454"/>
                      </a:lnTo>
                      <a:lnTo>
                        <a:pt x="407" y="439"/>
                      </a:lnTo>
                      <a:lnTo>
                        <a:pt x="408" y="432"/>
                      </a:lnTo>
                      <a:lnTo>
                        <a:pt x="405" y="426"/>
                      </a:lnTo>
                      <a:lnTo>
                        <a:pt x="404" y="416"/>
                      </a:lnTo>
                      <a:lnTo>
                        <a:pt x="397" y="402"/>
                      </a:lnTo>
                      <a:lnTo>
                        <a:pt x="394" y="390"/>
                      </a:lnTo>
                      <a:lnTo>
                        <a:pt x="392" y="395"/>
                      </a:lnTo>
                      <a:lnTo>
                        <a:pt x="393" y="388"/>
                      </a:lnTo>
                      <a:lnTo>
                        <a:pt x="397" y="382"/>
                      </a:lnTo>
                      <a:lnTo>
                        <a:pt x="394" y="377"/>
                      </a:lnTo>
                      <a:lnTo>
                        <a:pt x="389" y="378"/>
                      </a:lnTo>
                      <a:lnTo>
                        <a:pt x="382" y="386"/>
                      </a:lnTo>
                      <a:lnTo>
                        <a:pt x="377" y="390"/>
                      </a:lnTo>
                      <a:lnTo>
                        <a:pt x="375" y="396"/>
                      </a:lnTo>
                      <a:lnTo>
                        <a:pt x="367" y="393"/>
                      </a:lnTo>
                      <a:lnTo>
                        <a:pt x="362" y="396"/>
                      </a:lnTo>
                      <a:lnTo>
                        <a:pt x="356" y="400"/>
                      </a:lnTo>
                      <a:lnTo>
                        <a:pt x="358" y="404"/>
                      </a:lnTo>
                      <a:lnTo>
                        <a:pt x="355" y="411"/>
                      </a:lnTo>
                      <a:lnTo>
                        <a:pt x="354" y="415"/>
                      </a:lnTo>
                      <a:lnTo>
                        <a:pt x="354" y="418"/>
                      </a:lnTo>
                      <a:lnTo>
                        <a:pt x="350" y="423"/>
                      </a:lnTo>
                      <a:lnTo>
                        <a:pt x="346" y="423"/>
                      </a:lnTo>
                      <a:lnTo>
                        <a:pt x="346" y="429"/>
                      </a:lnTo>
                      <a:lnTo>
                        <a:pt x="342" y="434"/>
                      </a:lnTo>
                      <a:lnTo>
                        <a:pt x="338" y="431"/>
                      </a:lnTo>
                      <a:lnTo>
                        <a:pt x="333" y="423"/>
                      </a:lnTo>
                      <a:lnTo>
                        <a:pt x="331" y="416"/>
                      </a:lnTo>
                      <a:lnTo>
                        <a:pt x="332" y="411"/>
                      </a:lnTo>
                      <a:lnTo>
                        <a:pt x="337" y="410"/>
                      </a:lnTo>
                      <a:lnTo>
                        <a:pt x="342" y="405"/>
                      </a:lnTo>
                      <a:lnTo>
                        <a:pt x="346" y="389"/>
                      </a:lnTo>
                      <a:lnTo>
                        <a:pt x="346" y="375"/>
                      </a:lnTo>
                      <a:lnTo>
                        <a:pt x="351" y="370"/>
                      </a:lnTo>
                      <a:lnTo>
                        <a:pt x="367" y="369"/>
                      </a:lnTo>
                      <a:lnTo>
                        <a:pt x="369" y="366"/>
                      </a:lnTo>
                      <a:lnTo>
                        <a:pt x="350" y="359"/>
                      </a:lnTo>
                      <a:lnTo>
                        <a:pt x="344" y="352"/>
                      </a:lnTo>
                      <a:lnTo>
                        <a:pt x="335" y="348"/>
                      </a:lnTo>
                      <a:lnTo>
                        <a:pt x="329" y="339"/>
                      </a:lnTo>
                      <a:lnTo>
                        <a:pt x="328" y="320"/>
                      </a:lnTo>
                      <a:lnTo>
                        <a:pt x="318" y="319"/>
                      </a:lnTo>
                      <a:lnTo>
                        <a:pt x="317" y="315"/>
                      </a:lnTo>
                      <a:lnTo>
                        <a:pt x="317" y="310"/>
                      </a:lnTo>
                      <a:lnTo>
                        <a:pt x="315" y="307"/>
                      </a:lnTo>
                      <a:lnTo>
                        <a:pt x="302" y="305"/>
                      </a:lnTo>
                      <a:lnTo>
                        <a:pt x="299" y="302"/>
                      </a:lnTo>
                      <a:lnTo>
                        <a:pt x="290" y="288"/>
                      </a:lnTo>
                      <a:lnTo>
                        <a:pt x="289" y="283"/>
                      </a:lnTo>
                      <a:lnTo>
                        <a:pt x="303" y="296"/>
                      </a:lnTo>
                      <a:lnTo>
                        <a:pt x="305" y="299"/>
                      </a:lnTo>
                      <a:lnTo>
                        <a:pt x="300" y="287"/>
                      </a:lnTo>
                      <a:lnTo>
                        <a:pt x="300" y="278"/>
                      </a:lnTo>
                      <a:lnTo>
                        <a:pt x="296" y="278"/>
                      </a:lnTo>
                      <a:lnTo>
                        <a:pt x="291" y="282"/>
                      </a:lnTo>
                      <a:lnTo>
                        <a:pt x="286" y="282"/>
                      </a:lnTo>
                      <a:lnTo>
                        <a:pt x="281" y="278"/>
                      </a:lnTo>
                      <a:lnTo>
                        <a:pt x="281" y="275"/>
                      </a:lnTo>
                      <a:lnTo>
                        <a:pt x="280" y="273"/>
                      </a:lnTo>
                      <a:lnTo>
                        <a:pt x="276" y="273"/>
                      </a:lnTo>
                      <a:lnTo>
                        <a:pt x="275" y="276"/>
                      </a:lnTo>
                      <a:lnTo>
                        <a:pt x="270" y="278"/>
                      </a:lnTo>
                      <a:lnTo>
                        <a:pt x="264" y="271"/>
                      </a:lnTo>
                      <a:lnTo>
                        <a:pt x="263" y="267"/>
                      </a:lnTo>
                      <a:lnTo>
                        <a:pt x="264" y="261"/>
                      </a:lnTo>
                      <a:lnTo>
                        <a:pt x="279" y="260"/>
                      </a:lnTo>
                      <a:lnTo>
                        <a:pt x="281" y="255"/>
                      </a:lnTo>
                      <a:lnTo>
                        <a:pt x="270" y="255"/>
                      </a:lnTo>
                      <a:lnTo>
                        <a:pt x="265" y="253"/>
                      </a:lnTo>
                      <a:lnTo>
                        <a:pt x="265" y="250"/>
                      </a:lnTo>
                      <a:lnTo>
                        <a:pt x="268" y="246"/>
                      </a:lnTo>
                      <a:lnTo>
                        <a:pt x="267" y="244"/>
                      </a:lnTo>
                      <a:lnTo>
                        <a:pt x="262" y="244"/>
                      </a:lnTo>
                      <a:lnTo>
                        <a:pt x="262" y="237"/>
                      </a:lnTo>
                      <a:lnTo>
                        <a:pt x="268" y="233"/>
                      </a:lnTo>
                      <a:lnTo>
                        <a:pt x="267" y="229"/>
                      </a:lnTo>
                      <a:lnTo>
                        <a:pt x="256" y="233"/>
                      </a:lnTo>
                      <a:lnTo>
                        <a:pt x="253" y="229"/>
                      </a:lnTo>
                      <a:lnTo>
                        <a:pt x="257" y="219"/>
                      </a:lnTo>
                      <a:lnTo>
                        <a:pt x="279" y="230"/>
                      </a:lnTo>
                      <a:lnTo>
                        <a:pt x="284" y="238"/>
                      </a:lnTo>
                      <a:lnTo>
                        <a:pt x="289" y="239"/>
                      </a:lnTo>
                      <a:lnTo>
                        <a:pt x="286" y="239"/>
                      </a:lnTo>
                      <a:lnTo>
                        <a:pt x="281" y="232"/>
                      </a:lnTo>
                      <a:lnTo>
                        <a:pt x="280" y="222"/>
                      </a:lnTo>
                      <a:lnTo>
                        <a:pt x="276" y="219"/>
                      </a:lnTo>
                      <a:lnTo>
                        <a:pt x="276" y="223"/>
                      </a:lnTo>
                      <a:lnTo>
                        <a:pt x="272" y="219"/>
                      </a:lnTo>
                      <a:lnTo>
                        <a:pt x="263" y="208"/>
                      </a:lnTo>
                      <a:lnTo>
                        <a:pt x="260" y="203"/>
                      </a:lnTo>
                      <a:lnTo>
                        <a:pt x="264" y="198"/>
                      </a:lnTo>
                      <a:lnTo>
                        <a:pt x="275" y="201"/>
                      </a:lnTo>
                      <a:lnTo>
                        <a:pt x="279" y="198"/>
                      </a:lnTo>
                      <a:lnTo>
                        <a:pt x="273" y="196"/>
                      </a:lnTo>
                      <a:lnTo>
                        <a:pt x="254" y="196"/>
                      </a:lnTo>
                      <a:lnTo>
                        <a:pt x="254" y="203"/>
                      </a:lnTo>
                      <a:lnTo>
                        <a:pt x="249" y="208"/>
                      </a:lnTo>
                      <a:lnTo>
                        <a:pt x="247" y="203"/>
                      </a:lnTo>
                      <a:lnTo>
                        <a:pt x="243" y="196"/>
                      </a:lnTo>
                      <a:lnTo>
                        <a:pt x="245" y="190"/>
                      </a:lnTo>
                      <a:lnTo>
                        <a:pt x="251" y="190"/>
                      </a:lnTo>
                      <a:lnTo>
                        <a:pt x="262" y="181"/>
                      </a:lnTo>
                      <a:lnTo>
                        <a:pt x="259" y="178"/>
                      </a:lnTo>
                      <a:lnTo>
                        <a:pt x="251" y="184"/>
                      </a:lnTo>
                      <a:lnTo>
                        <a:pt x="249" y="180"/>
                      </a:lnTo>
                      <a:lnTo>
                        <a:pt x="256" y="169"/>
                      </a:lnTo>
                      <a:lnTo>
                        <a:pt x="249" y="169"/>
                      </a:lnTo>
                      <a:lnTo>
                        <a:pt x="246" y="173"/>
                      </a:lnTo>
                      <a:lnTo>
                        <a:pt x="243" y="180"/>
                      </a:lnTo>
                      <a:lnTo>
                        <a:pt x="238" y="186"/>
                      </a:lnTo>
                      <a:lnTo>
                        <a:pt x="233" y="183"/>
                      </a:lnTo>
                      <a:lnTo>
                        <a:pt x="230" y="171"/>
                      </a:lnTo>
                      <a:lnTo>
                        <a:pt x="230" y="165"/>
                      </a:lnTo>
                      <a:lnTo>
                        <a:pt x="226" y="162"/>
                      </a:lnTo>
                      <a:lnTo>
                        <a:pt x="224" y="162"/>
                      </a:lnTo>
                      <a:lnTo>
                        <a:pt x="219" y="165"/>
                      </a:lnTo>
                      <a:lnTo>
                        <a:pt x="215" y="159"/>
                      </a:lnTo>
                      <a:lnTo>
                        <a:pt x="202" y="148"/>
                      </a:lnTo>
                      <a:lnTo>
                        <a:pt x="190" y="146"/>
                      </a:lnTo>
                      <a:lnTo>
                        <a:pt x="183" y="130"/>
                      </a:lnTo>
                      <a:lnTo>
                        <a:pt x="178" y="124"/>
                      </a:lnTo>
                      <a:lnTo>
                        <a:pt x="181" y="117"/>
                      </a:lnTo>
                      <a:lnTo>
                        <a:pt x="178" y="104"/>
                      </a:lnTo>
                      <a:lnTo>
                        <a:pt x="173" y="108"/>
                      </a:lnTo>
                      <a:lnTo>
                        <a:pt x="162" y="68"/>
                      </a:lnTo>
                      <a:lnTo>
                        <a:pt x="156" y="52"/>
                      </a:lnTo>
                      <a:lnTo>
                        <a:pt x="154" y="40"/>
                      </a:lnTo>
                      <a:lnTo>
                        <a:pt x="149" y="49"/>
                      </a:lnTo>
                      <a:lnTo>
                        <a:pt x="155" y="63"/>
                      </a:lnTo>
                      <a:lnTo>
                        <a:pt x="154" y="67"/>
                      </a:lnTo>
                      <a:lnTo>
                        <a:pt x="150" y="63"/>
                      </a:lnTo>
                      <a:lnTo>
                        <a:pt x="155" y="81"/>
                      </a:lnTo>
                      <a:lnTo>
                        <a:pt x="155" y="85"/>
                      </a:lnTo>
                      <a:lnTo>
                        <a:pt x="163" y="105"/>
                      </a:lnTo>
                      <a:lnTo>
                        <a:pt x="166" y="126"/>
                      </a:lnTo>
                      <a:lnTo>
                        <a:pt x="172" y="142"/>
                      </a:lnTo>
                      <a:lnTo>
                        <a:pt x="173" y="149"/>
                      </a:lnTo>
                      <a:lnTo>
                        <a:pt x="168" y="160"/>
                      </a:lnTo>
                      <a:lnTo>
                        <a:pt x="166" y="165"/>
                      </a:lnTo>
                      <a:lnTo>
                        <a:pt x="157" y="163"/>
                      </a:lnTo>
                      <a:lnTo>
                        <a:pt x="152" y="142"/>
                      </a:lnTo>
                      <a:lnTo>
                        <a:pt x="147" y="136"/>
                      </a:lnTo>
                      <a:lnTo>
                        <a:pt x="146" y="147"/>
                      </a:lnTo>
                      <a:lnTo>
                        <a:pt x="129" y="146"/>
                      </a:lnTo>
                      <a:lnTo>
                        <a:pt x="129" y="128"/>
                      </a:lnTo>
                      <a:lnTo>
                        <a:pt x="133" y="127"/>
                      </a:lnTo>
                      <a:lnTo>
                        <a:pt x="127" y="122"/>
                      </a:lnTo>
                      <a:lnTo>
                        <a:pt x="120" y="110"/>
                      </a:lnTo>
                      <a:lnTo>
                        <a:pt x="120" y="100"/>
                      </a:lnTo>
                      <a:lnTo>
                        <a:pt x="123" y="98"/>
                      </a:lnTo>
                      <a:lnTo>
                        <a:pt x="117" y="90"/>
                      </a:lnTo>
                      <a:lnTo>
                        <a:pt x="113" y="92"/>
                      </a:lnTo>
                      <a:lnTo>
                        <a:pt x="112" y="104"/>
                      </a:lnTo>
                      <a:lnTo>
                        <a:pt x="106" y="106"/>
                      </a:lnTo>
                      <a:lnTo>
                        <a:pt x="98" y="100"/>
                      </a:lnTo>
                      <a:lnTo>
                        <a:pt x="90" y="85"/>
                      </a:lnTo>
                      <a:lnTo>
                        <a:pt x="86" y="84"/>
                      </a:lnTo>
                      <a:lnTo>
                        <a:pt x="87" y="90"/>
                      </a:lnTo>
                      <a:lnTo>
                        <a:pt x="85" y="93"/>
                      </a:lnTo>
                      <a:lnTo>
                        <a:pt x="77" y="88"/>
                      </a:lnTo>
                      <a:lnTo>
                        <a:pt x="71" y="82"/>
                      </a:lnTo>
                      <a:lnTo>
                        <a:pt x="75" y="88"/>
                      </a:lnTo>
                      <a:lnTo>
                        <a:pt x="73" y="92"/>
                      </a:lnTo>
                      <a:lnTo>
                        <a:pt x="66" y="93"/>
                      </a:lnTo>
                      <a:lnTo>
                        <a:pt x="66" y="94"/>
                      </a:lnTo>
                      <a:lnTo>
                        <a:pt x="77" y="95"/>
                      </a:lnTo>
                      <a:lnTo>
                        <a:pt x="86" y="101"/>
                      </a:lnTo>
                      <a:lnTo>
                        <a:pt x="88" y="106"/>
                      </a:lnTo>
                      <a:lnTo>
                        <a:pt x="87" y="108"/>
                      </a:lnTo>
                      <a:lnTo>
                        <a:pt x="98" y="115"/>
                      </a:lnTo>
                      <a:lnTo>
                        <a:pt x="98" y="121"/>
                      </a:lnTo>
                      <a:lnTo>
                        <a:pt x="101" y="122"/>
                      </a:lnTo>
                      <a:lnTo>
                        <a:pt x="103" y="121"/>
                      </a:lnTo>
                      <a:lnTo>
                        <a:pt x="108" y="121"/>
                      </a:lnTo>
                      <a:lnTo>
                        <a:pt x="116" y="135"/>
                      </a:lnTo>
                      <a:lnTo>
                        <a:pt x="117" y="141"/>
                      </a:lnTo>
                      <a:lnTo>
                        <a:pt x="116" y="148"/>
                      </a:lnTo>
                      <a:lnTo>
                        <a:pt x="108" y="153"/>
                      </a:lnTo>
                      <a:lnTo>
                        <a:pt x="98" y="154"/>
                      </a:lnTo>
                      <a:lnTo>
                        <a:pt x="96" y="148"/>
                      </a:lnTo>
                      <a:lnTo>
                        <a:pt x="97" y="149"/>
                      </a:lnTo>
                      <a:lnTo>
                        <a:pt x="97" y="158"/>
                      </a:lnTo>
                      <a:lnTo>
                        <a:pt x="86" y="162"/>
                      </a:lnTo>
                      <a:lnTo>
                        <a:pt x="66" y="144"/>
                      </a:lnTo>
                      <a:lnTo>
                        <a:pt x="54" y="141"/>
                      </a:lnTo>
                      <a:lnTo>
                        <a:pt x="48" y="135"/>
                      </a:lnTo>
                      <a:lnTo>
                        <a:pt x="41" y="130"/>
                      </a:lnTo>
                      <a:lnTo>
                        <a:pt x="33" y="127"/>
                      </a:lnTo>
                      <a:lnTo>
                        <a:pt x="38" y="115"/>
                      </a:lnTo>
                      <a:lnTo>
                        <a:pt x="33" y="114"/>
                      </a:lnTo>
                      <a:lnTo>
                        <a:pt x="27" y="116"/>
                      </a:lnTo>
                      <a:lnTo>
                        <a:pt x="17" y="105"/>
                      </a:lnTo>
                      <a:lnTo>
                        <a:pt x="1" y="82"/>
                      </a:lnTo>
                      <a:lnTo>
                        <a:pt x="0" y="73"/>
                      </a:lnTo>
                      <a:lnTo>
                        <a:pt x="3" y="66"/>
                      </a:lnTo>
                      <a:lnTo>
                        <a:pt x="5" y="47"/>
                      </a:lnTo>
                      <a:lnTo>
                        <a:pt x="10" y="44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</p:grpSp>
          <p:grpSp>
            <p:nvGrpSpPr>
              <p:cNvPr id="252" name="Group 277"/>
              <p:cNvGrpSpPr>
                <a:grpSpLocks noChangeAspect="1"/>
              </p:cNvGrpSpPr>
              <p:nvPr/>
            </p:nvGrpSpPr>
            <p:grpSpPr>
              <a:xfrm>
                <a:off x="1149" y="1865"/>
                <a:ext cx="635" cy="339"/>
                <a:chOff x="1149" y="1865"/>
                <a:chExt cx="635" cy="339"/>
              </a:xfrm>
              <a:grpFill/>
            </p:grpSpPr>
            <p:sp>
              <p:nvSpPr>
                <p:cNvPr id="253" name="Freeform 278"/>
                <p:cNvSpPr>
                  <a:spLocks noChangeAspect="1"/>
                </p:cNvSpPr>
                <p:nvPr/>
              </p:nvSpPr>
              <p:spPr bwMode="gray">
                <a:xfrm>
                  <a:off x="1782" y="1939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2" y="3"/>
                    </a:cxn>
                    <a:cxn ang="0">
                      <a:pos x="1" y="10"/>
                    </a:cxn>
                    <a:cxn ang="0">
                      <a:pos x="0" y="15"/>
                    </a:cxn>
                    <a:cxn ang="0">
                      <a:pos x="5" y="10"/>
                    </a:cxn>
                    <a:cxn ang="0">
                      <a:pos x="8" y="10"/>
                    </a:cxn>
                    <a:cxn ang="0">
                      <a:pos x="8" y="6"/>
                    </a:cxn>
                    <a:cxn ang="0">
                      <a:pos x="10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10" h="15">
                      <a:moveTo>
                        <a:pt x="5" y="0"/>
                      </a:moveTo>
                      <a:lnTo>
                        <a:pt x="2" y="3"/>
                      </a:lnTo>
                      <a:lnTo>
                        <a:pt x="1" y="10"/>
                      </a:lnTo>
                      <a:lnTo>
                        <a:pt x="0" y="15"/>
                      </a:lnTo>
                      <a:lnTo>
                        <a:pt x="5" y="10"/>
                      </a:lnTo>
                      <a:lnTo>
                        <a:pt x="8" y="10"/>
                      </a:lnTo>
                      <a:lnTo>
                        <a:pt x="8" y="6"/>
                      </a:lnTo>
                      <a:lnTo>
                        <a:pt x="10" y="1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254" name="Freeform 279"/>
                <p:cNvSpPr>
                  <a:spLocks noChangeAspect="1"/>
                </p:cNvSpPr>
                <p:nvPr/>
              </p:nvSpPr>
              <p:spPr bwMode="gray">
                <a:xfrm>
                  <a:off x="1782" y="1939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2" y="3"/>
                    </a:cxn>
                    <a:cxn ang="0">
                      <a:pos x="1" y="10"/>
                    </a:cxn>
                    <a:cxn ang="0">
                      <a:pos x="0" y="15"/>
                    </a:cxn>
                    <a:cxn ang="0">
                      <a:pos x="5" y="10"/>
                    </a:cxn>
                    <a:cxn ang="0">
                      <a:pos x="8" y="10"/>
                    </a:cxn>
                    <a:cxn ang="0">
                      <a:pos x="8" y="6"/>
                    </a:cxn>
                    <a:cxn ang="0">
                      <a:pos x="10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10" h="15">
                      <a:moveTo>
                        <a:pt x="5" y="0"/>
                      </a:moveTo>
                      <a:lnTo>
                        <a:pt x="2" y="3"/>
                      </a:lnTo>
                      <a:lnTo>
                        <a:pt x="1" y="10"/>
                      </a:lnTo>
                      <a:lnTo>
                        <a:pt x="0" y="15"/>
                      </a:lnTo>
                      <a:lnTo>
                        <a:pt x="5" y="10"/>
                      </a:lnTo>
                      <a:lnTo>
                        <a:pt x="8" y="10"/>
                      </a:lnTo>
                      <a:lnTo>
                        <a:pt x="8" y="6"/>
                      </a:lnTo>
                      <a:lnTo>
                        <a:pt x="10" y="1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255" name="Freeform 280"/>
                <p:cNvSpPr>
                  <a:spLocks noChangeAspect="1"/>
                </p:cNvSpPr>
                <p:nvPr/>
              </p:nvSpPr>
              <p:spPr bwMode="gray">
                <a:xfrm>
                  <a:off x="1671" y="2027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3"/>
                    </a:cxn>
                    <a:cxn ang="0">
                      <a:pos x="0" y="0"/>
                    </a:cxn>
                    <a:cxn ang="0">
                      <a:pos x="0" y="3"/>
                    </a:cxn>
                  </a:cxnLst>
                  <a:rect l="0" t="0" r="r" b="b"/>
                  <a:pathLst>
                    <a:path h="3">
                      <a:moveTo>
                        <a:pt x="0" y="3"/>
                      </a:moveTo>
                      <a:lnTo>
                        <a:pt x="0" y="0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256" name="Freeform 281"/>
                <p:cNvSpPr>
                  <a:spLocks noChangeAspect="1"/>
                </p:cNvSpPr>
                <p:nvPr/>
              </p:nvSpPr>
              <p:spPr bwMode="gray">
                <a:xfrm>
                  <a:off x="1670" y="2025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3" y="2"/>
                    </a:cxn>
                    <a:cxn ang="0">
                      <a:pos x="0" y="0"/>
                    </a:cxn>
                    <a:cxn ang="0">
                      <a:pos x="3" y="2"/>
                    </a:cxn>
                    <a:cxn ang="0">
                      <a:pos x="5" y="6"/>
                    </a:cxn>
                    <a:cxn ang="0">
                      <a:pos x="3" y="2"/>
                    </a:cxn>
                  </a:cxnLst>
                  <a:rect l="0" t="0" r="r" b="b"/>
                  <a:pathLst>
                    <a:path w="5" h="6">
                      <a:moveTo>
                        <a:pt x="3" y="2"/>
                      </a:moveTo>
                      <a:lnTo>
                        <a:pt x="0" y="0"/>
                      </a:lnTo>
                      <a:lnTo>
                        <a:pt x="3" y="2"/>
                      </a:lnTo>
                      <a:lnTo>
                        <a:pt x="5" y="6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257" name="Freeform 282"/>
                <p:cNvSpPr>
                  <a:spLocks noChangeAspect="1"/>
                </p:cNvSpPr>
                <p:nvPr/>
              </p:nvSpPr>
              <p:spPr bwMode="gray">
                <a:xfrm>
                  <a:off x="1149" y="1865"/>
                  <a:ext cx="633" cy="339"/>
                </a:xfrm>
                <a:custGeom>
                  <a:avLst/>
                  <a:gdLst/>
                  <a:ahLst/>
                  <a:cxnLst>
                    <a:cxn ang="0">
                      <a:pos x="3079" y="181"/>
                    </a:cxn>
                    <a:cxn ang="0">
                      <a:pos x="2964" y="328"/>
                    </a:cxn>
                    <a:cxn ang="0">
                      <a:pos x="2682" y="394"/>
                    </a:cxn>
                    <a:cxn ang="0">
                      <a:pos x="2593" y="483"/>
                    </a:cxn>
                    <a:cxn ang="0">
                      <a:pos x="2432" y="575"/>
                    </a:cxn>
                    <a:cxn ang="0">
                      <a:pos x="2290" y="541"/>
                    </a:cxn>
                    <a:cxn ang="0">
                      <a:pos x="2235" y="456"/>
                    </a:cxn>
                    <a:cxn ang="0">
                      <a:pos x="2211" y="306"/>
                    </a:cxn>
                    <a:cxn ang="0">
                      <a:pos x="2135" y="345"/>
                    </a:cxn>
                    <a:cxn ang="0">
                      <a:pos x="2081" y="588"/>
                    </a:cxn>
                    <a:cxn ang="0">
                      <a:pos x="2036" y="404"/>
                    </a:cxn>
                    <a:cxn ang="0">
                      <a:pos x="2077" y="294"/>
                    </a:cxn>
                    <a:cxn ang="0">
                      <a:pos x="2231" y="279"/>
                    </a:cxn>
                    <a:cxn ang="0">
                      <a:pos x="2111" y="222"/>
                    </a:cxn>
                    <a:cxn ang="0">
                      <a:pos x="2021" y="160"/>
                    </a:cxn>
                    <a:cxn ang="0">
                      <a:pos x="1811" y="226"/>
                    </a:cxn>
                    <a:cxn ang="0">
                      <a:pos x="1785" y="86"/>
                    </a:cxn>
                    <a:cxn ang="0">
                      <a:pos x="1640" y="33"/>
                    </a:cxn>
                    <a:cxn ang="0">
                      <a:pos x="888" y="36"/>
                    </a:cxn>
                    <a:cxn ang="0">
                      <a:pos x="133" y="58"/>
                    </a:cxn>
                    <a:cxn ang="0">
                      <a:pos x="101" y="150"/>
                    </a:cxn>
                    <a:cxn ang="0">
                      <a:pos x="4" y="86"/>
                    </a:cxn>
                    <a:cxn ang="0">
                      <a:pos x="46" y="225"/>
                    </a:cxn>
                    <a:cxn ang="0">
                      <a:pos x="47" y="295"/>
                    </a:cxn>
                    <a:cxn ang="0">
                      <a:pos x="27" y="576"/>
                    </a:cxn>
                    <a:cxn ang="0">
                      <a:pos x="98" y="850"/>
                    </a:cxn>
                    <a:cxn ang="0">
                      <a:pos x="130" y="886"/>
                    </a:cxn>
                    <a:cxn ang="0">
                      <a:pos x="223" y="1056"/>
                    </a:cxn>
                    <a:cxn ang="0">
                      <a:pos x="336" y="1131"/>
                    </a:cxn>
                    <a:cxn ang="0">
                      <a:pos x="989" y="1276"/>
                    </a:cxn>
                    <a:cxn ang="0">
                      <a:pos x="1294" y="1430"/>
                    </a:cxn>
                    <a:cxn ang="0">
                      <a:pos x="1501" y="1624"/>
                    </a:cxn>
                    <a:cxn ang="0">
                      <a:pos x="1515" y="1515"/>
                    </a:cxn>
                    <a:cxn ang="0">
                      <a:pos x="1564" y="1480"/>
                    </a:cxn>
                    <a:cxn ang="0">
                      <a:pos x="1629" y="1410"/>
                    </a:cxn>
                    <a:cxn ang="0">
                      <a:pos x="1784" y="1405"/>
                    </a:cxn>
                    <a:cxn ang="0">
                      <a:pos x="1912" y="1435"/>
                    </a:cxn>
                    <a:cxn ang="0">
                      <a:pos x="1905" y="1382"/>
                    </a:cxn>
                    <a:cxn ang="0">
                      <a:pos x="2012" y="1367"/>
                    </a:cxn>
                    <a:cxn ang="0">
                      <a:pos x="2117" y="1377"/>
                    </a:cxn>
                    <a:cxn ang="0">
                      <a:pos x="2264" y="1424"/>
                    </a:cxn>
                    <a:cxn ang="0">
                      <a:pos x="2323" y="1587"/>
                    </a:cxn>
                    <a:cxn ang="0">
                      <a:pos x="2409" y="1690"/>
                    </a:cxn>
                    <a:cxn ang="0">
                      <a:pos x="2365" y="1348"/>
                    </a:cxn>
                    <a:cxn ang="0">
                      <a:pos x="2446" y="1228"/>
                    </a:cxn>
                    <a:cxn ang="0">
                      <a:pos x="2579" y="1118"/>
                    </a:cxn>
                    <a:cxn ang="0">
                      <a:pos x="2645" y="1037"/>
                    </a:cxn>
                    <a:cxn ang="0">
                      <a:pos x="2634" y="986"/>
                    </a:cxn>
                    <a:cxn ang="0">
                      <a:pos x="2655" y="940"/>
                    </a:cxn>
                    <a:cxn ang="0">
                      <a:pos x="2654" y="871"/>
                    </a:cxn>
                    <a:cxn ang="0">
                      <a:pos x="2651" y="857"/>
                    </a:cxn>
                    <a:cxn ang="0">
                      <a:pos x="2661" y="778"/>
                    </a:cxn>
                    <a:cxn ang="0">
                      <a:pos x="2683" y="867"/>
                    </a:cxn>
                    <a:cxn ang="0">
                      <a:pos x="2708" y="796"/>
                    </a:cxn>
                    <a:cxn ang="0">
                      <a:pos x="2774" y="727"/>
                    </a:cxn>
                    <a:cxn ang="0">
                      <a:pos x="2843" y="631"/>
                    </a:cxn>
                    <a:cxn ang="0">
                      <a:pos x="3004" y="602"/>
                    </a:cxn>
                    <a:cxn ang="0">
                      <a:pos x="2957" y="538"/>
                    </a:cxn>
                    <a:cxn ang="0">
                      <a:pos x="3032" y="440"/>
                    </a:cxn>
                    <a:cxn ang="0">
                      <a:pos x="3107" y="399"/>
                    </a:cxn>
                  </a:cxnLst>
                  <a:rect l="0" t="0" r="r" b="b"/>
                  <a:pathLst>
                    <a:path w="3166" h="1693">
                      <a:moveTo>
                        <a:pt x="3165" y="365"/>
                      </a:moveTo>
                      <a:lnTo>
                        <a:pt x="3158" y="364"/>
                      </a:lnTo>
                      <a:lnTo>
                        <a:pt x="3160" y="361"/>
                      </a:lnTo>
                      <a:lnTo>
                        <a:pt x="3162" y="355"/>
                      </a:lnTo>
                      <a:lnTo>
                        <a:pt x="3162" y="344"/>
                      </a:lnTo>
                      <a:lnTo>
                        <a:pt x="3161" y="339"/>
                      </a:lnTo>
                      <a:lnTo>
                        <a:pt x="3160" y="343"/>
                      </a:lnTo>
                      <a:lnTo>
                        <a:pt x="3155" y="343"/>
                      </a:lnTo>
                      <a:lnTo>
                        <a:pt x="3146" y="342"/>
                      </a:lnTo>
                      <a:lnTo>
                        <a:pt x="3138" y="335"/>
                      </a:lnTo>
                      <a:lnTo>
                        <a:pt x="3135" y="330"/>
                      </a:lnTo>
                      <a:lnTo>
                        <a:pt x="3134" y="326"/>
                      </a:lnTo>
                      <a:lnTo>
                        <a:pt x="3134" y="310"/>
                      </a:lnTo>
                      <a:lnTo>
                        <a:pt x="3119" y="302"/>
                      </a:lnTo>
                      <a:lnTo>
                        <a:pt x="3119" y="246"/>
                      </a:lnTo>
                      <a:lnTo>
                        <a:pt x="3119" y="195"/>
                      </a:lnTo>
                      <a:lnTo>
                        <a:pt x="3093" y="170"/>
                      </a:lnTo>
                      <a:lnTo>
                        <a:pt x="3086" y="170"/>
                      </a:lnTo>
                      <a:lnTo>
                        <a:pt x="3079" y="181"/>
                      </a:lnTo>
                      <a:lnTo>
                        <a:pt x="3061" y="184"/>
                      </a:lnTo>
                      <a:lnTo>
                        <a:pt x="3049" y="179"/>
                      </a:lnTo>
                      <a:lnTo>
                        <a:pt x="3047" y="176"/>
                      </a:lnTo>
                      <a:lnTo>
                        <a:pt x="3044" y="170"/>
                      </a:lnTo>
                      <a:lnTo>
                        <a:pt x="3037" y="163"/>
                      </a:lnTo>
                      <a:lnTo>
                        <a:pt x="3031" y="162"/>
                      </a:lnTo>
                      <a:lnTo>
                        <a:pt x="3025" y="166"/>
                      </a:lnTo>
                      <a:lnTo>
                        <a:pt x="2998" y="211"/>
                      </a:lnTo>
                      <a:lnTo>
                        <a:pt x="2994" y="235"/>
                      </a:lnTo>
                      <a:lnTo>
                        <a:pt x="2988" y="247"/>
                      </a:lnTo>
                      <a:lnTo>
                        <a:pt x="2987" y="253"/>
                      </a:lnTo>
                      <a:lnTo>
                        <a:pt x="2982" y="262"/>
                      </a:lnTo>
                      <a:lnTo>
                        <a:pt x="2979" y="269"/>
                      </a:lnTo>
                      <a:lnTo>
                        <a:pt x="2975" y="305"/>
                      </a:lnTo>
                      <a:lnTo>
                        <a:pt x="2974" y="307"/>
                      </a:lnTo>
                      <a:lnTo>
                        <a:pt x="2967" y="312"/>
                      </a:lnTo>
                      <a:lnTo>
                        <a:pt x="2964" y="317"/>
                      </a:lnTo>
                      <a:lnTo>
                        <a:pt x="2963" y="322"/>
                      </a:lnTo>
                      <a:lnTo>
                        <a:pt x="2964" y="328"/>
                      </a:lnTo>
                      <a:lnTo>
                        <a:pt x="2964" y="330"/>
                      </a:lnTo>
                      <a:lnTo>
                        <a:pt x="2957" y="327"/>
                      </a:lnTo>
                      <a:lnTo>
                        <a:pt x="2956" y="328"/>
                      </a:lnTo>
                      <a:lnTo>
                        <a:pt x="2956" y="334"/>
                      </a:lnTo>
                      <a:lnTo>
                        <a:pt x="2945" y="330"/>
                      </a:lnTo>
                      <a:lnTo>
                        <a:pt x="2936" y="333"/>
                      </a:lnTo>
                      <a:lnTo>
                        <a:pt x="2934" y="335"/>
                      </a:lnTo>
                      <a:lnTo>
                        <a:pt x="2921" y="337"/>
                      </a:lnTo>
                      <a:lnTo>
                        <a:pt x="2918" y="340"/>
                      </a:lnTo>
                      <a:lnTo>
                        <a:pt x="2912" y="356"/>
                      </a:lnTo>
                      <a:lnTo>
                        <a:pt x="2910" y="356"/>
                      </a:lnTo>
                      <a:lnTo>
                        <a:pt x="2812" y="356"/>
                      </a:lnTo>
                      <a:lnTo>
                        <a:pt x="2737" y="356"/>
                      </a:lnTo>
                      <a:lnTo>
                        <a:pt x="2722" y="356"/>
                      </a:lnTo>
                      <a:lnTo>
                        <a:pt x="2706" y="371"/>
                      </a:lnTo>
                      <a:lnTo>
                        <a:pt x="2687" y="382"/>
                      </a:lnTo>
                      <a:lnTo>
                        <a:pt x="2684" y="387"/>
                      </a:lnTo>
                      <a:lnTo>
                        <a:pt x="2683" y="388"/>
                      </a:lnTo>
                      <a:lnTo>
                        <a:pt x="2682" y="394"/>
                      </a:lnTo>
                      <a:lnTo>
                        <a:pt x="2676" y="404"/>
                      </a:lnTo>
                      <a:lnTo>
                        <a:pt x="2655" y="418"/>
                      </a:lnTo>
                      <a:lnTo>
                        <a:pt x="2651" y="423"/>
                      </a:lnTo>
                      <a:lnTo>
                        <a:pt x="2652" y="428"/>
                      </a:lnTo>
                      <a:lnTo>
                        <a:pt x="2660" y="428"/>
                      </a:lnTo>
                      <a:lnTo>
                        <a:pt x="2663" y="431"/>
                      </a:lnTo>
                      <a:lnTo>
                        <a:pt x="2662" y="436"/>
                      </a:lnTo>
                      <a:lnTo>
                        <a:pt x="2659" y="439"/>
                      </a:lnTo>
                      <a:lnTo>
                        <a:pt x="2655" y="437"/>
                      </a:lnTo>
                      <a:lnTo>
                        <a:pt x="2654" y="440"/>
                      </a:lnTo>
                      <a:lnTo>
                        <a:pt x="2655" y="442"/>
                      </a:lnTo>
                      <a:lnTo>
                        <a:pt x="2660" y="448"/>
                      </a:lnTo>
                      <a:lnTo>
                        <a:pt x="2661" y="458"/>
                      </a:lnTo>
                      <a:lnTo>
                        <a:pt x="2660" y="466"/>
                      </a:lnTo>
                      <a:lnTo>
                        <a:pt x="2643" y="468"/>
                      </a:lnTo>
                      <a:lnTo>
                        <a:pt x="2627" y="480"/>
                      </a:lnTo>
                      <a:lnTo>
                        <a:pt x="2617" y="484"/>
                      </a:lnTo>
                      <a:lnTo>
                        <a:pt x="2597" y="484"/>
                      </a:lnTo>
                      <a:lnTo>
                        <a:pt x="2593" y="483"/>
                      </a:lnTo>
                      <a:lnTo>
                        <a:pt x="2582" y="486"/>
                      </a:lnTo>
                      <a:lnTo>
                        <a:pt x="2575" y="480"/>
                      </a:lnTo>
                      <a:lnTo>
                        <a:pt x="2560" y="477"/>
                      </a:lnTo>
                      <a:lnTo>
                        <a:pt x="2553" y="477"/>
                      </a:lnTo>
                      <a:lnTo>
                        <a:pt x="2532" y="479"/>
                      </a:lnTo>
                      <a:lnTo>
                        <a:pt x="2511" y="484"/>
                      </a:lnTo>
                      <a:lnTo>
                        <a:pt x="2501" y="489"/>
                      </a:lnTo>
                      <a:lnTo>
                        <a:pt x="2504" y="499"/>
                      </a:lnTo>
                      <a:lnTo>
                        <a:pt x="2509" y="506"/>
                      </a:lnTo>
                      <a:lnTo>
                        <a:pt x="2511" y="518"/>
                      </a:lnTo>
                      <a:lnTo>
                        <a:pt x="2499" y="531"/>
                      </a:lnTo>
                      <a:lnTo>
                        <a:pt x="2495" y="536"/>
                      </a:lnTo>
                      <a:lnTo>
                        <a:pt x="2491" y="538"/>
                      </a:lnTo>
                      <a:lnTo>
                        <a:pt x="2488" y="539"/>
                      </a:lnTo>
                      <a:lnTo>
                        <a:pt x="2478" y="549"/>
                      </a:lnTo>
                      <a:lnTo>
                        <a:pt x="2461" y="560"/>
                      </a:lnTo>
                      <a:lnTo>
                        <a:pt x="2452" y="566"/>
                      </a:lnTo>
                      <a:lnTo>
                        <a:pt x="2441" y="568"/>
                      </a:lnTo>
                      <a:lnTo>
                        <a:pt x="2432" y="575"/>
                      </a:lnTo>
                      <a:lnTo>
                        <a:pt x="2419" y="582"/>
                      </a:lnTo>
                      <a:lnTo>
                        <a:pt x="2404" y="585"/>
                      </a:lnTo>
                      <a:lnTo>
                        <a:pt x="2386" y="593"/>
                      </a:lnTo>
                      <a:lnTo>
                        <a:pt x="2350" y="614"/>
                      </a:lnTo>
                      <a:lnTo>
                        <a:pt x="2334" y="614"/>
                      </a:lnTo>
                      <a:lnTo>
                        <a:pt x="2316" y="620"/>
                      </a:lnTo>
                      <a:lnTo>
                        <a:pt x="2296" y="618"/>
                      </a:lnTo>
                      <a:lnTo>
                        <a:pt x="2294" y="614"/>
                      </a:lnTo>
                      <a:lnTo>
                        <a:pt x="2286" y="614"/>
                      </a:lnTo>
                      <a:lnTo>
                        <a:pt x="2281" y="613"/>
                      </a:lnTo>
                      <a:lnTo>
                        <a:pt x="2274" y="607"/>
                      </a:lnTo>
                      <a:lnTo>
                        <a:pt x="2259" y="602"/>
                      </a:lnTo>
                      <a:lnTo>
                        <a:pt x="2264" y="595"/>
                      </a:lnTo>
                      <a:lnTo>
                        <a:pt x="2278" y="581"/>
                      </a:lnTo>
                      <a:lnTo>
                        <a:pt x="2278" y="570"/>
                      </a:lnTo>
                      <a:lnTo>
                        <a:pt x="2283" y="558"/>
                      </a:lnTo>
                      <a:lnTo>
                        <a:pt x="2289" y="553"/>
                      </a:lnTo>
                      <a:lnTo>
                        <a:pt x="2289" y="545"/>
                      </a:lnTo>
                      <a:lnTo>
                        <a:pt x="2290" y="541"/>
                      </a:lnTo>
                      <a:lnTo>
                        <a:pt x="2296" y="534"/>
                      </a:lnTo>
                      <a:lnTo>
                        <a:pt x="2308" y="534"/>
                      </a:lnTo>
                      <a:lnTo>
                        <a:pt x="2308" y="534"/>
                      </a:lnTo>
                      <a:lnTo>
                        <a:pt x="2316" y="507"/>
                      </a:lnTo>
                      <a:lnTo>
                        <a:pt x="2316" y="500"/>
                      </a:lnTo>
                      <a:lnTo>
                        <a:pt x="2315" y="502"/>
                      </a:lnTo>
                      <a:lnTo>
                        <a:pt x="2312" y="496"/>
                      </a:lnTo>
                      <a:lnTo>
                        <a:pt x="2308" y="489"/>
                      </a:lnTo>
                      <a:lnTo>
                        <a:pt x="2306" y="467"/>
                      </a:lnTo>
                      <a:lnTo>
                        <a:pt x="2305" y="456"/>
                      </a:lnTo>
                      <a:lnTo>
                        <a:pt x="2301" y="445"/>
                      </a:lnTo>
                      <a:lnTo>
                        <a:pt x="2289" y="425"/>
                      </a:lnTo>
                      <a:lnTo>
                        <a:pt x="2280" y="426"/>
                      </a:lnTo>
                      <a:lnTo>
                        <a:pt x="2263" y="434"/>
                      </a:lnTo>
                      <a:lnTo>
                        <a:pt x="2262" y="435"/>
                      </a:lnTo>
                      <a:lnTo>
                        <a:pt x="2256" y="451"/>
                      </a:lnTo>
                      <a:lnTo>
                        <a:pt x="2248" y="456"/>
                      </a:lnTo>
                      <a:lnTo>
                        <a:pt x="2242" y="458"/>
                      </a:lnTo>
                      <a:lnTo>
                        <a:pt x="2235" y="456"/>
                      </a:lnTo>
                      <a:lnTo>
                        <a:pt x="2232" y="451"/>
                      </a:lnTo>
                      <a:lnTo>
                        <a:pt x="2235" y="442"/>
                      </a:lnTo>
                      <a:lnTo>
                        <a:pt x="2240" y="432"/>
                      </a:lnTo>
                      <a:lnTo>
                        <a:pt x="2254" y="421"/>
                      </a:lnTo>
                      <a:lnTo>
                        <a:pt x="2258" y="412"/>
                      </a:lnTo>
                      <a:lnTo>
                        <a:pt x="2264" y="404"/>
                      </a:lnTo>
                      <a:lnTo>
                        <a:pt x="2267" y="398"/>
                      </a:lnTo>
                      <a:lnTo>
                        <a:pt x="2267" y="388"/>
                      </a:lnTo>
                      <a:lnTo>
                        <a:pt x="2263" y="367"/>
                      </a:lnTo>
                      <a:lnTo>
                        <a:pt x="2259" y="360"/>
                      </a:lnTo>
                      <a:lnTo>
                        <a:pt x="2259" y="353"/>
                      </a:lnTo>
                      <a:lnTo>
                        <a:pt x="2262" y="349"/>
                      </a:lnTo>
                      <a:lnTo>
                        <a:pt x="2263" y="348"/>
                      </a:lnTo>
                      <a:lnTo>
                        <a:pt x="2257" y="334"/>
                      </a:lnTo>
                      <a:lnTo>
                        <a:pt x="2251" y="328"/>
                      </a:lnTo>
                      <a:lnTo>
                        <a:pt x="2235" y="323"/>
                      </a:lnTo>
                      <a:lnTo>
                        <a:pt x="2229" y="318"/>
                      </a:lnTo>
                      <a:lnTo>
                        <a:pt x="2225" y="316"/>
                      </a:lnTo>
                      <a:lnTo>
                        <a:pt x="2211" y="306"/>
                      </a:lnTo>
                      <a:lnTo>
                        <a:pt x="2206" y="303"/>
                      </a:lnTo>
                      <a:lnTo>
                        <a:pt x="2199" y="305"/>
                      </a:lnTo>
                      <a:lnTo>
                        <a:pt x="2198" y="302"/>
                      </a:lnTo>
                      <a:lnTo>
                        <a:pt x="2186" y="299"/>
                      </a:lnTo>
                      <a:lnTo>
                        <a:pt x="2175" y="300"/>
                      </a:lnTo>
                      <a:lnTo>
                        <a:pt x="2170" y="307"/>
                      </a:lnTo>
                      <a:lnTo>
                        <a:pt x="2170" y="312"/>
                      </a:lnTo>
                      <a:lnTo>
                        <a:pt x="2171" y="318"/>
                      </a:lnTo>
                      <a:lnTo>
                        <a:pt x="2176" y="324"/>
                      </a:lnTo>
                      <a:lnTo>
                        <a:pt x="2173" y="327"/>
                      </a:lnTo>
                      <a:lnTo>
                        <a:pt x="2160" y="333"/>
                      </a:lnTo>
                      <a:lnTo>
                        <a:pt x="2151" y="334"/>
                      </a:lnTo>
                      <a:lnTo>
                        <a:pt x="2150" y="349"/>
                      </a:lnTo>
                      <a:lnTo>
                        <a:pt x="2149" y="360"/>
                      </a:lnTo>
                      <a:lnTo>
                        <a:pt x="2144" y="361"/>
                      </a:lnTo>
                      <a:lnTo>
                        <a:pt x="2140" y="367"/>
                      </a:lnTo>
                      <a:lnTo>
                        <a:pt x="2139" y="364"/>
                      </a:lnTo>
                      <a:lnTo>
                        <a:pt x="2138" y="351"/>
                      </a:lnTo>
                      <a:lnTo>
                        <a:pt x="2135" y="345"/>
                      </a:lnTo>
                      <a:lnTo>
                        <a:pt x="2130" y="349"/>
                      </a:lnTo>
                      <a:lnTo>
                        <a:pt x="2125" y="355"/>
                      </a:lnTo>
                      <a:lnTo>
                        <a:pt x="2112" y="362"/>
                      </a:lnTo>
                      <a:lnTo>
                        <a:pt x="2109" y="372"/>
                      </a:lnTo>
                      <a:lnTo>
                        <a:pt x="2104" y="378"/>
                      </a:lnTo>
                      <a:lnTo>
                        <a:pt x="2104" y="389"/>
                      </a:lnTo>
                      <a:lnTo>
                        <a:pt x="2103" y="396"/>
                      </a:lnTo>
                      <a:lnTo>
                        <a:pt x="2102" y="408"/>
                      </a:lnTo>
                      <a:lnTo>
                        <a:pt x="2103" y="412"/>
                      </a:lnTo>
                      <a:lnTo>
                        <a:pt x="2097" y="416"/>
                      </a:lnTo>
                      <a:lnTo>
                        <a:pt x="2095" y="435"/>
                      </a:lnTo>
                      <a:lnTo>
                        <a:pt x="2090" y="457"/>
                      </a:lnTo>
                      <a:lnTo>
                        <a:pt x="2097" y="480"/>
                      </a:lnTo>
                      <a:lnTo>
                        <a:pt x="2103" y="490"/>
                      </a:lnTo>
                      <a:lnTo>
                        <a:pt x="2106" y="499"/>
                      </a:lnTo>
                      <a:lnTo>
                        <a:pt x="2104" y="533"/>
                      </a:lnTo>
                      <a:lnTo>
                        <a:pt x="2095" y="559"/>
                      </a:lnTo>
                      <a:lnTo>
                        <a:pt x="2084" y="580"/>
                      </a:lnTo>
                      <a:lnTo>
                        <a:pt x="2081" y="588"/>
                      </a:lnTo>
                      <a:lnTo>
                        <a:pt x="2068" y="597"/>
                      </a:lnTo>
                      <a:lnTo>
                        <a:pt x="2054" y="606"/>
                      </a:lnTo>
                      <a:lnTo>
                        <a:pt x="2046" y="606"/>
                      </a:lnTo>
                      <a:lnTo>
                        <a:pt x="2039" y="602"/>
                      </a:lnTo>
                      <a:lnTo>
                        <a:pt x="2034" y="601"/>
                      </a:lnTo>
                      <a:lnTo>
                        <a:pt x="2032" y="595"/>
                      </a:lnTo>
                      <a:lnTo>
                        <a:pt x="2028" y="582"/>
                      </a:lnTo>
                      <a:lnTo>
                        <a:pt x="2020" y="560"/>
                      </a:lnTo>
                      <a:lnTo>
                        <a:pt x="2020" y="545"/>
                      </a:lnTo>
                      <a:lnTo>
                        <a:pt x="2020" y="533"/>
                      </a:lnTo>
                      <a:lnTo>
                        <a:pt x="2020" y="525"/>
                      </a:lnTo>
                      <a:lnTo>
                        <a:pt x="2016" y="506"/>
                      </a:lnTo>
                      <a:lnTo>
                        <a:pt x="2015" y="490"/>
                      </a:lnTo>
                      <a:lnTo>
                        <a:pt x="2018" y="477"/>
                      </a:lnTo>
                      <a:lnTo>
                        <a:pt x="2027" y="456"/>
                      </a:lnTo>
                      <a:lnTo>
                        <a:pt x="2027" y="442"/>
                      </a:lnTo>
                      <a:lnTo>
                        <a:pt x="2030" y="432"/>
                      </a:lnTo>
                      <a:lnTo>
                        <a:pt x="2036" y="413"/>
                      </a:lnTo>
                      <a:lnTo>
                        <a:pt x="2036" y="404"/>
                      </a:lnTo>
                      <a:lnTo>
                        <a:pt x="2038" y="391"/>
                      </a:lnTo>
                      <a:lnTo>
                        <a:pt x="2043" y="378"/>
                      </a:lnTo>
                      <a:lnTo>
                        <a:pt x="2053" y="362"/>
                      </a:lnTo>
                      <a:lnTo>
                        <a:pt x="2060" y="344"/>
                      </a:lnTo>
                      <a:lnTo>
                        <a:pt x="2058" y="334"/>
                      </a:lnTo>
                      <a:lnTo>
                        <a:pt x="2044" y="350"/>
                      </a:lnTo>
                      <a:lnTo>
                        <a:pt x="2043" y="359"/>
                      </a:lnTo>
                      <a:lnTo>
                        <a:pt x="2041" y="367"/>
                      </a:lnTo>
                      <a:lnTo>
                        <a:pt x="2034" y="369"/>
                      </a:lnTo>
                      <a:lnTo>
                        <a:pt x="2011" y="389"/>
                      </a:lnTo>
                      <a:lnTo>
                        <a:pt x="2011" y="385"/>
                      </a:lnTo>
                      <a:lnTo>
                        <a:pt x="2018" y="369"/>
                      </a:lnTo>
                      <a:lnTo>
                        <a:pt x="2021" y="364"/>
                      </a:lnTo>
                      <a:lnTo>
                        <a:pt x="2027" y="359"/>
                      </a:lnTo>
                      <a:lnTo>
                        <a:pt x="2034" y="346"/>
                      </a:lnTo>
                      <a:lnTo>
                        <a:pt x="2057" y="308"/>
                      </a:lnTo>
                      <a:lnTo>
                        <a:pt x="2066" y="296"/>
                      </a:lnTo>
                      <a:lnTo>
                        <a:pt x="2070" y="297"/>
                      </a:lnTo>
                      <a:lnTo>
                        <a:pt x="2077" y="294"/>
                      </a:lnTo>
                      <a:lnTo>
                        <a:pt x="2085" y="287"/>
                      </a:lnTo>
                      <a:lnTo>
                        <a:pt x="2084" y="307"/>
                      </a:lnTo>
                      <a:lnTo>
                        <a:pt x="2090" y="306"/>
                      </a:lnTo>
                      <a:lnTo>
                        <a:pt x="2107" y="287"/>
                      </a:lnTo>
                      <a:lnTo>
                        <a:pt x="2120" y="284"/>
                      </a:lnTo>
                      <a:lnTo>
                        <a:pt x="2136" y="281"/>
                      </a:lnTo>
                      <a:lnTo>
                        <a:pt x="2144" y="273"/>
                      </a:lnTo>
                      <a:lnTo>
                        <a:pt x="2155" y="270"/>
                      </a:lnTo>
                      <a:lnTo>
                        <a:pt x="2167" y="274"/>
                      </a:lnTo>
                      <a:lnTo>
                        <a:pt x="2178" y="279"/>
                      </a:lnTo>
                      <a:lnTo>
                        <a:pt x="2181" y="281"/>
                      </a:lnTo>
                      <a:lnTo>
                        <a:pt x="2184" y="286"/>
                      </a:lnTo>
                      <a:lnTo>
                        <a:pt x="2193" y="286"/>
                      </a:lnTo>
                      <a:lnTo>
                        <a:pt x="2194" y="279"/>
                      </a:lnTo>
                      <a:lnTo>
                        <a:pt x="2197" y="275"/>
                      </a:lnTo>
                      <a:lnTo>
                        <a:pt x="2202" y="278"/>
                      </a:lnTo>
                      <a:lnTo>
                        <a:pt x="2205" y="284"/>
                      </a:lnTo>
                      <a:lnTo>
                        <a:pt x="2224" y="279"/>
                      </a:lnTo>
                      <a:lnTo>
                        <a:pt x="2231" y="279"/>
                      </a:lnTo>
                      <a:lnTo>
                        <a:pt x="2231" y="278"/>
                      </a:lnTo>
                      <a:lnTo>
                        <a:pt x="2230" y="275"/>
                      </a:lnTo>
                      <a:lnTo>
                        <a:pt x="2225" y="272"/>
                      </a:lnTo>
                      <a:lnTo>
                        <a:pt x="2221" y="267"/>
                      </a:lnTo>
                      <a:lnTo>
                        <a:pt x="2215" y="263"/>
                      </a:lnTo>
                      <a:lnTo>
                        <a:pt x="2215" y="252"/>
                      </a:lnTo>
                      <a:lnTo>
                        <a:pt x="2213" y="246"/>
                      </a:lnTo>
                      <a:lnTo>
                        <a:pt x="2211" y="242"/>
                      </a:lnTo>
                      <a:lnTo>
                        <a:pt x="2209" y="238"/>
                      </a:lnTo>
                      <a:lnTo>
                        <a:pt x="2202" y="238"/>
                      </a:lnTo>
                      <a:lnTo>
                        <a:pt x="2187" y="240"/>
                      </a:lnTo>
                      <a:lnTo>
                        <a:pt x="2179" y="238"/>
                      </a:lnTo>
                      <a:lnTo>
                        <a:pt x="2171" y="233"/>
                      </a:lnTo>
                      <a:lnTo>
                        <a:pt x="2171" y="222"/>
                      </a:lnTo>
                      <a:lnTo>
                        <a:pt x="2168" y="216"/>
                      </a:lnTo>
                      <a:lnTo>
                        <a:pt x="2160" y="216"/>
                      </a:lnTo>
                      <a:lnTo>
                        <a:pt x="2150" y="221"/>
                      </a:lnTo>
                      <a:lnTo>
                        <a:pt x="2141" y="224"/>
                      </a:lnTo>
                      <a:lnTo>
                        <a:pt x="2111" y="222"/>
                      </a:lnTo>
                      <a:lnTo>
                        <a:pt x="2101" y="229"/>
                      </a:lnTo>
                      <a:lnTo>
                        <a:pt x="2092" y="232"/>
                      </a:lnTo>
                      <a:lnTo>
                        <a:pt x="2085" y="240"/>
                      </a:lnTo>
                      <a:lnTo>
                        <a:pt x="2080" y="242"/>
                      </a:lnTo>
                      <a:lnTo>
                        <a:pt x="2055" y="237"/>
                      </a:lnTo>
                      <a:lnTo>
                        <a:pt x="2047" y="238"/>
                      </a:lnTo>
                      <a:lnTo>
                        <a:pt x="2036" y="227"/>
                      </a:lnTo>
                      <a:lnTo>
                        <a:pt x="2030" y="217"/>
                      </a:lnTo>
                      <a:lnTo>
                        <a:pt x="2011" y="208"/>
                      </a:lnTo>
                      <a:lnTo>
                        <a:pt x="1995" y="210"/>
                      </a:lnTo>
                      <a:lnTo>
                        <a:pt x="1990" y="209"/>
                      </a:lnTo>
                      <a:lnTo>
                        <a:pt x="1983" y="216"/>
                      </a:lnTo>
                      <a:lnTo>
                        <a:pt x="1982" y="213"/>
                      </a:lnTo>
                      <a:lnTo>
                        <a:pt x="1983" y="200"/>
                      </a:lnTo>
                      <a:lnTo>
                        <a:pt x="1988" y="194"/>
                      </a:lnTo>
                      <a:lnTo>
                        <a:pt x="1995" y="190"/>
                      </a:lnTo>
                      <a:lnTo>
                        <a:pt x="2011" y="171"/>
                      </a:lnTo>
                      <a:lnTo>
                        <a:pt x="2020" y="165"/>
                      </a:lnTo>
                      <a:lnTo>
                        <a:pt x="2021" y="160"/>
                      </a:lnTo>
                      <a:lnTo>
                        <a:pt x="2018" y="159"/>
                      </a:lnTo>
                      <a:lnTo>
                        <a:pt x="2007" y="160"/>
                      </a:lnTo>
                      <a:lnTo>
                        <a:pt x="1996" y="163"/>
                      </a:lnTo>
                      <a:lnTo>
                        <a:pt x="1985" y="170"/>
                      </a:lnTo>
                      <a:lnTo>
                        <a:pt x="1969" y="179"/>
                      </a:lnTo>
                      <a:lnTo>
                        <a:pt x="1958" y="193"/>
                      </a:lnTo>
                      <a:lnTo>
                        <a:pt x="1947" y="199"/>
                      </a:lnTo>
                      <a:lnTo>
                        <a:pt x="1936" y="208"/>
                      </a:lnTo>
                      <a:lnTo>
                        <a:pt x="1921" y="211"/>
                      </a:lnTo>
                      <a:lnTo>
                        <a:pt x="1909" y="215"/>
                      </a:lnTo>
                      <a:lnTo>
                        <a:pt x="1890" y="229"/>
                      </a:lnTo>
                      <a:lnTo>
                        <a:pt x="1877" y="230"/>
                      </a:lnTo>
                      <a:lnTo>
                        <a:pt x="1856" y="227"/>
                      </a:lnTo>
                      <a:lnTo>
                        <a:pt x="1853" y="232"/>
                      </a:lnTo>
                      <a:lnTo>
                        <a:pt x="1851" y="230"/>
                      </a:lnTo>
                      <a:lnTo>
                        <a:pt x="1854" y="219"/>
                      </a:lnTo>
                      <a:lnTo>
                        <a:pt x="1854" y="209"/>
                      </a:lnTo>
                      <a:lnTo>
                        <a:pt x="1848" y="203"/>
                      </a:lnTo>
                      <a:lnTo>
                        <a:pt x="1811" y="226"/>
                      </a:lnTo>
                      <a:lnTo>
                        <a:pt x="1799" y="229"/>
                      </a:lnTo>
                      <a:lnTo>
                        <a:pt x="1790" y="227"/>
                      </a:lnTo>
                      <a:lnTo>
                        <a:pt x="1785" y="221"/>
                      </a:lnTo>
                      <a:lnTo>
                        <a:pt x="1792" y="213"/>
                      </a:lnTo>
                      <a:lnTo>
                        <a:pt x="1831" y="179"/>
                      </a:lnTo>
                      <a:lnTo>
                        <a:pt x="1872" y="145"/>
                      </a:lnTo>
                      <a:lnTo>
                        <a:pt x="1892" y="138"/>
                      </a:lnTo>
                      <a:lnTo>
                        <a:pt x="1915" y="118"/>
                      </a:lnTo>
                      <a:lnTo>
                        <a:pt x="1910" y="118"/>
                      </a:lnTo>
                      <a:lnTo>
                        <a:pt x="1896" y="111"/>
                      </a:lnTo>
                      <a:lnTo>
                        <a:pt x="1870" y="111"/>
                      </a:lnTo>
                      <a:lnTo>
                        <a:pt x="1853" y="103"/>
                      </a:lnTo>
                      <a:lnTo>
                        <a:pt x="1844" y="104"/>
                      </a:lnTo>
                      <a:lnTo>
                        <a:pt x="1831" y="111"/>
                      </a:lnTo>
                      <a:lnTo>
                        <a:pt x="1824" y="112"/>
                      </a:lnTo>
                      <a:lnTo>
                        <a:pt x="1812" y="106"/>
                      </a:lnTo>
                      <a:lnTo>
                        <a:pt x="1805" y="96"/>
                      </a:lnTo>
                      <a:lnTo>
                        <a:pt x="1792" y="92"/>
                      </a:lnTo>
                      <a:lnTo>
                        <a:pt x="1785" y="86"/>
                      </a:lnTo>
                      <a:lnTo>
                        <a:pt x="1776" y="84"/>
                      </a:lnTo>
                      <a:lnTo>
                        <a:pt x="1772" y="81"/>
                      </a:lnTo>
                      <a:lnTo>
                        <a:pt x="1765" y="74"/>
                      </a:lnTo>
                      <a:lnTo>
                        <a:pt x="1757" y="68"/>
                      </a:lnTo>
                      <a:lnTo>
                        <a:pt x="1747" y="64"/>
                      </a:lnTo>
                      <a:lnTo>
                        <a:pt x="1721" y="63"/>
                      </a:lnTo>
                      <a:lnTo>
                        <a:pt x="1713" y="68"/>
                      </a:lnTo>
                      <a:lnTo>
                        <a:pt x="1702" y="68"/>
                      </a:lnTo>
                      <a:lnTo>
                        <a:pt x="1695" y="66"/>
                      </a:lnTo>
                      <a:lnTo>
                        <a:pt x="1695" y="64"/>
                      </a:lnTo>
                      <a:lnTo>
                        <a:pt x="1693" y="63"/>
                      </a:lnTo>
                      <a:lnTo>
                        <a:pt x="1679" y="59"/>
                      </a:lnTo>
                      <a:lnTo>
                        <a:pt x="1675" y="55"/>
                      </a:lnTo>
                      <a:lnTo>
                        <a:pt x="1665" y="58"/>
                      </a:lnTo>
                      <a:lnTo>
                        <a:pt x="1661" y="58"/>
                      </a:lnTo>
                      <a:lnTo>
                        <a:pt x="1660" y="55"/>
                      </a:lnTo>
                      <a:lnTo>
                        <a:pt x="1651" y="57"/>
                      </a:lnTo>
                      <a:lnTo>
                        <a:pt x="1643" y="34"/>
                      </a:lnTo>
                      <a:lnTo>
                        <a:pt x="1640" y="33"/>
                      </a:lnTo>
                      <a:lnTo>
                        <a:pt x="1629" y="1"/>
                      </a:lnTo>
                      <a:lnTo>
                        <a:pt x="1622" y="0"/>
                      </a:lnTo>
                      <a:lnTo>
                        <a:pt x="1617" y="0"/>
                      </a:lnTo>
                      <a:lnTo>
                        <a:pt x="1617" y="36"/>
                      </a:lnTo>
                      <a:lnTo>
                        <a:pt x="1558" y="36"/>
                      </a:lnTo>
                      <a:lnTo>
                        <a:pt x="1503" y="36"/>
                      </a:lnTo>
                      <a:lnTo>
                        <a:pt x="1503" y="36"/>
                      </a:lnTo>
                      <a:lnTo>
                        <a:pt x="1491" y="36"/>
                      </a:lnTo>
                      <a:lnTo>
                        <a:pt x="1445" y="36"/>
                      </a:lnTo>
                      <a:lnTo>
                        <a:pt x="1397" y="36"/>
                      </a:lnTo>
                      <a:lnTo>
                        <a:pt x="1344" y="36"/>
                      </a:lnTo>
                      <a:lnTo>
                        <a:pt x="1294" y="36"/>
                      </a:lnTo>
                      <a:lnTo>
                        <a:pt x="1277" y="36"/>
                      </a:lnTo>
                      <a:lnTo>
                        <a:pt x="1130" y="36"/>
                      </a:lnTo>
                      <a:lnTo>
                        <a:pt x="1086" y="36"/>
                      </a:lnTo>
                      <a:lnTo>
                        <a:pt x="1032" y="36"/>
                      </a:lnTo>
                      <a:lnTo>
                        <a:pt x="983" y="36"/>
                      </a:lnTo>
                      <a:lnTo>
                        <a:pt x="936" y="36"/>
                      </a:lnTo>
                      <a:lnTo>
                        <a:pt x="888" y="36"/>
                      </a:lnTo>
                      <a:lnTo>
                        <a:pt x="834" y="36"/>
                      </a:lnTo>
                      <a:lnTo>
                        <a:pt x="802" y="36"/>
                      </a:lnTo>
                      <a:lnTo>
                        <a:pt x="753" y="34"/>
                      </a:lnTo>
                      <a:lnTo>
                        <a:pt x="699" y="34"/>
                      </a:lnTo>
                      <a:lnTo>
                        <a:pt x="649" y="34"/>
                      </a:lnTo>
                      <a:lnTo>
                        <a:pt x="580" y="34"/>
                      </a:lnTo>
                      <a:lnTo>
                        <a:pt x="471" y="34"/>
                      </a:lnTo>
                      <a:lnTo>
                        <a:pt x="418" y="34"/>
                      </a:lnTo>
                      <a:lnTo>
                        <a:pt x="365" y="34"/>
                      </a:lnTo>
                      <a:lnTo>
                        <a:pt x="320" y="34"/>
                      </a:lnTo>
                      <a:lnTo>
                        <a:pt x="270" y="34"/>
                      </a:lnTo>
                      <a:lnTo>
                        <a:pt x="218" y="34"/>
                      </a:lnTo>
                      <a:lnTo>
                        <a:pt x="167" y="34"/>
                      </a:lnTo>
                      <a:lnTo>
                        <a:pt x="105" y="34"/>
                      </a:lnTo>
                      <a:lnTo>
                        <a:pt x="108" y="43"/>
                      </a:lnTo>
                      <a:lnTo>
                        <a:pt x="113" y="50"/>
                      </a:lnTo>
                      <a:lnTo>
                        <a:pt x="121" y="50"/>
                      </a:lnTo>
                      <a:lnTo>
                        <a:pt x="129" y="53"/>
                      </a:lnTo>
                      <a:lnTo>
                        <a:pt x="133" y="58"/>
                      </a:lnTo>
                      <a:lnTo>
                        <a:pt x="132" y="59"/>
                      </a:lnTo>
                      <a:lnTo>
                        <a:pt x="128" y="57"/>
                      </a:lnTo>
                      <a:lnTo>
                        <a:pt x="124" y="58"/>
                      </a:lnTo>
                      <a:lnTo>
                        <a:pt x="124" y="66"/>
                      </a:lnTo>
                      <a:lnTo>
                        <a:pt x="119" y="74"/>
                      </a:lnTo>
                      <a:lnTo>
                        <a:pt x="116" y="75"/>
                      </a:lnTo>
                      <a:lnTo>
                        <a:pt x="116" y="76"/>
                      </a:lnTo>
                      <a:lnTo>
                        <a:pt x="122" y="81"/>
                      </a:lnTo>
                      <a:lnTo>
                        <a:pt x="127" y="84"/>
                      </a:lnTo>
                      <a:lnTo>
                        <a:pt x="128" y="87"/>
                      </a:lnTo>
                      <a:lnTo>
                        <a:pt x="133" y="103"/>
                      </a:lnTo>
                      <a:lnTo>
                        <a:pt x="133" y="119"/>
                      </a:lnTo>
                      <a:lnTo>
                        <a:pt x="132" y="133"/>
                      </a:lnTo>
                      <a:lnTo>
                        <a:pt x="130" y="133"/>
                      </a:lnTo>
                      <a:lnTo>
                        <a:pt x="127" y="125"/>
                      </a:lnTo>
                      <a:lnTo>
                        <a:pt x="124" y="125"/>
                      </a:lnTo>
                      <a:lnTo>
                        <a:pt x="118" y="127"/>
                      </a:lnTo>
                      <a:lnTo>
                        <a:pt x="111" y="143"/>
                      </a:lnTo>
                      <a:lnTo>
                        <a:pt x="101" y="150"/>
                      </a:lnTo>
                      <a:lnTo>
                        <a:pt x="98" y="155"/>
                      </a:lnTo>
                      <a:lnTo>
                        <a:pt x="101" y="156"/>
                      </a:lnTo>
                      <a:lnTo>
                        <a:pt x="101" y="162"/>
                      </a:lnTo>
                      <a:lnTo>
                        <a:pt x="92" y="162"/>
                      </a:lnTo>
                      <a:lnTo>
                        <a:pt x="92" y="151"/>
                      </a:lnTo>
                      <a:lnTo>
                        <a:pt x="101" y="130"/>
                      </a:lnTo>
                      <a:lnTo>
                        <a:pt x="103" y="127"/>
                      </a:lnTo>
                      <a:lnTo>
                        <a:pt x="109" y="124"/>
                      </a:lnTo>
                      <a:lnTo>
                        <a:pt x="111" y="122"/>
                      </a:lnTo>
                      <a:lnTo>
                        <a:pt x="112" y="112"/>
                      </a:lnTo>
                      <a:lnTo>
                        <a:pt x="109" y="104"/>
                      </a:lnTo>
                      <a:lnTo>
                        <a:pt x="98" y="106"/>
                      </a:lnTo>
                      <a:lnTo>
                        <a:pt x="84" y="100"/>
                      </a:lnTo>
                      <a:lnTo>
                        <a:pt x="70" y="101"/>
                      </a:lnTo>
                      <a:lnTo>
                        <a:pt x="58" y="98"/>
                      </a:lnTo>
                      <a:lnTo>
                        <a:pt x="48" y="98"/>
                      </a:lnTo>
                      <a:lnTo>
                        <a:pt x="19" y="87"/>
                      </a:lnTo>
                      <a:lnTo>
                        <a:pt x="9" y="81"/>
                      </a:lnTo>
                      <a:lnTo>
                        <a:pt x="4" y="86"/>
                      </a:lnTo>
                      <a:lnTo>
                        <a:pt x="1" y="96"/>
                      </a:lnTo>
                      <a:lnTo>
                        <a:pt x="0" y="106"/>
                      </a:lnTo>
                      <a:lnTo>
                        <a:pt x="3" y="113"/>
                      </a:lnTo>
                      <a:lnTo>
                        <a:pt x="6" y="122"/>
                      </a:lnTo>
                      <a:lnTo>
                        <a:pt x="15" y="131"/>
                      </a:lnTo>
                      <a:lnTo>
                        <a:pt x="21" y="147"/>
                      </a:lnTo>
                      <a:lnTo>
                        <a:pt x="28" y="181"/>
                      </a:lnTo>
                      <a:lnTo>
                        <a:pt x="32" y="193"/>
                      </a:lnTo>
                      <a:lnTo>
                        <a:pt x="33" y="194"/>
                      </a:lnTo>
                      <a:lnTo>
                        <a:pt x="38" y="188"/>
                      </a:lnTo>
                      <a:lnTo>
                        <a:pt x="42" y="193"/>
                      </a:lnTo>
                      <a:lnTo>
                        <a:pt x="41" y="199"/>
                      </a:lnTo>
                      <a:lnTo>
                        <a:pt x="37" y="205"/>
                      </a:lnTo>
                      <a:lnTo>
                        <a:pt x="37" y="211"/>
                      </a:lnTo>
                      <a:lnTo>
                        <a:pt x="38" y="215"/>
                      </a:lnTo>
                      <a:lnTo>
                        <a:pt x="42" y="216"/>
                      </a:lnTo>
                      <a:lnTo>
                        <a:pt x="46" y="215"/>
                      </a:lnTo>
                      <a:lnTo>
                        <a:pt x="47" y="217"/>
                      </a:lnTo>
                      <a:lnTo>
                        <a:pt x="46" y="225"/>
                      </a:lnTo>
                      <a:lnTo>
                        <a:pt x="47" y="236"/>
                      </a:lnTo>
                      <a:lnTo>
                        <a:pt x="46" y="240"/>
                      </a:lnTo>
                      <a:lnTo>
                        <a:pt x="43" y="238"/>
                      </a:lnTo>
                      <a:lnTo>
                        <a:pt x="42" y="229"/>
                      </a:lnTo>
                      <a:lnTo>
                        <a:pt x="38" y="225"/>
                      </a:lnTo>
                      <a:lnTo>
                        <a:pt x="37" y="238"/>
                      </a:lnTo>
                      <a:lnTo>
                        <a:pt x="39" y="246"/>
                      </a:lnTo>
                      <a:lnTo>
                        <a:pt x="47" y="252"/>
                      </a:lnTo>
                      <a:lnTo>
                        <a:pt x="68" y="251"/>
                      </a:lnTo>
                      <a:lnTo>
                        <a:pt x="74" y="257"/>
                      </a:lnTo>
                      <a:lnTo>
                        <a:pt x="81" y="260"/>
                      </a:lnTo>
                      <a:lnTo>
                        <a:pt x="80" y="264"/>
                      </a:lnTo>
                      <a:lnTo>
                        <a:pt x="68" y="259"/>
                      </a:lnTo>
                      <a:lnTo>
                        <a:pt x="48" y="262"/>
                      </a:lnTo>
                      <a:lnTo>
                        <a:pt x="46" y="264"/>
                      </a:lnTo>
                      <a:lnTo>
                        <a:pt x="44" y="269"/>
                      </a:lnTo>
                      <a:lnTo>
                        <a:pt x="43" y="285"/>
                      </a:lnTo>
                      <a:lnTo>
                        <a:pt x="43" y="291"/>
                      </a:lnTo>
                      <a:lnTo>
                        <a:pt x="47" y="295"/>
                      </a:lnTo>
                      <a:lnTo>
                        <a:pt x="44" y="301"/>
                      </a:lnTo>
                      <a:lnTo>
                        <a:pt x="46" y="312"/>
                      </a:lnTo>
                      <a:lnTo>
                        <a:pt x="42" y="321"/>
                      </a:lnTo>
                      <a:lnTo>
                        <a:pt x="41" y="353"/>
                      </a:lnTo>
                      <a:lnTo>
                        <a:pt x="37" y="366"/>
                      </a:lnTo>
                      <a:lnTo>
                        <a:pt x="38" y="409"/>
                      </a:lnTo>
                      <a:lnTo>
                        <a:pt x="36" y="419"/>
                      </a:lnTo>
                      <a:lnTo>
                        <a:pt x="36" y="431"/>
                      </a:lnTo>
                      <a:lnTo>
                        <a:pt x="30" y="457"/>
                      </a:lnTo>
                      <a:lnTo>
                        <a:pt x="28" y="464"/>
                      </a:lnTo>
                      <a:lnTo>
                        <a:pt x="30" y="466"/>
                      </a:lnTo>
                      <a:lnTo>
                        <a:pt x="31" y="466"/>
                      </a:lnTo>
                      <a:lnTo>
                        <a:pt x="32" y="474"/>
                      </a:lnTo>
                      <a:lnTo>
                        <a:pt x="26" y="478"/>
                      </a:lnTo>
                      <a:lnTo>
                        <a:pt x="20" y="488"/>
                      </a:lnTo>
                      <a:lnTo>
                        <a:pt x="15" y="515"/>
                      </a:lnTo>
                      <a:lnTo>
                        <a:pt x="17" y="529"/>
                      </a:lnTo>
                      <a:lnTo>
                        <a:pt x="20" y="555"/>
                      </a:lnTo>
                      <a:lnTo>
                        <a:pt x="27" y="576"/>
                      </a:lnTo>
                      <a:lnTo>
                        <a:pt x="28" y="580"/>
                      </a:lnTo>
                      <a:lnTo>
                        <a:pt x="31" y="590"/>
                      </a:lnTo>
                      <a:lnTo>
                        <a:pt x="39" y="624"/>
                      </a:lnTo>
                      <a:lnTo>
                        <a:pt x="36" y="646"/>
                      </a:lnTo>
                      <a:lnTo>
                        <a:pt x="36" y="667"/>
                      </a:lnTo>
                      <a:lnTo>
                        <a:pt x="30" y="678"/>
                      </a:lnTo>
                      <a:lnTo>
                        <a:pt x="22" y="688"/>
                      </a:lnTo>
                      <a:lnTo>
                        <a:pt x="22" y="697"/>
                      </a:lnTo>
                      <a:lnTo>
                        <a:pt x="24" y="701"/>
                      </a:lnTo>
                      <a:lnTo>
                        <a:pt x="30" y="706"/>
                      </a:lnTo>
                      <a:lnTo>
                        <a:pt x="54" y="747"/>
                      </a:lnTo>
                      <a:lnTo>
                        <a:pt x="55" y="752"/>
                      </a:lnTo>
                      <a:lnTo>
                        <a:pt x="54" y="758"/>
                      </a:lnTo>
                      <a:lnTo>
                        <a:pt x="54" y="769"/>
                      </a:lnTo>
                      <a:lnTo>
                        <a:pt x="63" y="806"/>
                      </a:lnTo>
                      <a:lnTo>
                        <a:pt x="69" y="813"/>
                      </a:lnTo>
                      <a:lnTo>
                        <a:pt x="78" y="824"/>
                      </a:lnTo>
                      <a:lnTo>
                        <a:pt x="95" y="841"/>
                      </a:lnTo>
                      <a:lnTo>
                        <a:pt x="98" y="850"/>
                      </a:lnTo>
                      <a:lnTo>
                        <a:pt x="98" y="857"/>
                      </a:lnTo>
                      <a:lnTo>
                        <a:pt x="100" y="862"/>
                      </a:lnTo>
                      <a:lnTo>
                        <a:pt x="108" y="868"/>
                      </a:lnTo>
                      <a:lnTo>
                        <a:pt x="114" y="868"/>
                      </a:lnTo>
                      <a:lnTo>
                        <a:pt x="116" y="872"/>
                      </a:lnTo>
                      <a:lnTo>
                        <a:pt x="119" y="872"/>
                      </a:lnTo>
                      <a:lnTo>
                        <a:pt x="122" y="870"/>
                      </a:lnTo>
                      <a:lnTo>
                        <a:pt x="123" y="868"/>
                      </a:lnTo>
                      <a:lnTo>
                        <a:pt x="124" y="854"/>
                      </a:lnTo>
                      <a:lnTo>
                        <a:pt x="138" y="854"/>
                      </a:lnTo>
                      <a:lnTo>
                        <a:pt x="150" y="859"/>
                      </a:lnTo>
                      <a:lnTo>
                        <a:pt x="144" y="864"/>
                      </a:lnTo>
                      <a:lnTo>
                        <a:pt x="138" y="865"/>
                      </a:lnTo>
                      <a:lnTo>
                        <a:pt x="133" y="870"/>
                      </a:lnTo>
                      <a:lnTo>
                        <a:pt x="134" y="876"/>
                      </a:lnTo>
                      <a:lnTo>
                        <a:pt x="144" y="894"/>
                      </a:lnTo>
                      <a:lnTo>
                        <a:pt x="145" y="899"/>
                      </a:lnTo>
                      <a:lnTo>
                        <a:pt x="137" y="893"/>
                      </a:lnTo>
                      <a:lnTo>
                        <a:pt x="130" y="886"/>
                      </a:lnTo>
                      <a:lnTo>
                        <a:pt x="129" y="881"/>
                      </a:lnTo>
                      <a:lnTo>
                        <a:pt x="124" y="880"/>
                      </a:lnTo>
                      <a:lnTo>
                        <a:pt x="123" y="887"/>
                      </a:lnTo>
                      <a:lnTo>
                        <a:pt x="124" y="894"/>
                      </a:lnTo>
                      <a:lnTo>
                        <a:pt x="129" y="905"/>
                      </a:lnTo>
                      <a:lnTo>
                        <a:pt x="133" y="925"/>
                      </a:lnTo>
                      <a:lnTo>
                        <a:pt x="143" y="934"/>
                      </a:lnTo>
                      <a:lnTo>
                        <a:pt x="155" y="936"/>
                      </a:lnTo>
                      <a:lnTo>
                        <a:pt x="161" y="946"/>
                      </a:lnTo>
                      <a:lnTo>
                        <a:pt x="161" y="958"/>
                      </a:lnTo>
                      <a:lnTo>
                        <a:pt x="155" y="963"/>
                      </a:lnTo>
                      <a:lnTo>
                        <a:pt x="155" y="977"/>
                      </a:lnTo>
                      <a:lnTo>
                        <a:pt x="157" y="980"/>
                      </a:lnTo>
                      <a:lnTo>
                        <a:pt x="180" y="1004"/>
                      </a:lnTo>
                      <a:lnTo>
                        <a:pt x="192" y="1023"/>
                      </a:lnTo>
                      <a:lnTo>
                        <a:pt x="207" y="1038"/>
                      </a:lnTo>
                      <a:lnTo>
                        <a:pt x="213" y="1042"/>
                      </a:lnTo>
                      <a:lnTo>
                        <a:pt x="214" y="1053"/>
                      </a:lnTo>
                      <a:lnTo>
                        <a:pt x="223" y="1056"/>
                      </a:lnTo>
                      <a:lnTo>
                        <a:pt x="227" y="1064"/>
                      </a:lnTo>
                      <a:lnTo>
                        <a:pt x="227" y="1066"/>
                      </a:lnTo>
                      <a:lnTo>
                        <a:pt x="226" y="1072"/>
                      </a:lnTo>
                      <a:lnTo>
                        <a:pt x="226" y="1081"/>
                      </a:lnTo>
                      <a:lnTo>
                        <a:pt x="229" y="1096"/>
                      </a:lnTo>
                      <a:lnTo>
                        <a:pt x="231" y="1099"/>
                      </a:lnTo>
                      <a:lnTo>
                        <a:pt x="238" y="1102"/>
                      </a:lnTo>
                      <a:lnTo>
                        <a:pt x="257" y="1104"/>
                      </a:lnTo>
                      <a:lnTo>
                        <a:pt x="268" y="1110"/>
                      </a:lnTo>
                      <a:lnTo>
                        <a:pt x="273" y="1108"/>
                      </a:lnTo>
                      <a:lnTo>
                        <a:pt x="280" y="1109"/>
                      </a:lnTo>
                      <a:lnTo>
                        <a:pt x="289" y="1114"/>
                      </a:lnTo>
                      <a:lnTo>
                        <a:pt x="299" y="1118"/>
                      </a:lnTo>
                      <a:lnTo>
                        <a:pt x="302" y="1124"/>
                      </a:lnTo>
                      <a:lnTo>
                        <a:pt x="318" y="1130"/>
                      </a:lnTo>
                      <a:lnTo>
                        <a:pt x="324" y="1134"/>
                      </a:lnTo>
                      <a:lnTo>
                        <a:pt x="328" y="1137"/>
                      </a:lnTo>
                      <a:lnTo>
                        <a:pt x="331" y="1131"/>
                      </a:lnTo>
                      <a:lnTo>
                        <a:pt x="336" y="1131"/>
                      </a:lnTo>
                      <a:lnTo>
                        <a:pt x="339" y="1134"/>
                      </a:lnTo>
                      <a:lnTo>
                        <a:pt x="348" y="1141"/>
                      </a:lnTo>
                      <a:lnTo>
                        <a:pt x="349" y="1151"/>
                      </a:lnTo>
                      <a:lnTo>
                        <a:pt x="350" y="1153"/>
                      </a:lnTo>
                      <a:lnTo>
                        <a:pt x="364" y="1155"/>
                      </a:lnTo>
                      <a:lnTo>
                        <a:pt x="376" y="1161"/>
                      </a:lnTo>
                      <a:lnTo>
                        <a:pt x="383" y="1167"/>
                      </a:lnTo>
                      <a:lnTo>
                        <a:pt x="397" y="1183"/>
                      </a:lnTo>
                      <a:lnTo>
                        <a:pt x="406" y="1192"/>
                      </a:lnTo>
                      <a:lnTo>
                        <a:pt x="412" y="1201"/>
                      </a:lnTo>
                      <a:lnTo>
                        <a:pt x="415" y="1227"/>
                      </a:lnTo>
                      <a:lnTo>
                        <a:pt x="417" y="1233"/>
                      </a:lnTo>
                      <a:lnTo>
                        <a:pt x="541" y="1223"/>
                      </a:lnTo>
                      <a:lnTo>
                        <a:pt x="542" y="1230"/>
                      </a:lnTo>
                      <a:lnTo>
                        <a:pt x="751" y="1307"/>
                      </a:lnTo>
                      <a:lnTo>
                        <a:pt x="854" y="1307"/>
                      </a:lnTo>
                      <a:lnTo>
                        <a:pt x="898" y="1307"/>
                      </a:lnTo>
                      <a:lnTo>
                        <a:pt x="899" y="1277"/>
                      </a:lnTo>
                      <a:lnTo>
                        <a:pt x="989" y="1276"/>
                      </a:lnTo>
                      <a:lnTo>
                        <a:pt x="999" y="1282"/>
                      </a:lnTo>
                      <a:lnTo>
                        <a:pt x="1004" y="1285"/>
                      </a:lnTo>
                      <a:lnTo>
                        <a:pt x="1011" y="1297"/>
                      </a:lnTo>
                      <a:lnTo>
                        <a:pt x="1023" y="1303"/>
                      </a:lnTo>
                      <a:lnTo>
                        <a:pt x="1032" y="1316"/>
                      </a:lnTo>
                      <a:lnTo>
                        <a:pt x="1052" y="1333"/>
                      </a:lnTo>
                      <a:lnTo>
                        <a:pt x="1081" y="1352"/>
                      </a:lnTo>
                      <a:lnTo>
                        <a:pt x="1095" y="1403"/>
                      </a:lnTo>
                      <a:lnTo>
                        <a:pt x="1109" y="1421"/>
                      </a:lnTo>
                      <a:lnTo>
                        <a:pt x="1128" y="1437"/>
                      </a:lnTo>
                      <a:lnTo>
                        <a:pt x="1152" y="1453"/>
                      </a:lnTo>
                      <a:lnTo>
                        <a:pt x="1176" y="1458"/>
                      </a:lnTo>
                      <a:lnTo>
                        <a:pt x="1199" y="1411"/>
                      </a:lnTo>
                      <a:lnTo>
                        <a:pt x="1202" y="1408"/>
                      </a:lnTo>
                      <a:lnTo>
                        <a:pt x="1213" y="1403"/>
                      </a:lnTo>
                      <a:lnTo>
                        <a:pt x="1224" y="1406"/>
                      </a:lnTo>
                      <a:lnTo>
                        <a:pt x="1269" y="1404"/>
                      </a:lnTo>
                      <a:lnTo>
                        <a:pt x="1277" y="1414"/>
                      </a:lnTo>
                      <a:lnTo>
                        <a:pt x="1294" y="1430"/>
                      </a:lnTo>
                      <a:lnTo>
                        <a:pt x="1300" y="1440"/>
                      </a:lnTo>
                      <a:lnTo>
                        <a:pt x="1311" y="1448"/>
                      </a:lnTo>
                      <a:lnTo>
                        <a:pt x="1331" y="1494"/>
                      </a:lnTo>
                      <a:lnTo>
                        <a:pt x="1347" y="1511"/>
                      </a:lnTo>
                      <a:lnTo>
                        <a:pt x="1355" y="1531"/>
                      </a:lnTo>
                      <a:lnTo>
                        <a:pt x="1372" y="1542"/>
                      </a:lnTo>
                      <a:lnTo>
                        <a:pt x="1387" y="1589"/>
                      </a:lnTo>
                      <a:lnTo>
                        <a:pt x="1404" y="1615"/>
                      </a:lnTo>
                      <a:lnTo>
                        <a:pt x="1421" y="1626"/>
                      </a:lnTo>
                      <a:lnTo>
                        <a:pt x="1435" y="1628"/>
                      </a:lnTo>
                      <a:lnTo>
                        <a:pt x="1450" y="1636"/>
                      </a:lnTo>
                      <a:lnTo>
                        <a:pt x="1477" y="1639"/>
                      </a:lnTo>
                      <a:lnTo>
                        <a:pt x="1495" y="1647"/>
                      </a:lnTo>
                      <a:lnTo>
                        <a:pt x="1512" y="1648"/>
                      </a:lnTo>
                      <a:lnTo>
                        <a:pt x="1514" y="1647"/>
                      </a:lnTo>
                      <a:lnTo>
                        <a:pt x="1509" y="1644"/>
                      </a:lnTo>
                      <a:lnTo>
                        <a:pt x="1505" y="1632"/>
                      </a:lnTo>
                      <a:lnTo>
                        <a:pt x="1503" y="1625"/>
                      </a:lnTo>
                      <a:lnTo>
                        <a:pt x="1501" y="1624"/>
                      </a:lnTo>
                      <a:lnTo>
                        <a:pt x="1495" y="1598"/>
                      </a:lnTo>
                      <a:lnTo>
                        <a:pt x="1494" y="1588"/>
                      </a:lnTo>
                      <a:lnTo>
                        <a:pt x="1499" y="1585"/>
                      </a:lnTo>
                      <a:lnTo>
                        <a:pt x="1499" y="1572"/>
                      </a:lnTo>
                      <a:lnTo>
                        <a:pt x="1498" y="1571"/>
                      </a:lnTo>
                      <a:lnTo>
                        <a:pt x="1491" y="1570"/>
                      </a:lnTo>
                      <a:lnTo>
                        <a:pt x="1489" y="1567"/>
                      </a:lnTo>
                      <a:lnTo>
                        <a:pt x="1490" y="1564"/>
                      </a:lnTo>
                      <a:lnTo>
                        <a:pt x="1498" y="1564"/>
                      </a:lnTo>
                      <a:lnTo>
                        <a:pt x="1500" y="1566"/>
                      </a:lnTo>
                      <a:lnTo>
                        <a:pt x="1505" y="1564"/>
                      </a:lnTo>
                      <a:lnTo>
                        <a:pt x="1506" y="1556"/>
                      </a:lnTo>
                      <a:lnTo>
                        <a:pt x="1506" y="1543"/>
                      </a:lnTo>
                      <a:lnTo>
                        <a:pt x="1501" y="1533"/>
                      </a:lnTo>
                      <a:lnTo>
                        <a:pt x="1516" y="1531"/>
                      </a:lnTo>
                      <a:lnTo>
                        <a:pt x="1521" y="1521"/>
                      </a:lnTo>
                      <a:lnTo>
                        <a:pt x="1520" y="1518"/>
                      </a:lnTo>
                      <a:lnTo>
                        <a:pt x="1515" y="1519"/>
                      </a:lnTo>
                      <a:lnTo>
                        <a:pt x="1515" y="1515"/>
                      </a:lnTo>
                      <a:lnTo>
                        <a:pt x="1525" y="1508"/>
                      </a:lnTo>
                      <a:lnTo>
                        <a:pt x="1528" y="1510"/>
                      </a:lnTo>
                      <a:lnTo>
                        <a:pt x="1533" y="1502"/>
                      </a:lnTo>
                      <a:lnTo>
                        <a:pt x="1534" y="1500"/>
                      </a:lnTo>
                      <a:lnTo>
                        <a:pt x="1537" y="1496"/>
                      </a:lnTo>
                      <a:lnTo>
                        <a:pt x="1547" y="1496"/>
                      </a:lnTo>
                      <a:lnTo>
                        <a:pt x="1550" y="1494"/>
                      </a:lnTo>
                      <a:lnTo>
                        <a:pt x="1552" y="1489"/>
                      </a:lnTo>
                      <a:lnTo>
                        <a:pt x="1546" y="1485"/>
                      </a:lnTo>
                      <a:lnTo>
                        <a:pt x="1546" y="1480"/>
                      </a:lnTo>
                      <a:lnTo>
                        <a:pt x="1547" y="1476"/>
                      </a:lnTo>
                      <a:lnTo>
                        <a:pt x="1552" y="1479"/>
                      </a:lnTo>
                      <a:lnTo>
                        <a:pt x="1555" y="1481"/>
                      </a:lnTo>
                      <a:lnTo>
                        <a:pt x="1557" y="1481"/>
                      </a:lnTo>
                      <a:lnTo>
                        <a:pt x="1557" y="1476"/>
                      </a:lnTo>
                      <a:lnTo>
                        <a:pt x="1558" y="1475"/>
                      </a:lnTo>
                      <a:lnTo>
                        <a:pt x="1559" y="1476"/>
                      </a:lnTo>
                      <a:lnTo>
                        <a:pt x="1563" y="1480"/>
                      </a:lnTo>
                      <a:lnTo>
                        <a:pt x="1564" y="1480"/>
                      </a:lnTo>
                      <a:lnTo>
                        <a:pt x="1566" y="1479"/>
                      </a:lnTo>
                      <a:lnTo>
                        <a:pt x="1569" y="1475"/>
                      </a:lnTo>
                      <a:lnTo>
                        <a:pt x="1570" y="1474"/>
                      </a:lnTo>
                      <a:lnTo>
                        <a:pt x="1571" y="1483"/>
                      </a:lnTo>
                      <a:lnTo>
                        <a:pt x="1587" y="1476"/>
                      </a:lnTo>
                      <a:lnTo>
                        <a:pt x="1590" y="1478"/>
                      </a:lnTo>
                      <a:lnTo>
                        <a:pt x="1590" y="1479"/>
                      </a:lnTo>
                      <a:lnTo>
                        <a:pt x="1585" y="1481"/>
                      </a:lnTo>
                      <a:lnTo>
                        <a:pt x="1575" y="1485"/>
                      </a:lnTo>
                      <a:lnTo>
                        <a:pt x="1566" y="1489"/>
                      </a:lnTo>
                      <a:lnTo>
                        <a:pt x="1565" y="1492"/>
                      </a:lnTo>
                      <a:lnTo>
                        <a:pt x="1568" y="1492"/>
                      </a:lnTo>
                      <a:lnTo>
                        <a:pt x="1584" y="1486"/>
                      </a:lnTo>
                      <a:lnTo>
                        <a:pt x="1598" y="1479"/>
                      </a:lnTo>
                      <a:lnTo>
                        <a:pt x="1606" y="1473"/>
                      </a:lnTo>
                      <a:lnTo>
                        <a:pt x="1619" y="1463"/>
                      </a:lnTo>
                      <a:lnTo>
                        <a:pt x="1622" y="1459"/>
                      </a:lnTo>
                      <a:lnTo>
                        <a:pt x="1628" y="1443"/>
                      </a:lnTo>
                      <a:lnTo>
                        <a:pt x="1629" y="1410"/>
                      </a:lnTo>
                      <a:lnTo>
                        <a:pt x="1632" y="1408"/>
                      </a:lnTo>
                      <a:lnTo>
                        <a:pt x="1635" y="1406"/>
                      </a:lnTo>
                      <a:lnTo>
                        <a:pt x="1638" y="1406"/>
                      </a:lnTo>
                      <a:lnTo>
                        <a:pt x="1638" y="1419"/>
                      </a:lnTo>
                      <a:lnTo>
                        <a:pt x="1645" y="1419"/>
                      </a:lnTo>
                      <a:lnTo>
                        <a:pt x="1643" y="1422"/>
                      </a:lnTo>
                      <a:lnTo>
                        <a:pt x="1636" y="1425"/>
                      </a:lnTo>
                      <a:lnTo>
                        <a:pt x="1639" y="1426"/>
                      </a:lnTo>
                      <a:lnTo>
                        <a:pt x="1659" y="1419"/>
                      </a:lnTo>
                      <a:lnTo>
                        <a:pt x="1671" y="1411"/>
                      </a:lnTo>
                      <a:lnTo>
                        <a:pt x="1688" y="1411"/>
                      </a:lnTo>
                      <a:lnTo>
                        <a:pt x="1719" y="1406"/>
                      </a:lnTo>
                      <a:lnTo>
                        <a:pt x="1740" y="1413"/>
                      </a:lnTo>
                      <a:lnTo>
                        <a:pt x="1751" y="1418"/>
                      </a:lnTo>
                      <a:lnTo>
                        <a:pt x="1763" y="1420"/>
                      </a:lnTo>
                      <a:lnTo>
                        <a:pt x="1775" y="1420"/>
                      </a:lnTo>
                      <a:lnTo>
                        <a:pt x="1781" y="1414"/>
                      </a:lnTo>
                      <a:lnTo>
                        <a:pt x="1781" y="1409"/>
                      </a:lnTo>
                      <a:lnTo>
                        <a:pt x="1784" y="1405"/>
                      </a:lnTo>
                      <a:lnTo>
                        <a:pt x="1794" y="1405"/>
                      </a:lnTo>
                      <a:lnTo>
                        <a:pt x="1810" y="1414"/>
                      </a:lnTo>
                      <a:lnTo>
                        <a:pt x="1816" y="1421"/>
                      </a:lnTo>
                      <a:lnTo>
                        <a:pt x="1822" y="1422"/>
                      </a:lnTo>
                      <a:lnTo>
                        <a:pt x="1833" y="1440"/>
                      </a:lnTo>
                      <a:lnTo>
                        <a:pt x="1845" y="1440"/>
                      </a:lnTo>
                      <a:lnTo>
                        <a:pt x="1848" y="1442"/>
                      </a:lnTo>
                      <a:lnTo>
                        <a:pt x="1856" y="1445"/>
                      </a:lnTo>
                      <a:lnTo>
                        <a:pt x="1864" y="1441"/>
                      </a:lnTo>
                      <a:lnTo>
                        <a:pt x="1870" y="1445"/>
                      </a:lnTo>
                      <a:lnTo>
                        <a:pt x="1875" y="1442"/>
                      </a:lnTo>
                      <a:lnTo>
                        <a:pt x="1880" y="1442"/>
                      </a:lnTo>
                      <a:lnTo>
                        <a:pt x="1890" y="1445"/>
                      </a:lnTo>
                      <a:lnTo>
                        <a:pt x="1897" y="1436"/>
                      </a:lnTo>
                      <a:lnTo>
                        <a:pt x="1898" y="1433"/>
                      </a:lnTo>
                      <a:lnTo>
                        <a:pt x="1897" y="1429"/>
                      </a:lnTo>
                      <a:lnTo>
                        <a:pt x="1899" y="1427"/>
                      </a:lnTo>
                      <a:lnTo>
                        <a:pt x="1904" y="1427"/>
                      </a:lnTo>
                      <a:lnTo>
                        <a:pt x="1912" y="1435"/>
                      </a:lnTo>
                      <a:lnTo>
                        <a:pt x="1923" y="1440"/>
                      </a:lnTo>
                      <a:lnTo>
                        <a:pt x="1934" y="1453"/>
                      </a:lnTo>
                      <a:lnTo>
                        <a:pt x="1937" y="1452"/>
                      </a:lnTo>
                      <a:lnTo>
                        <a:pt x="1945" y="1449"/>
                      </a:lnTo>
                      <a:lnTo>
                        <a:pt x="1946" y="1445"/>
                      </a:lnTo>
                      <a:lnTo>
                        <a:pt x="1941" y="1438"/>
                      </a:lnTo>
                      <a:lnTo>
                        <a:pt x="1925" y="1430"/>
                      </a:lnTo>
                      <a:lnTo>
                        <a:pt x="1918" y="1420"/>
                      </a:lnTo>
                      <a:lnTo>
                        <a:pt x="1918" y="1418"/>
                      </a:lnTo>
                      <a:lnTo>
                        <a:pt x="1923" y="1410"/>
                      </a:lnTo>
                      <a:lnTo>
                        <a:pt x="1934" y="1402"/>
                      </a:lnTo>
                      <a:lnTo>
                        <a:pt x="1936" y="1387"/>
                      </a:lnTo>
                      <a:lnTo>
                        <a:pt x="1934" y="1386"/>
                      </a:lnTo>
                      <a:lnTo>
                        <a:pt x="1933" y="1384"/>
                      </a:lnTo>
                      <a:lnTo>
                        <a:pt x="1920" y="1389"/>
                      </a:lnTo>
                      <a:lnTo>
                        <a:pt x="1914" y="1395"/>
                      </a:lnTo>
                      <a:lnTo>
                        <a:pt x="1910" y="1394"/>
                      </a:lnTo>
                      <a:lnTo>
                        <a:pt x="1908" y="1383"/>
                      </a:lnTo>
                      <a:lnTo>
                        <a:pt x="1905" y="1382"/>
                      </a:lnTo>
                      <a:lnTo>
                        <a:pt x="1902" y="1383"/>
                      </a:lnTo>
                      <a:lnTo>
                        <a:pt x="1893" y="1388"/>
                      </a:lnTo>
                      <a:lnTo>
                        <a:pt x="1883" y="1389"/>
                      </a:lnTo>
                      <a:lnTo>
                        <a:pt x="1876" y="1382"/>
                      </a:lnTo>
                      <a:lnTo>
                        <a:pt x="1878" y="1371"/>
                      </a:lnTo>
                      <a:lnTo>
                        <a:pt x="1891" y="1367"/>
                      </a:lnTo>
                      <a:lnTo>
                        <a:pt x="1905" y="1375"/>
                      </a:lnTo>
                      <a:lnTo>
                        <a:pt x="1921" y="1377"/>
                      </a:lnTo>
                      <a:lnTo>
                        <a:pt x="1934" y="1371"/>
                      </a:lnTo>
                      <a:lnTo>
                        <a:pt x="1942" y="1373"/>
                      </a:lnTo>
                      <a:lnTo>
                        <a:pt x="1953" y="1366"/>
                      </a:lnTo>
                      <a:lnTo>
                        <a:pt x="1987" y="1368"/>
                      </a:lnTo>
                      <a:lnTo>
                        <a:pt x="1995" y="1370"/>
                      </a:lnTo>
                      <a:lnTo>
                        <a:pt x="1999" y="1367"/>
                      </a:lnTo>
                      <a:lnTo>
                        <a:pt x="2007" y="1334"/>
                      </a:lnTo>
                      <a:lnTo>
                        <a:pt x="2010" y="1341"/>
                      </a:lnTo>
                      <a:lnTo>
                        <a:pt x="2010" y="1350"/>
                      </a:lnTo>
                      <a:lnTo>
                        <a:pt x="2012" y="1363"/>
                      </a:lnTo>
                      <a:lnTo>
                        <a:pt x="2012" y="1367"/>
                      </a:lnTo>
                      <a:lnTo>
                        <a:pt x="2010" y="1373"/>
                      </a:lnTo>
                      <a:lnTo>
                        <a:pt x="2011" y="1377"/>
                      </a:lnTo>
                      <a:lnTo>
                        <a:pt x="2020" y="1376"/>
                      </a:lnTo>
                      <a:lnTo>
                        <a:pt x="2041" y="1370"/>
                      </a:lnTo>
                      <a:lnTo>
                        <a:pt x="2049" y="1361"/>
                      </a:lnTo>
                      <a:lnTo>
                        <a:pt x="2054" y="1361"/>
                      </a:lnTo>
                      <a:lnTo>
                        <a:pt x="2059" y="1356"/>
                      </a:lnTo>
                      <a:lnTo>
                        <a:pt x="2061" y="1356"/>
                      </a:lnTo>
                      <a:lnTo>
                        <a:pt x="2061" y="1359"/>
                      </a:lnTo>
                      <a:lnTo>
                        <a:pt x="2058" y="1366"/>
                      </a:lnTo>
                      <a:lnTo>
                        <a:pt x="2065" y="1366"/>
                      </a:lnTo>
                      <a:lnTo>
                        <a:pt x="2087" y="1361"/>
                      </a:lnTo>
                      <a:lnTo>
                        <a:pt x="2098" y="1361"/>
                      </a:lnTo>
                      <a:lnTo>
                        <a:pt x="2103" y="1362"/>
                      </a:lnTo>
                      <a:lnTo>
                        <a:pt x="2102" y="1366"/>
                      </a:lnTo>
                      <a:lnTo>
                        <a:pt x="2100" y="1367"/>
                      </a:lnTo>
                      <a:lnTo>
                        <a:pt x="2100" y="1370"/>
                      </a:lnTo>
                      <a:lnTo>
                        <a:pt x="2107" y="1373"/>
                      </a:lnTo>
                      <a:lnTo>
                        <a:pt x="2117" y="1377"/>
                      </a:lnTo>
                      <a:lnTo>
                        <a:pt x="2143" y="1392"/>
                      </a:lnTo>
                      <a:lnTo>
                        <a:pt x="2147" y="1397"/>
                      </a:lnTo>
                      <a:lnTo>
                        <a:pt x="2152" y="1406"/>
                      </a:lnTo>
                      <a:lnTo>
                        <a:pt x="2157" y="1410"/>
                      </a:lnTo>
                      <a:lnTo>
                        <a:pt x="2171" y="1406"/>
                      </a:lnTo>
                      <a:lnTo>
                        <a:pt x="2186" y="1404"/>
                      </a:lnTo>
                      <a:lnTo>
                        <a:pt x="2199" y="1397"/>
                      </a:lnTo>
                      <a:lnTo>
                        <a:pt x="2205" y="1397"/>
                      </a:lnTo>
                      <a:lnTo>
                        <a:pt x="2206" y="1397"/>
                      </a:lnTo>
                      <a:lnTo>
                        <a:pt x="2208" y="1390"/>
                      </a:lnTo>
                      <a:lnTo>
                        <a:pt x="2213" y="1387"/>
                      </a:lnTo>
                      <a:lnTo>
                        <a:pt x="2221" y="1387"/>
                      </a:lnTo>
                      <a:lnTo>
                        <a:pt x="2226" y="1387"/>
                      </a:lnTo>
                      <a:lnTo>
                        <a:pt x="2236" y="1390"/>
                      </a:lnTo>
                      <a:lnTo>
                        <a:pt x="2243" y="1398"/>
                      </a:lnTo>
                      <a:lnTo>
                        <a:pt x="2253" y="1409"/>
                      </a:lnTo>
                      <a:lnTo>
                        <a:pt x="2258" y="1411"/>
                      </a:lnTo>
                      <a:lnTo>
                        <a:pt x="2259" y="1421"/>
                      </a:lnTo>
                      <a:lnTo>
                        <a:pt x="2264" y="1424"/>
                      </a:lnTo>
                      <a:lnTo>
                        <a:pt x="2274" y="1437"/>
                      </a:lnTo>
                      <a:lnTo>
                        <a:pt x="2280" y="1441"/>
                      </a:lnTo>
                      <a:lnTo>
                        <a:pt x="2292" y="1446"/>
                      </a:lnTo>
                      <a:lnTo>
                        <a:pt x="2295" y="1449"/>
                      </a:lnTo>
                      <a:lnTo>
                        <a:pt x="2296" y="1457"/>
                      </a:lnTo>
                      <a:lnTo>
                        <a:pt x="2297" y="1476"/>
                      </a:lnTo>
                      <a:lnTo>
                        <a:pt x="2292" y="1511"/>
                      </a:lnTo>
                      <a:lnTo>
                        <a:pt x="2292" y="1517"/>
                      </a:lnTo>
                      <a:lnTo>
                        <a:pt x="2295" y="1527"/>
                      </a:lnTo>
                      <a:lnTo>
                        <a:pt x="2295" y="1528"/>
                      </a:lnTo>
                      <a:lnTo>
                        <a:pt x="2300" y="1528"/>
                      </a:lnTo>
                      <a:lnTo>
                        <a:pt x="2301" y="1518"/>
                      </a:lnTo>
                      <a:lnTo>
                        <a:pt x="2305" y="1521"/>
                      </a:lnTo>
                      <a:lnTo>
                        <a:pt x="2308" y="1524"/>
                      </a:lnTo>
                      <a:lnTo>
                        <a:pt x="2305" y="1537"/>
                      </a:lnTo>
                      <a:lnTo>
                        <a:pt x="2303" y="1545"/>
                      </a:lnTo>
                      <a:lnTo>
                        <a:pt x="2305" y="1556"/>
                      </a:lnTo>
                      <a:lnTo>
                        <a:pt x="2310" y="1566"/>
                      </a:lnTo>
                      <a:lnTo>
                        <a:pt x="2323" y="1587"/>
                      </a:lnTo>
                      <a:lnTo>
                        <a:pt x="2326" y="1587"/>
                      </a:lnTo>
                      <a:lnTo>
                        <a:pt x="2333" y="1585"/>
                      </a:lnTo>
                      <a:lnTo>
                        <a:pt x="2335" y="1602"/>
                      </a:lnTo>
                      <a:lnTo>
                        <a:pt x="2340" y="1601"/>
                      </a:lnTo>
                      <a:lnTo>
                        <a:pt x="2340" y="1601"/>
                      </a:lnTo>
                      <a:lnTo>
                        <a:pt x="2338" y="1605"/>
                      </a:lnTo>
                      <a:lnTo>
                        <a:pt x="2337" y="1609"/>
                      </a:lnTo>
                      <a:lnTo>
                        <a:pt x="2345" y="1623"/>
                      </a:lnTo>
                      <a:lnTo>
                        <a:pt x="2349" y="1635"/>
                      </a:lnTo>
                      <a:lnTo>
                        <a:pt x="2353" y="1641"/>
                      </a:lnTo>
                      <a:lnTo>
                        <a:pt x="2358" y="1647"/>
                      </a:lnTo>
                      <a:lnTo>
                        <a:pt x="2366" y="1647"/>
                      </a:lnTo>
                      <a:lnTo>
                        <a:pt x="2371" y="1653"/>
                      </a:lnTo>
                      <a:lnTo>
                        <a:pt x="2381" y="1674"/>
                      </a:lnTo>
                      <a:lnTo>
                        <a:pt x="2381" y="1688"/>
                      </a:lnTo>
                      <a:lnTo>
                        <a:pt x="2382" y="1690"/>
                      </a:lnTo>
                      <a:lnTo>
                        <a:pt x="2386" y="1693"/>
                      </a:lnTo>
                      <a:lnTo>
                        <a:pt x="2399" y="1693"/>
                      </a:lnTo>
                      <a:lnTo>
                        <a:pt x="2409" y="1690"/>
                      </a:lnTo>
                      <a:lnTo>
                        <a:pt x="2421" y="1684"/>
                      </a:lnTo>
                      <a:lnTo>
                        <a:pt x="2429" y="1688"/>
                      </a:lnTo>
                      <a:lnTo>
                        <a:pt x="2432" y="1680"/>
                      </a:lnTo>
                      <a:lnTo>
                        <a:pt x="2429" y="1677"/>
                      </a:lnTo>
                      <a:lnTo>
                        <a:pt x="2434" y="1657"/>
                      </a:lnTo>
                      <a:lnTo>
                        <a:pt x="2440" y="1636"/>
                      </a:lnTo>
                      <a:lnTo>
                        <a:pt x="2442" y="1617"/>
                      </a:lnTo>
                      <a:lnTo>
                        <a:pt x="2440" y="1597"/>
                      </a:lnTo>
                      <a:lnTo>
                        <a:pt x="2441" y="1583"/>
                      </a:lnTo>
                      <a:lnTo>
                        <a:pt x="2424" y="1539"/>
                      </a:lnTo>
                      <a:lnTo>
                        <a:pt x="2414" y="1522"/>
                      </a:lnTo>
                      <a:lnTo>
                        <a:pt x="2412" y="1508"/>
                      </a:lnTo>
                      <a:lnTo>
                        <a:pt x="2414" y="1492"/>
                      </a:lnTo>
                      <a:lnTo>
                        <a:pt x="2412" y="1483"/>
                      </a:lnTo>
                      <a:lnTo>
                        <a:pt x="2404" y="1469"/>
                      </a:lnTo>
                      <a:lnTo>
                        <a:pt x="2387" y="1441"/>
                      </a:lnTo>
                      <a:lnTo>
                        <a:pt x="2374" y="1400"/>
                      </a:lnTo>
                      <a:lnTo>
                        <a:pt x="2362" y="1354"/>
                      </a:lnTo>
                      <a:lnTo>
                        <a:pt x="2365" y="1348"/>
                      </a:lnTo>
                      <a:lnTo>
                        <a:pt x="2365" y="1332"/>
                      </a:lnTo>
                      <a:lnTo>
                        <a:pt x="2371" y="1322"/>
                      </a:lnTo>
                      <a:lnTo>
                        <a:pt x="2374" y="1311"/>
                      </a:lnTo>
                      <a:lnTo>
                        <a:pt x="2377" y="1302"/>
                      </a:lnTo>
                      <a:lnTo>
                        <a:pt x="2389" y="1274"/>
                      </a:lnTo>
                      <a:lnTo>
                        <a:pt x="2396" y="1264"/>
                      </a:lnTo>
                      <a:lnTo>
                        <a:pt x="2398" y="1264"/>
                      </a:lnTo>
                      <a:lnTo>
                        <a:pt x="2398" y="1259"/>
                      </a:lnTo>
                      <a:lnTo>
                        <a:pt x="2399" y="1257"/>
                      </a:lnTo>
                      <a:lnTo>
                        <a:pt x="2408" y="1252"/>
                      </a:lnTo>
                      <a:lnTo>
                        <a:pt x="2413" y="1252"/>
                      </a:lnTo>
                      <a:lnTo>
                        <a:pt x="2417" y="1247"/>
                      </a:lnTo>
                      <a:lnTo>
                        <a:pt x="2414" y="1242"/>
                      </a:lnTo>
                      <a:lnTo>
                        <a:pt x="2409" y="1234"/>
                      </a:lnTo>
                      <a:lnTo>
                        <a:pt x="2409" y="1232"/>
                      </a:lnTo>
                      <a:lnTo>
                        <a:pt x="2409" y="1230"/>
                      </a:lnTo>
                      <a:lnTo>
                        <a:pt x="2425" y="1228"/>
                      </a:lnTo>
                      <a:lnTo>
                        <a:pt x="2441" y="1230"/>
                      </a:lnTo>
                      <a:lnTo>
                        <a:pt x="2446" y="1228"/>
                      </a:lnTo>
                      <a:lnTo>
                        <a:pt x="2468" y="1210"/>
                      </a:lnTo>
                      <a:lnTo>
                        <a:pt x="2471" y="1210"/>
                      </a:lnTo>
                      <a:lnTo>
                        <a:pt x="2475" y="1206"/>
                      </a:lnTo>
                      <a:lnTo>
                        <a:pt x="2478" y="1199"/>
                      </a:lnTo>
                      <a:lnTo>
                        <a:pt x="2487" y="1196"/>
                      </a:lnTo>
                      <a:lnTo>
                        <a:pt x="2493" y="1192"/>
                      </a:lnTo>
                      <a:lnTo>
                        <a:pt x="2495" y="1185"/>
                      </a:lnTo>
                      <a:lnTo>
                        <a:pt x="2493" y="1179"/>
                      </a:lnTo>
                      <a:lnTo>
                        <a:pt x="2499" y="1174"/>
                      </a:lnTo>
                      <a:lnTo>
                        <a:pt x="2505" y="1163"/>
                      </a:lnTo>
                      <a:lnTo>
                        <a:pt x="2512" y="1156"/>
                      </a:lnTo>
                      <a:lnTo>
                        <a:pt x="2526" y="1150"/>
                      </a:lnTo>
                      <a:lnTo>
                        <a:pt x="2527" y="1145"/>
                      </a:lnTo>
                      <a:lnTo>
                        <a:pt x="2533" y="1144"/>
                      </a:lnTo>
                      <a:lnTo>
                        <a:pt x="2550" y="1141"/>
                      </a:lnTo>
                      <a:lnTo>
                        <a:pt x="2569" y="1133"/>
                      </a:lnTo>
                      <a:lnTo>
                        <a:pt x="2571" y="1126"/>
                      </a:lnTo>
                      <a:lnTo>
                        <a:pt x="2574" y="1123"/>
                      </a:lnTo>
                      <a:lnTo>
                        <a:pt x="2579" y="1118"/>
                      </a:lnTo>
                      <a:lnTo>
                        <a:pt x="2585" y="1109"/>
                      </a:lnTo>
                      <a:lnTo>
                        <a:pt x="2592" y="1103"/>
                      </a:lnTo>
                      <a:lnTo>
                        <a:pt x="2611" y="1094"/>
                      </a:lnTo>
                      <a:lnTo>
                        <a:pt x="2631" y="1093"/>
                      </a:lnTo>
                      <a:lnTo>
                        <a:pt x="2646" y="1083"/>
                      </a:lnTo>
                      <a:lnTo>
                        <a:pt x="2649" y="1079"/>
                      </a:lnTo>
                      <a:lnTo>
                        <a:pt x="2649" y="1071"/>
                      </a:lnTo>
                      <a:lnTo>
                        <a:pt x="2640" y="1069"/>
                      </a:lnTo>
                      <a:lnTo>
                        <a:pt x="2635" y="1071"/>
                      </a:lnTo>
                      <a:lnTo>
                        <a:pt x="2634" y="1074"/>
                      </a:lnTo>
                      <a:lnTo>
                        <a:pt x="2634" y="1071"/>
                      </a:lnTo>
                      <a:lnTo>
                        <a:pt x="2634" y="1065"/>
                      </a:lnTo>
                      <a:lnTo>
                        <a:pt x="2639" y="1061"/>
                      </a:lnTo>
                      <a:lnTo>
                        <a:pt x="2640" y="1056"/>
                      </a:lnTo>
                      <a:lnTo>
                        <a:pt x="2645" y="1053"/>
                      </a:lnTo>
                      <a:lnTo>
                        <a:pt x="2641" y="1048"/>
                      </a:lnTo>
                      <a:lnTo>
                        <a:pt x="2625" y="1042"/>
                      </a:lnTo>
                      <a:lnTo>
                        <a:pt x="2639" y="1042"/>
                      </a:lnTo>
                      <a:lnTo>
                        <a:pt x="2645" y="1037"/>
                      </a:lnTo>
                      <a:lnTo>
                        <a:pt x="2647" y="1043"/>
                      </a:lnTo>
                      <a:lnTo>
                        <a:pt x="2651" y="1043"/>
                      </a:lnTo>
                      <a:lnTo>
                        <a:pt x="2655" y="1048"/>
                      </a:lnTo>
                      <a:lnTo>
                        <a:pt x="2665" y="1048"/>
                      </a:lnTo>
                      <a:lnTo>
                        <a:pt x="2671" y="1044"/>
                      </a:lnTo>
                      <a:lnTo>
                        <a:pt x="2679" y="1032"/>
                      </a:lnTo>
                      <a:lnTo>
                        <a:pt x="2686" y="1028"/>
                      </a:lnTo>
                      <a:lnTo>
                        <a:pt x="2686" y="1020"/>
                      </a:lnTo>
                      <a:lnTo>
                        <a:pt x="2684" y="1013"/>
                      </a:lnTo>
                      <a:lnTo>
                        <a:pt x="2679" y="1007"/>
                      </a:lnTo>
                      <a:lnTo>
                        <a:pt x="2674" y="1012"/>
                      </a:lnTo>
                      <a:lnTo>
                        <a:pt x="2670" y="1023"/>
                      </a:lnTo>
                      <a:lnTo>
                        <a:pt x="2670" y="1023"/>
                      </a:lnTo>
                      <a:lnTo>
                        <a:pt x="2667" y="1018"/>
                      </a:lnTo>
                      <a:lnTo>
                        <a:pt x="2666" y="1006"/>
                      </a:lnTo>
                      <a:lnTo>
                        <a:pt x="2641" y="1010"/>
                      </a:lnTo>
                      <a:lnTo>
                        <a:pt x="2635" y="1008"/>
                      </a:lnTo>
                      <a:lnTo>
                        <a:pt x="2634" y="1001"/>
                      </a:lnTo>
                      <a:lnTo>
                        <a:pt x="2634" y="986"/>
                      </a:lnTo>
                      <a:lnTo>
                        <a:pt x="2635" y="984"/>
                      </a:lnTo>
                      <a:lnTo>
                        <a:pt x="2639" y="997"/>
                      </a:lnTo>
                      <a:lnTo>
                        <a:pt x="2643" y="1000"/>
                      </a:lnTo>
                      <a:lnTo>
                        <a:pt x="2647" y="1000"/>
                      </a:lnTo>
                      <a:lnTo>
                        <a:pt x="2662" y="991"/>
                      </a:lnTo>
                      <a:lnTo>
                        <a:pt x="2666" y="993"/>
                      </a:lnTo>
                      <a:lnTo>
                        <a:pt x="2666" y="989"/>
                      </a:lnTo>
                      <a:lnTo>
                        <a:pt x="2672" y="991"/>
                      </a:lnTo>
                      <a:lnTo>
                        <a:pt x="2678" y="991"/>
                      </a:lnTo>
                      <a:lnTo>
                        <a:pt x="2682" y="999"/>
                      </a:lnTo>
                      <a:lnTo>
                        <a:pt x="2682" y="997"/>
                      </a:lnTo>
                      <a:lnTo>
                        <a:pt x="2679" y="990"/>
                      </a:lnTo>
                      <a:lnTo>
                        <a:pt x="2677" y="984"/>
                      </a:lnTo>
                      <a:lnTo>
                        <a:pt x="2674" y="975"/>
                      </a:lnTo>
                      <a:lnTo>
                        <a:pt x="2673" y="973"/>
                      </a:lnTo>
                      <a:lnTo>
                        <a:pt x="2676" y="957"/>
                      </a:lnTo>
                      <a:lnTo>
                        <a:pt x="2674" y="943"/>
                      </a:lnTo>
                      <a:lnTo>
                        <a:pt x="2657" y="938"/>
                      </a:lnTo>
                      <a:lnTo>
                        <a:pt x="2655" y="940"/>
                      </a:lnTo>
                      <a:lnTo>
                        <a:pt x="2654" y="942"/>
                      </a:lnTo>
                      <a:lnTo>
                        <a:pt x="2647" y="940"/>
                      </a:lnTo>
                      <a:lnTo>
                        <a:pt x="2643" y="936"/>
                      </a:lnTo>
                      <a:lnTo>
                        <a:pt x="2643" y="931"/>
                      </a:lnTo>
                      <a:lnTo>
                        <a:pt x="2652" y="931"/>
                      </a:lnTo>
                      <a:lnTo>
                        <a:pt x="2657" y="929"/>
                      </a:lnTo>
                      <a:lnTo>
                        <a:pt x="2656" y="925"/>
                      </a:lnTo>
                      <a:lnTo>
                        <a:pt x="2651" y="923"/>
                      </a:lnTo>
                      <a:lnTo>
                        <a:pt x="2649" y="916"/>
                      </a:lnTo>
                      <a:lnTo>
                        <a:pt x="2649" y="913"/>
                      </a:lnTo>
                      <a:lnTo>
                        <a:pt x="2654" y="910"/>
                      </a:lnTo>
                      <a:lnTo>
                        <a:pt x="2657" y="910"/>
                      </a:lnTo>
                      <a:lnTo>
                        <a:pt x="2654" y="903"/>
                      </a:lnTo>
                      <a:lnTo>
                        <a:pt x="2649" y="899"/>
                      </a:lnTo>
                      <a:lnTo>
                        <a:pt x="2647" y="892"/>
                      </a:lnTo>
                      <a:lnTo>
                        <a:pt x="2647" y="891"/>
                      </a:lnTo>
                      <a:lnTo>
                        <a:pt x="2651" y="889"/>
                      </a:lnTo>
                      <a:lnTo>
                        <a:pt x="2654" y="877"/>
                      </a:lnTo>
                      <a:lnTo>
                        <a:pt x="2654" y="871"/>
                      </a:lnTo>
                      <a:lnTo>
                        <a:pt x="2647" y="864"/>
                      </a:lnTo>
                      <a:lnTo>
                        <a:pt x="2635" y="857"/>
                      </a:lnTo>
                      <a:lnTo>
                        <a:pt x="2625" y="855"/>
                      </a:lnTo>
                      <a:lnTo>
                        <a:pt x="2616" y="846"/>
                      </a:lnTo>
                      <a:lnTo>
                        <a:pt x="2598" y="838"/>
                      </a:lnTo>
                      <a:lnTo>
                        <a:pt x="2597" y="835"/>
                      </a:lnTo>
                      <a:lnTo>
                        <a:pt x="2597" y="832"/>
                      </a:lnTo>
                      <a:lnTo>
                        <a:pt x="2600" y="825"/>
                      </a:lnTo>
                      <a:lnTo>
                        <a:pt x="2604" y="824"/>
                      </a:lnTo>
                      <a:lnTo>
                        <a:pt x="2604" y="827"/>
                      </a:lnTo>
                      <a:lnTo>
                        <a:pt x="2601" y="833"/>
                      </a:lnTo>
                      <a:lnTo>
                        <a:pt x="2603" y="835"/>
                      </a:lnTo>
                      <a:lnTo>
                        <a:pt x="2611" y="837"/>
                      </a:lnTo>
                      <a:lnTo>
                        <a:pt x="2622" y="843"/>
                      </a:lnTo>
                      <a:lnTo>
                        <a:pt x="2628" y="843"/>
                      </a:lnTo>
                      <a:lnTo>
                        <a:pt x="2631" y="846"/>
                      </a:lnTo>
                      <a:lnTo>
                        <a:pt x="2639" y="849"/>
                      </a:lnTo>
                      <a:lnTo>
                        <a:pt x="2644" y="854"/>
                      </a:lnTo>
                      <a:lnTo>
                        <a:pt x="2651" y="857"/>
                      </a:lnTo>
                      <a:lnTo>
                        <a:pt x="2646" y="841"/>
                      </a:lnTo>
                      <a:lnTo>
                        <a:pt x="2640" y="835"/>
                      </a:lnTo>
                      <a:lnTo>
                        <a:pt x="2645" y="834"/>
                      </a:lnTo>
                      <a:lnTo>
                        <a:pt x="2645" y="833"/>
                      </a:lnTo>
                      <a:lnTo>
                        <a:pt x="2643" y="828"/>
                      </a:lnTo>
                      <a:lnTo>
                        <a:pt x="2641" y="816"/>
                      </a:lnTo>
                      <a:lnTo>
                        <a:pt x="2644" y="790"/>
                      </a:lnTo>
                      <a:lnTo>
                        <a:pt x="2641" y="781"/>
                      </a:lnTo>
                      <a:lnTo>
                        <a:pt x="2649" y="778"/>
                      </a:lnTo>
                      <a:lnTo>
                        <a:pt x="2662" y="767"/>
                      </a:lnTo>
                      <a:lnTo>
                        <a:pt x="2666" y="760"/>
                      </a:lnTo>
                      <a:lnTo>
                        <a:pt x="2668" y="755"/>
                      </a:lnTo>
                      <a:lnTo>
                        <a:pt x="2671" y="755"/>
                      </a:lnTo>
                      <a:lnTo>
                        <a:pt x="2673" y="758"/>
                      </a:lnTo>
                      <a:lnTo>
                        <a:pt x="2674" y="760"/>
                      </a:lnTo>
                      <a:lnTo>
                        <a:pt x="2672" y="767"/>
                      </a:lnTo>
                      <a:lnTo>
                        <a:pt x="2670" y="770"/>
                      </a:lnTo>
                      <a:lnTo>
                        <a:pt x="2665" y="773"/>
                      </a:lnTo>
                      <a:lnTo>
                        <a:pt x="2661" y="778"/>
                      </a:lnTo>
                      <a:lnTo>
                        <a:pt x="2661" y="782"/>
                      </a:lnTo>
                      <a:lnTo>
                        <a:pt x="2663" y="789"/>
                      </a:lnTo>
                      <a:lnTo>
                        <a:pt x="2662" y="792"/>
                      </a:lnTo>
                      <a:lnTo>
                        <a:pt x="2655" y="801"/>
                      </a:lnTo>
                      <a:lnTo>
                        <a:pt x="2656" y="803"/>
                      </a:lnTo>
                      <a:lnTo>
                        <a:pt x="2662" y="803"/>
                      </a:lnTo>
                      <a:lnTo>
                        <a:pt x="2663" y="806"/>
                      </a:lnTo>
                      <a:lnTo>
                        <a:pt x="2663" y="812"/>
                      </a:lnTo>
                      <a:lnTo>
                        <a:pt x="2663" y="821"/>
                      </a:lnTo>
                      <a:lnTo>
                        <a:pt x="2660" y="823"/>
                      </a:lnTo>
                      <a:lnTo>
                        <a:pt x="2657" y="827"/>
                      </a:lnTo>
                      <a:lnTo>
                        <a:pt x="2656" y="832"/>
                      </a:lnTo>
                      <a:lnTo>
                        <a:pt x="2657" y="838"/>
                      </a:lnTo>
                      <a:lnTo>
                        <a:pt x="2663" y="845"/>
                      </a:lnTo>
                      <a:lnTo>
                        <a:pt x="2672" y="846"/>
                      </a:lnTo>
                      <a:lnTo>
                        <a:pt x="2676" y="848"/>
                      </a:lnTo>
                      <a:lnTo>
                        <a:pt x="2681" y="859"/>
                      </a:lnTo>
                      <a:lnTo>
                        <a:pt x="2682" y="865"/>
                      </a:lnTo>
                      <a:lnTo>
                        <a:pt x="2683" y="867"/>
                      </a:lnTo>
                      <a:lnTo>
                        <a:pt x="2688" y="870"/>
                      </a:lnTo>
                      <a:lnTo>
                        <a:pt x="2687" y="876"/>
                      </a:lnTo>
                      <a:lnTo>
                        <a:pt x="2682" y="877"/>
                      </a:lnTo>
                      <a:lnTo>
                        <a:pt x="2679" y="881"/>
                      </a:lnTo>
                      <a:lnTo>
                        <a:pt x="2671" y="903"/>
                      </a:lnTo>
                      <a:lnTo>
                        <a:pt x="2671" y="911"/>
                      </a:lnTo>
                      <a:lnTo>
                        <a:pt x="2672" y="923"/>
                      </a:lnTo>
                      <a:lnTo>
                        <a:pt x="2674" y="925"/>
                      </a:lnTo>
                      <a:lnTo>
                        <a:pt x="2679" y="924"/>
                      </a:lnTo>
                      <a:lnTo>
                        <a:pt x="2683" y="921"/>
                      </a:lnTo>
                      <a:lnTo>
                        <a:pt x="2686" y="916"/>
                      </a:lnTo>
                      <a:lnTo>
                        <a:pt x="2693" y="892"/>
                      </a:lnTo>
                      <a:lnTo>
                        <a:pt x="2709" y="862"/>
                      </a:lnTo>
                      <a:lnTo>
                        <a:pt x="2709" y="854"/>
                      </a:lnTo>
                      <a:lnTo>
                        <a:pt x="2717" y="843"/>
                      </a:lnTo>
                      <a:lnTo>
                        <a:pt x="2720" y="834"/>
                      </a:lnTo>
                      <a:lnTo>
                        <a:pt x="2722" y="828"/>
                      </a:lnTo>
                      <a:lnTo>
                        <a:pt x="2717" y="811"/>
                      </a:lnTo>
                      <a:lnTo>
                        <a:pt x="2708" y="796"/>
                      </a:lnTo>
                      <a:lnTo>
                        <a:pt x="2694" y="771"/>
                      </a:lnTo>
                      <a:lnTo>
                        <a:pt x="2692" y="763"/>
                      </a:lnTo>
                      <a:lnTo>
                        <a:pt x="2694" y="757"/>
                      </a:lnTo>
                      <a:lnTo>
                        <a:pt x="2700" y="764"/>
                      </a:lnTo>
                      <a:lnTo>
                        <a:pt x="2708" y="773"/>
                      </a:lnTo>
                      <a:lnTo>
                        <a:pt x="2715" y="775"/>
                      </a:lnTo>
                      <a:lnTo>
                        <a:pt x="2721" y="780"/>
                      </a:lnTo>
                      <a:lnTo>
                        <a:pt x="2732" y="781"/>
                      </a:lnTo>
                      <a:lnTo>
                        <a:pt x="2731" y="795"/>
                      </a:lnTo>
                      <a:lnTo>
                        <a:pt x="2732" y="797"/>
                      </a:lnTo>
                      <a:lnTo>
                        <a:pt x="2740" y="790"/>
                      </a:lnTo>
                      <a:lnTo>
                        <a:pt x="2751" y="773"/>
                      </a:lnTo>
                      <a:lnTo>
                        <a:pt x="2758" y="765"/>
                      </a:lnTo>
                      <a:lnTo>
                        <a:pt x="2762" y="759"/>
                      </a:lnTo>
                      <a:lnTo>
                        <a:pt x="2762" y="754"/>
                      </a:lnTo>
                      <a:lnTo>
                        <a:pt x="2767" y="752"/>
                      </a:lnTo>
                      <a:lnTo>
                        <a:pt x="2769" y="749"/>
                      </a:lnTo>
                      <a:lnTo>
                        <a:pt x="2773" y="730"/>
                      </a:lnTo>
                      <a:lnTo>
                        <a:pt x="2774" y="727"/>
                      </a:lnTo>
                      <a:lnTo>
                        <a:pt x="2776" y="728"/>
                      </a:lnTo>
                      <a:lnTo>
                        <a:pt x="2779" y="727"/>
                      </a:lnTo>
                      <a:lnTo>
                        <a:pt x="2783" y="712"/>
                      </a:lnTo>
                      <a:lnTo>
                        <a:pt x="2784" y="708"/>
                      </a:lnTo>
                      <a:lnTo>
                        <a:pt x="2781" y="703"/>
                      </a:lnTo>
                      <a:lnTo>
                        <a:pt x="2776" y="697"/>
                      </a:lnTo>
                      <a:lnTo>
                        <a:pt x="2769" y="693"/>
                      </a:lnTo>
                      <a:lnTo>
                        <a:pt x="2769" y="690"/>
                      </a:lnTo>
                      <a:lnTo>
                        <a:pt x="2769" y="687"/>
                      </a:lnTo>
                      <a:lnTo>
                        <a:pt x="2773" y="678"/>
                      </a:lnTo>
                      <a:lnTo>
                        <a:pt x="2775" y="674"/>
                      </a:lnTo>
                      <a:lnTo>
                        <a:pt x="2785" y="662"/>
                      </a:lnTo>
                      <a:lnTo>
                        <a:pt x="2790" y="662"/>
                      </a:lnTo>
                      <a:lnTo>
                        <a:pt x="2796" y="652"/>
                      </a:lnTo>
                      <a:lnTo>
                        <a:pt x="2807" y="650"/>
                      </a:lnTo>
                      <a:lnTo>
                        <a:pt x="2819" y="644"/>
                      </a:lnTo>
                      <a:lnTo>
                        <a:pt x="2830" y="641"/>
                      </a:lnTo>
                      <a:lnTo>
                        <a:pt x="2835" y="635"/>
                      </a:lnTo>
                      <a:lnTo>
                        <a:pt x="2843" y="631"/>
                      </a:lnTo>
                      <a:lnTo>
                        <a:pt x="2856" y="634"/>
                      </a:lnTo>
                      <a:lnTo>
                        <a:pt x="2869" y="631"/>
                      </a:lnTo>
                      <a:lnTo>
                        <a:pt x="2894" y="630"/>
                      </a:lnTo>
                      <a:lnTo>
                        <a:pt x="2913" y="625"/>
                      </a:lnTo>
                      <a:lnTo>
                        <a:pt x="2918" y="623"/>
                      </a:lnTo>
                      <a:lnTo>
                        <a:pt x="2923" y="619"/>
                      </a:lnTo>
                      <a:lnTo>
                        <a:pt x="2929" y="604"/>
                      </a:lnTo>
                      <a:lnTo>
                        <a:pt x="2931" y="602"/>
                      </a:lnTo>
                      <a:lnTo>
                        <a:pt x="2936" y="604"/>
                      </a:lnTo>
                      <a:lnTo>
                        <a:pt x="2937" y="614"/>
                      </a:lnTo>
                      <a:lnTo>
                        <a:pt x="2941" y="614"/>
                      </a:lnTo>
                      <a:lnTo>
                        <a:pt x="2948" y="613"/>
                      </a:lnTo>
                      <a:lnTo>
                        <a:pt x="2963" y="604"/>
                      </a:lnTo>
                      <a:lnTo>
                        <a:pt x="2967" y="604"/>
                      </a:lnTo>
                      <a:lnTo>
                        <a:pt x="2969" y="612"/>
                      </a:lnTo>
                      <a:lnTo>
                        <a:pt x="2974" y="613"/>
                      </a:lnTo>
                      <a:lnTo>
                        <a:pt x="2987" y="608"/>
                      </a:lnTo>
                      <a:lnTo>
                        <a:pt x="2993" y="609"/>
                      </a:lnTo>
                      <a:lnTo>
                        <a:pt x="3004" y="602"/>
                      </a:lnTo>
                      <a:lnTo>
                        <a:pt x="3006" y="599"/>
                      </a:lnTo>
                      <a:lnTo>
                        <a:pt x="3004" y="586"/>
                      </a:lnTo>
                      <a:lnTo>
                        <a:pt x="3002" y="583"/>
                      </a:lnTo>
                      <a:lnTo>
                        <a:pt x="3000" y="583"/>
                      </a:lnTo>
                      <a:lnTo>
                        <a:pt x="3000" y="596"/>
                      </a:lnTo>
                      <a:lnTo>
                        <a:pt x="2999" y="599"/>
                      </a:lnTo>
                      <a:lnTo>
                        <a:pt x="2991" y="602"/>
                      </a:lnTo>
                      <a:lnTo>
                        <a:pt x="2982" y="599"/>
                      </a:lnTo>
                      <a:lnTo>
                        <a:pt x="2972" y="593"/>
                      </a:lnTo>
                      <a:lnTo>
                        <a:pt x="2967" y="582"/>
                      </a:lnTo>
                      <a:lnTo>
                        <a:pt x="2963" y="580"/>
                      </a:lnTo>
                      <a:lnTo>
                        <a:pt x="2962" y="569"/>
                      </a:lnTo>
                      <a:lnTo>
                        <a:pt x="2957" y="564"/>
                      </a:lnTo>
                      <a:lnTo>
                        <a:pt x="2948" y="559"/>
                      </a:lnTo>
                      <a:lnTo>
                        <a:pt x="2947" y="558"/>
                      </a:lnTo>
                      <a:lnTo>
                        <a:pt x="2947" y="552"/>
                      </a:lnTo>
                      <a:lnTo>
                        <a:pt x="2950" y="548"/>
                      </a:lnTo>
                      <a:lnTo>
                        <a:pt x="2953" y="547"/>
                      </a:lnTo>
                      <a:lnTo>
                        <a:pt x="2957" y="538"/>
                      </a:lnTo>
                      <a:lnTo>
                        <a:pt x="2962" y="536"/>
                      </a:lnTo>
                      <a:lnTo>
                        <a:pt x="2957" y="528"/>
                      </a:lnTo>
                      <a:lnTo>
                        <a:pt x="2951" y="515"/>
                      </a:lnTo>
                      <a:lnTo>
                        <a:pt x="2956" y="500"/>
                      </a:lnTo>
                      <a:lnTo>
                        <a:pt x="2971" y="488"/>
                      </a:lnTo>
                      <a:lnTo>
                        <a:pt x="2982" y="470"/>
                      </a:lnTo>
                      <a:lnTo>
                        <a:pt x="2987" y="466"/>
                      </a:lnTo>
                      <a:lnTo>
                        <a:pt x="2989" y="455"/>
                      </a:lnTo>
                      <a:lnTo>
                        <a:pt x="2996" y="446"/>
                      </a:lnTo>
                      <a:lnTo>
                        <a:pt x="3005" y="442"/>
                      </a:lnTo>
                      <a:lnTo>
                        <a:pt x="3009" y="443"/>
                      </a:lnTo>
                      <a:lnTo>
                        <a:pt x="3011" y="451"/>
                      </a:lnTo>
                      <a:lnTo>
                        <a:pt x="3014" y="451"/>
                      </a:lnTo>
                      <a:lnTo>
                        <a:pt x="3017" y="447"/>
                      </a:lnTo>
                      <a:lnTo>
                        <a:pt x="3020" y="437"/>
                      </a:lnTo>
                      <a:lnTo>
                        <a:pt x="3022" y="437"/>
                      </a:lnTo>
                      <a:lnTo>
                        <a:pt x="3025" y="441"/>
                      </a:lnTo>
                      <a:lnTo>
                        <a:pt x="3027" y="441"/>
                      </a:lnTo>
                      <a:lnTo>
                        <a:pt x="3032" y="440"/>
                      </a:lnTo>
                      <a:lnTo>
                        <a:pt x="3036" y="432"/>
                      </a:lnTo>
                      <a:lnTo>
                        <a:pt x="3039" y="429"/>
                      </a:lnTo>
                      <a:lnTo>
                        <a:pt x="3045" y="431"/>
                      </a:lnTo>
                      <a:lnTo>
                        <a:pt x="3048" y="430"/>
                      </a:lnTo>
                      <a:lnTo>
                        <a:pt x="3053" y="421"/>
                      </a:lnTo>
                      <a:lnTo>
                        <a:pt x="3054" y="414"/>
                      </a:lnTo>
                      <a:lnTo>
                        <a:pt x="3058" y="408"/>
                      </a:lnTo>
                      <a:lnTo>
                        <a:pt x="3059" y="398"/>
                      </a:lnTo>
                      <a:lnTo>
                        <a:pt x="3065" y="393"/>
                      </a:lnTo>
                      <a:lnTo>
                        <a:pt x="3068" y="392"/>
                      </a:lnTo>
                      <a:lnTo>
                        <a:pt x="3070" y="393"/>
                      </a:lnTo>
                      <a:lnTo>
                        <a:pt x="3071" y="400"/>
                      </a:lnTo>
                      <a:lnTo>
                        <a:pt x="3072" y="405"/>
                      </a:lnTo>
                      <a:lnTo>
                        <a:pt x="3077" y="407"/>
                      </a:lnTo>
                      <a:lnTo>
                        <a:pt x="3082" y="404"/>
                      </a:lnTo>
                      <a:lnTo>
                        <a:pt x="3092" y="412"/>
                      </a:lnTo>
                      <a:lnTo>
                        <a:pt x="3097" y="410"/>
                      </a:lnTo>
                      <a:lnTo>
                        <a:pt x="3100" y="405"/>
                      </a:lnTo>
                      <a:lnTo>
                        <a:pt x="3107" y="399"/>
                      </a:lnTo>
                      <a:lnTo>
                        <a:pt x="3112" y="399"/>
                      </a:lnTo>
                      <a:lnTo>
                        <a:pt x="3118" y="396"/>
                      </a:lnTo>
                      <a:lnTo>
                        <a:pt x="3120" y="389"/>
                      </a:lnTo>
                      <a:lnTo>
                        <a:pt x="3133" y="388"/>
                      </a:lnTo>
                      <a:lnTo>
                        <a:pt x="3136" y="387"/>
                      </a:lnTo>
                      <a:lnTo>
                        <a:pt x="3141" y="383"/>
                      </a:lnTo>
                      <a:lnTo>
                        <a:pt x="3147" y="383"/>
                      </a:lnTo>
                      <a:lnTo>
                        <a:pt x="3151" y="380"/>
                      </a:lnTo>
                      <a:lnTo>
                        <a:pt x="3158" y="380"/>
                      </a:lnTo>
                      <a:lnTo>
                        <a:pt x="3165" y="375"/>
                      </a:lnTo>
                      <a:lnTo>
                        <a:pt x="3166" y="370"/>
                      </a:lnTo>
                      <a:lnTo>
                        <a:pt x="3165" y="365"/>
                      </a:lnTo>
                      <a:close/>
                    </a:path>
                  </a:pathLst>
                </a:custGeom>
                <a:grpFill/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</p:grpSp>
        </p:grpSp>
        <p:grpSp>
          <p:nvGrpSpPr>
            <p:cNvPr id="77" name="Group 283"/>
            <p:cNvGrpSpPr>
              <a:grpSpLocks noChangeAspect="1"/>
            </p:cNvGrpSpPr>
            <p:nvPr/>
          </p:nvGrpSpPr>
          <p:grpSpPr>
            <a:xfrm>
              <a:off x="3437287" y="1594008"/>
              <a:ext cx="1540846" cy="1784549"/>
              <a:chOff x="969" y="960"/>
              <a:chExt cx="969" cy="1022"/>
            </a:xfrm>
            <a:grpFill/>
          </p:grpSpPr>
          <p:sp>
            <p:nvSpPr>
              <p:cNvPr id="222" name="Freeform 284"/>
              <p:cNvSpPr>
                <a:spLocks noChangeAspect="1"/>
              </p:cNvSpPr>
              <p:nvPr/>
            </p:nvSpPr>
            <p:spPr bwMode="gray">
              <a:xfrm>
                <a:off x="1903" y="1791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3" y="2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1"/>
                    </a:lnTo>
                    <a:lnTo>
                      <a:pt x="3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23" name="Freeform 285"/>
              <p:cNvSpPr>
                <a:spLocks noChangeAspect="1"/>
              </p:cNvSpPr>
              <p:nvPr/>
            </p:nvSpPr>
            <p:spPr bwMode="gray">
              <a:xfrm>
                <a:off x="1865" y="1826"/>
                <a:ext cx="73" cy="84"/>
              </a:xfrm>
              <a:custGeom>
                <a:avLst/>
                <a:gdLst/>
                <a:ahLst/>
                <a:cxnLst>
                  <a:cxn ang="0">
                    <a:pos x="147" y="25"/>
                  </a:cxn>
                  <a:cxn ang="0">
                    <a:pos x="138" y="43"/>
                  </a:cxn>
                  <a:cxn ang="0">
                    <a:pos x="129" y="52"/>
                  </a:cxn>
                  <a:cxn ang="0">
                    <a:pos x="120" y="75"/>
                  </a:cxn>
                  <a:cxn ang="0">
                    <a:pos x="115" y="89"/>
                  </a:cxn>
                  <a:cxn ang="0">
                    <a:pos x="103" y="121"/>
                  </a:cxn>
                  <a:cxn ang="0">
                    <a:pos x="92" y="139"/>
                  </a:cxn>
                  <a:cxn ang="0">
                    <a:pos x="82" y="178"/>
                  </a:cxn>
                  <a:cxn ang="0">
                    <a:pos x="65" y="193"/>
                  </a:cxn>
                  <a:cxn ang="0">
                    <a:pos x="71" y="208"/>
                  </a:cxn>
                  <a:cxn ang="0">
                    <a:pos x="71" y="221"/>
                  </a:cxn>
                  <a:cxn ang="0">
                    <a:pos x="31" y="259"/>
                  </a:cxn>
                  <a:cxn ang="0">
                    <a:pos x="11" y="263"/>
                  </a:cxn>
                  <a:cxn ang="0">
                    <a:pos x="44" y="267"/>
                  </a:cxn>
                  <a:cxn ang="0">
                    <a:pos x="1" y="318"/>
                  </a:cxn>
                  <a:cxn ang="0">
                    <a:pos x="18" y="344"/>
                  </a:cxn>
                  <a:cxn ang="0">
                    <a:pos x="90" y="338"/>
                  </a:cxn>
                  <a:cxn ang="0">
                    <a:pos x="141" y="343"/>
                  </a:cxn>
                  <a:cxn ang="0">
                    <a:pos x="180" y="329"/>
                  </a:cxn>
                  <a:cxn ang="0">
                    <a:pos x="194" y="339"/>
                  </a:cxn>
                  <a:cxn ang="0">
                    <a:pos x="187" y="350"/>
                  </a:cxn>
                  <a:cxn ang="0">
                    <a:pos x="221" y="336"/>
                  </a:cxn>
                  <a:cxn ang="0">
                    <a:pos x="248" y="343"/>
                  </a:cxn>
                  <a:cxn ang="0">
                    <a:pos x="212" y="380"/>
                  </a:cxn>
                  <a:cxn ang="0">
                    <a:pos x="189" y="397"/>
                  </a:cxn>
                  <a:cxn ang="0">
                    <a:pos x="224" y="392"/>
                  </a:cxn>
                  <a:cxn ang="0">
                    <a:pos x="264" y="354"/>
                  </a:cxn>
                  <a:cxn ang="0">
                    <a:pos x="289" y="315"/>
                  </a:cxn>
                  <a:cxn ang="0">
                    <a:pos x="297" y="361"/>
                  </a:cxn>
                  <a:cxn ang="0">
                    <a:pos x="294" y="403"/>
                  </a:cxn>
                  <a:cxn ang="0">
                    <a:pos x="314" y="392"/>
                  </a:cxn>
                  <a:cxn ang="0">
                    <a:pos x="320" y="420"/>
                  </a:cxn>
                  <a:cxn ang="0">
                    <a:pos x="351" y="396"/>
                  </a:cxn>
                  <a:cxn ang="0">
                    <a:pos x="362" y="332"/>
                  </a:cxn>
                  <a:cxn ang="0">
                    <a:pos x="339" y="347"/>
                  </a:cxn>
                  <a:cxn ang="0">
                    <a:pos x="348" y="306"/>
                  </a:cxn>
                  <a:cxn ang="0">
                    <a:pos x="332" y="307"/>
                  </a:cxn>
                  <a:cxn ang="0">
                    <a:pos x="313" y="337"/>
                  </a:cxn>
                  <a:cxn ang="0">
                    <a:pos x="307" y="320"/>
                  </a:cxn>
                  <a:cxn ang="0">
                    <a:pos x="307" y="300"/>
                  </a:cxn>
                  <a:cxn ang="0">
                    <a:pos x="326" y="274"/>
                  </a:cxn>
                  <a:cxn ang="0">
                    <a:pos x="340" y="254"/>
                  </a:cxn>
                  <a:cxn ang="0">
                    <a:pos x="293" y="272"/>
                  </a:cxn>
                  <a:cxn ang="0">
                    <a:pos x="304" y="247"/>
                  </a:cxn>
                  <a:cxn ang="0">
                    <a:pos x="300" y="226"/>
                  </a:cxn>
                  <a:cxn ang="0">
                    <a:pos x="318" y="197"/>
                  </a:cxn>
                  <a:cxn ang="0">
                    <a:pos x="275" y="192"/>
                  </a:cxn>
                  <a:cxn ang="0">
                    <a:pos x="218" y="204"/>
                  </a:cxn>
                  <a:cxn ang="0">
                    <a:pos x="218" y="184"/>
                  </a:cxn>
                  <a:cxn ang="0">
                    <a:pos x="189" y="184"/>
                  </a:cxn>
                  <a:cxn ang="0">
                    <a:pos x="191" y="157"/>
                  </a:cxn>
                  <a:cxn ang="0">
                    <a:pos x="176" y="144"/>
                  </a:cxn>
                  <a:cxn ang="0">
                    <a:pos x="162" y="148"/>
                  </a:cxn>
                  <a:cxn ang="0">
                    <a:pos x="137" y="161"/>
                  </a:cxn>
                  <a:cxn ang="0">
                    <a:pos x="153" y="122"/>
                  </a:cxn>
                  <a:cxn ang="0">
                    <a:pos x="172" y="81"/>
                  </a:cxn>
                  <a:cxn ang="0">
                    <a:pos x="176" y="71"/>
                  </a:cxn>
                  <a:cxn ang="0">
                    <a:pos x="185" y="33"/>
                  </a:cxn>
                  <a:cxn ang="0">
                    <a:pos x="207" y="8"/>
                  </a:cxn>
                  <a:cxn ang="0">
                    <a:pos x="194" y="5"/>
                  </a:cxn>
                </a:cxnLst>
                <a:rect l="0" t="0" r="r" b="b"/>
                <a:pathLst>
                  <a:path w="362" h="420">
                    <a:moveTo>
                      <a:pt x="170" y="11"/>
                    </a:moveTo>
                    <a:lnTo>
                      <a:pt x="159" y="16"/>
                    </a:lnTo>
                    <a:lnTo>
                      <a:pt x="147" y="25"/>
                    </a:lnTo>
                    <a:lnTo>
                      <a:pt x="144" y="33"/>
                    </a:lnTo>
                    <a:lnTo>
                      <a:pt x="141" y="38"/>
                    </a:lnTo>
                    <a:lnTo>
                      <a:pt x="138" y="43"/>
                    </a:lnTo>
                    <a:lnTo>
                      <a:pt x="135" y="46"/>
                    </a:lnTo>
                    <a:lnTo>
                      <a:pt x="135" y="48"/>
                    </a:lnTo>
                    <a:lnTo>
                      <a:pt x="129" y="52"/>
                    </a:lnTo>
                    <a:lnTo>
                      <a:pt x="127" y="60"/>
                    </a:lnTo>
                    <a:lnTo>
                      <a:pt x="126" y="68"/>
                    </a:lnTo>
                    <a:lnTo>
                      <a:pt x="120" y="75"/>
                    </a:lnTo>
                    <a:lnTo>
                      <a:pt x="111" y="78"/>
                    </a:lnTo>
                    <a:lnTo>
                      <a:pt x="106" y="83"/>
                    </a:lnTo>
                    <a:lnTo>
                      <a:pt x="115" y="89"/>
                    </a:lnTo>
                    <a:lnTo>
                      <a:pt x="109" y="96"/>
                    </a:lnTo>
                    <a:lnTo>
                      <a:pt x="103" y="119"/>
                    </a:lnTo>
                    <a:lnTo>
                      <a:pt x="103" y="121"/>
                    </a:lnTo>
                    <a:lnTo>
                      <a:pt x="110" y="128"/>
                    </a:lnTo>
                    <a:lnTo>
                      <a:pt x="93" y="134"/>
                    </a:lnTo>
                    <a:lnTo>
                      <a:pt x="92" y="139"/>
                    </a:lnTo>
                    <a:lnTo>
                      <a:pt x="81" y="164"/>
                    </a:lnTo>
                    <a:lnTo>
                      <a:pt x="79" y="175"/>
                    </a:lnTo>
                    <a:lnTo>
                      <a:pt x="82" y="178"/>
                    </a:lnTo>
                    <a:lnTo>
                      <a:pt x="82" y="182"/>
                    </a:lnTo>
                    <a:lnTo>
                      <a:pt x="73" y="182"/>
                    </a:lnTo>
                    <a:lnTo>
                      <a:pt x="65" y="193"/>
                    </a:lnTo>
                    <a:lnTo>
                      <a:pt x="61" y="202"/>
                    </a:lnTo>
                    <a:lnTo>
                      <a:pt x="63" y="207"/>
                    </a:lnTo>
                    <a:lnTo>
                      <a:pt x="71" y="208"/>
                    </a:lnTo>
                    <a:lnTo>
                      <a:pt x="71" y="210"/>
                    </a:lnTo>
                    <a:lnTo>
                      <a:pt x="68" y="215"/>
                    </a:lnTo>
                    <a:lnTo>
                      <a:pt x="71" y="221"/>
                    </a:lnTo>
                    <a:lnTo>
                      <a:pt x="52" y="219"/>
                    </a:lnTo>
                    <a:lnTo>
                      <a:pt x="39" y="254"/>
                    </a:lnTo>
                    <a:lnTo>
                      <a:pt x="31" y="259"/>
                    </a:lnTo>
                    <a:lnTo>
                      <a:pt x="27" y="252"/>
                    </a:lnTo>
                    <a:lnTo>
                      <a:pt x="19" y="257"/>
                    </a:lnTo>
                    <a:lnTo>
                      <a:pt x="11" y="263"/>
                    </a:lnTo>
                    <a:lnTo>
                      <a:pt x="11" y="267"/>
                    </a:lnTo>
                    <a:lnTo>
                      <a:pt x="33" y="264"/>
                    </a:lnTo>
                    <a:lnTo>
                      <a:pt x="44" y="267"/>
                    </a:lnTo>
                    <a:lnTo>
                      <a:pt x="47" y="274"/>
                    </a:lnTo>
                    <a:lnTo>
                      <a:pt x="18" y="300"/>
                    </a:lnTo>
                    <a:lnTo>
                      <a:pt x="1" y="318"/>
                    </a:lnTo>
                    <a:lnTo>
                      <a:pt x="0" y="332"/>
                    </a:lnTo>
                    <a:lnTo>
                      <a:pt x="4" y="342"/>
                    </a:lnTo>
                    <a:lnTo>
                      <a:pt x="18" y="344"/>
                    </a:lnTo>
                    <a:lnTo>
                      <a:pt x="38" y="339"/>
                    </a:lnTo>
                    <a:lnTo>
                      <a:pt x="68" y="334"/>
                    </a:lnTo>
                    <a:lnTo>
                      <a:pt x="90" y="338"/>
                    </a:lnTo>
                    <a:lnTo>
                      <a:pt x="103" y="338"/>
                    </a:lnTo>
                    <a:lnTo>
                      <a:pt x="113" y="342"/>
                    </a:lnTo>
                    <a:lnTo>
                      <a:pt x="141" y="343"/>
                    </a:lnTo>
                    <a:lnTo>
                      <a:pt x="156" y="339"/>
                    </a:lnTo>
                    <a:lnTo>
                      <a:pt x="173" y="337"/>
                    </a:lnTo>
                    <a:lnTo>
                      <a:pt x="180" y="329"/>
                    </a:lnTo>
                    <a:lnTo>
                      <a:pt x="196" y="322"/>
                    </a:lnTo>
                    <a:lnTo>
                      <a:pt x="194" y="332"/>
                    </a:lnTo>
                    <a:lnTo>
                      <a:pt x="194" y="339"/>
                    </a:lnTo>
                    <a:lnTo>
                      <a:pt x="179" y="345"/>
                    </a:lnTo>
                    <a:lnTo>
                      <a:pt x="176" y="350"/>
                    </a:lnTo>
                    <a:lnTo>
                      <a:pt x="187" y="350"/>
                    </a:lnTo>
                    <a:lnTo>
                      <a:pt x="189" y="354"/>
                    </a:lnTo>
                    <a:lnTo>
                      <a:pt x="211" y="352"/>
                    </a:lnTo>
                    <a:lnTo>
                      <a:pt x="221" y="336"/>
                    </a:lnTo>
                    <a:lnTo>
                      <a:pt x="229" y="339"/>
                    </a:lnTo>
                    <a:lnTo>
                      <a:pt x="244" y="339"/>
                    </a:lnTo>
                    <a:lnTo>
                      <a:pt x="248" y="343"/>
                    </a:lnTo>
                    <a:lnTo>
                      <a:pt x="235" y="352"/>
                    </a:lnTo>
                    <a:lnTo>
                      <a:pt x="224" y="361"/>
                    </a:lnTo>
                    <a:lnTo>
                      <a:pt x="212" y="380"/>
                    </a:lnTo>
                    <a:lnTo>
                      <a:pt x="199" y="383"/>
                    </a:lnTo>
                    <a:lnTo>
                      <a:pt x="191" y="387"/>
                    </a:lnTo>
                    <a:lnTo>
                      <a:pt x="189" y="397"/>
                    </a:lnTo>
                    <a:lnTo>
                      <a:pt x="200" y="399"/>
                    </a:lnTo>
                    <a:lnTo>
                      <a:pt x="213" y="397"/>
                    </a:lnTo>
                    <a:lnTo>
                      <a:pt x="224" y="392"/>
                    </a:lnTo>
                    <a:lnTo>
                      <a:pt x="234" y="376"/>
                    </a:lnTo>
                    <a:lnTo>
                      <a:pt x="248" y="360"/>
                    </a:lnTo>
                    <a:lnTo>
                      <a:pt x="264" y="354"/>
                    </a:lnTo>
                    <a:lnTo>
                      <a:pt x="267" y="356"/>
                    </a:lnTo>
                    <a:lnTo>
                      <a:pt x="281" y="315"/>
                    </a:lnTo>
                    <a:lnTo>
                      <a:pt x="289" y="315"/>
                    </a:lnTo>
                    <a:lnTo>
                      <a:pt x="291" y="327"/>
                    </a:lnTo>
                    <a:lnTo>
                      <a:pt x="294" y="344"/>
                    </a:lnTo>
                    <a:lnTo>
                      <a:pt x="297" y="361"/>
                    </a:lnTo>
                    <a:lnTo>
                      <a:pt x="289" y="382"/>
                    </a:lnTo>
                    <a:lnTo>
                      <a:pt x="287" y="401"/>
                    </a:lnTo>
                    <a:lnTo>
                      <a:pt x="294" y="403"/>
                    </a:lnTo>
                    <a:lnTo>
                      <a:pt x="314" y="376"/>
                    </a:lnTo>
                    <a:lnTo>
                      <a:pt x="319" y="380"/>
                    </a:lnTo>
                    <a:lnTo>
                      <a:pt x="314" y="392"/>
                    </a:lnTo>
                    <a:lnTo>
                      <a:pt x="315" y="402"/>
                    </a:lnTo>
                    <a:lnTo>
                      <a:pt x="315" y="412"/>
                    </a:lnTo>
                    <a:lnTo>
                      <a:pt x="320" y="420"/>
                    </a:lnTo>
                    <a:lnTo>
                      <a:pt x="330" y="412"/>
                    </a:lnTo>
                    <a:lnTo>
                      <a:pt x="343" y="414"/>
                    </a:lnTo>
                    <a:lnTo>
                      <a:pt x="351" y="396"/>
                    </a:lnTo>
                    <a:lnTo>
                      <a:pt x="356" y="372"/>
                    </a:lnTo>
                    <a:lnTo>
                      <a:pt x="362" y="354"/>
                    </a:lnTo>
                    <a:lnTo>
                      <a:pt x="362" y="332"/>
                    </a:lnTo>
                    <a:lnTo>
                      <a:pt x="357" y="329"/>
                    </a:lnTo>
                    <a:lnTo>
                      <a:pt x="343" y="353"/>
                    </a:lnTo>
                    <a:lnTo>
                      <a:pt x="339" y="347"/>
                    </a:lnTo>
                    <a:lnTo>
                      <a:pt x="339" y="332"/>
                    </a:lnTo>
                    <a:lnTo>
                      <a:pt x="343" y="317"/>
                    </a:lnTo>
                    <a:lnTo>
                      <a:pt x="348" y="306"/>
                    </a:lnTo>
                    <a:lnTo>
                      <a:pt x="353" y="301"/>
                    </a:lnTo>
                    <a:lnTo>
                      <a:pt x="353" y="293"/>
                    </a:lnTo>
                    <a:lnTo>
                      <a:pt x="332" y="307"/>
                    </a:lnTo>
                    <a:lnTo>
                      <a:pt x="324" y="323"/>
                    </a:lnTo>
                    <a:lnTo>
                      <a:pt x="319" y="337"/>
                    </a:lnTo>
                    <a:lnTo>
                      <a:pt x="313" y="337"/>
                    </a:lnTo>
                    <a:lnTo>
                      <a:pt x="307" y="333"/>
                    </a:lnTo>
                    <a:lnTo>
                      <a:pt x="304" y="327"/>
                    </a:lnTo>
                    <a:lnTo>
                      <a:pt x="307" y="320"/>
                    </a:lnTo>
                    <a:lnTo>
                      <a:pt x="310" y="306"/>
                    </a:lnTo>
                    <a:lnTo>
                      <a:pt x="308" y="305"/>
                    </a:lnTo>
                    <a:lnTo>
                      <a:pt x="307" y="300"/>
                    </a:lnTo>
                    <a:lnTo>
                      <a:pt x="298" y="291"/>
                    </a:lnTo>
                    <a:lnTo>
                      <a:pt x="319" y="284"/>
                    </a:lnTo>
                    <a:lnTo>
                      <a:pt x="326" y="274"/>
                    </a:lnTo>
                    <a:lnTo>
                      <a:pt x="336" y="270"/>
                    </a:lnTo>
                    <a:lnTo>
                      <a:pt x="342" y="259"/>
                    </a:lnTo>
                    <a:lnTo>
                      <a:pt x="340" y="254"/>
                    </a:lnTo>
                    <a:lnTo>
                      <a:pt x="314" y="267"/>
                    </a:lnTo>
                    <a:lnTo>
                      <a:pt x="308" y="266"/>
                    </a:lnTo>
                    <a:lnTo>
                      <a:pt x="293" y="272"/>
                    </a:lnTo>
                    <a:lnTo>
                      <a:pt x="291" y="268"/>
                    </a:lnTo>
                    <a:lnTo>
                      <a:pt x="297" y="259"/>
                    </a:lnTo>
                    <a:lnTo>
                      <a:pt x="304" y="247"/>
                    </a:lnTo>
                    <a:lnTo>
                      <a:pt x="300" y="242"/>
                    </a:lnTo>
                    <a:lnTo>
                      <a:pt x="294" y="241"/>
                    </a:lnTo>
                    <a:lnTo>
                      <a:pt x="300" y="226"/>
                    </a:lnTo>
                    <a:lnTo>
                      <a:pt x="312" y="215"/>
                    </a:lnTo>
                    <a:lnTo>
                      <a:pt x="319" y="202"/>
                    </a:lnTo>
                    <a:lnTo>
                      <a:pt x="318" y="197"/>
                    </a:lnTo>
                    <a:lnTo>
                      <a:pt x="313" y="196"/>
                    </a:lnTo>
                    <a:lnTo>
                      <a:pt x="293" y="189"/>
                    </a:lnTo>
                    <a:lnTo>
                      <a:pt x="275" y="192"/>
                    </a:lnTo>
                    <a:lnTo>
                      <a:pt x="267" y="184"/>
                    </a:lnTo>
                    <a:lnTo>
                      <a:pt x="229" y="203"/>
                    </a:lnTo>
                    <a:lnTo>
                      <a:pt x="218" y="204"/>
                    </a:lnTo>
                    <a:lnTo>
                      <a:pt x="228" y="186"/>
                    </a:lnTo>
                    <a:lnTo>
                      <a:pt x="229" y="178"/>
                    </a:lnTo>
                    <a:lnTo>
                      <a:pt x="218" y="184"/>
                    </a:lnTo>
                    <a:lnTo>
                      <a:pt x="216" y="189"/>
                    </a:lnTo>
                    <a:lnTo>
                      <a:pt x="210" y="186"/>
                    </a:lnTo>
                    <a:lnTo>
                      <a:pt x="189" y="184"/>
                    </a:lnTo>
                    <a:lnTo>
                      <a:pt x="190" y="172"/>
                    </a:lnTo>
                    <a:lnTo>
                      <a:pt x="179" y="168"/>
                    </a:lnTo>
                    <a:lnTo>
                      <a:pt x="191" y="157"/>
                    </a:lnTo>
                    <a:lnTo>
                      <a:pt x="210" y="149"/>
                    </a:lnTo>
                    <a:lnTo>
                      <a:pt x="202" y="145"/>
                    </a:lnTo>
                    <a:lnTo>
                      <a:pt x="176" y="144"/>
                    </a:lnTo>
                    <a:lnTo>
                      <a:pt x="179" y="132"/>
                    </a:lnTo>
                    <a:lnTo>
                      <a:pt x="172" y="132"/>
                    </a:lnTo>
                    <a:lnTo>
                      <a:pt x="162" y="148"/>
                    </a:lnTo>
                    <a:lnTo>
                      <a:pt x="149" y="159"/>
                    </a:lnTo>
                    <a:lnTo>
                      <a:pt x="142" y="173"/>
                    </a:lnTo>
                    <a:lnTo>
                      <a:pt x="137" y="161"/>
                    </a:lnTo>
                    <a:lnTo>
                      <a:pt x="142" y="149"/>
                    </a:lnTo>
                    <a:lnTo>
                      <a:pt x="142" y="137"/>
                    </a:lnTo>
                    <a:lnTo>
                      <a:pt x="153" y="122"/>
                    </a:lnTo>
                    <a:lnTo>
                      <a:pt x="160" y="105"/>
                    </a:lnTo>
                    <a:lnTo>
                      <a:pt x="170" y="91"/>
                    </a:lnTo>
                    <a:lnTo>
                      <a:pt x="172" y="81"/>
                    </a:lnTo>
                    <a:lnTo>
                      <a:pt x="170" y="75"/>
                    </a:lnTo>
                    <a:lnTo>
                      <a:pt x="172" y="64"/>
                    </a:lnTo>
                    <a:lnTo>
                      <a:pt x="176" y="71"/>
                    </a:lnTo>
                    <a:lnTo>
                      <a:pt x="187" y="64"/>
                    </a:lnTo>
                    <a:lnTo>
                      <a:pt x="195" y="42"/>
                    </a:lnTo>
                    <a:lnTo>
                      <a:pt x="185" y="33"/>
                    </a:lnTo>
                    <a:lnTo>
                      <a:pt x="186" y="26"/>
                    </a:lnTo>
                    <a:lnTo>
                      <a:pt x="200" y="25"/>
                    </a:lnTo>
                    <a:lnTo>
                      <a:pt x="207" y="8"/>
                    </a:lnTo>
                    <a:lnTo>
                      <a:pt x="207" y="0"/>
                    </a:lnTo>
                    <a:lnTo>
                      <a:pt x="199" y="8"/>
                    </a:lnTo>
                    <a:lnTo>
                      <a:pt x="194" y="5"/>
                    </a:lnTo>
                    <a:lnTo>
                      <a:pt x="183" y="5"/>
                    </a:lnTo>
                    <a:lnTo>
                      <a:pt x="170" y="1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24" name="Freeform 286"/>
              <p:cNvSpPr>
                <a:spLocks noChangeAspect="1"/>
              </p:cNvSpPr>
              <p:nvPr/>
            </p:nvSpPr>
            <p:spPr bwMode="gray">
              <a:xfrm>
                <a:off x="1108" y="1839"/>
                <a:ext cx="55" cy="43"/>
              </a:xfrm>
              <a:custGeom>
                <a:avLst/>
                <a:gdLst/>
                <a:ahLst/>
                <a:cxnLst>
                  <a:cxn ang="0">
                    <a:pos x="48" y="41"/>
                  </a:cxn>
                  <a:cxn ang="0">
                    <a:pos x="48" y="41"/>
                  </a:cxn>
                  <a:cxn ang="0">
                    <a:pos x="45" y="22"/>
                  </a:cxn>
                  <a:cxn ang="0">
                    <a:pos x="19" y="15"/>
                  </a:cxn>
                  <a:cxn ang="0">
                    <a:pos x="13" y="27"/>
                  </a:cxn>
                  <a:cxn ang="0">
                    <a:pos x="0" y="19"/>
                  </a:cxn>
                  <a:cxn ang="0">
                    <a:pos x="2" y="6"/>
                  </a:cxn>
                  <a:cxn ang="0">
                    <a:pos x="18" y="0"/>
                  </a:cxn>
                  <a:cxn ang="0">
                    <a:pos x="38" y="9"/>
                  </a:cxn>
                  <a:cxn ang="0">
                    <a:pos x="56" y="18"/>
                  </a:cxn>
                  <a:cxn ang="0">
                    <a:pos x="119" y="38"/>
                  </a:cxn>
                  <a:cxn ang="0">
                    <a:pos x="148" y="46"/>
                  </a:cxn>
                  <a:cxn ang="0">
                    <a:pos x="157" y="57"/>
                  </a:cxn>
                  <a:cxn ang="0">
                    <a:pos x="188" y="99"/>
                  </a:cxn>
                  <a:cxn ang="0">
                    <a:pos x="188" y="106"/>
                  </a:cxn>
                  <a:cxn ang="0">
                    <a:pos x="194" y="116"/>
                  </a:cxn>
                  <a:cxn ang="0">
                    <a:pos x="215" y="129"/>
                  </a:cxn>
                  <a:cxn ang="0">
                    <a:pos x="228" y="134"/>
                  </a:cxn>
                  <a:cxn ang="0">
                    <a:pos x="250" y="151"/>
                  </a:cxn>
                  <a:cxn ang="0">
                    <a:pos x="260" y="174"/>
                  </a:cxn>
                  <a:cxn ang="0">
                    <a:pos x="264" y="189"/>
                  </a:cxn>
                  <a:cxn ang="0">
                    <a:pos x="269" y="188"/>
                  </a:cxn>
                  <a:cxn ang="0">
                    <a:pos x="272" y="203"/>
                  </a:cxn>
                  <a:cxn ang="0">
                    <a:pos x="264" y="214"/>
                  </a:cxn>
                  <a:cxn ang="0">
                    <a:pos x="239" y="207"/>
                  </a:cxn>
                  <a:cxn ang="0">
                    <a:pos x="222" y="196"/>
                  </a:cxn>
                  <a:cxn ang="0">
                    <a:pos x="211" y="196"/>
                  </a:cxn>
                  <a:cxn ang="0">
                    <a:pos x="196" y="185"/>
                  </a:cxn>
                  <a:cxn ang="0">
                    <a:pos x="202" y="175"/>
                  </a:cxn>
                  <a:cxn ang="0">
                    <a:pos x="196" y="182"/>
                  </a:cxn>
                  <a:cxn ang="0">
                    <a:pos x="182" y="176"/>
                  </a:cxn>
                  <a:cxn ang="0">
                    <a:pos x="179" y="167"/>
                  </a:cxn>
                  <a:cxn ang="0">
                    <a:pos x="190" y="160"/>
                  </a:cxn>
                  <a:cxn ang="0">
                    <a:pos x="178" y="155"/>
                  </a:cxn>
                  <a:cxn ang="0">
                    <a:pos x="166" y="160"/>
                  </a:cxn>
                  <a:cxn ang="0">
                    <a:pos x="143" y="154"/>
                  </a:cxn>
                  <a:cxn ang="0">
                    <a:pos x="157" y="153"/>
                  </a:cxn>
                  <a:cxn ang="0">
                    <a:pos x="143" y="135"/>
                  </a:cxn>
                  <a:cxn ang="0">
                    <a:pos x="130" y="129"/>
                  </a:cxn>
                  <a:cxn ang="0">
                    <a:pos x="109" y="126"/>
                  </a:cxn>
                  <a:cxn ang="0">
                    <a:pos x="100" y="112"/>
                  </a:cxn>
                  <a:cxn ang="0">
                    <a:pos x="118" y="110"/>
                  </a:cxn>
                  <a:cxn ang="0">
                    <a:pos x="119" y="100"/>
                  </a:cxn>
                  <a:cxn ang="0">
                    <a:pos x="107" y="100"/>
                  </a:cxn>
                  <a:cxn ang="0">
                    <a:pos x="99" y="99"/>
                  </a:cxn>
                  <a:cxn ang="0">
                    <a:pos x="86" y="83"/>
                  </a:cxn>
                  <a:cxn ang="0">
                    <a:pos x="80" y="80"/>
                  </a:cxn>
                  <a:cxn ang="0">
                    <a:pos x="65" y="80"/>
                  </a:cxn>
                  <a:cxn ang="0">
                    <a:pos x="70" y="65"/>
                  </a:cxn>
                  <a:cxn ang="0">
                    <a:pos x="60" y="61"/>
                  </a:cxn>
                  <a:cxn ang="0">
                    <a:pos x="49" y="61"/>
                  </a:cxn>
                  <a:cxn ang="0">
                    <a:pos x="40" y="59"/>
                  </a:cxn>
                  <a:cxn ang="0">
                    <a:pos x="29" y="64"/>
                  </a:cxn>
                  <a:cxn ang="0">
                    <a:pos x="29" y="57"/>
                  </a:cxn>
                  <a:cxn ang="0">
                    <a:pos x="24" y="45"/>
                  </a:cxn>
                  <a:cxn ang="0">
                    <a:pos x="33" y="35"/>
                  </a:cxn>
                  <a:cxn ang="0">
                    <a:pos x="45" y="41"/>
                  </a:cxn>
                </a:cxnLst>
                <a:rect l="0" t="0" r="r" b="b"/>
                <a:pathLst>
                  <a:path w="275" h="214">
                    <a:moveTo>
                      <a:pt x="45" y="41"/>
                    </a:moveTo>
                    <a:lnTo>
                      <a:pt x="48" y="41"/>
                    </a:lnTo>
                    <a:lnTo>
                      <a:pt x="48" y="42"/>
                    </a:lnTo>
                    <a:lnTo>
                      <a:pt x="48" y="41"/>
                    </a:lnTo>
                    <a:lnTo>
                      <a:pt x="45" y="31"/>
                    </a:lnTo>
                    <a:lnTo>
                      <a:pt x="45" y="22"/>
                    </a:lnTo>
                    <a:lnTo>
                      <a:pt x="24" y="20"/>
                    </a:lnTo>
                    <a:lnTo>
                      <a:pt x="19" y="15"/>
                    </a:lnTo>
                    <a:lnTo>
                      <a:pt x="16" y="21"/>
                    </a:lnTo>
                    <a:lnTo>
                      <a:pt x="13" y="27"/>
                    </a:lnTo>
                    <a:lnTo>
                      <a:pt x="6" y="24"/>
                    </a:lnTo>
                    <a:lnTo>
                      <a:pt x="0" y="19"/>
                    </a:lnTo>
                    <a:lnTo>
                      <a:pt x="0" y="11"/>
                    </a:lnTo>
                    <a:lnTo>
                      <a:pt x="2" y="6"/>
                    </a:lnTo>
                    <a:lnTo>
                      <a:pt x="8" y="2"/>
                    </a:lnTo>
                    <a:lnTo>
                      <a:pt x="18" y="0"/>
                    </a:lnTo>
                    <a:lnTo>
                      <a:pt x="28" y="4"/>
                    </a:lnTo>
                    <a:lnTo>
                      <a:pt x="38" y="9"/>
                    </a:lnTo>
                    <a:lnTo>
                      <a:pt x="46" y="10"/>
                    </a:lnTo>
                    <a:lnTo>
                      <a:pt x="56" y="18"/>
                    </a:lnTo>
                    <a:lnTo>
                      <a:pt x="89" y="31"/>
                    </a:lnTo>
                    <a:lnTo>
                      <a:pt x="119" y="38"/>
                    </a:lnTo>
                    <a:lnTo>
                      <a:pt x="134" y="43"/>
                    </a:lnTo>
                    <a:lnTo>
                      <a:pt x="148" y="46"/>
                    </a:lnTo>
                    <a:lnTo>
                      <a:pt x="153" y="51"/>
                    </a:lnTo>
                    <a:lnTo>
                      <a:pt x="157" y="57"/>
                    </a:lnTo>
                    <a:lnTo>
                      <a:pt x="158" y="65"/>
                    </a:lnTo>
                    <a:lnTo>
                      <a:pt x="188" y="99"/>
                    </a:lnTo>
                    <a:lnTo>
                      <a:pt x="189" y="101"/>
                    </a:lnTo>
                    <a:lnTo>
                      <a:pt x="188" y="106"/>
                    </a:lnTo>
                    <a:lnTo>
                      <a:pt x="190" y="112"/>
                    </a:lnTo>
                    <a:lnTo>
                      <a:pt x="194" y="116"/>
                    </a:lnTo>
                    <a:lnTo>
                      <a:pt x="206" y="126"/>
                    </a:lnTo>
                    <a:lnTo>
                      <a:pt x="215" y="129"/>
                    </a:lnTo>
                    <a:lnTo>
                      <a:pt x="225" y="131"/>
                    </a:lnTo>
                    <a:lnTo>
                      <a:pt x="228" y="134"/>
                    </a:lnTo>
                    <a:lnTo>
                      <a:pt x="236" y="137"/>
                    </a:lnTo>
                    <a:lnTo>
                      <a:pt x="250" y="151"/>
                    </a:lnTo>
                    <a:lnTo>
                      <a:pt x="253" y="160"/>
                    </a:lnTo>
                    <a:lnTo>
                      <a:pt x="260" y="174"/>
                    </a:lnTo>
                    <a:lnTo>
                      <a:pt x="261" y="180"/>
                    </a:lnTo>
                    <a:lnTo>
                      <a:pt x="264" y="189"/>
                    </a:lnTo>
                    <a:lnTo>
                      <a:pt x="266" y="194"/>
                    </a:lnTo>
                    <a:lnTo>
                      <a:pt x="269" y="188"/>
                    </a:lnTo>
                    <a:lnTo>
                      <a:pt x="275" y="202"/>
                    </a:lnTo>
                    <a:lnTo>
                      <a:pt x="272" y="203"/>
                    </a:lnTo>
                    <a:lnTo>
                      <a:pt x="271" y="209"/>
                    </a:lnTo>
                    <a:lnTo>
                      <a:pt x="264" y="214"/>
                    </a:lnTo>
                    <a:lnTo>
                      <a:pt x="258" y="214"/>
                    </a:lnTo>
                    <a:lnTo>
                      <a:pt x="239" y="207"/>
                    </a:lnTo>
                    <a:lnTo>
                      <a:pt x="222" y="198"/>
                    </a:lnTo>
                    <a:lnTo>
                      <a:pt x="222" y="196"/>
                    </a:lnTo>
                    <a:lnTo>
                      <a:pt x="217" y="193"/>
                    </a:lnTo>
                    <a:lnTo>
                      <a:pt x="211" y="196"/>
                    </a:lnTo>
                    <a:lnTo>
                      <a:pt x="196" y="189"/>
                    </a:lnTo>
                    <a:lnTo>
                      <a:pt x="196" y="185"/>
                    </a:lnTo>
                    <a:lnTo>
                      <a:pt x="200" y="180"/>
                    </a:lnTo>
                    <a:lnTo>
                      <a:pt x="202" y="175"/>
                    </a:lnTo>
                    <a:lnTo>
                      <a:pt x="199" y="176"/>
                    </a:lnTo>
                    <a:lnTo>
                      <a:pt x="196" y="182"/>
                    </a:lnTo>
                    <a:lnTo>
                      <a:pt x="190" y="183"/>
                    </a:lnTo>
                    <a:lnTo>
                      <a:pt x="182" y="176"/>
                    </a:lnTo>
                    <a:lnTo>
                      <a:pt x="179" y="172"/>
                    </a:lnTo>
                    <a:lnTo>
                      <a:pt x="179" y="167"/>
                    </a:lnTo>
                    <a:lnTo>
                      <a:pt x="184" y="165"/>
                    </a:lnTo>
                    <a:lnTo>
                      <a:pt x="190" y="160"/>
                    </a:lnTo>
                    <a:lnTo>
                      <a:pt x="184" y="159"/>
                    </a:lnTo>
                    <a:lnTo>
                      <a:pt x="178" y="155"/>
                    </a:lnTo>
                    <a:lnTo>
                      <a:pt x="173" y="161"/>
                    </a:lnTo>
                    <a:lnTo>
                      <a:pt x="166" y="160"/>
                    </a:lnTo>
                    <a:lnTo>
                      <a:pt x="153" y="162"/>
                    </a:lnTo>
                    <a:lnTo>
                      <a:pt x="143" y="154"/>
                    </a:lnTo>
                    <a:lnTo>
                      <a:pt x="147" y="155"/>
                    </a:lnTo>
                    <a:lnTo>
                      <a:pt x="157" y="153"/>
                    </a:lnTo>
                    <a:lnTo>
                      <a:pt x="153" y="145"/>
                    </a:lnTo>
                    <a:lnTo>
                      <a:pt x="143" y="135"/>
                    </a:lnTo>
                    <a:lnTo>
                      <a:pt x="132" y="134"/>
                    </a:lnTo>
                    <a:lnTo>
                      <a:pt x="130" y="129"/>
                    </a:lnTo>
                    <a:lnTo>
                      <a:pt x="120" y="124"/>
                    </a:lnTo>
                    <a:lnTo>
                      <a:pt x="109" y="126"/>
                    </a:lnTo>
                    <a:lnTo>
                      <a:pt x="104" y="124"/>
                    </a:lnTo>
                    <a:lnTo>
                      <a:pt x="100" y="112"/>
                    </a:lnTo>
                    <a:lnTo>
                      <a:pt x="105" y="108"/>
                    </a:lnTo>
                    <a:lnTo>
                      <a:pt x="118" y="110"/>
                    </a:lnTo>
                    <a:lnTo>
                      <a:pt x="129" y="105"/>
                    </a:lnTo>
                    <a:lnTo>
                      <a:pt x="119" y="100"/>
                    </a:lnTo>
                    <a:lnTo>
                      <a:pt x="109" y="102"/>
                    </a:lnTo>
                    <a:lnTo>
                      <a:pt x="107" y="100"/>
                    </a:lnTo>
                    <a:lnTo>
                      <a:pt x="105" y="94"/>
                    </a:lnTo>
                    <a:lnTo>
                      <a:pt x="99" y="99"/>
                    </a:lnTo>
                    <a:lnTo>
                      <a:pt x="96" y="89"/>
                    </a:lnTo>
                    <a:lnTo>
                      <a:pt x="86" y="83"/>
                    </a:lnTo>
                    <a:lnTo>
                      <a:pt x="82" y="84"/>
                    </a:lnTo>
                    <a:lnTo>
                      <a:pt x="80" y="80"/>
                    </a:lnTo>
                    <a:lnTo>
                      <a:pt x="72" y="86"/>
                    </a:lnTo>
                    <a:lnTo>
                      <a:pt x="65" y="80"/>
                    </a:lnTo>
                    <a:lnTo>
                      <a:pt x="66" y="70"/>
                    </a:lnTo>
                    <a:lnTo>
                      <a:pt x="70" y="65"/>
                    </a:lnTo>
                    <a:lnTo>
                      <a:pt x="66" y="65"/>
                    </a:lnTo>
                    <a:lnTo>
                      <a:pt x="60" y="61"/>
                    </a:lnTo>
                    <a:lnTo>
                      <a:pt x="56" y="70"/>
                    </a:lnTo>
                    <a:lnTo>
                      <a:pt x="49" y="61"/>
                    </a:lnTo>
                    <a:lnTo>
                      <a:pt x="45" y="62"/>
                    </a:lnTo>
                    <a:lnTo>
                      <a:pt x="40" y="59"/>
                    </a:lnTo>
                    <a:lnTo>
                      <a:pt x="34" y="67"/>
                    </a:lnTo>
                    <a:lnTo>
                      <a:pt x="29" y="64"/>
                    </a:lnTo>
                    <a:lnTo>
                      <a:pt x="27" y="62"/>
                    </a:lnTo>
                    <a:lnTo>
                      <a:pt x="29" y="57"/>
                    </a:lnTo>
                    <a:lnTo>
                      <a:pt x="30" y="48"/>
                    </a:lnTo>
                    <a:lnTo>
                      <a:pt x="24" y="45"/>
                    </a:lnTo>
                    <a:lnTo>
                      <a:pt x="23" y="37"/>
                    </a:lnTo>
                    <a:lnTo>
                      <a:pt x="33" y="35"/>
                    </a:lnTo>
                    <a:lnTo>
                      <a:pt x="41" y="36"/>
                    </a:lnTo>
                    <a:lnTo>
                      <a:pt x="45" y="4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25" name="Freeform 287"/>
              <p:cNvSpPr>
                <a:spLocks noChangeAspect="1"/>
              </p:cNvSpPr>
              <p:nvPr/>
            </p:nvSpPr>
            <p:spPr bwMode="gray">
              <a:xfrm>
                <a:off x="1425" y="1404"/>
                <a:ext cx="47" cy="44"/>
              </a:xfrm>
              <a:custGeom>
                <a:avLst/>
                <a:gdLst/>
                <a:ahLst/>
                <a:cxnLst>
                  <a:cxn ang="0">
                    <a:pos x="132" y="38"/>
                  </a:cxn>
                  <a:cxn ang="0">
                    <a:pos x="118" y="33"/>
                  </a:cxn>
                  <a:cxn ang="0">
                    <a:pos x="118" y="18"/>
                  </a:cxn>
                  <a:cxn ang="0">
                    <a:pos x="104" y="4"/>
                  </a:cxn>
                  <a:cxn ang="0">
                    <a:pos x="86" y="0"/>
                  </a:cxn>
                  <a:cxn ang="0">
                    <a:pos x="73" y="20"/>
                  </a:cxn>
                  <a:cxn ang="0">
                    <a:pos x="71" y="52"/>
                  </a:cxn>
                  <a:cxn ang="0">
                    <a:pos x="66" y="51"/>
                  </a:cxn>
                  <a:cxn ang="0">
                    <a:pos x="53" y="57"/>
                  </a:cxn>
                  <a:cxn ang="0">
                    <a:pos x="53" y="73"/>
                  </a:cxn>
                  <a:cxn ang="0">
                    <a:pos x="50" y="98"/>
                  </a:cxn>
                  <a:cxn ang="0">
                    <a:pos x="40" y="109"/>
                  </a:cxn>
                  <a:cxn ang="0">
                    <a:pos x="11" y="119"/>
                  </a:cxn>
                  <a:cxn ang="0">
                    <a:pos x="0" y="136"/>
                  </a:cxn>
                  <a:cxn ang="0">
                    <a:pos x="10" y="163"/>
                  </a:cxn>
                  <a:cxn ang="0">
                    <a:pos x="21" y="158"/>
                  </a:cxn>
                  <a:cxn ang="0">
                    <a:pos x="32" y="152"/>
                  </a:cxn>
                  <a:cxn ang="0">
                    <a:pos x="44" y="167"/>
                  </a:cxn>
                  <a:cxn ang="0">
                    <a:pos x="55" y="175"/>
                  </a:cxn>
                  <a:cxn ang="0">
                    <a:pos x="62" y="165"/>
                  </a:cxn>
                  <a:cxn ang="0">
                    <a:pos x="71" y="180"/>
                  </a:cxn>
                  <a:cxn ang="0">
                    <a:pos x="89" y="180"/>
                  </a:cxn>
                  <a:cxn ang="0">
                    <a:pos x="109" y="202"/>
                  </a:cxn>
                  <a:cxn ang="0">
                    <a:pos x="132" y="210"/>
                  </a:cxn>
                  <a:cxn ang="0">
                    <a:pos x="136" y="202"/>
                  </a:cxn>
                  <a:cxn ang="0">
                    <a:pos x="167" y="221"/>
                  </a:cxn>
                  <a:cxn ang="0">
                    <a:pos x="186" y="195"/>
                  </a:cxn>
                  <a:cxn ang="0">
                    <a:pos x="209" y="179"/>
                  </a:cxn>
                  <a:cxn ang="0">
                    <a:pos x="216" y="186"/>
                  </a:cxn>
                  <a:cxn ang="0">
                    <a:pos x="233" y="174"/>
                  </a:cxn>
                  <a:cxn ang="0">
                    <a:pos x="231" y="163"/>
                  </a:cxn>
                  <a:cxn ang="0">
                    <a:pos x="207" y="153"/>
                  </a:cxn>
                  <a:cxn ang="0">
                    <a:pos x="202" y="132"/>
                  </a:cxn>
                  <a:cxn ang="0">
                    <a:pos x="179" y="100"/>
                  </a:cxn>
                  <a:cxn ang="0">
                    <a:pos x="143" y="60"/>
                  </a:cxn>
                </a:cxnLst>
                <a:rect l="0" t="0" r="r" b="b"/>
                <a:pathLst>
                  <a:path w="236" h="221">
                    <a:moveTo>
                      <a:pt x="141" y="55"/>
                    </a:moveTo>
                    <a:lnTo>
                      <a:pt x="132" y="38"/>
                    </a:lnTo>
                    <a:lnTo>
                      <a:pt x="126" y="33"/>
                    </a:lnTo>
                    <a:lnTo>
                      <a:pt x="118" y="33"/>
                    </a:lnTo>
                    <a:lnTo>
                      <a:pt x="120" y="24"/>
                    </a:lnTo>
                    <a:lnTo>
                      <a:pt x="118" y="18"/>
                    </a:lnTo>
                    <a:lnTo>
                      <a:pt x="108" y="14"/>
                    </a:lnTo>
                    <a:lnTo>
                      <a:pt x="104" y="4"/>
                    </a:lnTo>
                    <a:lnTo>
                      <a:pt x="96" y="0"/>
                    </a:lnTo>
                    <a:lnTo>
                      <a:pt x="86" y="0"/>
                    </a:lnTo>
                    <a:lnTo>
                      <a:pt x="84" y="11"/>
                    </a:lnTo>
                    <a:lnTo>
                      <a:pt x="73" y="20"/>
                    </a:lnTo>
                    <a:lnTo>
                      <a:pt x="65" y="44"/>
                    </a:lnTo>
                    <a:lnTo>
                      <a:pt x="71" y="52"/>
                    </a:lnTo>
                    <a:lnTo>
                      <a:pt x="71" y="57"/>
                    </a:lnTo>
                    <a:lnTo>
                      <a:pt x="66" y="51"/>
                    </a:lnTo>
                    <a:lnTo>
                      <a:pt x="56" y="51"/>
                    </a:lnTo>
                    <a:lnTo>
                      <a:pt x="53" y="57"/>
                    </a:lnTo>
                    <a:lnTo>
                      <a:pt x="54" y="62"/>
                    </a:lnTo>
                    <a:lnTo>
                      <a:pt x="53" y="73"/>
                    </a:lnTo>
                    <a:lnTo>
                      <a:pt x="57" y="90"/>
                    </a:lnTo>
                    <a:lnTo>
                      <a:pt x="50" y="98"/>
                    </a:lnTo>
                    <a:lnTo>
                      <a:pt x="48" y="108"/>
                    </a:lnTo>
                    <a:lnTo>
                      <a:pt x="40" y="109"/>
                    </a:lnTo>
                    <a:lnTo>
                      <a:pt x="24" y="117"/>
                    </a:lnTo>
                    <a:lnTo>
                      <a:pt x="11" y="119"/>
                    </a:lnTo>
                    <a:lnTo>
                      <a:pt x="2" y="125"/>
                    </a:lnTo>
                    <a:lnTo>
                      <a:pt x="0" y="136"/>
                    </a:lnTo>
                    <a:lnTo>
                      <a:pt x="0" y="152"/>
                    </a:lnTo>
                    <a:lnTo>
                      <a:pt x="10" y="163"/>
                    </a:lnTo>
                    <a:lnTo>
                      <a:pt x="21" y="168"/>
                    </a:lnTo>
                    <a:lnTo>
                      <a:pt x="21" y="158"/>
                    </a:lnTo>
                    <a:lnTo>
                      <a:pt x="24" y="153"/>
                    </a:lnTo>
                    <a:lnTo>
                      <a:pt x="32" y="152"/>
                    </a:lnTo>
                    <a:lnTo>
                      <a:pt x="41" y="158"/>
                    </a:lnTo>
                    <a:lnTo>
                      <a:pt x="44" y="167"/>
                    </a:lnTo>
                    <a:lnTo>
                      <a:pt x="51" y="170"/>
                    </a:lnTo>
                    <a:lnTo>
                      <a:pt x="55" y="175"/>
                    </a:lnTo>
                    <a:lnTo>
                      <a:pt x="60" y="172"/>
                    </a:lnTo>
                    <a:lnTo>
                      <a:pt x="62" y="165"/>
                    </a:lnTo>
                    <a:lnTo>
                      <a:pt x="71" y="172"/>
                    </a:lnTo>
                    <a:lnTo>
                      <a:pt x="71" y="180"/>
                    </a:lnTo>
                    <a:lnTo>
                      <a:pt x="77" y="183"/>
                    </a:lnTo>
                    <a:lnTo>
                      <a:pt x="89" y="180"/>
                    </a:lnTo>
                    <a:lnTo>
                      <a:pt x="99" y="196"/>
                    </a:lnTo>
                    <a:lnTo>
                      <a:pt x="109" y="202"/>
                    </a:lnTo>
                    <a:lnTo>
                      <a:pt x="129" y="206"/>
                    </a:lnTo>
                    <a:lnTo>
                      <a:pt x="132" y="210"/>
                    </a:lnTo>
                    <a:lnTo>
                      <a:pt x="134" y="202"/>
                    </a:lnTo>
                    <a:lnTo>
                      <a:pt x="136" y="202"/>
                    </a:lnTo>
                    <a:lnTo>
                      <a:pt x="152" y="213"/>
                    </a:lnTo>
                    <a:lnTo>
                      <a:pt x="167" y="221"/>
                    </a:lnTo>
                    <a:lnTo>
                      <a:pt x="177" y="216"/>
                    </a:lnTo>
                    <a:lnTo>
                      <a:pt x="186" y="195"/>
                    </a:lnTo>
                    <a:lnTo>
                      <a:pt x="194" y="194"/>
                    </a:lnTo>
                    <a:lnTo>
                      <a:pt x="209" y="179"/>
                    </a:lnTo>
                    <a:lnTo>
                      <a:pt x="216" y="178"/>
                    </a:lnTo>
                    <a:lnTo>
                      <a:pt x="216" y="186"/>
                    </a:lnTo>
                    <a:lnTo>
                      <a:pt x="223" y="183"/>
                    </a:lnTo>
                    <a:lnTo>
                      <a:pt x="233" y="174"/>
                    </a:lnTo>
                    <a:lnTo>
                      <a:pt x="236" y="164"/>
                    </a:lnTo>
                    <a:lnTo>
                      <a:pt x="231" y="163"/>
                    </a:lnTo>
                    <a:lnTo>
                      <a:pt x="220" y="169"/>
                    </a:lnTo>
                    <a:lnTo>
                      <a:pt x="207" y="153"/>
                    </a:lnTo>
                    <a:lnTo>
                      <a:pt x="202" y="142"/>
                    </a:lnTo>
                    <a:lnTo>
                      <a:pt x="202" y="132"/>
                    </a:lnTo>
                    <a:lnTo>
                      <a:pt x="190" y="110"/>
                    </a:lnTo>
                    <a:lnTo>
                      <a:pt x="179" y="100"/>
                    </a:lnTo>
                    <a:lnTo>
                      <a:pt x="174" y="89"/>
                    </a:lnTo>
                    <a:lnTo>
                      <a:pt x="143" y="60"/>
                    </a:lnTo>
                    <a:lnTo>
                      <a:pt x="141" y="5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26" name="Freeform 288"/>
              <p:cNvSpPr>
                <a:spLocks noChangeAspect="1"/>
              </p:cNvSpPr>
              <p:nvPr/>
            </p:nvSpPr>
            <p:spPr bwMode="gray">
              <a:xfrm>
                <a:off x="1134" y="1234"/>
                <a:ext cx="117" cy="130"/>
              </a:xfrm>
              <a:custGeom>
                <a:avLst/>
                <a:gdLst/>
                <a:ahLst/>
                <a:cxnLst>
                  <a:cxn ang="0">
                    <a:pos x="109" y="137"/>
                  </a:cxn>
                  <a:cxn ang="0">
                    <a:pos x="97" y="189"/>
                  </a:cxn>
                  <a:cxn ang="0">
                    <a:pos x="84" y="213"/>
                  </a:cxn>
                  <a:cxn ang="0">
                    <a:pos x="72" y="242"/>
                  </a:cxn>
                  <a:cxn ang="0">
                    <a:pos x="66" y="272"/>
                  </a:cxn>
                  <a:cxn ang="0">
                    <a:pos x="55" y="288"/>
                  </a:cxn>
                  <a:cxn ang="0">
                    <a:pos x="66" y="305"/>
                  </a:cxn>
                  <a:cxn ang="0">
                    <a:pos x="72" y="321"/>
                  </a:cxn>
                  <a:cxn ang="0">
                    <a:pos x="41" y="333"/>
                  </a:cxn>
                  <a:cxn ang="0">
                    <a:pos x="46" y="358"/>
                  </a:cxn>
                  <a:cxn ang="0">
                    <a:pos x="44" y="380"/>
                  </a:cxn>
                  <a:cxn ang="0">
                    <a:pos x="44" y="391"/>
                  </a:cxn>
                  <a:cxn ang="0">
                    <a:pos x="40" y="409"/>
                  </a:cxn>
                  <a:cxn ang="0">
                    <a:pos x="27" y="430"/>
                  </a:cxn>
                  <a:cxn ang="0">
                    <a:pos x="30" y="449"/>
                  </a:cxn>
                  <a:cxn ang="0">
                    <a:pos x="18" y="465"/>
                  </a:cxn>
                  <a:cxn ang="0">
                    <a:pos x="11" y="479"/>
                  </a:cxn>
                  <a:cxn ang="0">
                    <a:pos x="0" y="500"/>
                  </a:cxn>
                  <a:cxn ang="0">
                    <a:pos x="49" y="504"/>
                  </a:cxn>
                  <a:cxn ang="0">
                    <a:pos x="41" y="511"/>
                  </a:cxn>
                  <a:cxn ang="0">
                    <a:pos x="66" y="519"/>
                  </a:cxn>
                  <a:cxn ang="0">
                    <a:pos x="99" y="541"/>
                  </a:cxn>
                  <a:cxn ang="0">
                    <a:pos x="124" y="585"/>
                  </a:cxn>
                  <a:cxn ang="0">
                    <a:pos x="163" y="650"/>
                  </a:cxn>
                  <a:cxn ang="0">
                    <a:pos x="215" y="603"/>
                  </a:cxn>
                  <a:cxn ang="0">
                    <a:pos x="238" y="587"/>
                  </a:cxn>
                  <a:cxn ang="0">
                    <a:pos x="249" y="601"/>
                  </a:cxn>
                  <a:cxn ang="0">
                    <a:pos x="264" y="581"/>
                  </a:cxn>
                  <a:cxn ang="0">
                    <a:pos x="279" y="587"/>
                  </a:cxn>
                  <a:cxn ang="0">
                    <a:pos x="298" y="549"/>
                  </a:cxn>
                  <a:cxn ang="0">
                    <a:pos x="299" y="511"/>
                  </a:cxn>
                  <a:cxn ang="0">
                    <a:pos x="313" y="461"/>
                  </a:cxn>
                  <a:cxn ang="0">
                    <a:pos x="328" y="455"/>
                  </a:cxn>
                  <a:cxn ang="0">
                    <a:pos x="362" y="433"/>
                  </a:cxn>
                  <a:cxn ang="0">
                    <a:pos x="371" y="381"/>
                  </a:cxn>
                  <a:cxn ang="0">
                    <a:pos x="406" y="357"/>
                  </a:cxn>
                  <a:cxn ang="0">
                    <a:pos x="462" y="309"/>
                  </a:cxn>
                  <a:cxn ang="0">
                    <a:pos x="514" y="267"/>
                  </a:cxn>
                  <a:cxn ang="0">
                    <a:pos x="581" y="203"/>
                  </a:cxn>
                  <a:cxn ang="0">
                    <a:pos x="552" y="176"/>
                  </a:cxn>
                  <a:cxn ang="0">
                    <a:pos x="506" y="119"/>
                  </a:cxn>
                  <a:cxn ang="0">
                    <a:pos x="462" y="69"/>
                  </a:cxn>
                  <a:cxn ang="0">
                    <a:pos x="385" y="78"/>
                  </a:cxn>
                  <a:cxn ang="0">
                    <a:pos x="384" y="105"/>
                  </a:cxn>
                  <a:cxn ang="0">
                    <a:pos x="368" y="108"/>
                  </a:cxn>
                  <a:cxn ang="0">
                    <a:pos x="373" y="78"/>
                  </a:cxn>
                  <a:cxn ang="0">
                    <a:pos x="352" y="86"/>
                  </a:cxn>
                  <a:cxn ang="0">
                    <a:pos x="338" y="102"/>
                  </a:cxn>
                  <a:cxn ang="0">
                    <a:pos x="304" y="52"/>
                  </a:cxn>
                  <a:cxn ang="0">
                    <a:pos x="276" y="13"/>
                  </a:cxn>
                  <a:cxn ang="0">
                    <a:pos x="224" y="14"/>
                  </a:cxn>
                  <a:cxn ang="0">
                    <a:pos x="157" y="19"/>
                  </a:cxn>
                  <a:cxn ang="0">
                    <a:pos x="158" y="46"/>
                  </a:cxn>
                  <a:cxn ang="0">
                    <a:pos x="150" y="21"/>
                  </a:cxn>
                  <a:cxn ang="0">
                    <a:pos x="139" y="27"/>
                  </a:cxn>
                  <a:cxn ang="0">
                    <a:pos x="120" y="27"/>
                  </a:cxn>
                  <a:cxn ang="0">
                    <a:pos x="99" y="31"/>
                  </a:cxn>
                  <a:cxn ang="0">
                    <a:pos x="75" y="42"/>
                  </a:cxn>
                  <a:cxn ang="0">
                    <a:pos x="84" y="78"/>
                  </a:cxn>
                </a:cxnLst>
                <a:rect l="0" t="0" r="r" b="b"/>
                <a:pathLst>
                  <a:path w="582" h="653">
                    <a:moveTo>
                      <a:pt x="93" y="117"/>
                    </a:moveTo>
                    <a:lnTo>
                      <a:pt x="100" y="129"/>
                    </a:lnTo>
                    <a:lnTo>
                      <a:pt x="109" y="137"/>
                    </a:lnTo>
                    <a:lnTo>
                      <a:pt x="113" y="148"/>
                    </a:lnTo>
                    <a:lnTo>
                      <a:pt x="105" y="161"/>
                    </a:lnTo>
                    <a:lnTo>
                      <a:pt x="97" y="189"/>
                    </a:lnTo>
                    <a:lnTo>
                      <a:pt x="93" y="198"/>
                    </a:lnTo>
                    <a:lnTo>
                      <a:pt x="84" y="208"/>
                    </a:lnTo>
                    <a:lnTo>
                      <a:pt x="84" y="213"/>
                    </a:lnTo>
                    <a:lnTo>
                      <a:pt x="81" y="225"/>
                    </a:lnTo>
                    <a:lnTo>
                      <a:pt x="76" y="229"/>
                    </a:lnTo>
                    <a:lnTo>
                      <a:pt x="72" y="242"/>
                    </a:lnTo>
                    <a:lnTo>
                      <a:pt x="72" y="251"/>
                    </a:lnTo>
                    <a:lnTo>
                      <a:pt x="65" y="263"/>
                    </a:lnTo>
                    <a:lnTo>
                      <a:pt x="66" y="272"/>
                    </a:lnTo>
                    <a:lnTo>
                      <a:pt x="64" y="275"/>
                    </a:lnTo>
                    <a:lnTo>
                      <a:pt x="60" y="284"/>
                    </a:lnTo>
                    <a:lnTo>
                      <a:pt x="55" y="288"/>
                    </a:lnTo>
                    <a:lnTo>
                      <a:pt x="57" y="299"/>
                    </a:lnTo>
                    <a:lnTo>
                      <a:pt x="64" y="298"/>
                    </a:lnTo>
                    <a:lnTo>
                      <a:pt x="66" y="305"/>
                    </a:lnTo>
                    <a:lnTo>
                      <a:pt x="72" y="309"/>
                    </a:lnTo>
                    <a:lnTo>
                      <a:pt x="73" y="315"/>
                    </a:lnTo>
                    <a:lnTo>
                      <a:pt x="72" y="321"/>
                    </a:lnTo>
                    <a:lnTo>
                      <a:pt x="51" y="331"/>
                    </a:lnTo>
                    <a:lnTo>
                      <a:pt x="43" y="327"/>
                    </a:lnTo>
                    <a:lnTo>
                      <a:pt x="41" y="333"/>
                    </a:lnTo>
                    <a:lnTo>
                      <a:pt x="44" y="342"/>
                    </a:lnTo>
                    <a:lnTo>
                      <a:pt x="46" y="345"/>
                    </a:lnTo>
                    <a:lnTo>
                      <a:pt x="46" y="358"/>
                    </a:lnTo>
                    <a:lnTo>
                      <a:pt x="48" y="359"/>
                    </a:lnTo>
                    <a:lnTo>
                      <a:pt x="48" y="366"/>
                    </a:lnTo>
                    <a:lnTo>
                      <a:pt x="44" y="380"/>
                    </a:lnTo>
                    <a:lnTo>
                      <a:pt x="49" y="377"/>
                    </a:lnTo>
                    <a:lnTo>
                      <a:pt x="50" y="387"/>
                    </a:lnTo>
                    <a:lnTo>
                      <a:pt x="44" y="391"/>
                    </a:lnTo>
                    <a:lnTo>
                      <a:pt x="38" y="400"/>
                    </a:lnTo>
                    <a:lnTo>
                      <a:pt x="45" y="404"/>
                    </a:lnTo>
                    <a:lnTo>
                      <a:pt x="40" y="409"/>
                    </a:lnTo>
                    <a:lnTo>
                      <a:pt x="33" y="406"/>
                    </a:lnTo>
                    <a:lnTo>
                      <a:pt x="27" y="418"/>
                    </a:lnTo>
                    <a:lnTo>
                      <a:pt x="27" y="430"/>
                    </a:lnTo>
                    <a:lnTo>
                      <a:pt x="21" y="435"/>
                    </a:lnTo>
                    <a:lnTo>
                      <a:pt x="22" y="441"/>
                    </a:lnTo>
                    <a:lnTo>
                      <a:pt x="30" y="449"/>
                    </a:lnTo>
                    <a:lnTo>
                      <a:pt x="12" y="455"/>
                    </a:lnTo>
                    <a:lnTo>
                      <a:pt x="17" y="457"/>
                    </a:lnTo>
                    <a:lnTo>
                      <a:pt x="18" y="465"/>
                    </a:lnTo>
                    <a:lnTo>
                      <a:pt x="13" y="463"/>
                    </a:lnTo>
                    <a:lnTo>
                      <a:pt x="10" y="471"/>
                    </a:lnTo>
                    <a:lnTo>
                      <a:pt x="11" y="479"/>
                    </a:lnTo>
                    <a:lnTo>
                      <a:pt x="16" y="482"/>
                    </a:lnTo>
                    <a:lnTo>
                      <a:pt x="8" y="499"/>
                    </a:lnTo>
                    <a:lnTo>
                      <a:pt x="0" y="500"/>
                    </a:lnTo>
                    <a:lnTo>
                      <a:pt x="3" y="509"/>
                    </a:lnTo>
                    <a:lnTo>
                      <a:pt x="30" y="499"/>
                    </a:lnTo>
                    <a:lnTo>
                      <a:pt x="49" y="504"/>
                    </a:lnTo>
                    <a:lnTo>
                      <a:pt x="51" y="509"/>
                    </a:lnTo>
                    <a:lnTo>
                      <a:pt x="41" y="505"/>
                    </a:lnTo>
                    <a:lnTo>
                      <a:pt x="41" y="511"/>
                    </a:lnTo>
                    <a:lnTo>
                      <a:pt x="60" y="522"/>
                    </a:lnTo>
                    <a:lnTo>
                      <a:pt x="66" y="530"/>
                    </a:lnTo>
                    <a:lnTo>
                      <a:pt x="66" y="519"/>
                    </a:lnTo>
                    <a:lnTo>
                      <a:pt x="75" y="520"/>
                    </a:lnTo>
                    <a:lnTo>
                      <a:pt x="75" y="531"/>
                    </a:lnTo>
                    <a:lnTo>
                      <a:pt x="99" y="541"/>
                    </a:lnTo>
                    <a:lnTo>
                      <a:pt x="113" y="560"/>
                    </a:lnTo>
                    <a:lnTo>
                      <a:pt x="116" y="575"/>
                    </a:lnTo>
                    <a:lnTo>
                      <a:pt x="124" y="585"/>
                    </a:lnTo>
                    <a:lnTo>
                      <a:pt x="139" y="632"/>
                    </a:lnTo>
                    <a:lnTo>
                      <a:pt x="151" y="653"/>
                    </a:lnTo>
                    <a:lnTo>
                      <a:pt x="163" y="650"/>
                    </a:lnTo>
                    <a:lnTo>
                      <a:pt x="180" y="628"/>
                    </a:lnTo>
                    <a:lnTo>
                      <a:pt x="194" y="624"/>
                    </a:lnTo>
                    <a:lnTo>
                      <a:pt x="215" y="603"/>
                    </a:lnTo>
                    <a:lnTo>
                      <a:pt x="223" y="592"/>
                    </a:lnTo>
                    <a:lnTo>
                      <a:pt x="229" y="580"/>
                    </a:lnTo>
                    <a:lnTo>
                      <a:pt x="238" y="587"/>
                    </a:lnTo>
                    <a:lnTo>
                      <a:pt x="239" y="592"/>
                    </a:lnTo>
                    <a:lnTo>
                      <a:pt x="238" y="600"/>
                    </a:lnTo>
                    <a:lnTo>
                      <a:pt x="249" y="601"/>
                    </a:lnTo>
                    <a:lnTo>
                      <a:pt x="259" y="600"/>
                    </a:lnTo>
                    <a:lnTo>
                      <a:pt x="263" y="591"/>
                    </a:lnTo>
                    <a:lnTo>
                      <a:pt x="264" y="581"/>
                    </a:lnTo>
                    <a:lnTo>
                      <a:pt x="269" y="590"/>
                    </a:lnTo>
                    <a:lnTo>
                      <a:pt x="272" y="591"/>
                    </a:lnTo>
                    <a:lnTo>
                      <a:pt x="279" y="587"/>
                    </a:lnTo>
                    <a:lnTo>
                      <a:pt x="291" y="575"/>
                    </a:lnTo>
                    <a:lnTo>
                      <a:pt x="298" y="562"/>
                    </a:lnTo>
                    <a:lnTo>
                      <a:pt x="298" y="549"/>
                    </a:lnTo>
                    <a:lnTo>
                      <a:pt x="301" y="542"/>
                    </a:lnTo>
                    <a:lnTo>
                      <a:pt x="298" y="537"/>
                    </a:lnTo>
                    <a:lnTo>
                      <a:pt x="299" y="511"/>
                    </a:lnTo>
                    <a:lnTo>
                      <a:pt x="297" y="501"/>
                    </a:lnTo>
                    <a:lnTo>
                      <a:pt x="310" y="474"/>
                    </a:lnTo>
                    <a:lnTo>
                      <a:pt x="313" y="461"/>
                    </a:lnTo>
                    <a:lnTo>
                      <a:pt x="314" y="449"/>
                    </a:lnTo>
                    <a:lnTo>
                      <a:pt x="317" y="446"/>
                    </a:lnTo>
                    <a:lnTo>
                      <a:pt x="328" y="455"/>
                    </a:lnTo>
                    <a:lnTo>
                      <a:pt x="336" y="446"/>
                    </a:lnTo>
                    <a:lnTo>
                      <a:pt x="346" y="444"/>
                    </a:lnTo>
                    <a:lnTo>
                      <a:pt x="362" y="433"/>
                    </a:lnTo>
                    <a:lnTo>
                      <a:pt x="366" y="412"/>
                    </a:lnTo>
                    <a:lnTo>
                      <a:pt x="371" y="395"/>
                    </a:lnTo>
                    <a:lnTo>
                      <a:pt x="371" y="381"/>
                    </a:lnTo>
                    <a:lnTo>
                      <a:pt x="379" y="370"/>
                    </a:lnTo>
                    <a:lnTo>
                      <a:pt x="392" y="361"/>
                    </a:lnTo>
                    <a:lnTo>
                      <a:pt x="406" y="357"/>
                    </a:lnTo>
                    <a:lnTo>
                      <a:pt x="416" y="343"/>
                    </a:lnTo>
                    <a:lnTo>
                      <a:pt x="438" y="330"/>
                    </a:lnTo>
                    <a:lnTo>
                      <a:pt x="462" y="309"/>
                    </a:lnTo>
                    <a:lnTo>
                      <a:pt x="474" y="304"/>
                    </a:lnTo>
                    <a:lnTo>
                      <a:pt x="481" y="294"/>
                    </a:lnTo>
                    <a:lnTo>
                      <a:pt x="514" y="267"/>
                    </a:lnTo>
                    <a:lnTo>
                      <a:pt x="550" y="251"/>
                    </a:lnTo>
                    <a:lnTo>
                      <a:pt x="582" y="224"/>
                    </a:lnTo>
                    <a:lnTo>
                      <a:pt x="581" y="203"/>
                    </a:lnTo>
                    <a:lnTo>
                      <a:pt x="573" y="198"/>
                    </a:lnTo>
                    <a:lnTo>
                      <a:pt x="561" y="180"/>
                    </a:lnTo>
                    <a:lnTo>
                      <a:pt x="552" y="176"/>
                    </a:lnTo>
                    <a:lnTo>
                      <a:pt x="535" y="150"/>
                    </a:lnTo>
                    <a:lnTo>
                      <a:pt x="512" y="129"/>
                    </a:lnTo>
                    <a:lnTo>
                      <a:pt x="506" y="119"/>
                    </a:lnTo>
                    <a:lnTo>
                      <a:pt x="487" y="95"/>
                    </a:lnTo>
                    <a:lnTo>
                      <a:pt x="478" y="89"/>
                    </a:lnTo>
                    <a:lnTo>
                      <a:pt x="462" y="69"/>
                    </a:lnTo>
                    <a:lnTo>
                      <a:pt x="420" y="59"/>
                    </a:lnTo>
                    <a:lnTo>
                      <a:pt x="390" y="73"/>
                    </a:lnTo>
                    <a:lnTo>
                      <a:pt x="385" y="78"/>
                    </a:lnTo>
                    <a:lnTo>
                      <a:pt x="382" y="86"/>
                    </a:lnTo>
                    <a:lnTo>
                      <a:pt x="389" y="96"/>
                    </a:lnTo>
                    <a:lnTo>
                      <a:pt x="384" y="105"/>
                    </a:lnTo>
                    <a:lnTo>
                      <a:pt x="382" y="115"/>
                    </a:lnTo>
                    <a:lnTo>
                      <a:pt x="371" y="121"/>
                    </a:lnTo>
                    <a:lnTo>
                      <a:pt x="368" y="108"/>
                    </a:lnTo>
                    <a:lnTo>
                      <a:pt x="374" y="101"/>
                    </a:lnTo>
                    <a:lnTo>
                      <a:pt x="374" y="85"/>
                    </a:lnTo>
                    <a:lnTo>
                      <a:pt x="373" y="78"/>
                    </a:lnTo>
                    <a:lnTo>
                      <a:pt x="358" y="75"/>
                    </a:lnTo>
                    <a:lnTo>
                      <a:pt x="352" y="81"/>
                    </a:lnTo>
                    <a:lnTo>
                      <a:pt x="352" y="86"/>
                    </a:lnTo>
                    <a:lnTo>
                      <a:pt x="345" y="92"/>
                    </a:lnTo>
                    <a:lnTo>
                      <a:pt x="340" y="111"/>
                    </a:lnTo>
                    <a:lnTo>
                      <a:pt x="338" y="102"/>
                    </a:lnTo>
                    <a:lnTo>
                      <a:pt x="336" y="90"/>
                    </a:lnTo>
                    <a:lnTo>
                      <a:pt x="345" y="76"/>
                    </a:lnTo>
                    <a:lnTo>
                      <a:pt x="304" y="52"/>
                    </a:lnTo>
                    <a:lnTo>
                      <a:pt x="291" y="33"/>
                    </a:lnTo>
                    <a:lnTo>
                      <a:pt x="279" y="24"/>
                    </a:lnTo>
                    <a:lnTo>
                      <a:pt x="276" y="13"/>
                    </a:lnTo>
                    <a:lnTo>
                      <a:pt x="244" y="0"/>
                    </a:lnTo>
                    <a:lnTo>
                      <a:pt x="231" y="3"/>
                    </a:lnTo>
                    <a:lnTo>
                      <a:pt x="224" y="14"/>
                    </a:lnTo>
                    <a:lnTo>
                      <a:pt x="213" y="9"/>
                    </a:lnTo>
                    <a:lnTo>
                      <a:pt x="197" y="16"/>
                    </a:lnTo>
                    <a:lnTo>
                      <a:pt x="157" y="19"/>
                    </a:lnTo>
                    <a:lnTo>
                      <a:pt x="156" y="24"/>
                    </a:lnTo>
                    <a:lnTo>
                      <a:pt x="158" y="36"/>
                    </a:lnTo>
                    <a:lnTo>
                      <a:pt x="158" y="46"/>
                    </a:lnTo>
                    <a:lnTo>
                      <a:pt x="154" y="36"/>
                    </a:lnTo>
                    <a:lnTo>
                      <a:pt x="151" y="31"/>
                    </a:lnTo>
                    <a:lnTo>
                      <a:pt x="150" y="21"/>
                    </a:lnTo>
                    <a:lnTo>
                      <a:pt x="146" y="19"/>
                    </a:lnTo>
                    <a:lnTo>
                      <a:pt x="141" y="29"/>
                    </a:lnTo>
                    <a:lnTo>
                      <a:pt x="139" y="27"/>
                    </a:lnTo>
                    <a:lnTo>
                      <a:pt x="136" y="20"/>
                    </a:lnTo>
                    <a:lnTo>
                      <a:pt x="120" y="24"/>
                    </a:lnTo>
                    <a:lnTo>
                      <a:pt x="120" y="27"/>
                    </a:lnTo>
                    <a:lnTo>
                      <a:pt x="105" y="24"/>
                    </a:lnTo>
                    <a:lnTo>
                      <a:pt x="99" y="25"/>
                    </a:lnTo>
                    <a:lnTo>
                      <a:pt x="99" y="31"/>
                    </a:lnTo>
                    <a:lnTo>
                      <a:pt x="83" y="33"/>
                    </a:lnTo>
                    <a:lnTo>
                      <a:pt x="70" y="40"/>
                    </a:lnTo>
                    <a:lnTo>
                      <a:pt x="75" y="42"/>
                    </a:lnTo>
                    <a:lnTo>
                      <a:pt x="80" y="63"/>
                    </a:lnTo>
                    <a:lnTo>
                      <a:pt x="93" y="73"/>
                    </a:lnTo>
                    <a:lnTo>
                      <a:pt x="84" y="78"/>
                    </a:lnTo>
                    <a:lnTo>
                      <a:pt x="83" y="89"/>
                    </a:lnTo>
                    <a:lnTo>
                      <a:pt x="93" y="11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27" name="Freeform 289"/>
              <p:cNvSpPr>
                <a:spLocks noChangeAspect="1"/>
              </p:cNvSpPr>
              <p:nvPr/>
            </p:nvSpPr>
            <p:spPr bwMode="gray">
              <a:xfrm>
                <a:off x="1210" y="1283"/>
                <a:ext cx="200" cy="164"/>
              </a:xfrm>
              <a:custGeom>
                <a:avLst/>
                <a:gdLst/>
                <a:ahLst/>
                <a:cxnLst>
                  <a:cxn ang="0">
                    <a:pos x="126" y="657"/>
                  </a:cxn>
                  <a:cxn ang="0">
                    <a:pos x="169" y="549"/>
                  </a:cxn>
                  <a:cxn ang="0">
                    <a:pos x="358" y="544"/>
                  </a:cxn>
                  <a:cxn ang="0">
                    <a:pos x="368" y="506"/>
                  </a:cxn>
                  <a:cxn ang="0">
                    <a:pos x="282" y="473"/>
                  </a:cxn>
                  <a:cxn ang="0">
                    <a:pos x="101" y="478"/>
                  </a:cxn>
                  <a:cxn ang="0">
                    <a:pos x="62" y="396"/>
                  </a:cxn>
                  <a:cxn ang="0">
                    <a:pos x="178" y="361"/>
                  </a:cxn>
                  <a:cxn ang="0">
                    <a:pos x="133" y="340"/>
                  </a:cxn>
                  <a:cxn ang="0">
                    <a:pos x="79" y="345"/>
                  </a:cxn>
                  <a:cxn ang="0">
                    <a:pos x="47" y="338"/>
                  </a:cxn>
                  <a:cxn ang="0">
                    <a:pos x="29" y="309"/>
                  </a:cxn>
                  <a:cxn ang="0">
                    <a:pos x="52" y="209"/>
                  </a:cxn>
                  <a:cxn ang="0">
                    <a:pos x="46" y="135"/>
                  </a:cxn>
                  <a:cxn ang="0">
                    <a:pos x="239" y="0"/>
                  </a:cxn>
                  <a:cxn ang="0">
                    <a:pos x="272" y="94"/>
                  </a:cxn>
                  <a:cxn ang="0">
                    <a:pos x="244" y="146"/>
                  </a:cxn>
                  <a:cxn ang="0">
                    <a:pos x="300" y="81"/>
                  </a:cxn>
                  <a:cxn ang="0">
                    <a:pos x="406" y="106"/>
                  </a:cxn>
                  <a:cxn ang="0">
                    <a:pos x="415" y="173"/>
                  </a:cxn>
                  <a:cxn ang="0">
                    <a:pos x="446" y="157"/>
                  </a:cxn>
                  <a:cxn ang="0">
                    <a:pos x="486" y="144"/>
                  </a:cxn>
                  <a:cxn ang="0">
                    <a:pos x="503" y="123"/>
                  </a:cxn>
                  <a:cxn ang="0">
                    <a:pos x="504" y="76"/>
                  </a:cxn>
                  <a:cxn ang="0">
                    <a:pos x="546" y="121"/>
                  </a:cxn>
                  <a:cxn ang="0">
                    <a:pos x="570" y="205"/>
                  </a:cxn>
                  <a:cxn ang="0">
                    <a:pos x="606" y="310"/>
                  </a:cxn>
                  <a:cxn ang="0">
                    <a:pos x="627" y="247"/>
                  </a:cxn>
                  <a:cxn ang="0">
                    <a:pos x="617" y="166"/>
                  </a:cxn>
                  <a:cxn ang="0">
                    <a:pos x="600" y="49"/>
                  </a:cxn>
                  <a:cxn ang="0">
                    <a:pos x="602" y="8"/>
                  </a:cxn>
                  <a:cxn ang="0">
                    <a:pos x="669" y="31"/>
                  </a:cxn>
                  <a:cxn ang="0">
                    <a:pos x="691" y="44"/>
                  </a:cxn>
                  <a:cxn ang="0">
                    <a:pos x="751" y="110"/>
                  </a:cxn>
                  <a:cxn ang="0">
                    <a:pos x="766" y="200"/>
                  </a:cxn>
                  <a:cxn ang="0">
                    <a:pos x="805" y="336"/>
                  </a:cxn>
                  <a:cxn ang="0">
                    <a:pos x="815" y="428"/>
                  </a:cxn>
                  <a:cxn ang="0">
                    <a:pos x="881" y="478"/>
                  </a:cxn>
                  <a:cxn ang="0">
                    <a:pos x="963" y="543"/>
                  </a:cxn>
                  <a:cxn ang="0">
                    <a:pos x="999" y="584"/>
                  </a:cxn>
                  <a:cxn ang="0">
                    <a:pos x="961" y="616"/>
                  </a:cxn>
                  <a:cxn ang="0">
                    <a:pos x="934" y="597"/>
                  </a:cxn>
                  <a:cxn ang="0">
                    <a:pos x="906" y="632"/>
                  </a:cxn>
                  <a:cxn ang="0">
                    <a:pos x="880" y="677"/>
                  </a:cxn>
                  <a:cxn ang="0">
                    <a:pos x="940" y="671"/>
                  </a:cxn>
                  <a:cxn ang="0">
                    <a:pos x="933" y="711"/>
                  </a:cxn>
                  <a:cxn ang="0">
                    <a:pos x="949" y="734"/>
                  </a:cxn>
                  <a:cxn ang="0">
                    <a:pos x="893" y="767"/>
                  </a:cxn>
                  <a:cxn ang="0">
                    <a:pos x="809" y="749"/>
                  </a:cxn>
                  <a:cxn ang="0">
                    <a:pos x="758" y="724"/>
                  </a:cxn>
                  <a:cxn ang="0">
                    <a:pos x="697" y="677"/>
                  </a:cxn>
                  <a:cxn ang="0">
                    <a:pos x="655" y="718"/>
                  </a:cxn>
                  <a:cxn ang="0">
                    <a:pos x="521" y="796"/>
                  </a:cxn>
                  <a:cxn ang="0">
                    <a:pos x="425" y="805"/>
                  </a:cxn>
                  <a:cxn ang="0">
                    <a:pos x="320" y="819"/>
                  </a:cxn>
                  <a:cxn ang="0">
                    <a:pos x="300" y="732"/>
                  </a:cxn>
                  <a:cxn ang="0">
                    <a:pos x="230" y="698"/>
                  </a:cxn>
                </a:cxnLst>
                <a:rect l="0" t="0" r="r" b="b"/>
                <a:pathLst>
                  <a:path w="999" h="819">
                    <a:moveTo>
                      <a:pt x="230" y="698"/>
                    </a:moveTo>
                    <a:lnTo>
                      <a:pt x="225" y="704"/>
                    </a:lnTo>
                    <a:lnTo>
                      <a:pt x="203" y="704"/>
                    </a:lnTo>
                    <a:lnTo>
                      <a:pt x="196" y="698"/>
                    </a:lnTo>
                    <a:lnTo>
                      <a:pt x="173" y="697"/>
                    </a:lnTo>
                    <a:lnTo>
                      <a:pt x="137" y="671"/>
                    </a:lnTo>
                    <a:lnTo>
                      <a:pt x="137" y="660"/>
                    </a:lnTo>
                    <a:lnTo>
                      <a:pt x="126" y="657"/>
                    </a:lnTo>
                    <a:lnTo>
                      <a:pt x="118" y="650"/>
                    </a:lnTo>
                    <a:lnTo>
                      <a:pt x="116" y="630"/>
                    </a:lnTo>
                    <a:lnTo>
                      <a:pt x="105" y="622"/>
                    </a:lnTo>
                    <a:lnTo>
                      <a:pt x="101" y="613"/>
                    </a:lnTo>
                    <a:lnTo>
                      <a:pt x="94" y="593"/>
                    </a:lnTo>
                    <a:lnTo>
                      <a:pt x="91" y="581"/>
                    </a:lnTo>
                    <a:lnTo>
                      <a:pt x="112" y="571"/>
                    </a:lnTo>
                    <a:lnTo>
                      <a:pt x="169" y="549"/>
                    </a:lnTo>
                    <a:lnTo>
                      <a:pt x="209" y="539"/>
                    </a:lnTo>
                    <a:lnTo>
                      <a:pt x="232" y="538"/>
                    </a:lnTo>
                    <a:lnTo>
                      <a:pt x="253" y="530"/>
                    </a:lnTo>
                    <a:lnTo>
                      <a:pt x="266" y="528"/>
                    </a:lnTo>
                    <a:lnTo>
                      <a:pt x="279" y="536"/>
                    </a:lnTo>
                    <a:lnTo>
                      <a:pt x="318" y="539"/>
                    </a:lnTo>
                    <a:lnTo>
                      <a:pt x="339" y="546"/>
                    </a:lnTo>
                    <a:lnTo>
                      <a:pt x="358" y="544"/>
                    </a:lnTo>
                    <a:lnTo>
                      <a:pt x="369" y="533"/>
                    </a:lnTo>
                    <a:lnTo>
                      <a:pt x="365" y="526"/>
                    </a:lnTo>
                    <a:lnTo>
                      <a:pt x="365" y="522"/>
                    </a:lnTo>
                    <a:lnTo>
                      <a:pt x="374" y="527"/>
                    </a:lnTo>
                    <a:lnTo>
                      <a:pt x="382" y="525"/>
                    </a:lnTo>
                    <a:lnTo>
                      <a:pt x="381" y="520"/>
                    </a:lnTo>
                    <a:lnTo>
                      <a:pt x="375" y="510"/>
                    </a:lnTo>
                    <a:lnTo>
                      <a:pt x="368" y="506"/>
                    </a:lnTo>
                    <a:lnTo>
                      <a:pt x="348" y="503"/>
                    </a:lnTo>
                    <a:lnTo>
                      <a:pt x="344" y="495"/>
                    </a:lnTo>
                    <a:lnTo>
                      <a:pt x="332" y="495"/>
                    </a:lnTo>
                    <a:lnTo>
                      <a:pt x="317" y="488"/>
                    </a:lnTo>
                    <a:lnTo>
                      <a:pt x="312" y="482"/>
                    </a:lnTo>
                    <a:lnTo>
                      <a:pt x="296" y="479"/>
                    </a:lnTo>
                    <a:lnTo>
                      <a:pt x="289" y="480"/>
                    </a:lnTo>
                    <a:lnTo>
                      <a:pt x="282" y="473"/>
                    </a:lnTo>
                    <a:lnTo>
                      <a:pt x="248" y="479"/>
                    </a:lnTo>
                    <a:lnTo>
                      <a:pt x="196" y="499"/>
                    </a:lnTo>
                    <a:lnTo>
                      <a:pt x="188" y="493"/>
                    </a:lnTo>
                    <a:lnTo>
                      <a:pt x="172" y="493"/>
                    </a:lnTo>
                    <a:lnTo>
                      <a:pt x="162" y="488"/>
                    </a:lnTo>
                    <a:lnTo>
                      <a:pt x="158" y="480"/>
                    </a:lnTo>
                    <a:lnTo>
                      <a:pt x="118" y="489"/>
                    </a:lnTo>
                    <a:lnTo>
                      <a:pt x="101" y="478"/>
                    </a:lnTo>
                    <a:lnTo>
                      <a:pt x="83" y="482"/>
                    </a:lnTo>
                    <a:lnTo>
                      <a:pt x="81" y="476"/>
                    </a:lnTo>
                    <a:lnTo>
                      <a:pt x="81" y="472"/>
                    </a:lnTo>
                    <a:lnTo>
                      <a:pt x="68" y="467"/>
                    </a:lnTo>
                    <a:lnTo>
                      <a:pt x="57" y="452"/>
                    </a:lnTo>
                    <a:lnTo>
                      <a:pt x="46" y="434"/>
                    </a:lnTo>
                    <a:lnTo>
                      <a:pt x="42" y="418"/>
                    </a:lnTo>
                    <a:lnTo>
                      <a:pt x="62" y="396"/>
                    </a:lnTo>
                    <a:lnTo>
                      <a:pt x="83" y="387"/>
                    </a:lnTo>
                    <a:lnTo>
                      <a:pt x="103" y="385"/>
                    </a:lnTo>
                    <a:lnTo>
                      <a:pt x="122" y="377"/>
                    </a:lnTo>
                    <a:lnTo>
                      <a:pt x="142" y="363"/>
                    </a:lnTo>
                    <a:lnTo>
                      <a:pt x="161" y="358"/>
                    </a:lnTo>
                    <a:lnTo>
                      <a:pt x="160" y="361"/>
                    </a:lnTo>
                    <a:lnTo>
                      <a:pt x="165" y="364"/>
                    </a:lnTo>
                    <a:lnTo>
                      <a:pt x="178" y="361"/>
                    </a:lnTo>
                    <a:lnTo>
                      <a:pt x="185" y="358"/>
                    </a:lnTo>
                    <a:lnTo>
                      <a:pt x="181" y="353"/>
                    </a:lnTo>
                    <a:lnTo>
                      <a:pt x="165" y="352"/>
                    </a:lnTo>
                    <a:lnTo>
                      <a:pt x="173" y="342"/>
                    </a:lnTo>
                    <a:lnTo>
                      <a:pt x="187" y="339"/>
                    </a:lnTo>
                    <a:lnTo>
                      <a:pt x="193" y="334"/>
                    </a:lnTo>
                    <a:lnTo>
                      <a:pt x="194" y="329"/>
                    </a:lnTo>
                    <a:lnTo>
                      <a:pt x="133" y="340"/>
                    </a:lnTo>
                    <a:lnTo>
                      <a:pt x="122" y="345"/>
                    </a:lnTo>
                    <a:lnTo>
                      <a:pt x="111" y="347"/>
                    </a:lnTo>
                    <a:lnTo>
                      <a:pt x="105" y="352"/>
                    </a:lnTo>
                    <a:lnTo>
                      <a:pt x="96" y="352"/>
                    </a:lnTo>
                    <a:lnTo>
                      <a:pt x="91" y="348"/>
                    </a:lnTo>
                    <a:lnTo>
                      <a:pt x="90" y="344"/>
                    </a:lnTo>
                    <a:lnTo>
                      <a:pt x="83" y="343"/>
                    </a:lnTo>
                    <a:lnTo>
                      <a:pt x="79" y="345"/>
                    </a:lnTo>
                    <a:lnTo>
                      <a:pt x="83" y="348"/>
                    </a:lnTo>
                    <a:lnTo>
                      <a:pt x="83" y="354"/>
                    </a:lnTo>
                    <a:lnTo>
                      <a:pt x="68" y="354"/>
                    </a:lnTo>
                    <a:lnTo>
                      <a:pt x="64" y="359"/>
                    </a:lnTo>
                    <a:lnTo>
                      <a:pt x="51" y="360"/>
                    </a:lnTo>
                    <a:lnTo>
                      <a:pt x="45" y="355"/>
                    </a:lnTo>
                    <a:lnTo>
                      <a:pt x="43" y="347"/>
                    </a:lnTo>
                    <a:lnTo>
                      <a:pt x="47" y="338"/>
                    </a:lnTo>
                    <a:lnTo>
                      <a:pt x="53" y="333"/>
                    </a:lnTo>
                    <a:lnTo>
                      <a:pt x="69" y="332"/>
                    </a:lnTo>
                    <a:lnTo>
                      <a:pt x="67" y="310"/>
                    </a:lnTo>
                    <a:lnTo>
                      <a:pt x="53" y="313"/>
                    </a:lnTo>
                    <a:lnTo>
                      <a:pt x="41" y="322"/>
                    </a:lnTo>
                    <a:lnTo>
                      <a:pt x="35" y="320"/>
                    </a:lnTo>
                    <a:lnTo>
                      <a:pt x="33" y="311"/>
                    </a:lnTo>
                    <a:lnTo>
                      <a:pt x="29" y="309"/>
                    </a:lnTo>
                    <a:lnTo>
                      <a:pt x="8" y="313"/>
                    </a:lnTo>
                    <a:lnTo>
                      <a:pt x="6" y="304"/>
                    </a:lnTo>
                    <a:lnTo>
                      <a:pt x="2" y="290"/>
                    </a:lnTo>
                    <a:lnTo>
                      <a:pt x="0" y="273"/>
                    </a:lnTo>
                    <a:lnTo>
                      <a:pt x="6" y="256"/>
                    </a:lnTo>
                    <a:lnTo>
                      <a:pt x="22" y="234"/>
                    </a:lnTo>
                    <a:lnTo>
                      <a:pt x="32" y="218"/>
                    </a:lnTo>
                    <a:lnTo>
                      <a:pt x="52" y="209"/>
                    </a:lnTo>
                    <a:lnTo>
                      <a:pt x="53" y="202"/>
                    </a:lnTo>
                    <a:lnTo>
                      <a:pt x="51" y="194"/>
                    </a:lnTo>
                    <a:lnTo>
                      <a:pt x="48" y="189"/>
                    </a:lnTo>
                    <a:lnTo>
                      <a:pt x="36" y="189"/>
                    </a:lnTo>
                    <a:lnTo>
                      <a:pt x="32" y="182"/>
                    </a:lnTo>
                    <a:lnTo>
                      <a:pt x="31" y="165"/>
                    </a:lnTo>
                    <a:lnTo>
                      <a:pt x="36" y="151"/>
                    </a:lnTo>
                    <a:lnTo>
                      <a:pt x="46" y="135"/>
                    </a:lnTo>
                    <a:lnTo>
                      <a:pt x="85" y="94"/>
                    </a:lnTo>
                    <a:lnTo>
                      <a:pt x="122" y="68"/>
                    </a:lnTo>
                    <a:lnTo>
                      <a:pt x="129" y="59"/>
                    </a:lnTo>
                    <a:lnTo>
                      <a:pt x="142" y="55"/>
                    </a:lnTo>
                    <a:lnTo>
                      <a:pt x="148" y="44"/>
                    </a:lnTo>
                    <a:lnTo>
                      <a:pt x="162" y="42"/>
                    </a:lnTo>
                    <a:lnTo>
                      <a:pt x="194" y="22"/>
                    </a:lnTo>
                    <a:lnTo>
                      <a:pt x="239" y="0"/>
                    </a:lnTo>
                    <a:lnTo>
                      <a:pt x="252" y="3"/>
                    </a:lnTo>
                    <a:lnTo>
                      <a:pt x="255" y="10"/>
                    </a:lnTo>
                    <a:lnTo>
                      <a:pt x="261" y="14"/>
                    </a:lnTo>
                    <a:lnTo>
                      <a:pt x="262" y="21"/>
                    </a:lnTo>
                    <a:lnTo>
                      <a:pt x="269" y="31"/>
                    </a:lnTo>
                    <a:lnTo>
                      <a:pt x="272" y="43"/>
                    </a:lnTo>
                    <a:lnTo>
                      <a:pt x="273" y="71"/>
                    </a:lnTo>
                    <a:lnTo>
                      <a:pt x="272" y="94"/>
                    </a:lnTo>
                    <a:lnTo>
                      <a:pt x="259" y="101"/>
                    </a:lnTo>
                    <a:lnTo>
                      <a:pt x="255" y="111"/>
                    </a:lnTo>
                    <a:lnTo>
                      <a:pt x="253" y="117"/>
                    </a:lnTo>
                    <a:lnTo>
                      <a:pt x="255" y="121"/>
                    </a:lnTo>
                    <a:lnTo>
                      <a:pt x="252" y="127"/>
                    </a:lnTo>
                    <a:lnTo>
                      <a:pt x="239" y="133"/>
                    </a:lnTo>
                    <a:lnTo>
                      <a:pt x="237" y="138"/>
                    </a:lnTo>
                    <a:lnTo>
                      <a:pt x="244" y="146"/>
                    </a:lnTo>
                    <a:lnTo>
                      <a:pt x="268" y="126"/>
                    </a:lnTo>
                    <a:lnTo>
                      <a:pt x="274" y="126"/>
                    </a:lnTo>
                    <a:lnTo>
                      <a:pt x="277" y="135"/>
                    </a:lnTo>
                    <a:lnTo>
                      <a:pt x="295" y="127"/>
                    </a:lnTo>
                    <a:lnTo>
                      <a:pt x="300" y="113"/>
                    </a:lnTo>
                    <a:lnTo>
                      <a:pt x="294" y="110"/>
                    </a:lnTo>
                    <a:lnTo>
                      <a:pt x="294" y="97"/>
                    </a:lnTo>
                    <a:lnTo>
                      <a:pt x="300" y="81"/>
                    </a:lnTo>
                    <a:lnTo>
                      <a:pt x="309" y="76"/>
                    </a:lnTo>
                    <a:lnTo>
                      <a:pt x="310" y="69"/>
                    </a:lnTo>
                    <a:lnTo>
                      <a:pt x="315" y="64"/>
                    </a:lnTo>
                    <a:lnTo>
                      <a:pt x="329" y="62"/>
                    </a:lnTo>
                    <a:lnTo>
                      <a:pt x="355" y="80"/>
                    </a:lnTo>
                    <a:lnTo>
                      <a:pt x="388" y="91"/>
                    </a:lnTo>
                    <a:lnTo>
                      <a:pt x="396" y="101"/>
                    </a:lnTo>
                    <a:lnTo>
                      <a:pt x="406" y="106"/>
                    </a:lnTo>
                    <a:lnTo>
                      <a:pt x="415" y="113"/>
                    </a:lnTo>
                    <a:lnTo>
                      <a:pt x="424" y="128"/>
                    </a:lnTo>
                    <a:lnTo>
                      <a:pt x="427" y="145"/>
                    </a:lnTo>
                    <a:lnTo>
                      <a:pt x="408" y="171"/>
                    </a:lnTo>
                    <a:lnTo>
                      <a:pt x="388" y="189"/>
                    </a:lnTo>
                    <a:lnTo>
                      <a:pt x="388" y="192"/>
                    </a:lnTo>
                    <a:lnTo>
                      <a:pt x="406" y="188"/>
                    </a:lnTo>
                    <a:lnTo>
                      <a:pt x="415" y="173"/>
                    </a:lnTo>
                    <a:lnTo>
                      <a:pt x="427" y="166"/>
                    </a:lnTo>
                    <a:lnTo>
                      <a:pt x="425" y="173"/>
                    </a:lnTo>
                    <a:lnTo>
                      <a:pt x="420" y="187"/>
                    </a:lnTo>
                    <a:lnTo>
                      <a:pt x="433" y="192"/>
                    </a:lnTo>
                    <a:lnTo>
                      <a:pt x="435" y="187"/>
                    </a:lnTo>
                    <a:lnTo>
                      <a:pt x="439" y="167"/>
                    </a:lnTo>
                    <a:lnTo>
                      <a:pt x="440" y="161"/>
                    </a:lnTo>
                    <a:lnTo>
                      <a:pt x="446" y="157"/>
                    </a:lnTo>
                    <a:lnTo>
                      <a:pt x="454" y="148"/>
                    </a:lnTo>
                    <a:lnTo>
                      <a:pt x="465" y="150"/>
                    </a:lnTo>
                    <a:lnTo>
                      <a:pt x="472" y="146"/>
                    </a:lnTo>
                    <a:lnTo>
                      <a:pt x="486" y="164"/>
                    </a:lnTo>
                    <a:lnTo>
                      <a:pt x="488" y="157"/>
                    </a:lnTo>
                    <a:lnTo>
                      <a:pt x="486" y="148"/>
                    </a:lnTo>
                    <a:lnTo>
                      <a:pt x="483" y="145"/>
                    </a:lnTo>
                    <a:lnTo>
                      <a:pt x="486" y="144"/>
                    </a:lnTo>
                    <a:lnTo>
                      <a:pt x="494" y="151"/>
                    </a:lnTo>
                    <a:lnTo>
                      <a:pt x="499" y="148"/>
                    </a:lnTo>
                    <a:lnTo>
                      <a:pt x="497" y="138"/>
                    </a:lnTo>
                    <a:lnTo>
                      <a:pt x="484" y="129"/>
                    </a:lnTo>
                    <a:lnTo>
                      <a:pt x="484" y="123"/>
                    </a:lnTo>
                    <a:lnTo>
                      <a:pt x="486" y="122"/>
                    </a:lnTo>
                    <a:lnTo>
                      <a:pt x="498" y="132"/>
                    </a:lnTo>
                    <a:lnTo>
                      <a:pt x="503" y="123"/>
                    </a:lnTo>
                    <a:lnTo>
                      <a:pt x="488" y="103"/>
                    </a:lnTo>
                    <a:lnTo>
                      <a:pt x="481" y="100"/>
                    </a:lnTo>
                    <a:lnTo>
                      <a:pt x="473" y="90"/>
                    </a:lnTo>
                    <a:lnTo>
                      <a:pt x="470" y="78"/>
                    </a:lnTo>
                    <a:lnTo>
                      <a:pt x="468" y="68"/>
                    </a:lnTo>
                    <a:lnTo>
                      <a:pt x="477" y="67"/>
                    </a:lnTo>
                    <a:lnTo>
                      <a:pt x="494" y="71"/>
                    </a:lnTo>
                    <a:lnTo>
                      <a:pt x="504" y="76"/>
                    </a:lnTo>
                    <a:lnTo>
                      <a:pt x="508" y="87"/>
                    </a:lnTo>
                    <a:lnTo>
                      <a:pt x="519" y="86"/>
                    </a:lnTo>
                    <a:lnTo>
                      <a:pt x="519" y="92"/>
                    </a:lnTo>
                    <a:lnTo>
                      <a:pt x="526" y="108"/>
                    </a:lnTo>
                    <a:lnTo>
                      <a:pt x="533" y="113"/>
                    </a:lnTo>
                    <a:lnTo>
                      <a:pt x="540" y="111"/>
                    </a:lnTo>
                    <a:lnTo>
                      <a:pt x="546" y="117"/>
                    </a:lnTo>
                    <a:lnTo>
                      <a:pt x="546" y="121"/>
                    </a:lnTo>
                    <a:lnTo>
                      <a:pt x="554" y="127"/>
                    </a:lnTo>
                    <a:lnTo>
                      <a:pt x="553" y="133"/>
                    </a:lnTo>
                    <a:lnTo>
                      <a:pt x="551" y="135"/>
                    </a:lnTo>
                    <a:lnTo>
                      <a:pt x="560" y="139"/>
                    </a:lnTo>
                    <a:lnTo>
                      <a:pt x="568" y="155"/>
                    </a:lnTo>
                    <a:lnTo>
                      <a:pt x="567" y="186"/>
                    </a:lnTo>
                    <a:lnTo>
                      <a:pt x="568" y="197"/>
                    </a:lnTo>
                    <a:lnTo>
                      <a:pt x="570" y="205"/>
                    </a:lnTo>
                    <a:lnTo>
                      <a:pt x="575" y="214"/>
                    </a:lnTo>
                    <a:lnTo>
                      <a:pt x="578" y="243"/>
                    </a:lnTo>
                    <a:lnTo>
                      <a:pt x="592" y="258"/>
                    </a:lnTo>
                    <a:lnTo>
                      <a:pt x="585" y="273"/>
                    </a:lnTo>
                    <a:lnTo>
                      <a:pt x="585" y="295"/>
                    </a:lnTo>
                    <a:lnTo>
                      <a:pt x="591" y="296"/>
                    </a:lnTo>
                    <a:lnTo>
                      <a:pt x="600" y="311"/>
                    </a:lnTo>
                    <a:lnTo>
                      <a:pt x="606" y="310"/>
                    </a:lnTo>
                    <a:lnTo>
                      <a:pt x="608" y="301"/>
                    </a:lnTo>
                    <a:lnTo>
                      <a:pt x="616" y="297"/>
                    </a:lnTo>
                    <a:lnTo>
                      <a:pt x="622" y="295"/>
                    </a:lnTo>
                    <a:lnTo>
                      <a:pt x="629" y="285"/>
                    </a:lnTo>
                    <a:lnTo>
                      <a:pt x="630" y="274"/>
                    </a:lnTo>
                    <a:lnTo>
                      <a:pt x="639" y="270"/>
                    </a:lnTo>
                    <a:lnTo>
                      <a:pt x="639" y="264"/>
                    </a:lnTo>
                    <a:lnTo>
                      <a:pt x="627" y="247"/>
                    </a:lnTo>
                    <a:lnTo>
                      <a:pt x="624" y="236"/>
                    </a:lnTo>
                    <a:lnTo>
                      <a:pt x="624" y="225"/>
                    </a:lnTo>
                    <a:lnTo>
                      <a:pt x="619" y="220"/>
                    </a:lnTo>
                    <a:lnTo>
                      <a:pt x="617" y="203"/>
                    </a:lnTo>
                    <a:lnTo>
                      <a:pt x="614" y="187"/>
                    </a:lnTo>
                    <a:lnTo>
                      <a:pt x="618" y="186"/>
                    </a:lnTo>
                    <a:lnTo>
                      <a:pt x="617" y="177"/>
                    </a:lnTo>
                    <a:lnTo>
                      <a:pt x="617" y="166"/>
                    </a:lnTo>
                    <a:lnTo>
                      <a:pt x="613" y="160"/>
                    </a:lnTo>
                    <a:lnTo>
                      <a:pt x="612" y="139"/>
                    </a:lnTo>
                    <a:lnTo>
                      <a:pt x="610" y="121"/>
                    </a:lnTo>
                    <a:lnTo>
                      <a:pt x="605" y="103"/>
                    </a:lnTo>
                    <a:lnTo>
                      <a:pt x="597" y="68"/>
                    </a:lnTo>
                    <a:lnTo>
                      <a:pt x="595" y="62"/>
                    </a:lnTo>
                    <a:lnTo>
                      <a:pt x="599" y="62"/>
                    </a:lnTo>
                    <a:lnTo>
                      <a:pt x="600" y="49"/>
                    </a:lnTo>
                    <a:lnTo>
                      <a:pt x="596" y="49"/>
                    </a:lnTo>
                    <a:lnTo>
                      <a:pt x="592" y="38"/>
                    </a:lnTo>
                    <a:lnTo>
                      <a:pt x="596" y="33"/>
                    </a:lnTo>
                    <a:lnTo>
                      <a:pt x="606" y="33"/>
                    </a:lnTo>
                    <a:lnTo>
                      <a:pt x="608" y="27"/>
                    </a:lnTo>
                    <a:lnTo>
                      <a:pt x="597" y="16"/>
                    </a:lnTo>
                    <a:lnTo>
                      <a:pt x="599" y="8"/>
                    </a:lnTo>
                    <a:lnTo>
                      <a:pt x="602" y="8"/>
                    </a:lnTo>
                    <a:lnTo>
                      <a:pt x="602" y="3"/>
                    </a:lnTo>
                    <a:lnTo>
                      <a:pt x="608" y="3"/>
                    </a:lnTo>
                    <a:lnTo>
                      <a:pt x="630" y="9"/>
                    </a:lnTo>
                    <a:lnTo>
                      <a:pt x="632" y="15"/>
                    </a:lnTo>
                    <a:lnTo>
                      <a:pt x="650" y="33"/>
                    </a:lnTo>
                    <a:lnTo>
                      <a:pt x="665" y="40"/>
                    </a:lnTo>
                    <a:lnTo>
                      <a:pt x="667" y="37"/>
                    </a:lnTo>
                    <a:lnTo>
                      <a:pt x="669" y="31"/>
                    </a:lnTo>
                    <a:lnTo>
                      <a:pt x="662" y="28"/>
                    </a:lnTo>
                    <a:lnTo>
                      <a:pt x="661" y="21"/>
                    </a:lnTo>
                    <a:lnTo>
                      <a:pt x="661" y="15"/>
                    </a:lnTo>
                    <a:lnTo>
                      <a:pt x="666" y="14"/>
                    </a:lnTo>
                    <a:lnTo>
                      <a:pt x="676" y="19"/>
                    </a:lnTo>
                    <a:lnTo>
                      <a:pt x="678" y="25"/>
                    </a:lnTo>
                    <a:lnTo>
                      <a:pt x="687" y="28"/>
                    </a:lnTo>
                    <a:lnTo>
                      <a:pt x="691" y="44"/>
                    </a:lnTo>
                    <a:lnTo>
                      <a:pt x="696" y="52"/>
                    </a:lnTo>
                    <a:lnTo>
                      <a:pt x="720" y="67"/>
                    </a:lnTo>
                    <a:lnTo>
                      <a:pt x="720" y="74"/>
                    </a:lnTo>
                    <a:lnTo>
                      <a:pt x="734" y="81"/>
                    </a:lnTo>
                    <a:lnTo>
                      <a:pt x="741" y="91"/>
                    </a:lnTo>
                    <a:lnTo>
                      <a:pt x="742" y="96"/>
                    </a:lnTo>
                    <a:lnTo>
                      <a:pt x="750" y="102"/>
                    </a:lnTo>
                    <a:lnTo>
                      <a:pt x="751" y="110"/>
                    </a:lnTo>
                    <a:lnTo>
                      <a:pt x="745" y="123"/>
                    </a:lnTo>
                    <a:lnTo>
                      <a:pt x="751" y="123"/>
                    </a:lnTo>
                    <a:lnTo>
                      <a:pt x="756" y="140"/>
                    </a:lnTo>
                    <a:lnTo>
                      <a:pt x="756" y="151"/>
                    </a:lnTo>
                    <a:lnTo>
                      <a:pt x="755" y="156"/>
                    </a:lnTo>
                    <a:lnTo>
                      <a:pt x="758" y="166"/>
                    </a:lnTo>
                    <a:lnTo>
                      <a:pt x="759" y="177"/>
                    </a:lnTo>
                    <a:lnTo>
                      <a:pt x="766" y="200"/>
                    </a:lnTo>
                    <a:lnTo>
                      <a:pt x="768" y="246"/>
                    </a:lnTo>
                    <a:lnTo>
                      <a:pt x="771" y="250"/>
                    </a:lnTo>
                    <a:lnTo>
                      <a:pt x="775" y="273"/>
                    </a:lnTo>
                    <a:lnTo>
                      <a:pt x="791" y="294"/>
                    </a:lnTo>
                    <a:lnTo>
                      <a:pt x="799" y="306"/>
                    </a:lnTo>
                    <a:lnTo>
                      <a:pt x="804" y="322"/>
                    </a:lnTo>
                    <a:lnTo>
                      <a:pt x="802" y="329"/>
                    </a:lnTo>
                    <a:lnTo>
                      <a:pt x="805" y="336"/>
                    </a:lnTo>
                    <a:lnTo>
                      <a:pt x="806" y="353"/>
                    </a:lnTo>
                    <a:lnTo>
                      <a:pt x="804" y="353"/>
                    </a:lnTo>
                    <a:lnTo>
                      <a:pt x="796" y="358"/>
                    </a:lnTo>
                    <a:lnTo>
                      <a:pt x="798" y="383"/>
                    </a:lnTo>
                    <a:lnTo>
                      <a:pt x="794" y="396"/>
                    </a:lnTo>
                    <a:lnTo>
                      <a:pt x="798" y="409"/>
                    </a:lnTo>
                    <a:lnTo>
                      <a:pt x="812" y="419"/>
                    </a:lnTo>
                    <a:lnTo>
                      <a:pt x="815" y="428"/>
                    </a:lnTo>
                    <a:lnTo>
                      <a:pt x="829" y="455"/>
                    </a:lnTo>
                    <a:lnTo>
                      <a:pt x="847" y="460"/>
                    </a:lnTo>
                    <a:lnTo>
                      <a:pt x="854" y="479"/>
                    </a:lnTo>
                    <a:lnTo>
                      <a:pt x="860" y="483"/>
                    </a:lnTo>
                    <a:lnTo>
                      <a:pt x="870" y="484"/>
                    </a:lnTo>
                    <a:lnTo>
                      <a:pt x="876" y="492"/>
                    </a:lnTo>
                    <a:lnTo>
                      <a:pt x="881" y="487"/>
                    </a:lnTo>
                    <a:lnTo>
                      <a:pt x="881" y="478"/>
                    </a:lnTo>
                    <a:lnTo>
                      <a:pt x="885" y="476"/>
                    </a:lnTo>
                    <a:lnTo>
                      <a:pt x="896" y="480"/>
                    </a:lnTo>
                    <a:lnTo>
                      <a:pt x="901" y="485"/>
                    </a:lnTo>
                    <a:lnTo>
                      <a:pt x="898" y="494"/>
                    </a:lnTo>
                    <a:lnTo>
                      <a:pt x="938" y="531"/>
                    </a:lnTo>
                    <a:lnTo>
                      <a:pt x="946" y="536"/>
                    </a:lnTo>
                    <a:lnTo>
                      <a:pt x="958" y="536"/>
                    </a:lnTo>
                    <a:lnTo>
                      <a:pt x="963" y="543"/>
                    </a:lnTo>
                    <a:lnTo>
                      <a:pt x="962" y="552"/>
                    </a:lnTo>
                    <a:lnTo>
                      <a:pt x="963" y="560"/>
                    </a:lnTo>
                    <a:lnTo>
                      <a:pt x="972" y="562"/>
                    </a:lnTo>
                    <a:lnTo>
                      <a:pt x="978" y="558"/>
                    </a:lnTo>
                    <a:lnTo>
                      <a:pt x="981" y="562"/>
                    </a:lnTo>
                    <a:lnTo>
                      <a:pt x="989" y="558"/>
                    </a:lnTo>
                    <a:lnTo>
                      <a:pt x="994" y="560"/>
                    </a:lnTo>
                    <a:lnTo>
                      <a:pt x="999" y="584"/>
                    </a:lnTo>
                    <a:lnTo>
                      <a:pt x="994" y="596"/>
                    </a:lnTo>
                    <a:lnTo>
                      <a:pt x="997" y="622"/>
                    </a:lnTo>
                    <a:lnTo>
                      <a:pt x="992" y="635"/>
                    </a:lnTo>
                    <a:lnTo>
                      <a:pt x="984" y="638"/>
                    </a:lnTo>
                    <a:lnTo>
                      <a:pt x="977" y="635"/>
                    </a:lnTo>
                    <a:lnTo>
                      <a:pt x="967" y="617"/>
                    </a:lnTo>
                    <a:lnTo>
                      <a:pt x="967" y="595"/>
                    </a:lnTo>
                    <a:lnTo>
                      <a:pt x="961" y="616"/>
                    </a:lnTo>
                    <a:lnTo>
                      <a:pt x="958" y="635"/>
                    </a:lnTo>
                    <a:lnTo>
                      <a:pt x="956" y="640"/>
                    </a:lnTo>
                    <a:lnTo>
                      <a:pt x="952" y="629"/>
                    </a:lnTo>
                    <a:lnTo>
                      <a:pt x="946" y="627"/>
                    </a:lnTo>
                    <a:lnTo>
                      <a:pt x="944" y="633"/>
                    </a:lnTo>
                    <a:lnTo>
                      <a:pt x="938" y="623"/>
                    </a:lnTo>
                    <a:lnTo>
                      <a:pt x="934" y="611"/>
                    </a:lnTo>
                    <a:lnTo>
                      <a:pt x="934" y="597"/>
                    </a:lnTo>
                    <a:lnTo>
                      <a:pt x="931" y="605"/>
                    </a:lnTo>
                    <a:lnTo>
                      <a:pt x="925" y="606"/>
                    </a:lnTo>
                    <a:lnTo>
                      <a:pt x="924" y="602"/>
                    </a:lnTo>
                    <a:lnTo>
                      <a:pt x="918" y="617"/>
                    </a:lnTo>
                    <a:lnTo>
                      <a:pt x="914" y="617"/>
                    </a:lnTo>
                    <a:lnTo>
                      <a:pt x="902" y="624"/>
                    </a:lnTo>
                    <a:lnTo>
                      <a:pt x="902" y="632"/>
                    </a:lnTo>
                    <a:lnTo>
                      <a:pt x="906" y="632"/>
                    </a:lnTo>
                    <a:lnTo>
                      <a:pt x="907" y="656"/>
                    </a:lnTo>
                    <a:lnTo>
                      <a:pt x="899" y="657"/>
                    </a:lnTo>
                    <a:lnTo>
                      <a:pt x="895" y="652"/>
                    </a:lnTo>
                    <a:lnTo>
                      <a:pt x="881" y="651"/>
                    </a:lnTo>
                    <a:lnTo>
                      <a:pt x="874" y="654"/>
                    </a:lnTo>
                    <a:lnTo>
                      <a:pt x="872" y="657"/>
                    </a:lnTo>
                    <a:lnTo>
                      <a:pt x="879" y="670"/>
                    </a:lnTo>
                    <a:lnTo>
                      <a:pt x="880" y="677"/>
                    </a:lnTo>
                    <a:lnTo>
                      <a:pt x="877" y="694"/>
                    </a:lnTo>
                    <a:lnTo>
                      <a:pt x="879" y="700"/>
                    </a:lnTo>
                    <a:lnTo>
                      <a:pt x="888" y="681"/>
                    </a:lnTo>
                    <a:lnTo>
                      <a:pt x="902" y="672"/>
                    </a:lnTo>
                    <a:lnTo>
                      <a:pt x="906" y="663"/>
                    </a:lnTo>
                    <a:lnTo>
                      <a:pt x="929" y="662"/>
                    </a:lnTo>
                    <a:lnTo>
                      <a:pt x="931" y="668"/>
                    </a:lnTo>
                    <a:lnTo>
                      <a:pt x="940" y="671"/>
                    </a:lnTo>
                    <a:lnTo>
                      <a:pt x="936" y="677"/>
                    </a:lnTo>
                    <a:lnTo>
                      <a:pt x="935" y="684"/>
                    </a:lnTo>
                    <a:lnTo>
                      <a:pt x="929" y="691"/>
                    </a:lnTo>
                    <a:lnTo>
                      <a:pt x="930" y="695"/>
                    </a:lnTo>
                    <a:lnTo>
                      <a:pt x="925" y="694"/>
                    </a:lnTo>
                    <a:lnTo>
                      <a:pt x="923" y="700"/>
                    </a:lnTo>
                    <a:lnTo>
                      <a:pt x="927" y="710"/>
                    </a:lnTo>
                    <a:lnTo>
                      <a:pt x="933" y="711"/>
                    </a:lnTo>
                    <a:lnTo>
                      <a:pt x="935" y="700"/>
                    </a:lnTo>
                    <a:lnTo>
                      <a:pt x="947" y="706"/>
                    </a:lnTo>
                    <a:lnTo>
                      <a:pt x="958" y="708"/>
                    </a:lnTo>
                    <a:lnTo>
                      <a:pt x="961" y="719"/>
                    </a:lnTo>
                    <a:lnTo>
                      <a:pt x="960" y="727"/>
                    </a:lnTo>
                    <a:lnTo>
                      <a:pt x="954" y="729"/>
                    </a:lnTo>
                    <a:lnTo>
                      <a:pt x="951" y="726"/>
                    </a:lnTo>
                    <a:lnTo>
                      <a:pt x="949" y="734"/>
                    </a:lnTo>
                    <a:lnTo>
                      <a:pt x="944" y="740"/>
                    </a:lnTo>
                    <a:lnTo>
                      <a:pt x="944" y="745"/>
                    </a:lnTo>
                    <a:lnTo>
                      <a:pt x="936" y="743"/>
                    </a:lnTo>
                    <a:lnTo>
                      <a:pt x="917" y="751"/>
                    </a:lnTo>
                    <a:lnTo>
                      <a:pt x="914" y="761"/>
                    </a:lnTo>
                    <a:lnTo>
                      <a:pt x="901" y="761"/>
                    </a:lnTo>
                    <a:lnTo>
                      <a:pt x="895" y="757"/>
                    </a:lnTo>
                    <a:lnTo>
                      <a:pt x="893" y="767"/>
                    </a:lnTo>
                    <a:lnTo>
                      <a:pt x="887" y="770"/>
                    </a:lnTo>
                    <a:lnTo>
                      <a:pt x="885" y="774"/>
                    </a:lnTo>
                    <a:lnTo>
                      <a:pt x="876" y="769"/>
                    </a:lnTo>
                    <a:lnTo>
                      <a:pt x="861" y="775"/>
                    </a:lnTo>
                    <a:lnTo>
                      <a:pt x="836" y="769"/>
                    </a:lnTo>
                    <a:lnTo>
                      <a:pt x="831" y="761"/>
                    </a:lnTo>
                    <a:lnTo>
                      <a:pt x="814" y="756"/>
                    </a:lnTo>
                    <a:lnTo>
                      <a:pt x="809" y="749"/>
                    </a:lnTo>
                    <a:lnTo>
                      <a:pt x="800" y="749"/>
                    </a:lnTo>
                    <a:lnTo>
                      <a:pt x="795" y="758"/>
                    </a:lnTo>
                    <a:lnTo>
                      <a:pt x="771" y="754"/>
                    </a:lnTo>
                    <a:lnTo>
                      <a:pt x="758" y="749"/>
                    </a:lnTo>
                    <a:lnTo>
                      <a:pt x="757" y="742"/>
                    </a:lnTo>
                    <a:lnTo>
                      <a:pt x="773" y="726"/>
                    </a:lnTo>
                    <a:lnTo>
                      <a:pt x="768" y="720"/>
                    </a:lnTo>
                    <a:lnTo>
                      <a:pt x="758" y="724"/>
                    </a:lnTo>
                    <a:lnTo>
                      <a:pt x="742" y="722"/>
                    </a:lnTo>
                    <a:lnTo>
                      <a:pt x="740" y="715"/>
                    </a:lnTo>
                    <a:lnTo>
                      <a:pt x="726" y="711"/>
                    </a:lnTo>
                    <a:lnTo>
                      <a:pt x="721" y="714"/>
                    </a:lnTo>
                    <a:lnTo>
                      <a:pt x="697" y="710"/>
                    </a:lnTo>
                    <a:lnTo>
                      <a:pt x="696" y="700"/>
                    </a:lnTo>
                    <a:lnTo>
                      <a:pt x="699" y="693"/>
                    </a:lnTo>
                    <a:lnTo>
                      <a:pt x="697" y="677"/>
                    </a:lnTo>
                    <a:lnTo>
                      <a:pt x="693" y="666"/>
                    </a:lnTo>
                    <a:lnTo>
                      <a:pt x="682" y="662"/>
                    </a:lnTo>
                    <a:lnTo>
                      <a:pt x="678" y="670"/>
                    </a:lnTo>
                    <a:lnTo>
                      <a:pt x="673" y="678"/>
                    </a:lnTo>
                    <a:lnTo>
                      <a:pt x="660" y="684"/>
                    </a:lnTo>
                    <a:lnTo>
                      <a:pt x="665" y="702"/>
                    </a:lnTo>
                    <a:lnTo>
                      <a:pt x="665" y="710"/>
                    </a:lnTo>
                    <a:lnTo>
                      <a:pt x="655" y="718"/>
                    </a:lnTo>
                    <a:lnTo>
                      <a:pt x="639" y="741"/>
                    </a:lnTo>
                    <a:lnTo>
                      <a:pt x="612" y="748"/>
                    </a:lnTo>
                    <a:lnTo>
                      <a:pt x="572" y="748"/>
                    </a:lnTo>
                    <a:lnTo>
                      <a:pt x="578" y="753"/>
                    </a:lnTo>
                    <a:lnTo>
                      <a:pt x="567" y="770"/>
                    </a:lnTo>
                    <a:lnTo>
                      <a:pt x="552" y="781"/>
                    </a:lnTo>
                    <a:lnTo>
                      <a:pt x="535" y="788"/>
                    </a:lnTo>
                    <a:lnTo>
                      <a:pt x="521" y="796"/>
                    </a:lnTo>
                    <a:lnTo>
                      <a:pt x="503" y="799"/>
                    </a:lnTo>
                    <a:lnTo>
                      <a:pt x="495" y="795"/>
                    </a:lnTo>
                    <a:lnTo>
                      <a:pt x="482" y="801"/>
                    </a:lnTo>
                    <a:lnTo>
                      <a:pt x="467" y="797"/>
                    </a:lnTo>
                    <a:lnTo>
                      <a:pt x="460" y="802"/>
                    </a:lnTo>
                    <a:lnTo>
                      <a:pt x="455" y="796"/>
                    </a:lnTo>
                    <a:lnTo>
                      <a:pt x="440" y="802"/>
                    </a:lnTo>
                    <a:lnTo>
                      <a:pt x="425" y="805"/>
                    </a:lnTo>
                    <a:lnTo>
                      <a:pt x="423" y="807"/>
                    </a:lnTo>
                    <a:lnTo>
                      <a:pt x="430" y="807"/>
                    </a:lnTo>
                    <a:lnTo>
                      <a:pt x="429" y="812"/>
                    </a:lnTo>
                    <a:lnTo>
                      <a:pt x="415" y="812"/>
                    </a:lnTo>
                    <a:lnTo>
                      <a:pt x="393" y="818"/>
                    </a:lnTo>
                    <a:lnTo>
                      <a:pt x="387" y="815"/>
                    </a:lnTo>
                    <a:lnTo>
                      <a:pt x="369" y="815"/>
                    </a:lnTo>
                    <a:lnTo>
                      <a:pt x="320" y="819"/>
                    </a:lnTo>
                    <a:lnTo>
                      <a:pt x="321" y="816"/>
                    </a:lnTo>
                    <a:lnTo>
                      <a:pt x="332" y="807"/>
                    </a:lnTo>
                    <a:lnTo>
                      <a:pt x="314" y="796"/>
                    </a:lnTo>
                    <a:lnTo>
                      <a:pt x="305" y="783"/>
                    </a:lnTo>
                    <a:lnTo>
                      <a:pt x="301" y="770"/>
                    </a:lnTo>
                    <a:lnTo>
                      <a:pt x="296" y="758"/>
                    </a:lnTo>
                    <a:lnTo>
                      <a:pt x="296" y="743"/>
                    </a:lnTo>
                    <a:lnTo>
                      <a:pt x="300" y="732"/>
                    </a:lnTo>
                    <a:lnTo>
                      <a:pt x="300" y="729"/>
                    </a:lnTo>
                    <a:lnTo>
                      <a:pt x="291" y="724"/>
                    </a:lnTo>
                    <a:lnTo>
                      <a:pt x="290" y="719"/>
                    </a:lnTo>
                    <a:lnTo>
                      <a:pt x="287" y="713"/>
                    </a:lnTo>
                    <a:lnTo>
                      <a:pt x="277" y="706"/>
                    </a:lnTo>
                    <a:lnTo>
                      <a:pt x="277" y="702"/>
                    </a:lnTo>
                    <a:lnTo>
                      <a:pt x="259" y="697"/>
                    </a:lnTo>
                    <a:lnTo>
                      <a:pt x="230" y="69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28" name="Freeform 290"/>
              <p:cNvSpPr>
                <a:spLocks noChangeAspect="1"/>
              </p:cNvSpPr>
              <p:nvPr/>
            </p:nvSpPr>
            <p:spPr bwMode="gray">
              <a:xfrm>
                <a:off x="1342" y="1267"/>
                <a:ext cx="27" cy="34"/>
              </a:xfrm>
              <a:custGeom>
                <a:avLst/>
                <a:gdLst/>
                <a:ahLst/>
                <a:cxnLst>
                  <a:cxn ang="0">
                    <a:pos x="114" y="130"/>
                  </a:cxn>
                  <a:cxn ang="0">
                    <a:pos x="114" y="121"/>
                  </a:cxn>
                  <a:cxn ang="0">
                    <a:pos x="118" y="111"/>
                  </a:cxn>
                  <a:cxn ang="0">
                    <a:pos x="127" y="95"/>
                  </a:cxn>
                  <a:cxn ang="0">
                    <a:pos x="132" y="76"/>
                  </a:cxn>
                  <a:cxn ang="0">
                    <a:pos x="135" y="59"/>
                  </a:cxn>
                  <a:cxn ang="0">
                    <a:pos x="135" y="46"/>
                  </a:cxn>
                  <a:cxn ang="0">
                    <a:pos x="137" y="39"/>
                  </a:cxn>
                  <a:cxn ang="0">
                    <a:pos x="134" y="29"/>
                  </a:cxn>
                  <a:cxn ang="0">
                    <a:pos x="126" y="28"/>
                  </a:cxn>
                  <a:cxn ang="0">
                    <a:pos x="120" y="16"/>
                  </a:cxn>
                  <a:cxn ang="0">
                    <a:pos x="99" y="2"/>
                  </a:cxn>
                  <a:cxn ang="0">
                    <a:pos x="88" y="0"/>
                  </a:cxn>
                  <a:cxn ang="0">
                    <a:pos x="69" y="6"/>
                  </a:cxn>
                  <a:cxn ang="0">
                    <a:pos x="34" y="6"/>
                  </a:cxn>
                  <a:cxn ang="0">
                    <a:pos x="23" y="12"/>
                  </a:cxn>
                  <a:cxn ang="0">
                    <a:pos x="13" y="32"/>
                  </a:cxn>
                  <a:cxn ang="0">
                    <a:pos x="2" y="48"/>
                  </a:cxn>
                  <a:cxn ang="0">
                    <a:pos x="0" y="57"/>
                  </a:cxn>
                  <a:cxn ang="0">
                    <a:pos x="26" y="71"/>
                  </a:cxn>
                  <a:cxn ang="0">
                    <a:pos x="32" y="81"/>
                  </a:cxn>
                  <a:cxn ang="0">
                    <a:pos x="44" y="92"/>
                  </a:cxn>
                  <a:cxn ang="0">
                    <a:pos x="54" y="109"/>
                  </a:cxn>
                  <a:cxn ang="0">
                    <a:pos x="60" y="115"/>
                  </a:cxn>
                  <a:cxn ang="0">
                    <a:pos x="71" y="132"/>
                  </a:cxn>
                  <a:cxn ang="0">
                    <a:pos x="72" y="141"/>
                  </a:cxn>
                  <a:cxn ang="0">
                    <a:pos x="93" y="167"/>
                  </a:cxn>
                  <a:cxn ang="0">
                    <a:pos x="96" y="163"/>
                  </a:cxn>
                  <a:cxn ang="0">
                    <a:pos x="96" y="158"/>
                  </a:cxn>
                  <a:cxn ang="0">
                    <a:pos x="100" y="158"/>
                  </a:cxn>
                  <a:cxn ang="0">
                    <a:pos x="110" y="145"/>
                  </a:cxn>
                  <a:cxn ang="0">
                    <a:pos x="114" y="136"/>
                  </a:cxn>
                  <a:cxn ang="0">
                    <a:pos x="114" y="130"/>
                  </a:cxn>
                </a:cxnLst>
                <a:rect l="0" t="0" r="r" b="b"/>
                <a:pathLst>
                  <a:path w="137" h="167">
                    <a:moveTo>
                      <a:pt x="114" y="130"/>
                    </a:moveTo>
                    <a:lnTo>
                      <a:pt x="114" y="121"/>
                    </a:lnTo>
                    <a:lnTo>
                      <a:pt x="118" y="111"/>
                    </a:lnTo>
                    <a:lnTo>
                      <a:pt x="127" y="95"/>
                    </a:lnTo>
                    <a:lnTo>
                      <a:pt x="132" y="76"/>
                    </a:lnTo>
                    <a:lnTo>
                      <a:pt x="135" y="59"/>
                    </a:lnTo>
                    <a:lnTo>
                      <a:pt x="135" y="46"/>
                    </a:lnTo>
                    <a:lnTo>
                      <a:pt x="137" y="39"/>
                    </a:lnTo>
                    <a:lnTo>
                      <a:pt x="134" y="29"/>
                    </a:lnTo>
                    <a:lnTo>
                      <a:pt x="126" y="28"/>
                    </a:lnTo>
                    <a:lnTo>
                      <a:pt x="120" y="16"/>
                    </a:lnTo>
                    <a:lnTo>
                      <a:pt x="99" y="2"/>
                    </a:lnTo>
                    <a:lnTo>
                      <a:pt x="88" y="0"/>
                    </a:lnTo>
                    <a:lnTo>
                      <a:pt x="69" y="6"/>
                    </a:lnTo>
                    <a:lnTo>
                      <a:pt x="34" y="6"/>
                    </a:lnTo>
                    <a:lnTo>
                      <a:pt x="23" y="12"/>
                    </a:lnTo>
                    <a:lnTo>
                      <a:pt x="13" y="32"/>
                    </a:lnTo>
                    <a:lnTo>
                      <a:pt x="2" y="48"/>
                    </a:lnTo>
                    <a:lnTo>
                      <a:pt x="0" y="57"/>
                    </a:lnTo>
                    <a:lnTo>
                      <a:pt x="26" y="71"/>
                    </a:lnTo>
                    <a:lnTo>
                      <a:pt x="32" y="81"/>
                    </a:lnTo>
                    <a:lnTo>
                      <a:pt x="44" y="92"/>
                    </a:lnTo>
                    <a:lnTo>
                      <a:pt x="54" y="109"/>
                    </a:lnTo>
                    <a:lnTo>
                      <a:pt x="60" y="115"/>
                    </a:lnTo>
                    <a:lnTo>
                      <a:pt x="71" y="132"/>
                    </a:lnTo>
                    <a:lnTo>
                      <a:pt x="72" y="141"/>
                    </a:lnTo>
                    <a:lnTo>
                      <a:pt x="93" y="167"/>
                    </a:lnTo>
                    <a:lnTo>
                      <a:pt x="96" y="163"/>
                    </a:lnTo>
                    <a:lnTo>
                      <a:pt x="96" y="158"/>
                    </a:lnTo>
                    <a:lnTo>
                      <a:pt x="100" y="158"/>
                    </a:lnTo>
                    <a:lnTo>
                      <a:pt x="110" y="145"/>
                    </a:lnTo>
                    <a:lnTo>
                      <a:pt x="114" y="136"/>
                    </a:lnTo>
                    <a:lnTo>
                      <a:pt x="114" y="13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29" name="Freeform 291"/>
              <p:cNvSpPr>
                <a:spLocks noChangeAspect="1"/>
              </p:cNvSpPr>
              <p:nvPr/>
            </p:nvSpPr>
            <p:spPr bwMode="gray">
              <a:xfrm>
                <a:off x="1392" y="1262"/>
                <a:ext cx="67" cy="97"/>
              </a:xfrm>
              <a:custGeom>
                <a:avLst/>
                <a:gdLst/>
                <a:ahLst/>
                <a:cxnLst>
                  <a:cxn ang="0">
                    <a:pos x="124" y="351"/>
                  </a:cxn>
                  <a:cxn ang="0">
                    <a:pos x="109" y="334"/>
                  </a:cxn>
                  <a:cxn ang="0">
                    <a:pos x="87" y="317"/>
                  </a:cxn>
                  <a:cxn ang="0">
                    <a:pos x="55" y="322"/>
                  </a:cxn>
                  <a:cxn ang="0">
                    <a:pos x="40" y="291"/>
                  </a:cxn>
                  <a:cxn ang="0">
                    <a:pos x="1" y="245"/>
                  </a:cxn>
                  <a:cxn ang="0">
                    <a:pos x="6" y="189"/>
                  </a:cxn>
                  <a:cxn ang="0">
                    <a:pos x="35" y="189"/>
                  </a:cxn>
                  <a:cxn ang="0">
                    <a:pos x="42" y="202"/>
                  </a:cxn>
                  <a:cxn ang="0">
                    <a:pos x="64" y="217"/>
                  </a:cxn>
                  <a:cxn ang="0">
                    <a:pos x="71" y="244"/>
                  </a:cxn>
                  <a:cxn ang="0">
                    <a:pos x="99" y="236"/>
                  </a:cxn>
                  <a:cxn ang="0">
                    <a:pos x="124" y="223"/>
                  </a:cxn>
                  <a:cxn ang="0">
                    <a:pos x="120" y="196"/>
                  </a:cxn>
                  <a:cxn ang="0">
                    <a:pos x="132" y="190"/>
                  </a:cxn>
                  <a:cxn ang="0">
                    <a:pos x="116" y="171"/>
                  </a:cxn>
                  <a:cxn ang="0">
                    <a:pos x="110" y="144"/>
                  </a:cxn>
                  <a:cxn ang="0">
                    <a:pos x="137" y="151"/>
                  </a:cxn>
                  <a:cxn ang="0">
                    <a:pos x="114" y="119"/>
                  </a:cxn>
                  <a:cxn ang="0">
                    <a:pos x="93" y="134"/>
                  </a:cxn>
                  <a:cxn ang="0">
                    <a:pos x="61" y="105"/>
                  </a:cxn>
                  <a:cxn ang="0">
                    <a:pos x="80" y="78"/>
                  </a:cxn>
                  <a:cxn ang="0">
                    <a:pos x="99" y="98"/>
                  </a:cxn>
                  <a:cxn ang="0">
                    <a:pos x="98" y="71"/>
                  </a:cxn>
                  <a:cxn ang="0">
                    <a:pos x="71" y="59"/>
                  </a:cxn>
                  <a:cxn ang="0">
                    <a:pos x="96" y="21"/>
                  </a:cxn>
                  <a:cxn ang="0">
                    <a:pos x="124" y="39"/>
                  </a:cxn>
                  <a:cxn ang="0">
                    <a:pos x="113" y="19"/>
                  </a:cxn>
                  <a:cxn ang="0">
                    <a:pos x="129" y="0"/>
                  </a:cxn>
                  <a:cxn ang="0">
                    <a:pos x="152" y="22"/>
                  </a:cxn>
                  <a:cxn ang="0">
                    <a:pos x="188" y="34"/>
                  </a:cxn>
                  <a:cxn ang="0">
                    <a:pos x="248" y="8"/>
                  </a:cxn>
                  <a:cxn ang="0">
                    <a:pos x="288" y="26"/>
                  </a:cxn>
                  <a:cxn ang="0">
                    <a:pos x="284" y="66"/>
                  </a:cxn>
                  <a:cxn ang="0">
                    <a:pos x="270" y="76"/>
                  </a:cxn>
                  <a:cxn ang="0">
                    <a:pos x="282" y="112"/>
                  </a:cxn>
                  <a:cxn ang="0">
                    <a:pos x="250" y="130"/>
                  </a:cxn>
                  <a:cxn ang="0">
                    <a:pos x="228" y="164"/>
                  </a:cxn>
                  <a:cxn ang="0">
                    <a:pos x="220" y="195"/>
                  </a:cxn>
                  <a:cxn ang="0">
                    <a:pos x="265" y="173"/>
                  </a:cxn>
                  <a:cxn ang="0">
                    <a:pos x="282" y="204"/>
                  </a:cxn>
                  <a:cxn ang="0">
                    <a:pos x="293" y="222"/>
                  </a:cxn>
                  <a:cxn ang="0">
                    <a:pos x="290" y="248"/>
                  </a:cxn>
                  <a:cxn ang="0">
                    <a:pos x="315" y="222"/>
                  </a:cxn>
                  <a:cxn ang="0">
                    <a:pos x="324" y="247"/>
                  </a:cxn>
                  <a:cxn ang="0">
                    <a:pos x="329" y="288"/>
                  </a:cxn>
                  <a:cxn ang="0">
                    <a:pos x="320" y="313"/>
                  </a:cxn>
                  <a:cxn ang="0">
                    <a:pos x="323" y="344"/>
                  </a:cxn>
                  <a:cxn ang="0">
                    <a:pos x="325" y="360"/>
                  </a:cxn>
                  <a:cxn ang="0">
                    <a:pos x="322" y="389"/>
                  </a:cxn>
                  <a:cxn ang="0">
                    <a:pos x="303" y="410"/>
                  </a:cxn>
                  <a:cxn ang="0">
                    <a:pos x="249" y="426"/>
                  </a:cxn>
                  <a:cxn ang="0">
                    <a:pos x="248" y="444"/>
                  </a:cxn>
                  <a:cxn ang="0">
                    <a:pos x="229" y="475"/>
                  </a:cxn>
                  <a:cxn ang="0">
                    <a:pos x="205" y="464"/>
                  </a:cxn>
                  <a:cxn ang="0">
                    <a:pos x="187" y="473"/>
                  </a:cxn>
                  <a:cxn ang="0">
                    <a:pos x="172" y="424"/>
                  </a:cxn>
                  <a:cxn ang="0">
                    <a:pos x="144" y="384"/>
                  </a:cxn>
                </a:cxnLst>
                <a:rect l="0" t="0" r="r" b="b"/>
                <a:pathLst>
                  <a:path w="331" h="482">
                    <a:moveTo>
                      <a:pt x="137" y="376"/>
                    </a:moveTo>
                    <a:lnTo>
                      <a:pt x="132" y="371"/>
                    </a:lnTo>
                    <a:lnTo>
                      <a:pt x="124" y="351"/>
                    </a:lnTo>
                    <a:lnTo>
                      <a:pt x="123" y="344"/>
                    </a:lnTo>
                    <a:lnTo>
                      <a:pt x="116" y="336"/>
                    </a:lnTo>
                    <a:lnTo>
                      <a:pt x="109" y="334"/>
                    </a:lnTo>
                    <a:lnTo>
                      <a:pt x="99" y="341"/>
                    </a:lnTo>
                    <a:lnTo>
                      <a:pt x="94" y="328"/>
                    </a:lnTo>
                    <a:lnTo>
                      <a:pt x="87" y="317"/>
                    </a:lnTo>
                    <a:lnTo>
                      <a:pt x="81" y="317"/>
                    </a:lnTo>
                    <a:lnTo>
                      <a:pt x="78" y="325"/>
                    </a:lnTo>
                    <a:lnTo>
                      <a:pt x="55" y="322"/>
                    </a:lnTo>
                    <a:lnTo>
                      <a:pt x="51" y="307"/>
                    </a:lnTo>
                    <a:lnTo>
                      <a:pt x="42" y="297"/>
                    </a:lnTo>
                    <a:lnTo>
                      <a:pt x="40" y="291"/>
                    </a:lnTo>
                    <a:lnTo>
                      <a:pt x="22" y="275"/>
                    </a:lnTo>
                    <a:lnTo>
                      <a:pt x="18" y="268"/>
                    </a:lnTo>
                    <a:lnTo>
                      <a:pt x="1" y="245"/>
                    </a:lnTo>
                    <a:lnTo>
                      <a:pt x="0" y="227"/>
                    </a:lnTo>
                    <a:lnTo>
                      <a:pt x="2" y="205"/>
                    </a:lnTo>
                    <a:lnTo>
                      <a:pt x="6" y="189"/>
                    </a:lnTo>
                    <a:lnTo>
                      <a:pt x="15" y="182"/>
                    </a:lnTo>
                    <a:lnTo>
                      <a:pt x="28" y="179"/>
                    </a:lnTo>
                    <a:lnTo>
                      <a:pt x="35" y="189"/>
                    </a:lnTo>
                    <a:lnTo>
                      <a:pt x="43" y="194"/>
                    </a:lnTo>
                    <a:lnTo>
                      <a:pt x="44" y="195"/>
                    </a:lnTo>
                    <a:lnTo>
                      <a:pt x="42" y="202"/>
                    </a:lnTo>
                    <a:lnTo>
                      <a:pt x="48" y="209"/>
                    </a:lnTo>
                    <a:lnTo>
                      <a:pt x="59" y="212"/>
                    </a:lnTo>
                    <a:lnTo>
                      <a:pt x="64" y="217"/>
                    </a:lnTo>
                    <a:lnTo>
                      <a:pt x="65" y="228"/>
                    </a:lnTo>
                    <a:lnTo>
                      <a:pt x="69" y="236"/>
                    </a:lnTo>
                    <a:lnTo>
                      <a:pt x="71" y="244"/>
                    </a:lnTo>
                    <a:lnTo>
                      <a:pt x="89" y="245"/>
                    </a:lnTo>
                    <a:lnTo>
                      <a:pt x="97" y="241"/>
                    </a:lnTo>
                    <a:lnTo>
                      <a:pt x="99" y="236"/>
                    </a:lnTo>
                    <a:lnTo>
                      <a:pt x="105" y="238"/>
                    </a:lnTo>
                    <a:lnTo>
                      <a:pt x="113" y="236"/>
                    </a:lnTo>
                    <a:lnTo>
                      <a:pt x="124" y="223"/>
                    </a:lnTo>
                    <a:lnTo>
                      <a:pt x="119" y="214"/>
                    </a:lnTo>
                    <a:lnTo>
                      <a:pt x="116" y="196"/>
                    </a:lnTo>
                    <a:lnTo>
                      <a:pt x="120" y="196"/>
                    </a:lnTo>
                    <a:lnTo>
                      <a:pt x="128" y="206"/>
                    </a:lnTo>
                    <a:lnTo>
                      <a:pt x="132" y="204"/>
                    </a:lnTo>
                    <a:lnTo>
                      <a:pt x="132" y="190"/>
                    </a:lnTo>
                    <a:lnTo>
                      <a:pt x="129" y="183"/>
                    </a:lnTo>
                    <a:lnTo>
                      <a:pt x="119" y="182"/>
                    </a:lnTo>
                    <a:lnTo>
                      <a:pt x="116" y="171"/>
                    </a:lnTo>
                    <a:lnTo>
                      <a:pt x="112" y="168"/>
                    </a:lnTo>
                    <a:lnTo>
                      <a:pt x="112" y="155"/>
                    </a:lnTo>
                    <a:lnTo>
                      <a:pt x="110" y="144"/>
                    </a:lnTo>
                    <a:lnTo>
                      <a:pt x="112" y="140"/>
                    </a:lnTo>
                    <a:lnTo>
                      <a:pt x="121" y="137"/>
                    </a:lnTo>
                    <a:lnTo>
                      <a:pt x="137" y="151"/>
                    </a:lnTo>
                    <a:lnTo>
                      <a:pt x="140" y="146"/>
                    </a:lnTo>
                    <a:lnTo>
                      <a:pt x="118" y="113"/>
                    </a:lnTo>
                    <a:lnTo>
                      <a:pt x="114" y="119"/>
                    </a:lnTo>
                    <a:lnTo>
                      <a:pt x="113" y="128"/>
                    </a:lnTo>
                    <a:lnTo>
                      <a:pt x="104" y="131"/>
                    </a:lnTo>
                    <a:lnTo>
                      <a:pt x="93" y="134"/>
                    </a:lnTo>
                    <a:lnTo>
                      <a:pt x="77" y="123"/>
                    </a:lnTo>
                    <a:lnTo>
                      <a:pt x="69" y="107"/>
                    </a:lnTo>
                    <a:lnTo>
                      <a:pt x="61" y="105"/>
                    </a:lnTo>
                    <a:lnTo>
                      <a:pt x="59" y="89"/>
                    </a:lnTo>
                    <a:lnTo>
                      <a:pt x="60" y="78"/>
                    </a:lnTo>
                    <a:lnTo>
                      <a:pt x="80" y="78"/>
                    </a:lnTo>
                    <a:lnTo>
                      <a:pt x="87" y="85"/>
                    </a:lnTo>
                    <a:lnTo>
                      <a:pt x="89" y="92"/>
                    </a:lnTo>
                    <a:lnTo>
                      <a:pt x="99" y="98"/>
                    </a:lnTo>
                    <a:lnTo>
                      <a:pt x="102" y="92"/>
                    </a:lnTo>
                    <a:lnTo>
                      <a:pt x="98" y="80"/>
                    </a:lnTo>
                    <a:lnTo>
                      <a:pt x="98" y="71"/>
                    </a:lnTo>
                    <a:lnTo>
                      <a:pt x="85" y="67"/>
                    </a:lnTo>
                    <a:lnTo>
                      <a:pt x="80" y="59"/>
                    </a:lnTo>
                    <a:lnTo>
                      <a:pt x="71" y="59"/>
                    </a:lnTo>
                    <a:lnTo>
                      <a:pt x="66" y="45"/>
                    </a:lnTo>
                    <a:lnTo>
                      <a:pt x="77" y="32"/>
                    </a:lnTo>
                    <a:lnTo>
                      <a:pt x="96" y="21"/>
                    </a:lnTo>
                    <a:lnTo>
                      <a:pt x="101" y="28"/>
                    </a:lnTo>
                    <a:lnTo>
                      <a:pt x="114" y="32"/>
                    </a:lnTo>
                    <a:lnTo>
                      <a:pt x="124" y="39"/>
                    </a:lnTo>
                    <a:lnTo>
                      <a:pt x="126" y="32"/>
                    </a:lnTo>
                    <a:lnTo>
                      <a:pt x="126" y="24"/>
                    </a:lnTo>
                    <a:lnTo>
                      <a:pt x="113" y="19"/>
                    </a:lnTo>
                    <a:lnTo>
                      <a:pt x="109" y="12"/>
                    </a:lnTo>
                    <a:lnTo>
                      <a:pt x="119" y="5"/>
                    </a:lnTo>
                    <a:lnTo>
                      <a:pt x="129" y="0"/>
                    </a:lnTo>
                    <a:lnTo>
                      <a:pt x="135" y="5"/>
                    </a:lnTo>
                    <a:lnTo>
                      <a:pt x="144" y="21"/>
                    </a:lnTo>
                    <a:lnTo>
                      <a:pt x="152" y="22"/>
                    </a:lnTo>
                    <a:lnTo>
                      <a:pt x="164" y="32"/>
                    </a:lnTo>
                    <a:lnTo>
                      <a:pt x="175" y="37"/>
                    </a:lnTo>
                    <a:lnTo>
                      <a:pt x="188" y="34"/>
                    </a:lnTo>
                    <a:lnTo>
                      <a:pt x="193" y="38"/>
                    </a:lnTo>
                    <a:lnTo>
                      <a:pt x="217" y="31"/>
                    </a:lnTo>
                    <a:lnTo>
                      <a:pt x="248" y="8"/>
                    </a:lnTo>
                    <a:lnTo>
                      <a:pt x="274" y="1"/>
                    </a:lnTo>
                    <a:lnTo>
                      <a:pt x="276" y="8"/>
                    </a:lnTo>
                    <a:lnTo>
                      <a:pt x="288" y="26"/>
                    </a:lnTo>
                    <a:lnTo>
                      <a:pt x="295" y="28"/>
                    </a:lnTo>
                    <a:lnTo>
                      <a:pt x="293" y="51"/>
                    </a:lnTo>
                    <a:lnTo>
                      <a:pt x="284" y="66"/>
                    </a:lnTo>
                    <a:lnTo>
                      <a:pt x="270" y="69"/>
                    </a:lnTo>
                    <a:lnTo>
                      <a:pt x="266" y="75"/>
                    </a:lnTo>
                    <a:lnTo>
                      <a:pt x="270" y="76"/>
                    </a:lnTo>
                    <a:lnTo>
                      <a:pt x="281" y="86"/>
                    </a:lnTo>
                    <a:lnTo>
                      <a:pt x="284" y="94"/>
                    </a:lnTo>
                    <a:lnTo>
                      <a:pt x="282" y="112"/>
                    </a:lnTo>
                    <a:lnTo>
                      <a:pt x="279" y="108"/>
                    </a:lnTo>
                    <a:lnTo>
                      <a:pt x="268" y="112"/>
                    </a:lnTo>
                    <a:lnTo>
                      <a:pt x="250" y="130"/>
                    </a:lnTo>
                    <a:lnTo>
                      <a:pt x="241" y="148"/>
                    </a:lnTo>
                    <a:lnTo>
                      <a:pt x="233" y="155"/>
                    </a:lnTo>
                    <a:lnTo>
                      <a:pt x="228" y="164"/>
                    </a:lnTo>
                    <a:lnTo>
                      <a:pt x="221" y="172"/>
                    </a:lnTo>
                    <a:lnTo>
                      <a:pt x="220" y="184"/>
                    </a:lnTo>
                    <a:lnTo>
                      <a:pt x="220" y="195"/>
                    </a:lnTo>
                    <a:lnTo>
                      <a:pt x="242" y="172"/>
                    </a:lnTo>
                    <a:lnTo>
                      <a:pt x="257" y="167"/>
                    </a:lnTo>
                    <a:lnTo>
                      <a:pt x="265" y="173"/>
                    </a:lnTo>
                    <a:lnTo>
                      <a:pt x="280" y="189"/>
                    </a:lnTo>
                    <a:lnTo>
                      <a:pt x="279" y="201"/>
                    </a:lnTo>
                    <a:lnTo>
                      <a:pt x="282" y="204"/>
                    </a:lnTo>
                    <a:lnTo>
                      <a:pt x="285" y="215"/>
                    </a:lnTo>
                    <a:lnTo>
                      <a:pt x="290" y="216"/>
                    </a:lnTo>
                    <a:lnTo>
                      <a:pt x="293" y="222"/>
                    </a:lnTo>
                    <a:lnTo>
                      <a:pt x="295" y="228"/>
                    </a:lnTo>
                    <a:lnTo>
                      <a:pt x="290" y="238"/>
                    </a:lnTo>
                    <a:lnTo>
                      <a:pt x="290" y="248"/>
                    </a:lnTo>
                    <a:lnTo>
                      <a:pt x="303" y="236"/>
                    </a:lnTo>
                    <a:lnTo>
                      <a:pt x="314" y="234"/>
                    </a:lnTo>
                    <a:lnTo>
                      <a:pt x="315" y="222"/>
                    </a:lnTo>
                    <a:lnTo>
                      <a:pt x="322" y="232"/>
                    </a:lnTo>
                    <a:lnTo>
                      <a:pt x="322" y="242"/>
                    </a:lnTo>
                    <a:lnTo>
                      <a:pt x="324" y="247"/>
                    </a:lnTo>
                    <a:lnTo>
                      <a:pt x="331" y="274"/>
                    </a:lnTo>
                    <a:lnTo>
                      <a:pt x="331" y="282"/>
                    </a:lnTo>
                    <a:lnTo>
                      <a:pt x="329" y="288"/>
                    </a:lnTo>
                    <a:lnTo>
                      <a:pt x="319" y="300"/>
                    </a:lnTo>
                    <a:lnTo>
                      <a:pt x="314" y="301"/>
                    </a:lnTo>
                    <a:lnTo>
                      <a:pt x="320" y="313"/>
                    </a:lnTo>
                    <a:lnTo>
                      <a:pt x="323" y="322"/>
                    </a:lnTo>
                    <a:lnTo>
                      <a:pt x="324" y="338"/>
                    </a:lnTo>
                    <a:lnTo>
                      <a:pt x="323" y="344"/>
                    </a:lnTo>
                    <a:lnTo>
                      <a:pt x="315" y="355"/>
                    </a:lnTo>
                    <a:lnTo>
                      <a:pt x="323" y="354"/>
                    </a:lnTo>
                    <a:lnTo>
                      <a:pt x="325" y="360"/>
                    </a:lnTo>
                    <a:lnTo>
                      <a:pt x="327" y="373"/>
                    </a:lnTo>
                    <a:lnTo>
                      <a:pt x="327" y="385"/>
                    </a:lnTo>
                    <a:lnTo>
                      <a:pt x="322" y="389"/>
                    </a:lnTo>
                    <a:lnTo>
                      <a:pt x="318" y="384"/>
                    </a:lnTo>
                    <a:lnTo>
                      <a:pt x="307" y="393"/>
                    </a:lnTo>
                    <a:lnTo>
                      <a:pt x="303" y="410"/>
                    </a:lnTo>
                    <a:lnTo>
                      <a:pt x="280" y="428"/>
                    </a:lnTo>
                    <a:lnTo>
                      <a:pt x="266" y="422"/>
                    </a:lnTo>
                    <a:lnTo>
                      <a:pt x="249" y="426"/>
                    </a:lnTo>
                    <a:lnTo>
                      <a:pt x="238" y="422"/>
                    </a:lnTo>
                    <a:lnTo>
                      <a:pt x="236" y="428"/>
                    </a:lnTo>
                    <a:lnTo>
                      <a:pt x="248" y="444"/>
                    </a:lnTo>
                    <a:lnTo>
                      <a:pt x="248" y="454"/>
                    </a:lnTo>
                    <a:lnTo>
                      <a:pt x="231" y="467"/>
                    </a:lnTo>
                    <a:lnTo>
                      <a:pt x="229" y="475"/>
                    </a:lnTo>
                    <a:lnTo>
                      <a:pt x="221" y="483"/>
                    </a:lnTo>
                    <a:lnTo>
                      <a:pt x="212" y="484"/>
                    </a:lnTo>
                    <a:lnTo>
                      <a:pt x="205" y="464"/>
                    </a:lnTo>
                    <a:lnTo>
                      <a:pt x="199" y="465"/>
                    </a:lnTo>
                    <a:lnTo>
                      <a:pt x="195" y="473"/>
                    </a:lnTo>
                    <a:lnTo>
                      <a:pt x="187" y="473"/>
                    </a:lnTo>
                    <a:lnTo>
                      <a:pt x="182" y="454"/>
                    </a:lnTo>
                    <a:lnTo>
                      <a:pt x="178" y="431"/>
                    </a:lnTo>
                    <a:lnTo>
                      <a:pt x="172" y="424"/>
                    </a:lnTo>
                    <a:lnTo>
                      <a:pt x="167" y="406"/>
                    </a:lnTo>
                    <a:lnTo>
                      <a:pt x="158" y="394"/>
                    </a:lnTo>
                    <a:lnTo>
                      <a:pt x="144" y="384"/>
                    </a:lnTo>
                    <a:lnTo>
                      <a:pt x="137" y="37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30" name="Freeform 292"/>
              <p:cNvSpPr>
                <a:spLocks noChangeAspect="1"/>
              </p:cNvSpPr>
              <p:nvPr/>
            </p:nvSpPr>
            <p:spPr bwMode="gray">
              <a:xfrm>
                <a:off x="1388" y="1141"/>
                <a:ext cx="59" cy="76"/>
              </a:xfrm>
              <a:custGeom>
                <a:avLst/>
                <a:gdLst/>
                <a:ahLst/>
                <a:cxnLst>
                  <a:cxn ang="0">
                    <a:pos x="281" y="171"/>
                  </a:cxn>
                  <a:cxn ang="0">
                    <a:pos x="266" y="206"/>
                  </a:cxn>
                  <a:cxn ang="0">
                    <a:pos x="291" y="237"/>
                  </a:cxn>
                  <a:cxn ang="0">
                    <a:pos x="279" y="244"/>
                  </a:cxn>
                  <a:cxn ang="0">
                    <a:pos x="260" y="249"/>
                  </a:cxn>
                  <a:cxn ang="0">
                    <a:pos x="265" y="259"/>
                  </a:cxn>
                  <a:cxn ang="0">
                    <a:pos x="259" y="280"/>
                  </a:cxn>
                  <a:cxn ang="0">
                    <a:pos x="253" y="286"/>
                  </a:cxn>
                  <a:cxn ang="0">
                    <a:pos x="271" y="338"/>
                  </a:cxn>
                  <a:cxn ang="0">
                    <a:pos x="258" y="334"/>
                  </a:cxn>
                  <a:cxn ang="0">
                    <a:pos x="250" y="345"/>
                  </a:cxn>
                  <a:cxn ang="0">
                    <a:pos x="230" y="372"/>
                  </a:cxn>
                  <a:cxn ang="0">
                    <a:pos x="208" y="370"/>
                  </a:cxn>
                  <a:cxn ang="0">
                    <a:pos x="190" y="371"/>
                  </a:cxn>
                  <a:cxn ang="0">
                    <a:pos x="177" y="364"/>
                  </a:cxn>
                  <a:cxn ang="0">
                    <a:pos x="130" y="373"/>
                  </a:cxn>
                  <a:cxn ang="0">
                    <a:pos x="119" y="327"/>
                  </a:cxn>
                  <a:cxn ang="0">
                    <a:pos x="136" y="303"/>
                  </a:cxn>
                  <a:cxn ang="0">
                    <a:pos x="113" y="280"/>
                  </a:cxn>
                  <a:cxn ang="0">
                    <a:pos x="141" y="270"/>
                  </a:cxn>
                  <a:cxn ang="0">
                    <a:pos x="155" y="256"/>
                  </a:cxn>
                  <a:cxn ang="0">
                    <a:pos x="168" y="237"/>
                  </a:cxn>
                  <a:cxn ang="0">
                    <a:pos x="211" y="214"/>
                  </a:cxn>
                  <a:cxn ang="0">
                    <a:pos x="172" y="214"/>
                  </a:cxn>
                  <a:cxn ang="0">
                    <a:pos x="129" y="225"/>
                  </a:cxn>
                  <a:cxn ang="0">
                    <a:pos x="60" y="242"/>
                  </a:cxn>
                  <a:cxn ang="0">
                    <a:pos x="4" y="256"/>
                  </a:cxn>
                  <a:cxn ang="0">
                    <a:pos x="10" y="222"/>
                  </a:cxn>
                  <a:cxn ang="0">
                    <a:pos x="31" y="215"/>
                  </a:cxn>
                  <a:cxn ang="0">
                    <a:pos x="42" y="183"/>
                  </a:cxn>
                  <a:cxn ang="0">
                    <a:pos x="83" y="205"/>
                  </a:cxn>
                  <a:cxn ang="0">
                    <a:pos x="69" y="166"/>
                  </a:cxn>
                  <a:cxn ang="0">
                    <a:pos x="51" y="149"/>
                  </a:cxn>
                  <a:cxn ang="0">
                    <a:pos x="33" y="109"/>
                  </a:cxn>
                  <a:cxn ang="0">
                    <a:pos x="43" y="65"/>
                  </a:cxn>
                  <a:cxn ang="0">
                    <a:pos x="77" y="57"/>
                  </a:cxn>
                  <a:cxn ang="0">
                    <a:pos x="96" y="82"/>
                  </a:cxn>
                  <a:cxn ang="0">
                    <a:pos x="114" y="133"/>
                  </a:cxn>
                  <a:cxn ang="0">
                    <a:pos x="134" y="147"/>
                  </a:cxn>
                  <a:cxn ang="0">
                    <a:pos x="171" y="156"/>
                  </a:cxn>
                  <a:cxn ang="0">
                    <a:pos x="158" y="113"/>
                  </a:cxn>
                  <a:cxn ang="0">
                    <a:pos x="125" y="93"/>
                  </a:cxn>
                  <a:cxn ang="0">
                    <a:pos x="141" y="82"/>
                  </a:cxn>
                  <a:cxn ang="0">
                    <a:pos x="96" y="45"/>
                  </a:cxn>
                  <a:cxn ang="0">
                    <a:pos x="129" y="7"/>
                  </a:cxn>
                  <a:cxn ang="0">
                    <a:pos x="183" y="28"/>
                  </a:cxn>
                  <a:cxn ang="0">
                    <a:pos x="205" y="45"/>
                  </a:cxn>
                  <a:cxn ang="0">
                    <a:pos x="216" y="15"/>
                  </a:cxn>
                  <a:cxn ang="0">
                    <a:pos x="237" y="0"/>
                  </a:cxn>
                  <a:cxn ang="0">
                    <a:pos x="246" y="26"/>
                  </a:cxn>
                  <a:cxn ang="0">
                    <a:pos x="274" y="72"/>
                  </a:cxn>
                  <a:cxn ang="0">
                    <a:pos x="280" y="134"/>
                  </a:cxn>
                </a:cxnLst>
                <a:rect l="0" t="0" r="r" b="b"/>
                <a:pathLst>
                  <a:path w="292" h="380">
                    <a:moveTo>
                      <a:pt x="281" y="160"/>
                    </a:moveTo>
                    <a:lnTo>
                      <a:pt x="282" y="162"/>
                    </a:lnTo>
                    <a:lnTo>
                      <a:pt x="281" y="165"/>
                    </a:lnTo>
                    <a:lnTo>
                      <a:pt x="281" y="171"/>
                    </a:lnTo>
                    <a:lnTo>
                      <a:pt x="282" y="177"/>
                    </a:lnTo>
                    <a:lnTo>
                      <a:pt x="281" y="187"/>
                    </a:lnTo>
                    <a:lnTo>
                      <a:pt x="268" y="198"/>
                    </a:lnTo>
                    <a:lnTo>
                      <a:pt x="266" y="206"/>
                    </a:lnTo>
                    <a:lnTo>
                      <a:pt x="285" y="213"/>
                    </a:lnTo>
                    <a:lnTo>
                      <a:pt x="291" y="210"/>
                    </a:lnTo>
                    <a:lnTo>
                      <a:pt x="292" y="224"/>
                    </a:lnTo>
                    <a:lnTo>
                      <a:pt x="291" y="237"/>
                    </a:lnTo>
                    <a:lnTo>
                      <a:pt x="290" y="267"/>
                    </a:lnTo>
                    <a:lnTo>
                      <a:pt x="292" y="285"/>
                    </a:lnTo>
                    <a:lnTo>
                      <a:pt x="284" y="254"/>
                    </a:lnTo>
                    <a:lnTo>
                      <a:pt x="279" y="244"/>
                    </a:lnTo>
                    <a:lnTo>
                      <a:pt x="274" y="240"/>
                    </a:lnTo>
                    <a:lnTo>
                      <a:pt x="270" y="244"/>
                    </a:lnTo>
                    <a:lnTo>
                      <a:pt x="263" y="242"/>
                    </a:lnTo>
                    <a:lnTo>
                      <a:pt x="260" y="249"/>
                    </a:lnTo>
                    <a:lnTo>
                      <a:pt x="268" y="254"/>
                    </a:lnTo>
                    <a:lnTo>
                      <a:pt x="269" y="263"/>
                    </a:lnTo>
                    <a:lnTo>
                      <a:pt x="268" y="267"/>
                    </a:lnTo>
                    <a:lnTo>
                      <a:pt x="265" y="259"/>
                    </a:lnTo>
                    <a:lnTo>
                      <a:pt x="258" y="264"/>
                    </a:lnTo>
                    <a:lnTo>
                      <a:pt x="255" y="270"/>
                    </a:lnTo>
                    <a:lnTo>
                      <a:pt x="263" y="279"/>
                    </a:lnTo>
                    <a:lnTo>
                      <a:pt x="259" y="280"/>
                    </a:lnTo>
                    <a:lnTo>
                      <a:pt x="258" y="285"/>
                    </a:lnTo>
                    <a:lnTo>
                      <a:pt x="260" y="291"/>
                    </a:lnTo>
                    <a:lnTo>
                      <a:pt x="258" y="292"/>
                    </a:lnTo>
                    <a:lnTo>
                      <a:pt x="253" y="286"/>
                    </a:lnTo>
                    <a:lnTo>
                      <a:pt x="248" y="302"/>
                    </a:lnTo>
                    <a:lnTo>
                      <a:pt x="249" y="308"/>
                    </a:lnTo>
                    <a:lnTo>
                      <a:pt x="254" y="306"/>
                    </a:lnTo>
                    <a:lnTo>
                      <a:pt x="271" y="338"/>
                    </a:lnTo>
                    <a:lnTo>
                      <a:pt x="274" y="345"/>
                    </a:lnTo>
                    <a:lnTo>
                      <a:pt x="269" y="349"/>
                    </a:lnTo>
                    <a:lnTo>
                      <a:pt x="263" y="345"/>
                    </a:lnTo>
                    <a:lnTo>
                      <a:pt x="258" y="334"/>
                    </a:lnTo>
                    <a:lnTo>
                      <a:pt x="254" y="330"/>
                    </a:lnTo>
                    <a:lnTo>
                      <a:pt x="248" y="332"/>
                    </a:lnTo>
                    <a:lnTo>
                      <a:pt x="248" y="339"/>
                    </a:lnTo>
                    <a:lnTo>
                      <a:pt x="250" y="345"/>
                    </a:lnTo>
                    <a:lnTo>
                      <a:pt x="250" y="350"/>
                    </a:lnTo>
                    <a:lnTo>
                      <a:pt x="255" y="359"/>
                    </a:lnTo>
                    <a:lnTo>
                      <a:pt x="255" y="369"/>
                    </a:lnTo>
                    <a:lnTo>
                      <a:pt x="230" y="372"/>
                    </a:lnTo>
                    <a:lnTo>
                      <a:pt x="228" y="365"/>
                    </a:lnTo>
                    <a:lnTo>
                      <a:pt x="219" y="375"/>
                    </a:lnTo>
                    <a:lnTo>
                      <a:pt x="211" y="375"/>
                    </a:lnTo>
                    <a:lnTo>
                      <a:pt x="208" y="370"/>
                    </a:lnTo>
                    <a:lnTo>
                      <a:pt x="209" y="360"/>
                    </a:lnTo>
                    <a:lnTo>
                      <a:pt x="203" y="364"/>
                    </a:lnTo>
                    <a:lnTo>
                      <a:pt x="201" y="373"/>
                    </a:lnTo>
                    <a:lnTo>
                      <a:pt x="190" y="371"/>
                    </a:lnTo>
                    <a:lnTo>
                      <a:pt x="190" y="360"/>
                    </a:lnTo>
                    <a:lnTo>
                      <a:pt x="188" y="369"/>
                    </a:lnTo>
                    <a:lnTo>
                      <a:pt x="180" y="372"/>
                    </a:lnTo>
                    <a:lnTo>
                      <a:pt x="177" y="364"/>
                    </a:lnTo>
                    <a:lnTo>
                      <a:pt x="179" y="354"/>
                    </a:lnTo>
                    <a:lnTo>
                      <a:pt x="167" y="380"/>
                    </a:lnTo>
                    <a:lnTo>
                      <a:pt x="144" y="380"/>
                    </a:lnTo>
                    <a:lnTo>
                      <a:pt x="130" y="373"/>
                    </a:lnTo>
                    <a:lnTo>
                      <a:pt x="123" y="365"/>
                    </a:lnTo>
                    <a:lnTo>
                      <a:pt x="122" y="339"/>
                    </a:lnTo>
                    <a:lnTo>
                      <a:pt x="118" y="332"/>
                    </a:lnTo>
                    <a:lnTo>
                      <a:pt x="119" y="327"/>
                    </a:lnTo>
                    <a:lnTo>
                      <a:pt x="142" y="327"/>
                    </a:lnTo>
                    <a:lnTo>
                      <a:pt x="147" y="322"/>
                    </a:lnTo>
                    <a:lnTo>
                      <a:pt x="131" y="319"/>
                    </a:lnTo>
                    <a:lnTo>
                      <a:pt x="136" y="303"/>
                    </a:lnTo>
                    <a:lnTo>
                      <a:pt x="119" y="310"/>
                    </a:lnTo>
                    <a:lnTo>
                      <a:pt x="115" y="300"/>
                    </a:lnTo>
                    <a:lnTo>
                      <a:pt x="128" y="291"/>
                    </a:lnTo>
                    <a:lnTo>
                      <a:pt x="113" y="280"/>
                    </a:lnTo>
                    <a:lnTo>
                      <a:pt x="131" y="276"/>
                    </a:lnTo>
                    <a:lnTo>
                      <a:pt x="141" y="279"/>
                    </a:lnTo>
                    <a:lnTo>
                      <a:pt x="145" y="273"/>
                    </a:lnTo>
                    <a:lnTo>
                      <a:pt x="141" y="270"/>
                    </a:lnTo>
                    <a:lnTo>
                      <a:pt x="162" y="268"/>
                    </a:lnTo>
                    <a:lnTo>
                      <a:pt x="163" y="262"/>
                    </a:lnTo>
                    <a:lnTo>
                      <a:pt x="141" y="265"/>
                    </a:lnTo>
                    <a:lnTo>
                      <a:pt x="155" y="256"/>
                    </a:lnTo>
                    <a:lnTo>
                      <a:pt x="152" y="252"/>
                    </a:lnTo>
                    <a:lnTo>
                      <a:pt x="156" y="247"/>
                    </a:lnTo>
                    <a:lnTo>
                      <a:pt x="169" y="242"/>
                    </a:lnTo>
                    <a:lnTo>
                      <a:pt x="168" y="237"/>
                    </a:lnTo>
                    <a:lnTo>
                      <a:pt x="163" y="232"/>
                    </a:lnTo>
                    <a:lnTo>
                      <a:pt x="166" y="225"/>
                    </a:lnTo>
                    <a:lnTo>
                      <a:pt x="204" y="219"/>
                    </a:lnTo>
                    <a:lnTo>
                      <a:pt x="211" y="214"/>
                    </a:lnTo>
                    <a:lnTo>
                      <a:pt x="210" y="209"/>
                    </a:lnTo>
                    <a:lnTo>
                      <a:pt x="203" y="214"/>
                    </a:lnTo>
                    <a:lnTo>
                      <a:pt x="174" y="216"/>
                    </a:lnTo>
                    <a:lnTo>
                      <a:pt x="172" y="214"/>
                    </a:lnTo>
                    <a:lnTo>
                      <a:pt x="163" y="220"/>
                    </a:lnTo>
                    <a:lnTo>
                      <a:pt x="153" y="219"/>
                    </a:lnTo>
                    <a:lnTo>
                      <a:pt x="135" y="227"/>
                    </a:lnTo>
                    <a:lnTo>
                      <a:pt x="129" y="225"/>
                    </a:lnTo>
                    <a:lnTo>
                      <a:pt x="92" y="241"/>
                    </a:lnTo>
                    <a:lnTo>
                      <a:pt x="72" y="240"/>
                    </a:lnTo>
                    <a:lnTo>
                      <a:pt x="67" y="248"/>
                    </a:lnTo>
                    <a:lnTo>
                      <a:pt x="60" y="242"/>
                    </a:lnTo>
                    <a:lnTo>
                      <a:pt x="50" y="252"/>
                    </a:lnTo>
                    <a:lnTo>
                      <a:pt x="26" y="254"/>
                    </a:lnTo>
                    <a:lnTo>
                      <a:pt x="17" y="263"/>
                    </a:lnTo>
                    <a:lnTo>
                      <a:pt x="4" y="256"/>
                    </a:lnTo>
                    <a:lnTo>
                      <a:pt x="0" y="242"/>
                    </a:lnTo>
                    <a:lnTo>
                      <a:pt x="8" y="240"/>
                    </a:lnTo>
                    <a:lnTo>
                      <a:pt x="7" y="232"/>
                    </a:lnTo>
                    <a:lnTo>
                      <a:pt x="10" y="222"/>
                    </a:lnTo>
                    <a:lnTo>
                      <a:pt x="18" y="220"/>
                    </a:lnTo>
                    <a:lnTo>
                      <a:pt x="39" y="227"/>
                    </a:lnTo>
                    <a:lnTo>
                      <a:pt x="37" y="219"/>
                    </a:lnTo>
                    <a:lnTo>
                      <a:pt x="31" y="215"/>
                    </a:lnTo>
                    <a:lnTo>
                      <a:pt x="33" y="206"/>
                    </a:lnTo>
                    <a:lnTo>
                      <a:pt x="27" y="206"/>
                    </a:lnTo>
                    <a:lnTo>
                      <a:pt x="28" y="193"/>
                    </a:lnTo>
                    <a:lnTo>
                      <a:pt x="42" y="183"/>
                    </a:lnTo>
                    <a:lnTo>
                      <a:pt x="49" y="183"/>
                    </a:lnTo>
                    <a:lnTo>
                      <a:pt x="67" y="198"/>
                    </a:lnTo>
                    <a:lnTo>
                      <a:pt x="71" y="209"/>
                    </a:lnTo>
                    <a:lnTo>
                      <a:pt x="83" y="205"/>
                    </a:lnTo>
                    <a:lnTo>
                      <a:pt x="82" y="195"/>
                    </a:lnTo>
                    <a:lnTo>
                      <a:pt x="81" y="187"/>
                    </a:lnTo>
                    <a:lnTo>
                      <a:pt x="65" y="176"/>
                    </a:lnTo>
                    <a:lnTo>
                      <a:pt x="69" y="166"/>
                    </a:lnTo>
                    <a:lnTo>
                      <a:pt x="77" y="156"/>
                    </a:lnTo>
                    <a:lnTo>
                      <a:pt x="77" y="150"/>
                    </a:lnTo>
                    <a:lnTo>
                      <a:pt x="53" y="161"/>
                    </a:lnTo>
                    <a:lnTo>
                      <a:pt x="51" y="149"/>
                    </a:lnTo>
                    <a:lnTo>
                      <a:pt x="44" y="136"/>
                    </a:lnTo>
                    <a:lnTo>
                      <a:pt x="44" y="122"/>
                    </a:lnTo>
                    <a:lnTo>
                      <a:pt x="48" y="109"/>
                    </a:lnTo>
                    <a:lnTo>
                      <a:pt x="33" y="109"/>
                    </a:lnTo>
                    <a:lnTo>
                      <a:pt x="34" y="95"/>
                    </a:lnTo>
                    <a:lnTo>
                      <a:pt x="33" y="85"/>
                    </a:lnTo>
                    <a:lnTo>
                      <a:pt x="44" y="66"/>
                    </a:lnTo>
                    <a:lnTo>
                      <a:pt x="43" y="65"/>
                    </a:lnTo>
                    <a:lnTo>
                      <a:pt x="47" y="55"/>
                    </a:lnTo>
                    <a:lnTo>
                      <a:pt x="53" y="50"/>
                    </a:lnTo>
                    <a:lnTo>
                      <a:pt x="74" y="58"/>
                    </a:lnTo>
                    <a:lnTo>
                      <a:pt x="77" y="57"/>
                    </a:lnTo>
                    <a:lnTo>
                      <a:pt x="81" y="63"/>
                    </a:lnTo>
                    <a:lnTo>
                      <a:pt x="81" y="74"/>
                    </a:lnTo>
                    <a:lnTo>
                      <a:pt x="85" y="72"/>
                    </a:lnTo>
                    <a:lnTo>
                      <a:pt x="96" y="82"/>
                    </a:lnTo>
                    <a:lnTo>
                      <a:pt x="90" y="93"/>
                    </a:lnTo>
                    <a:lnTo>
                      <a:pt x="110" y="123"/>
                    </a:lnTo>
                    <a:lnTo>
                      <a:pt x="110" y="127"/>
                    </a:lnTo>
                    <a:lnTo>
                      <a:pt x="114" y="133"/>
                    </a:lnTo>
                    <a:lnTo>
                      <a:pt x="122" y="129"/>
                    </a:lnTo>
                    <a:lnTo>
                      <a:pt x="128" y="131"/>
                    </a:lnTo>
                    <a:lnTo>
                      <a:pt x="122" y="140"/>
                    </a:lnTo>
                    <a:lnTo>
                      <a:pt x="134" y="147"/>
                    </a:lnTo>
                    <a:lnTo>
                      <a:pt x="150" y="165"/>
                    </a:lnTo>
                    <a:lnTo>
                      <a:pt x="161" y="167"/>
                    </a:lnTo>
                    <a:lnTo>
                      <a:pt x="169" y="160"/>
                    </a:lnTo>
                    <a:lnTo>
                      <a:pt x="171" y="156"/>
                    </a:lnTo>
                    <a:lnTo>
                      <a:pt x="161" y="158"/>
                    </a:lnTo>
                    <a:lnTo>
                      <a:pt x="152" y="144"/>
                    </a:lnTo>
                    <a:lnTo>
                      <a:pt x="142" y="117"/>
                    </a:lnTo>
                    <a:lnTo>
                      <a:pt x="158" y="113"/>
                    </a:lnTo>
                    <a:lnTo>
                      <a:pt x="153" y="104"/>
                    </a:lnTo>
                    <a:lnTo>
                      <a:pt x="130" y="108"/>
                    </a:lnTo>
                    <a:lnTo>
                      <a:pt x="122" y="100"/>
                    </a:lnTo>
                    <a:lnTo>
                      <a:pt x="125" y="93"/>
                    </a:lnTo>
                    <a:lnTo>
                      <a:pt x="137" y="93"/>
                    </a:lnTo>
                    <a:lnTo>
                      <a:pt x="140" y="86"/>
                    </a:lnTo>
                    <a:lnTo>
                      <a:pt x="147" y="86"/>
                    </a:lnTo>
                    <a:lnTo>
                      <a:pt x="141" y="82"/>
                    </a:lnTo>
                    <a:lnTo>
                      <a:pt x="133" y="71"/>
                    </a:lnTo>
                    <a:lnTo>
                      <a:pt x="115" y="71"/>
                    </a:lnTo>
                    <a:lnTo>
                      <a:pt x="107" y="64"/>
                    </a:lnTo>
                    <a:lnTo>
                      <a:pt x="96" y="45"/>
                    </a:lnTo>
                    <a:lnTo>
                      <a:pt x="97" y="38"/>
                    </a:lnTo>
                    <a:lnTo>
                      <a:pt x="108" y="37"/>
                    </a:lnTo>
                    <a:lnTo>
                      <a:pt x="112" y="21"/>
                    </a:lnTo>
                    <a:lnTo>
                      <a:pt x="129" y="7"/>
                    </a:lnTo>
                    <a:lnTo>
                      <a:pt x="153" y="11"/>
                    </a:lnTo>
                    <a:lnTo>
                      <a:pt x="168" y="6"/>
                    </a:lnTo>
                    <a:lnTo>
                      <a:pt x="172" y="16"/>
                    </a:lnTo>
                    <a:lnTo>
                      <a:pt x="183" y="28"/>
                    </a:lnTo>
                    <a:lnTo>
                      <a:pt x="204" y="36"/>
                    </a:lnTo>
                    <a:lnTo>
                      <a:pt x="201" y="45"/>
                    </a:lnTo>
                    <a:lnTo>
                      <a:pt x="203" y="52"/>
                    </a:lnTo>
                    <a:lnTo>
                      <a:pt x="205" y="45"/>
                    </a:lnTo>
                    <a:lnTo>
                      <a:pt x="216" y="49"/>
                    </a:lnTo>
                    <a:lnTo>
                      <a:pt x="220" y="39"/>
                    </a:lnTo>
                    <a:lnTo>
                      <a:pt x="212" y="21"/>
                    </a:lnTo>
                    <a:lnTo>
                      <a:pt x="216" y="15"/>
                    </a:lnTo>
                    <a:lnTo>
                      <a:pt x="231" y="18"/>
                    </a:lnTo>
                    <a:lnTo>
                      <a:pt x="235" y="6"/>
                    </a:lnTo>
                    <a:lnTo>
                      <a:pt x="219" y="0"/>
                    </a:lnTo>
                    <a:lnTo>
                      <a:pt x="237" y="0"/>
                    </a:lnTo>
                    <a:lnTo>
                      <a:pt x="243" y="11"/>
                    </a:lnTo>
                    <a:lnTo>
                      <a:pt x="255" y="22"/>
                    </a:lnTo>
                    <a:lnTo>
                      <a:pt x="242" y="20"/>
                    </a:lnTo>
                    <a:lnTo>
                      <a:pt x="246" y="26"/>
                    </a:lnTo>
                    <a:lnTo>
                      <a:pt x="265" y="33"/>
                    </a:lnTo>
                    <a:lnTo>
                      <a:pt x="276" y="48"/>
                    </a:lnTo>
                    <a:lnTo>
                      <a:pt x="278" y="60"/>
                    </a:lnTo>
                    <a:lnTo>
                      <a:pt x="274" y="72"/>
                    </a:lnTo>
                    <a:lnTo>
                      <a:pt x="274" y="90"/>
                    </a:lnTo>
                    <a:lnTo>
                      <a:pt x="282" y="107"/>
                    </a:lnTo>
                    <a:lnTo>
                      <a:pt x="284" y="123"/>
                    </a:lnTo>
                    <a:lnTo>
                      <a:pt x="280" y="134"/>
                    </a:lnTo>
                    <a:lnTo>
                      <a:pt x="281" y="140"/>
                    </a:lnTo>
                    <a:lnTo>
                      <a:pt x="280" y="149"/>
                    </a:lnTo>
                    <a:lnTo>
                      <a:pt x="281" y="16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31" name="Freeform 293"/>
              <p:cNvSpPr>
                <a:spLocks noChangeAspect="1"/>
              </p:cNvSpPr>
              <p:nvPr/>
            </p:nvSpPr>
            <p:spPr bwMode="gray">
              <a:xfrm>
                <a:off x="1225" y="1133"/>
                <a:ext cx="134" cy="107"/>
              </a:xfrm>
              <a:custGeom>
                <a:avLst/>
                <a:gdLst/>
                <a:ahLst/>
                <a:cxnLst>
                  <a:cxn ang="0">
                    <a:pos x="439" y="71"/>
                  </a:cxn>
                  <a:cxn ang="0">
                    <a:pos x="489" y="0"/>
                  </a:cxn>
                  <a:cxn ang="0">
                    <a:pos x="501" y="69"/>
                  </a:cxn>
                  <a:cxn ang="0">
                    <a:pos x="525" y="120"/>
                  </a:cxn>
                  <a:cxn ang="0">
                    <a:pos x="510" y="172"/>
                  </a:cxn>
                  <a:cxn ang="0">
                    <a:pos x="548" y="213"/>
                  </a:cxn>
                  <a:cxn ang="0">
                    <a:pos x="551" y="218"/>
                  </a:cxn>
                  <a:cxn ang="0">
                    <a:pos x="605" y="240"/>
                  </a:cxn>
                  <a:cxn ang="0">
                    <a:pos x="637" y="191"/>
                  </a:cxn>
                  <a:cxn ang="0">
                    <a:pos x="672" y="281"/>
                  </a:cxn>
                  <a:cxn ang="0">
                    <a:pos x="643" y="385"/>
                  </a:cxn>
                  <a:cxn ang="0">
                    <a:pos x="575" y="430"/>
                  </a:cxn>
                  <a:cxn ang="0">
                    <a:pos x="526" y="423"/>
                  </a:cxn>
                  <a:cxn ang="0">
                    <a:pos x="492" y="389"/>
                  </a:cxn>
                  <a:cxn ang="0">
                    <a:pos x="450" y="435"/>
                  </a:cxn>
                  <a:cxn ang="0">
                    <a:pos x="383" y="475"/>
                  </a:cxn>
                  <a:cxn ang="0">
                    <a:pos x="347" y="502"/>
                  </a:cxn>
                  <a:cxn ang="0">
                    <a:pos x="231" y="530"/>
                  </a:cxn>
                  <a:cxn ang="0">
                    <a:pos x="181" y="466"/>
                  </a:cxn>
                  <a:cxn ang="0">
                    <a:pos x="229" y="448"/>
                  </a:cxn>
                  <a:cxn ang="0">
                    <a:pos x="304" y="408"/>
                  </a:cxn>
                  <a:cxn ang="0">
                    <a:pos x="344" y="396"/>
                  </a:cxn>
                  <a:cxn ang="0">
                    <a:pos x="355" y="352"/>
                  </a:cxn>
                  <a:cxn ang="0">
                    <a:pos x="293" y="361"/>
                  </a:cxn>
                  <a:cxn ang="0">
                    <a:pos x="263" y="389"/>
                  </a:cxn>
                  <a:cxn ang="0">
                    <a:pos x="207" y="408"/>
                  </a:cxn>
                  <a:cxn ang="0">
                    <a:pos x="209" y="357"/>
                  </a:cxn>
                  <a:cxn ang="0">
                    <a:pos x="218" y="329"/>
                  </a:cxn>
                  <a:cxn ang="0">
                    <a:pos x="171" y="346"/>
                  </a:cxn>
                  <a:cxn ang="0">
                    <a:pos x="155" y="416"/>
                  </a:cxn>
                  <a:cxn ang="0">
                    <a:pos x="113" y="388"/>
                  </a:cxn>
                  <a:cxn ang="0">
                    <a:pos x="85" y="389"/>
                  </a:cxn>
                  <a:cxn ang="0">
                    <a:pos x="25" y="379"/>
                  </a:cxn>
                  <a:cxn ang="0">
                    <a:pos x="24" y="309"/>
                  </a:cxn>
                  <a:cxn ang="0">
                    <a:pos x="130" y="276"/>
                  </a:cxn>
                  <a:cxn ang="0">
                    <a:pos x="60" y="297"/>
                  </a:cxn>
                  <a:cxn ang="0">
                    <a:pos x="103" y="231"/>
                  </a:cxn>
                  <a:cxn ang="0">
                    <a:pos x="47" y="225"/>
                  </a:cxn>
                  <a:cxn ang="0">
                    <a:pos x="51" y="179"/>
                  </a:cxn>
                  <a:cxn ang="0">
                    <a:pos x="156" y="159"/>
                  </a:cxn>
                  <a:cxn ang="0">
                    <a:pos x="92" y="129"/>
                  </a:cxn>
                  <a:cxn ang="0">
                    <a:pos x="166" y="78"/>
                  </a:cxn>
                  <a:cxn ang="0">
                    <a:pos x="192" y="147"/>
                  </a:cxn>
                  <a:cxn ang="0">
                    <a:pos x="280" y="152"/>
                  </a:cxn>
                  <a:cxn ang="0">
                    <a:pos x="301" y="223"/>
                  </a:cxn>
                  <a:cxn ang="0">
                    <a:pos x="339" y="239"/>
                  </a:cxn>
                  <a:cxn ang="0">
                    <a:pos x="343" y="287"/>
                  </a:cxn>
                  <a:cxn ang="0">
                    <a:pos x="377" y="293"/>
                  </a:cxn>
                  <a:cxn ang="0">
                    <a:pos x="478" y="301"/>
                  </a:cxn>
                  <a:cxn ang="0">
                    <a:pos x="450" y="236"/>
                  </a:cxn>
                  <a:cxn ang="0">
                    <a:pos x="449" y="204"/>
                  </a:cxn>
                  <a:cxn ang="0">
                    <a:pos x="440" y="148"/>
                  </a:cxn>
                  <a:cxn ang="0">
                    <a:pos x="401" y="100"/>
                  </a:cxn>
                </a:cxnLst>
                <a:rect l="0" t="0" r="r" b="b"/>
                <a:pathLst>
                  <a:path w="672" h="534">
                    <a:moveTo>
                      <a:pt x="420" y="83"/>
                    </a:moveTo>
                    <a:lnTo>
                      <a:pt x="420" y="80"/>
                    </a:lnTo>
                    <a:lnTo>
                      <a:pt x="420" y="82"/>
                    </a:lnTo>
                    <a:lnTo>
                      <a:pt x="433" y="81"/>
                    </a:lnTo>
                    <a:lnTo>
                      <a:pt x="439" y="71"/>
                    </a:lnTo>
                    <a:lnTo>
                      <a:pt x="439" y="59"/>
                    </a:lnTo>
                    <a:lnTo>
                      <a:pt x="458" y="8"/>
                    </a:lnTo>
                    <a:lnTo>
                      <a:pt x="466" y="3"/>
                    </a:lnTo>
                    <a:lnTo>
                      <a:pt x="478" y="6"/>
                    </a:lnTo>
                    <a:lnTo>
                      <a:pt x="489" y="0"/>
                    </a:lnTo>
                    <a:lnTo>
                      <a:pt x="503" y="26"/>
                    </a:lnTo>
                    <a:lnTo>
                      <a:pt x="503" y="37"/>
                    </a:lnTo>
                    <a:lnTo>
                      <a:pt x="493" y="49"/>
                    </a:lnTo>
                    <a:lnTo>
                      <a:pt x="495" y="61"/>
                    </a:lnTo>
                    <a:lnTo>
                      <a:pt x="501" y="69"/>
                    </a:lnTo>
                    <a:lnTo>
                      <a:pt x="500" y="76"/>
                    </a:lnTo>
                    <a:lnTo>
                      <a:pt x="501" y="94"/>
                    </a:lnTo>
                    <a:lnTo>
                      <a:pt x="504" y="99"/>
                    </a:lnTo>
                    <a:lnTo>
                      <a:pt x="511" y="102"/>
                    </a:lnTo>
                    <a:lnTo>
                      <a:pt x="525" y="120"/>
                    </a:lnTo>
                    <a:lnTo>
                      <a:pt x="526" y="129"/>
                    </a:lnTo>
                    <a:lnTo>
                      <a:pt x="525" y="139"/>
                    </a:lnTo>
                    <a:lnTo>
                      <a:pt x="527" y="143"/>
                    </a:lnTo>
                    <a:lnTo>
                      <a:pt x="519" y="152"/>
                    </a:lnTo>
                    <a:lnTo>
                      <a:pt x="510" y="172"/>
                    </a:lnTo>
                    <a:lnTo>
                      <a:pt x="500" y="178"/>
                    </a:lnTo>
                    <a:lnTo>
                      <a:pt x="512" y="183"/>
                    </a:lnTo>
                    <a:lnTo>
                      <a:pt x="536" y="178"/>
                    </a:lnTo>
                    <a:lnTo>
                      <a:pt x="554" y="196"/>
                    </a:lnTo>
                    <a:lnTo>
                      <a:pt x="548" y="213"/>
                    </a:lnTo>
                    <a:lnTo>
                      <a:pt x="541" y="215"/>
                    </a:lnTo>
                    <a:lnTo>
                      <a:pt x="531" y="234"/>
                    </a:lnTo>
                    <a:lnTo>
                      <a:pt x="533" y="243"/>
                    </a:lnTo>
                    <a:lnTo>
                      <a:pt x="543" y="222"/>
                    </a:lnTo>
                    <a:lnTo>
                      <a:pt x="551" y="218"/>
                    </a:lnTo>
                    <a:lnTo>
                      <a:pt x="560" y="215"/>
                    </a:lnTo>
                    <a:lnTo>
                      <a:pt x="579" y="218"/>
                    </a:lnTo>
                    <a:lnTo>
                      <a:pt x="594" y="266"/>
                    </a:lnTo>
                    <a:lnTo>
                      <a:pt x="600" y="242"/>
                    </a:lnTo>
                    <a:lnTo>
                      <a:pt x="605" y="240"/>
                    </a:lnTo>
                    <a:lnTo>
                      <a:pt x="600" y="236"/>
                    </a:lnTo>
                    <a:lnTo>
                      <a:pt x="595" y="207"/>
                    </a:lnTo>
                    <a:lnTo>
                      <a:pt x="601" y="196"/>
                    </a:lnTo>
                    <a:lnTo>
                      <a:pt x="606" y="184"/>
                    </a:lnTo>
                    <a:lnTo>
                      <a:pt x="637" y="191"/>
                    </a:lnTo>
                    <a:lnTo>
                      <a:pt x="659" y="215"/>
                    </a:lnTo>
                    <a:lnTo>
                      <a:pt x="671" y="245"/>
                    </a:lnTo>
                    <a:lnTo>
                      <a:pt x="670" y="258"/>
                    </a:lnTo>
                    <a:lnTo>
                      <a:pt x="672" y="265"/>
                    </a:lnTo>
                    <a:lnTo>
                      <a:pt x="672" y="281"/>
                    </a:lnTo>
                    <a:lnTo>
                      <a:pt x="670" y="296"/>
                    </a:lnTo>
                    <a:lnTo>
                      <a:pt x="660" y="304"/>
                    </a:lnTo>
                    <a:lnTo>
                      <a:pt x="654" y="347"/>
                    </a:lnTo>
                    <a:lnTo>
                      <a:pt x="649" y="357"/>
                    </a:lnTo>
                    <a:lnTo>
                      <a:pt x="643" y="385"/>
                    </a:lnTo>
                    <a:lnTo>
                      <a:pt x="635" y="404"/>
                    </a:lnTo>
                    <a:lnTo>
                      <a:pt x="618" y="405"/>
                    </a:lnTo>
                    <a:lnTo>
                      <a:pt x="611" y="410"/>
                    </a:lnTo>
                    <a:lnTo>
                      <a:pt x="600" y="425"/>
                    </a:lnTo>
                    <a:lnTo>
                      <a:pt x="575" y="430"/>
                    </a:lnTo>
                    <a:lnTo>
                      <a:pt x="560" y="423"/>
                    </a:lnTo>
                    <a:lnTo>
                      <a:pt x="552" y="416"/>
                    </a:lnTo>
                    <a:lnTo>
                      <a:pt x="546" y="409"/>
                    </a:lnTo>
                    <a:lnTo>
                      <a:pt x="547" y="395"/>
                    </a:lnTo>
                    <a:lnTo>
                      <a:pt x="526" y="423"/>
                    </a:lnTo>
                    <a:lnTo>
                      <a:pt x="509" y="425"/>
                    </a:lnTo>
                    <a:lnTo>
                      <a:pt x="490" y="421"/>
                    </a:lnTo>
                    <a:lnTo>
                      <a:pt x="500" y="411"/>
                    </a:lnTo>
                    <a:lnTo>
                      <a:pt x="492" y="398"/>
                    </a:lnTo>
                    <a:lnTo>
                      <a:pt x="492" y="389"/>
                    </a:lnTo>
                    <a:lnTo>
                      <a:pt x="484" y="394"/>
                    </a:lnTo>
                    <a:lnTo>
                      <a:pt x="481" y="405"/>
                    </a:lnTo>
                    <a:lnTo>
                      <a:pt x="472" y="416"/>
                    </a:lnTo>
                    <a:lnTo>
                      <a:pt x="461" y="421"/>
                    </a:lnTo>
                    <a:lnTo>
                      <a:pt x="450" y="435"/>
                    </a:lnTo>
                    <a:lnTo>
                      <a:pt x="425" y="442"/>
                    </a:lnTo>
                    <a:lnTo>
                      <a:pt x="414" y="442"/>
                    </a:lnTo>
                    <a:lnTo>
                      <a:pt x="386" y="457"/>
                    </a:lnTo>
                    <a:lnTo>
                      <a:pt x="387" y="466"/>
                    </a:lnTo>
                    <a:lnTo>
                      <a:pt x="383" y="475"/>
                    </a:lnTo>
                    <a:lnTo>
                      <a:pt x="376" y="480"/>
                    </a:lnTo>
                    <a:lnTo>
                      <a:pt x="375" y="485"/>
                    </a:lnTo>
                    <a:lnTo>
                      <a:pt x="358" y="495"/>
                    </a:lnTo>
                    <a:lnTo>
                      <a:pt x="348" y="497"/>
                    </a:lnTo>
                    <a:lnTo>
                      <a:pt x="347" y="502"/>
                    </a:lnTo>
                    <a:lnTo>
                      <a:pt x="332" y="503"/>
                    </a:lnTo>
                    <a:lnTo>
                      <a:pt x="325" y="514"/>
                    </a:lnTo>
                    <a:lnTo>
                      <a:pt x="299" y="528"/>
                    </a:lnTo>
                    <a:lnTo>
                      <a:pt x="277" y="534"/>
                    </a:lnTo>
                    <a:lnTo>
                      <a:pt x="231" y="530"/>
                    </a:lnTo>
                    <a:lnTo>
                      <a:pt x="202" y="512"/>
                    </a:lnTo>
                    <a:lnTo>
                      <a:pt x="184" y="495"/>
                    </a:lnTo>
                    <a:lnTo>
                      <a:pt x="177" y="482"/>
                    </a:lnTo>
                    <a:lnTo>
                      <a:pt x="177" y="478"/>
                    </a:lnTo>
                    <a:lnTo>
                      <a:pt x="181" y="466"/>
                    </a:lnTo>
                    <a:lnTo>
                      <a:pt x="191" y="455"/>
                    </a:lnTo>
                    <a:lnTo>
                      <a:pt x="198" y="454"/>
                    </a:lnTo>
                    <a:lnTo>
                      <a:pt x="212" y="446"/>
                    </a:lnTo>
                    <a:lnTo>
                      <a:pt x="224" y="443"/>
                    </a:lnTo>
                    <a:lnTo>
                      <a:pt x="229" y="448"/>
                    </a:lnTo>
                    <a:lnTo>
                      <a:pt x="235" y="447"/>
                    </a:lnTo>
                    <a:lnTo>
                      <a:pt x="242" y="441"/>
                    </a:lnTo>
                    <a:lnTo>
                      <a:pt x="242" y="431"/>
                    </a:lnTo>
                    <a:lnTo>
                      <a:pt x="253" y="415"/>
                    </a:lnTo>
                    <a:lnTo>
                      <a:pt x="304" y="408"/>
                    </a:lnTo>
                    <a:lnTo>
                      <a:pt x="315" y="409"/>
                    </a:lnTo>
                    <a:lnTo>
                      <a:pt x="317" y="420"/>
                    </a:lnTo>
                    <a:lnTo>
                      <a:pt x="327" y="420"/>
                    </a:lnTo>
                    <a:lnTo>
                      <a:pt x="334" y="404"/>
                    </a:lnTo>
                    <a:lnTo>
                      <a:pt x="344" y="396"/>
                    </a:lnTo>
                    <a:lnTo>
                      <a:pt x="350" y="383"/>
                    </a:lnTo>
                    <a:lnTo>
                      <a:pt x="363" y="372"/>
                    </a:lnTo>
                    <a:lnTo>
                      <a:pt x="368" y="362"/>
                    </a:lnTo>
                    <a:lnTo>
                      <a:pt x="366" y="352"/>
                    </a:lnTo>
                    <a:lnTo>
                      <a:pt x="355" y="352"/>
                    </a:lnTo>
                    <a:lnTo>
                      <a:pt x="343" y="376"/>
                    </a:lnTo>
                    <a:lnTo>
                      <a:pt x="331" y="372"/>
                    </a:lnTo>
                    <a:lnTo>
                      <a:pt x="294" y="383"/>
                    </a:lnTo>
                    <a:lnTo>
                      <a:pt x="289" y="372"/>
                    </a:lnTo>
                    <a:lnTo>
                      <a:pt x="293" y="361"/>
                    </a:lnTo>
                    <a:lnTo>
                      <a:pt x="278" y="372"/>
                    </a:lnTo>
                    <a:lnTo>
                      <a:pt x="277" y="358"/>
                    </a:lnTo>
                    <a:lnTo>
                      <a:pt x="272" y="356"/>
                    </a:lnTo>
                    <a:lnTo>
                      <a:pt x="270" y="376"/>
                    </a:lnTo>
                    <a:lnTo>
                      <a:pt x="263" y="389"/>
                    </a:lnTo>
                    <a:lnTo>
                      <a:pt x="251" y="392"/>
                    </a:lnTo>
                    <a:lnTo>
                      <a:pt x="247" y="379"/>
                    </a:lnTo>
                    <a:lnTo>
                      <a:pt x="239" y="394"/>
                    </a:lnTo>
                    <a:lnTo>
                      <a:pt x="224" y="398"/>
                    </a:lnTo>
                    <a:lnTo>
                      <a:pt x="207" y="408"/>
                    </a:lnTo>
                    <a:lnTo>
                      <a:pt x="200" y="396"/>
                    </a:lnTo>
                    <a:lnTo>
                      <a:pt x="202" y="389"/>
                    </a:lnTo>
                    <a:lnTo>
                      <a:pt x="215" y="373"/>
                    </a:lnTo>
                    <a:lnTo>
                      <a:pt x="212" y="372"/>
                    </a:lnTo>
                    <a:lnTo>
                      <a:pt x="209" y="357"/>
                    </a:lnTo>
                    <a:lnTo>
                      <a:pt x="210" y="340"/>
                    </a:lnTo>
                    <a:lnTo>
                      <a:pt x="225" y="330"/>
                    </a:lnTo>
                    <a:lnTo>
                      <a:pt x="235" y="319"/>
                    </a:lnTo>
                    <a:lnTo>
                      <a:pt x="227" y="319"/>
                    </a:lnTo>
                    <a:lnTo>
                      <a:pt x="218" y="329"/>
                    </a:lnTo>
                    <a:lnTo>
                      <a:pt x="199" y="324"/>
                    </a:lnTo>
                    <a:lnTo>
                      <a:pt x="191" y="363"/>
                    </a:lnTo>
                    <a:lnTo>
                      <a:pt x="186" y="367"/>
                    </a:lnTo>
                    <a:lnTo>
                      <a:pt x="180" y="349"/>
                    </a:lnTo>
                    <a:lnTo>
                      <a:pt x="171" y="346"/>
                    </a:lnTo>
                    <a:lnTo>
                      <a:pt x="170" y="363"/>
                    </a:lnTo>
                    <a:lnTo>
                      <a:pt x="178" y="376"/>
                    </a:lnTo>
                    <a:lnTo>
                      <a:pt x="177" y="394"/>
                    </a:lnTo>
                    <a:lnTo>
                      <a:pt x="171" y="396"/>
                    </a:lnTo>
                    <a:lnTo>
                      <a:pt x="155" y="416"/>
                    </a:lnTo>
                    <a:lnTo>
                      <a:pt x="143" y="415"/>
                    </a:lnTo>
                    <a:lnTo>
                      <a:pt x="138" y="396"/>
                    </a:lnTo>
                    <a:lnTo>
                      <a:pt x="138" y="378"/>
                    </a:lnTo>
                    <a:lnTo>
                      <a:pt x="124" y="389"/>
                    </a:lnTo>
                    <a:lnTo>
                      <a:pt x="113" y="388"/>
                    </a:lnTo>
                    <a:lnTo>
                      <a:pt x="114" y="405"/>
                    </a:lnTo>
                    <a:lnTo>
                      <a:pt x="114" y="420"/>
                    </a:lnTo>
                    <a:lnTo>
                      <a:pt x="102" y="417"/>
                    </a:lnTo>
                    <a:lnTo>
                      <a:pt x="80" y="399"/>
                    </a:lnTo>
                    <a:lnTo>
                      <a:pt x="85" y="389"/>
                    </a:lnTo>
                    <a:lnTo>
                      <a:pt x="76" y="383"/>
                    </a:lnTo>
                    <a:lnTo>
                      <a:pt x="78" y="369"/>
                    </a:lnTo>
                    <a:lnTo>
                      <a:pt x="64" y="374"/>
                    </a:lnTo>
                    <a:lnTo>
                      <a:pt x="58" y="388"/>
                    </a:lnTo>
                    <a:lnTo>
                      <a:pt x="25" y="379"/>
                    </a:lnTo>
                    <a:lnTo>
                      <a:pt x="10" y="372"/>
                    </a:lnTo>
                    <a:lnTo>
                      <a:pt x="0" y="358"/>
                    </a:lnTo>
                    <a:lnTo>
                      <a:pt x="1" y="351"/>
                    </a:lnTo>
                    <a:lnTo>
                      <a:pt x="11" y="325"/>
                    </a:lnTo>
                    <a:lnTo>
                      <a:pt x="24" y="309"/>
                    </a:lnTo>
                    <a:lnTo>
                      <a:pt x="51" y="307"/>
                    </a:lnTo>
                    <a:lnTo>
                      <a:pt x="87" y="309"/>
                    </a:lnTo>
                    <a:lnTo>
                      <a:pt x="94" y="306"/>
                    </a:lnTo>
                    <a:lnTo>
                      <a:pt x="105" y="291"/>
                    </a:lnTo>
                    <a:lnTo>
                      <a:pt x="130" y="276"/>
                    </a:lnTo>
                    <a:lnTo>
                      <a:pt x="140" y="259"/>
                    </a:lnTo>
                    <a:lnTo>
                      <a:pt x="122" y="272"/>
                    </a:lnTo>
                    <a:lnTo>
                      <a:pt x="101" y="276"/>
                    </a:lnTo>
                    <a:lnTo>
                      <a:pt x="86" y="288"/>
                    </a:lnTo>
                    <a:lnTo>
                      <a:pt x="60" y="297"/>
                    </a:lnTo>
                    <a:lnTo>
                      <a:pt x="22" y="293"/>
                    </a:lnTo>
                    <a:lnTo>
                      <a:pt x="22" y="270"/>
                    </a:lnTo>
                    <a:lnTo>
                      <a:pt x="33" y="245"/>
                    </a:lnTo>
                    <a:lnTo>
                      <a:pt x="76" y="240"/>
                    </a:lnTo>
                    <a:lnTo>
                      <a:pt x="103" y="231"/>
                    </a:lnTo>
                    <a:lnTo>
                      <a:pt x="144" y="226"/>
                    </a:lnTo>
                    <a:lnTo>
                      <a:pt x="157" y="212"/>
                    </a:lnTo>
                    <a:lnTo>
                      <a:pt x="134" y="222"/>
                    </a:lnTo>
                    <a:lnTo>
                      <a:pt x="55" y="231"/>
                    </a:lnTo>
                    <a:lnTo>
                      <a:pt x="47" y="225"/>
                    </a:lnTo>
                    <a:lnTo>
                      <a:pt x="47" y="210"/>
                    </a:lnTo>
                    <a:lnTo>
                      <a:pt x="53" y="200"/>
                    </a:lnTo>
                    <a:lnTo>
                      <a:pt x="60" y="196"/>
                    </a:lnTo>
                    <a:lnTo>
                      <a:pt x="58" y="188"/>
                    </a:lnTo>
                    <a:lnTo>
                      <a:pt x="51" y="179"/>
                    </a:lnTo>
                    <a:lnTo>
                      <a:pt x="62" y="158"/>
                    </a:lnTo>
                    <a:lnTo>
                      <a:pt x="76" y="151"/>
                    </a:lnTo>
                    <a:lnTo>
                      <a:pt x="103" y="153"/>
                    </a:lnTo>
                    <a:lnTo>
                      <a:pt x="118" y="151"/>
                    </a:lnTo>
                    <a:lnTo>
                      <a:pt x="156" y="159"/>
                    </a:lnTo>
                    <a:lnTo>
                      <a:pt x="161" y="154"/>
                    </a:lnTo>
                    <a:lnTo>
                      <a:pt x="151" y="154"/>
                    </a:lnTo>
                    <a:lnTo>
                      <a:pt x="144" y="143"/>
                    </a:lnTo>
                    <a:lnTo>
                      <a:pt x="100" y="139"/>
                    </a:lnTo>
                    <a:lnTo>
                      <a:pt x="92" y="129"/>
                    </a:lnTo>
                    <a:lnTo>
                      <a:pt x="101" y="103"/>
                    </a:lnTo>
                    <a:lnTo>
                      <a:pt x="113" y="88"/>
                    </a:lnTo>
                    <a:lnTo>
                      <a:pt x="138" y="88"/>
                    </a:lnTo>
                    <a:lnTo>
                      <a:pt x="146" y="78"/>
                    </a:lnTo>
                    <a:lnTo>
                      <a:pt x="166" y="78"/>
                    </a:lnTo>
                    <a:lnTo>
                      <a:pt x="180" y="83"/>
                    </a:lnTo>
                    <a:lnTo>
                      <a:pt x="191" y="97"/>
                    </a:lnTo>
                    <a:lnTo>
                      <a:pt x="191" y="116"/>
                    </a:lnTo>
                    <a:lnTo>
                      <a:pt x="186" y="124"/>
                    </a:lnTo>
                    <a:lnTo>
                      <a:pt x="192" y="147"/>
                    </a:lnTo>
                    <a:lnTo>
                      <a:pt x="219" y="147"/>
                    </a:lnTo>
                    <a:lnTo>
                      <a:pt x="234" y="136"/>
                    </a:lnTo>
                    <a:lnTo>
                      <a:pt x="258" y="135"/>
                    </a:lnTo>
                    <a:lnTo>
                      <a:pt x="258" y="148"/>
                    </a:lnTo>
                    <a:lnTo>
                      <a:pt x="280" y="152"/>
                    </a:lnTo>
                    <a:lnTo>
                      <a:pt x="288" y="179"/>
                    </a:lnTo>
                    <a:lnTo>
                      <a:pt x="302" y="200"/>
                    </a:lnTo>
                    <a:lnTo>
                      <a:pt x="312" y="200"/>
                    </a:lnTo>
                    <a:lnTo>
                      <a:pt x="321" y="210"/>
                    </a:lnTo>
                    <a:lnTo>
                      <a:pt x="301" y="223"/>
                    </a:lnTo>
                    <a:lnTo>
                      <a:pt x="300" y="234"/>
                    </a:lnTo>
                    <a:lnTo>
                      <a:pt x="310" y="237"/>
                    </a:lnTo>
                    <a:lnTo>
                      <a:pt x="336" y="227"/>
                    </a:lnTo>
                    <a:lnTo>
                      <a:pt x="336" y="232"/>
                    </a:lnTo>
                    <a:lnTo>
                      <a:pt x="339" y="239"/>
                    </a:lnTo>
                    <a:lnTo>
                      <a:pt x="342" y="250"/>
                    </a:lnTo>
                    <a:lnTo>
                      <a:pt x="336" y="258"/>
                    </a:lnTo>
                    <a:lnTo>
                      <a:pt x="340" y="256"/>
                    </a:lnTo>
                    <a:lnTo>
                      <a:pt x="344" y="271"/>
                    </a:lnTo>
                    <a:lnTo>
                      <a:pt x="343" y="287"/>
                    </a:lnTo>
                    <a:lnTo>
                      <a:pt x="349" y="297"/>
                    </a:lnTo>
                    <a:lnTo>
                      <a:pt x="359" y="298"/>
                    </a:lnTo>
                    <a:lnTo>
                      <a:pt x="366" y="297"/>
                    </a:lnTo>
                    <a:lnTo>
                      <a:pt x="371" y="292"/>
                    </a:lnTo>
                    <a:lnTo>
                      <a:pt x="377" y="293"/>
                    </a:lnTo>
                    <a:lnTo>
                      <a:pt x="395" y="288"/>
                    </a:lnTo>
                    <a:lnTo>
                      <a:pt x="399" y="297"/>
                    </a:lnTo>
                    <a:lnTo>
                      <a:pt x="419" y="293"/>
                    </a:lnTo>
                    <a:lnTo>
                      <a:pt x="469" y="303"/>
                    </a:lnTo>
                    <a:lnTo>
                      <a:pt x="478" y="301"/>
                    </a:lnTo>
                    <a:lnTo>
                      <a:pt x="482" y="283"/>
                    </a:lnTo>
                    <a:lnTo>
                      <a:pt x="482" y="261"/>
                    </a:lnTo>
                    <a:lnTo>
                      <a:pt x="468" y="245"/>
                    </a:lnTo>
                    <a:lnTo>
                      <a:pt x="462" y="233"/>
                    </a:lnTo>
                    <a:lnTo>
                      <a:pt x="450" y="236"/>
                    </a:lnTo>
                    <a:lnTo>
                      <a:pt x="444" y="229"/>
                    </a:lnTo>
                    <a:lnTo>
                      <a:pt x="440" y="221"/>
                    </a:lnTo>
                    <a:lnTo>
                      <a:pt x="431" y="227"/>
                    </a:lnTo>
                    <a:lnTo>
                      <a:pt x="425" y="218"/>
                    </a:lnTo>
                    <a:lnTo>
                      <a:pt x="449" y="204"/>
                    </a:lnTo>
                    <a:lnTo>
                      <a:pt x="451" y="193"/>
                    </a:lnTo>
                    <a:lnTo>
                      <a:pt x="462" y="190"/>
                    </a:lnTo>
                    <a:lnTo>
                      <a:pt x="456" y="163"/>
                    </a:lnTo>
                    <a:lnTo>
                      <a:pt x="450" y="152"/>
                    </a:lnTo>
                    <a:lnTo>
                      <a:pt x="440" y="148"/>
                    </a:lnTo>
                    <a:lnTo>
                      <a:pt x="438" y="142"/>
                    </a:lnTo>
                    <a:lnTo>
                      <a:pt x="424" y="139"/>
                    </a:lnTo>
                    <a:lnTo>
                      <a:pt x="402" y="120"/>
                    </a:lnTo>
                    <a:lnTo>
                      <a:pt x="401" y="110"/>
                    </a:lnTo>
                    <a:lnTo>
                      <a:pt x="401" y="100"/>
                    </a:lnTo>
                    <a:lnTo>
                      <a:pt x="396" y="93"/>
                    </a:lnTo>
                    <a:lnTo>
                      <a:pt x="412" y="89"/>
                    </a:lnTo>
                    <a:lnTo>
                      <a:pt x="420" y="8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32" name="Freeform 294"/>
              <p:cNvSpPr>
                <a:spLocks noChangeAspect="1"/>
              </p:cNvSpPr>
              <p:nvPr/>
            </p:nvSpPr>
            <p:spPr bwMode="gray">
              <a:xfrm>
                <a:off x="1168" y="1099"/>
                <a:ext cx="80" cy="82"/>
              </a:xfrm>
              <a:custGeom>
                <a:avLst/>
                <a:gdLst/>
                <a:ahLst/>
                <a:cxnLst>
                  <a:cxn ang="0">
                    <a:pos x="157" y="126"/>
                  </a:cxn>
                  <a:cxn ang="0">
                    <a:pos x="177" y="100"/>
                  </a:cxn>
                  <a:cxn ang="0">
                    <a:pos x="197" y="75"/>
                  </a:cxn>
                  <a:cxn ang="0">
                    <a:pos x="224" y="48"/>
                  </a:cxn>
                  <a:cxn ang="0">
                    <a:pos x="242" y="51"/>
                  </a:cxn>
                  <a:cxn ang="0">
                    <a:pos x="269" y="44"/>
                  </a:cxn>
                  <a:cxn ang="0">
                    <a:pos x="274" y="72"/>
                  </a:cxn>
                  <a:cxn ang="0">
                    <a:pos x="285" y="59"/>
                  </a:cxn>
                  <a:cxn ang="0">
                    <a:pos x="303" y="57"/>
                  </a:cxn>
                  <a:cxn ang="0">
                    <a:pos x="329" y="43"/>
                  </a:cxn>
                  <a:cxn ang="0">
                    <a:pos x="307" y="23"/>
                  </a:cxn>
                  <a:cxn ang="0">
                    <a:pos x="343" y="0"/>
                  </a:cxn>
                  <a:cxn ang="0">
                    <a:pos x="382" y="37"/>
                  </a:cxn>
                  <a:cxn ang="0">
                    <a:pos x="397" y="72"/>
                  </a:cxn>
                  <a:cxn ang="0">
                    <a:pos x="356" y="91"/>
                  </a:cxn>
                  <a:cxn ang="0">
                    <a:pos x="353" y="119"/>
                  </a:cxn>
                  <a:cxn ang="0">
                    <a:pos x="369" y="159"/>
                  </a:cxn>
                  <a:cxn ang="0">
                    <a:pos x="355" y="173"/>
                  </a:cxn>
                  <a:cxn ang="0">
                    <a:pos x="370" y="190"/>
                  </a:cxn>
                  <a:cxn ang="0">
                    <a:pos x="350" y="237"/>
                  </a:cxn>
                  <a:cxn ang="0">
                    <a:pos x="314" y="258"/>
                  </a:cxn>
                  <a:cxn ang="0">
                    <a:pos x="300" y="309"/>
                  </a:cxn>
                  <a:cxn ang="0">
                    <a:pos x="265" y="253"/>
                  </a:cxn>
                  <a:cxn ang="0">
                    <a:pos x="275" y="195"/>
                  </a:cxn>
                  <a:cxn ang="0">
                    <a:pos x="262" y="193"/>
                  </a:cxn>
                  <a:cxn ang="0">
                    <a:pos x="244" y="206"/>
                  </a:cxn>
                  <a:cxn ang="0">
                    <a:pos x="244" y="244"/>
                  </a:cxn>
                  <a:cxn ang="0">
                    <a:pos x="216" y="239"/>
                  </a:cxn>
                  <a:cxn ang="0">
                    <a:pos x="217" y="264"/>
                  </a:cxn>
                  <a:cxn ang="0">
                    <a:pos x="231" y="302"/>
                  </a:cxn>
                  <a:cxn ang="0">
                    <a:pos x="211" y="342"/>
                  </a:cxn>
                  <a:cxn ang="0">
                    <a:pos x="195" y="324"/>
                  </a:cxn>
                  <a:cxn ang="0">
                    <a:pos x="181" y="295"/>
                  </a:cxn>
                  <a:cxn ang="0">
                    <a:pos x="174" y="318"/>
                  </a:cxn>
                  <a:cxn ang="0">
                    <a:pos x="181" y="336"/>
                  </a:cxn>
                  <a:cxn ang="0">
                    <a:pos x="181" y="368"/>
                  </a:cxn>
                  <a:cxn ang="0">
                    <a:pos x="171" y="393"/>
                  </a:cxn>
                  <a:cxn ang="0">
                    <a:pos x="145" y="384"/>
                  </a:cxn>
                  <a:cxn ang="0">
                    <a:pos x="131" y="393"/>
                  </a:cxn>
                  <a:cxn ang="0">
                    <a:pos x="114" y="351"/>
                  </a:cxn>
                  <a:cxn ang="0">
                    <a:pos x="114" y="319"/>
                  </a:cxn>
                  <a:cxn ang="0">
                    <a:pos x="101" y="360"/>
                  </a:cxn>
                  <a:cxn ang="0">
                    <a:pos x="56" y="360"/>
                  </a:cxn>
                  <a:cxn ang="0">
                    <a:pos x="58" y="334"/>
                  </a:cxn>
                  <a:cxn ang="0">
                    <a:pos x="37" y="378"/>
                  </a:cxn>
                  <a:cxn ang="0">
                    <a:pos x="12" y="367"/>
                  </a:cxn>
                  <a:cxn ang="0">
                    <a:pos x="2" y="346"/>
                  </a:cxn>
                  <a:cxn ang="0">
                    <a:pos x="15" y="308"/>
                  </a:cxn>
                  <a:cxn ang="0">
                    <a:pos x="29" y="274"/>
                  </a:cxn>
                  <a:cxn ang="0">
                    <a:pos x="59" y="274"/>
                  </a:cxn>
                  <a:cxn ang="0">
                    <a:pos x="82" y="239"/>
                  </a:cxn>
                  <a:cxn ang="0">
                    <a:pos x="90" y="209"/>
                  </a:cxn>
                  <a:cxn ang="0">
                    <a:pos x="111" y="206"/>
                  </a:cxn>
                  <a:cxn ang="0">
                    <a:pos x="134" y="178"/>
                  </a:cxn>
                  <a:cxn ang="0">
                    <a:pos x="147" y="150"/>
                  </a:cxn>
                </a:cxnLst>
                <a:rect l="0" t="0" r="r" b="b"/>
                <a:pathLst>
                  <a:path w="399" h="411">
                    <a:moveTo>
                      <a:pt x="154" y="134"/>
                    </a:moveTo>
                    <a:lnTo>
                      <a:pt x="156" y="136"/>
                    </a:lnTo>
                    <a:lnTo>
                      <a:pt x="157" y="126"/>
                    </a:lnTo>
                    <a:lnTo>
                      <a:pt x="166" y="120"/>
                    </a:lnTo>
                    <a:lnTo>
                      <a:pt x="170" y="109"/>
                    </a:lnTo>
                    <a:lnTo>
                      <a:pt x="177" y="100"/>
                    </a:lnTo>
                    <a:lnTo>
                      <a:pt x="184" y="99"/>
                    </a:lnTo>
                    <a:lnTo>
                      <a:pt x="187" y="89"/>
                    </a:lnTo>
                    <a:lnTo>
                      <a:pt x="197" y="75"/>
                    </a:lnTo>
                    <a:lnTo>
                      <a:pt x="198" y="61"/>
                    </a:lnTo>
                    <a:lnTo>
                      <a:pt x="221" y="57"/>
                    </a:lnTo>
                    <a:lnTo>
                      <a:pt x="224" y="48"/>
                    </a:lnTo>
                    <a:lnTo>
                      <a:pt x="232" y="49"/>
                    </a:lnTo>
                    <a:lnTo>
                      <a:pt x="238" y="57"/>
                    </a:lnTo>
                    <a:lnTo>
                      <a:pt x="242" y="51"/>
                    </a:lnTo>
                    <a:lnTo>
                      <a:pt x="256" y="50"/>
                    </a:lnTo>
                    <a:lnTo>
                      <a:pt x="260" y="45"/>
                    </a:lnTo>
                    <a:lnTo>
                      <a:pt x="269" y="44"/>
                    </a:lnTo>
                    <a:lnTo>
                      <a:pt x="267" y="60"/>
                    </a:lnTo>
                    <a:lnTo>
                      <a:pt x="270" y="76"/>
                    </a:lnTo>
                    <a:lnTo>
                      <a:pt x="274" y="72"/>
                    </a:lnTo>
                    <a:lnTo>
                      <a:pt x="271" y="57"/>
                    </a:lnTo>
                    <a:lnTo>
                      <a:pt x="275" y="48"/>
                    </a:lnTo>
                    <a:lnTo>
                      <a:pt x="285" y="59"/>
                    </a:lnTo>
                    <a:lnTo>
                      <a:pt x="298" y="66"/>
                    </a:lnTo>
                    <a:lnTo>
                      <a:pt x="306" y="66"/>
                    </a:lnTo>
                    <a:lnTo>
                      <a:pt x="303" y="57"/>
                    </a:lnTo>
                    <a:lnTo>
                      <a:pt x="319" y="61"/>
                    </a:lnTo>
                    <a:lnTo>
                      <a:pt x="330" y="49"/>
                    </a:lnTo>
                    <a:lnTo>
                      <a:pt x="329" y="43"/>
                    </a:lnTo>
                    <a:lnTo>
                      <a:pt x="322" y="44"/>
                    </a:lnTo>
                    <a:lnTo>
                      <a:pt x="313" y="37"/>
                    </a:lnTo>
                    <a:lnTo>
                      <a:pt x="307" y="23"/>
                    </a:lnTo>
                    <a:lnTo>
                      <a:pt x="317" y="19"/>
                    </a:lnTo>
                    <a:lnTo>
                      <a:pt x="323" y="7"/>
                    </a:lnTo>
                    <a:lnTo>
                      <a:pt x="343" y="0"/>
                    </a:lnTo>
                    <a:lnTo>
                      <a:pt x="365" y="18"/>
                    </a:lnTo>
                    <a:lnTo>
                      <a:pt x="365" y="24"/>
                    </a:lnTo>
                    <a:lnTo>
                      <a:pt x="382" y="37"/>
                    </a:lnTo>
                    <a:lnTo>
                      <a:pt x="399" y="57"/>
                    </a:lnTo>
                    <a:lnTo>
                      <a:pt x="399" y="66"/>
                    </a:lnTo>
                    <a:lnTo>
                      <a:pt x="397" y="72"/>
                    </a:lnTo>
                    <a:lnTo>
                      <a:pt x="384" y="77"/>
                    </a:lnTo>
                    <a:lnTo>
                      <a:pt x="381" y="85"/>
                    </a:lnTo>
                    <a:lnTo>
                      <a:pt x="356" y="91"/>
                    </a:lnTo>
                    <a:lnTo>
                      <a:pt x="349" y="99"/>
                    </a:lnTo>
                    <a:lnTo>
                      <a:pt x="348" y="108"/>
                    </a:lnTo>
                    <a:lnTo>
                      <a:pt x="353" y="119"/>
                    </a:lnTo>
                    <a:lnTo>
                      <a:pt x="376" y="148"/>
                    </a:lnTo>
                    <a:lnTo>
                      <a:pt x="377" y="159"/>
                    </a:lnTo>
                    <a:lnTo>
                      <a:pt x="369" y="159"/>
                    </a:lnTo>
                    <a:lnTo>
                      <a:pt x="360" y="152"/>
                    </a:lnTo>
                    <a:lnTo>
                      <a:pt x="353" y="159"/>
                    </a:lnTo>
                    <a:lnTo>
                      <a:pt x="355" y="173"/>
                    </a:lnTo>
                    <a:lnTo>
                      <a:pt x="364" y="174"/>
                    </a:lnTo>
                    <a:lnTo>
                      <a:pt x="366" y="186"/>
                    </a:lnTo>
                    <a:lnTo>
                      <a:pt x="370" y="190"/>
                    </a:lnTo>
                    <a:lnTo>
                      <a:pt x="375" y="210"/>
                    </a:lnTo>
                    <a:lnTo>
                      <a:pt x="366" y="222"/>
                    </a:lnTo>
                    <a:lnTo>
                      <a:pt x="350" y="237"/>
                    </a:lnTo>
                    <a:lnTo>
                      <a:pt x="324" y="237"/>
                    </a:lnTo>
                    <a:lnTo>
                      <a:pt x="318" y="244"/>
                    </a:lnTo>
                    <a:lnTo>
                      <a:pt x="314" y="258"/>
                    </a:lnTo>
                    <a:lnTo>
                      <a:pt x="317" y="288"/>
                    </a:lnTo>
                    <a:lnTo>
                      <a:pt x="313" y="302"/>
                    </a:lnTo>
                    <a:lnTo>
                      <a:pt x="300" y="309"/>
                    </a:lnTo>
                    <a:lnTo>
                      <a:pt x="287" y="307"/>
                    </a:lnTo>
                    <a:lnTo>
                      <a:pt x="265" y="269"/>
                    </a:lnTo>
                    <a:lnTo>
                      <a:pt x="265" y="253"/>
                    </a:lnTo>
                    <a:lnTo>
                      <a:pt x="269" y="237"/>
                    </a:lnTo>
                    <a:lnTo>
                      <a:pt x="268" y="220"/>
                    </a:lnTo>
                    <a:lnTo>
                      <a:pt x="275" y="195"/>
                    </a:lnTo>
                    <a:lnTo>
                      <a:pt x="276" y="183"/>
                    </a:lnTo>
                    <a:lnTo>
                      <a:pt x="270" y="182"/>
                    </a:lnTo>
                    <a:lnTo>
                      <a:pt x="262" y="193"/>
                    </a:lnTo>
                    <a:lnTo>
                      <a:pt x="246" y="189"/>
                    </a:lnTo>
                    <a:lnTo>
                      <a:pt x="244" y="200"/>
                    </a:lnTo>
                    <a:lnTo>
                      <a:pt x="244" y="206"/>
                    </a:lnTo>
                    <a:lnTo>
                      <a:pt x="237" y="213"/>
                    </a:lnTo>
                    <a:lnTo>
                      <a:pt x="243" y="220"/>
                    </a:lnTo>
                    <a:lnTo>
                      <a:pt x="244" y="244"/>
                    </a:lnTo>
                    <a:lnTo>
                      <a:pt x="235" y="255"/>
                    </a:lnTo>
                    <a:lnTo>
                      <a:pt x="225" y="242"/>
                    </a:lnTo>
                    <a:lnTo>
                      <a:pt x="216" y="239"/>
                    </a:lnTo>
                    <a:lnTo>
                      <a:pt x="216" y="247"/>
                    </a:lnTo>
                    <a:lnTo>
                      <a:pt x="211" y="256"/>
                    </a:lnTo>
                    <a:lnTo>
                      <a:pt x="217" y="264"/>
                    </a:lnTo>
                    <a:lnTo>
                      <a:pt x="227" y="268"/>
                    </a:lnTo>
                    <a:lnTo>
                      <a:pt x="233" y="291"/>
                    </a:lnTo>
                    <a:lnTo>
                      <a:pt x="231" y="302"/>
                    </a:lnTo>
                    <a:lnTo>
                      <a:pt x="216" y="311"/>
                    </a:lnTo>
                    <a:lnTo>
                      <a:pt x="215" y="331"/>
                    </a:lnTo>
                    <a:lnTo>
                      <a:pt x="211" y="342"/>
                    </a:lnTo>
                    <a:lnTo>
                      <a:pt x="209" y="340"/>
                    </a:lnTo>
                    <a:lnTo>
                      <a:pt x="201" y="344"/>
                    </a:lnTo>
                    <a:lnTo>
                      <a:pt x="195" y="324"/>
                    </a:lnTo>
                    <a:lnTo>
                      <a:pt x="188" y="308"/>
                    </a:lnTo>
                    <a:lnTo>
                      <a:pt x="185" y="287"/>
                    </a:lnTo>
                    <a:lnTo>
                      <a:pt x="181" y="295"/>
                    </a:lnTo>
                    <a:lnTo>
                      <a:pt x="173" y="290"/>
                    </a:lnTo>
                    <a:lnTo>
                      <a:pt x="172" y="301"/>
                    </a:lnTo>
                    <a:lnTo>
                      <a:pt x="174" y="318"/>
                    </a:lnTo>
                    <a:lnTo>
                      <a:pt x="178" y="324"/>
                    </a:lnTo>
                    <a:lnTo>
                      <a:pt x="173" y="334"/>
                    </a:lnTo>
                    <a:lnTo>
                      <a:pt x="181" y="336"/>
                    </a:lnTo>
                    <a:lnTo>
                      <a:pt x="162" y="346"/>
                    </a:lnTo>
                    <a:lnTo>
                      <a:pt x="173" y="352"/>
                    </a:lnTo>
                    <a:lnTo>
                      <a:pt x="181" y="368"/>
                    </a:lnTo>
                    <a:lnTo>
                      <a:pt x="182" y="376"/>
                    </a:lnTo>
                    <a:lnTo>
                      <a:pt x="173" y="376"/>
                    </a:lnTo>
                    <a:lnTo>
                      <a:pt x="171" y="393"/>
                    </a:lnTo>
                    <a:lnTo>
                      <a:pt x="162" y="398"/>
                    </a:lnTo>
                    <a:lnTo>
                      <a:pt x="154" y="398"/>
                    </a:lnTo>
                    <a:lnTo>
                      <a:pt x="145" y="384"/>
                    </a:lnTo>
                    <a:lnTo>
                      <a:pt x="144" y="400"/>
                    </a:lnTo>
                    <a:lnTo>
                      <a:pt x="139" y="411"/>
                    </a:lnTo>
                    <a:lnTo>
                      <a:pt x="131" y="393"/>
                    </a:lnTo>
                    <a:lnTo>
                      <a:pt x="130" y="367"/>
                    </a:lnTo>
                    <a:lnTo>
                      <a:pt x="123" y="367"/>
                    </a:lnTo>
                    <a:lnTo>
                      <a:pt x="114" y="351"/>
                    </a:lnTo>
                    <a:lnTo>
                      <a:pt x="118" y="339"/>
                    </a:lnTo>
                    <a:lnTo>
                      <a:pt x="117" y="328"/>
                    </a:lnTo>
                    <a:lnTo>
                      <a:pt x="114" y="319"/>
                    </a:lnTo>
                    <a:lnTo>
                      <a:pt x="103" y="329"/>
                    </a:lnTo>
                    <a:lnTo>
                      <a:pt x="101" y="349"/>
                    </a:lnTo>
                    <a:lnTo>
                      <a:pt x="101" y="360"/>
                    </a:lnTo>
                    <a:lnTo>
                      <a:pt x="91" y="382"/>
                    </a:lnTo>
                    <a:lnTo>
                      <a:pt x="82" y="371"/>
                    </a:lnTo>
                    <a:lnTo>
                      <a:pt x="56" y="360"/>
                    </a:lnTo>
                    <a:lnTo>
                      <a:pt x="55" y="352"/>
                    </a:lnTo>
                    <a:lnTo>
                      <a:pt x="58" y="346"/>
                    </a:lnTo>
                    <a:lnTo>
                      <a:pt x="58" y="334"/>
                    </a:lnTo>
                    <a:lnTo>
                      <a:pt x="50" y="356"/>
                    </a:lnTo>
                    <a:lnTo>
                      <a:pt x="44" y="361"/>
                    </a:lnTo>
                    <a:lnTo>
                      <a:pt x="37" y="378"/>
                    </a:lnTo>
                    <a:lnTo>
                      <a:pt x="21" y="383"/>
                    </a:lnTo>
                    <a:lnTo>
                      <a:pt x="12" y="373"/>
                    </a:lnTo>
                    <a:lnTo>
                      <a:pt x="12" y="367"/>
                    </a:lnTo>
                    <a:lnTo>
                      <a:pt x="25" y="333"/>
                    </a:lnTo>
                    <a:lnTo>
                      <a:pt x="16" y="328"/>
                    </a:lnTo>
                    <a:lnTo>
                      <a:pt x="2" y="346"/>
                    </a:lnTo>
                    <a:lnTo>
                      <a:pt x="0" y="326"/>
                    </a:lnTo>
                    <a:lnTo>
                      <a:pt x="5" y="317"/>
                    </a:lnTo>
                    <a:lnTo>
                      <a:pt x="15" y="308"/>
                    </a:lnTo>
                    <a:lnTo>
                      <a:pt x="16" y="285"/>
                    </a:lnTo>
                    <a:lnTo>
                      <a:pt x="27" y="280"/>
                    </a:lnTo>
                    <a:lnTo>
                      <a:pt x="29" y="274"/>
                    </a:lnTo>
                    <a:lnTo>
                      <a:pt x="39" y="266"/>
                    </a:lnTo>
                    <a:lnTo>
                      <a:pt x="47" y="266"/>
                    </a:lnTo>
                    <a:lnTo>
                      <a:pt x="59" y="274"/>
                    </a:lnTo>
                    <a:lnTo>
                      <a:pt x="64" y="269"/>
                    </a:lnTo>
                    <a:lnTo>
                      <a:pt x="70" y="271"/>
                    </a:lnTo>
                    <a:lnTo>
                      <a:pt x="82" y="239"/>
                    </a:lnTo>
                    <a:lnTo>
                      <a:pt x="90" y="231"/>
                    </a:lnTo>
                    <a:lnTo>
                      <a:pt x="91" y="225"/>
                    </a:lnTo>
                    <a:lnTo>
                      <a:pt x="90" y="209"/>
                    </a:lnTo>
                    <a:lnTo>
                      <a:pt x="93" y="216"/>
                    </a:lnTo>
                    <a:lnTo>
                      <a:pt x="99" y="213"/>
                    </a:lnTo>
                    <a:lnTo>
                      <a:pt x="111" y="206"/>
                    </a:lnTo>
                    <a:lnTo>
                      <a:pt x="114" y="198"/>
                    </a:lnTo>
                    <a:lnTo>
                      <a:pt x="120" y="198"/>
                    </a:lnTo>
                    <a:lnTo>
                      <a:pt x="134" y="178"/>
                    </a:lnTo>
                    <a:lnTo>
                      <a:pt x="147" y="174"/>
                    </a:lnTo>
                    <a:lnTo>
                      <a:pt x="138" y="170"/>
                    </a:lnTo>
                    <a:lnTo>
                      <a:pt x="147" y="150"/>
                    </a:lnTo>
                    <a:lnTo>
                      <a:pt x="149" y="139"/>
                    </a:lnTo>
                    <a:lnTo>
                      <a:pt x="154" y="13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33" name="Freeform 295"/>
              <p:cNvSpPr>
                <a:spLocks noChangeAspect="1"/>
              </p:cNvSpPr>
              <p:nvPr/>
            </p:nvSpPr>
            <p:spPr bwMode="gray">
              <a:xfrm>
                <a:off x="1271" y="1070"/>
                <a:ext cx="40" cy="39"/>
              </a:xfrm>
              <a:custGeom>
                <a:avLst/>
                <a:gdLst/>
                <a:ahLst/>
                <a:cxnLst>
                  <a:cxn ang="0">
                    <a:pos x="76" y="19"/>
                  </a:cxn>
                  <a:cxn ang="0">
                    <a:pos x="84" y="23"/>
                  </a:cxn>
                  <a:cxn ang="0">
                    <a:pos x="84" y="19"/>
                  </a:cxn>
                  <a:cxn ang="0">
                    <a:pos x="95" y="13"/>
                  </a:cxn>
                  <a:cxn ang="0">
                    <a:pos x="127" y="7"/>
                  </a:cxn>
                  <a:cxn ang="0">
                    <a:pos x="128" y="13"/>
                  </a:cxn>
                  <a:cxn ang="0">
                    <a:pos x="138" y="16"/>
                  </a:cxn>
                  <a:cxn ang="0">
                    <a:pos x="145" y="5"/>
                  </a:cxn>
                  <a:cxn ang="0">
                    <a:pos x="172" y="0"/>
                  </a:cxn>
                  <a:cxn ang="0">
                    <a:pos x="198" y="8"/>
                  </a:cxn>
                  <a:cxn ang="0">
                    <a:pos x="200" y="21"/>
                  </a:cxn>
                  <a:cxn ang="0">
                    <a:pos x="199" y="37"/>
                  </a:cxn>
                  <a:cxn ang="0">
                    <a:pos x="194" y="46"/>
                  </a:cxn>
                  <a:cxn ang="0">
                    <a:pos x="149" y="60"/>
                  </a:cxn>
                  <a:cxn ang="0">
                    <a:pos x="135" y="60"/>
                  </a:cxn>
                  <a:cxn ang="0">
                    <a:pos x="134" y="65"/>
                  </a:cxn>
                  <a:cxn ang="0">
                    <a:pos x="127" y="70"/>
                  </a:cxn>
                  <a:cxn ang="0">
                    <a:pos x="134" y="76"/>
                  </a:cxn>
                  <a:cxn ang="0">
                    <a:pos x="129" y="80"/>
                  </a:cxn>
                  <a:cxn ang="0">
                    <a:pos x="105" y="81"/>
                  </a:cxn>
                  <a:cxn ang="0">
                    <a:pos x="107" y="85"/>
                  </a:cxn>
                  <a:cxn ang="0">
                    <a:pos x="107" y="97"/>
                  </a:cxn>
                  <a:cxn ang="0">
                    <a:pos x="114" y="87"/>
                  </a:cxn>
                  <a:cxn ang="0">
                    <a:pos x="116" y="94"/>
                  </a:cxn>
                  <a:cxn ang="0">
                    <a:pos x="111" y="104"/>
                  </a:cxn>
                  <a:cxn ang="0">
                    <a:pos x="123" y="92"/>
                  </a:cxn>
                  <a:cxn ang="0">
                    <a:pos x="129" y="92"/>
                  </a:cxn>
                  <a:cxn ang="0">
                    <a:pos x="129" y="104"/>
                  </a:cxn>
                  <a:cxn ang="0">
                    <a:pos x="134" y="99"/>
                  </a:cxn>
                  <a:cxn ang="0">
                    <a:pos x="135" y="87"/>
                  </a:cxn>
                  <a:cxn ang="0">
                    <a:pos x="140" y="81"/>
                  </a:cxn>
                  <a:cxn ang="0">
                    <a:pos x="144" y="89"/>
                  </a:cxn>
                  <a:cxn ang="0">
                    <a:pos x="155" y="92"/>
                  </a:cxn>
                  <a:cxn ang="0">
                    <a:pos x="173" y="87"/>
                  </a:cxn>
                  <a:cxn ang="0">
                    <a:pos x="177" y="115"/>
                  </a:cxn>
                  <a:cxn ang="0">
                    <a:pos x="173" y="150"/>
                  </a:cxn>
                  <a:cxn ang="0">
                    <a:pos x="168" y="157"/>
                  </a:cxn>
                  <a:cxn ang="0">
                    <a:pos x="161" y="163"/>
                  </a:cxn>
                  <a:cxn ang="0">
                    <a:pos x="125" y="177"/>
                  </a:cxn>
                  <a:cxn ang="0">
                    <a:pos x="117" y="172"/>
                  </a:cxn>
                  <a:cxn ang="0">
                    <a:pos x="76" y="195"/>
                  </a:cxn>
                  <a:cxn ang="0">
                    <a:pos x="64" y="195"/>
                  </a:cxn>
                  <a:cxn ang="0">
                    <a:pos x="52" y="190"/>
                  </a:cxn>
                  <a:cxn ang="0">
                    <a:pos x="46" y="179"/>
                  </a:cxn>
                  <a:cxn ang="0">
                    <a:pos x="44" y="169"/>
                  </a:cxn>
                  <a:cxn ang="0">
                    <a:pos x="14" y="158"/>
                  </a:cxn>
                  <a:cxn ang="0">
                    <a:pos x="6" y="148"/>
                  </a:cxn>
                  <a:cxn ang="0">
                    <a:pos x="6" y="136"/>
                  </a:cxn>
                  <a:cxn ang="0">
                    <a:pos x="9" y="129"/>
                  </a:cxn>
                  <a:cxn ang="0">
                    <a:pos x="6" y="118"/>
                  </a:cxn>
                  <a:cxn ang="0">
                    <a:pos x="6" y="102"/>
                  </a:cxn>
                  <a:cxn ang="0">
                    <a:pos x="0" y="83"/>
                  </a:cxn>
                  <a:cxn ang="0">
                    <a:pos x="4" y="61"/>
                  </a:cxn>
                  <a:cxn ang="0">
                    <a:pos x="8" y="56"/>
                  </a:cxn>
                  <a:cxn ang="0">
                    <a:pos x="32" y="49"/>
                  </a:cxn>
                  <a:cxn ang="0">
                    <a:pos x="37" y="39"/>
                  </a:cxn>
                  <a:cxn ang="0">
                    <a:pos x="46" y="33"/>
                  </a:cxn>
                  <a:cxn ang="0">
                    <a:pos x="54" y="37"/>
                  </a:cxn>
                  <a:cxn ang="0">
                    <a:pos x="63" y="23"/>
                  </a:cxn>
                  <a:cxn ang="0">
                    <a:pos x="71" y="23"/>
                  </a:cxn>
                  <a:cxn ang="0">
                    <a:pos x="76" y="19"/>
                  </a:cxn>
                </a:cxnLst>
                <a:rect l="0" t="0" r="r" b="b"/>
                <a:pathLst>
                  <a:path w="200" h="195">
                    <a:moveTo>
                      <a:pt x="76" y="19"/>
                    </a:moveTo>
                    <a:lnTo>
                      <a:pt x="84" y="23"/>
                    </a:lnTo>
                    <a:lnTo>
                      <a:pt x="84" y="19"/>
                    </a:lnTo>
                    <a:lnTo>
                      <a:pt x="95" y="13"/>
                    </a:lnTo>
                    <a:lnTo>
                      <a:pt x="127" y="7"/>
                    </a:lnTo>
                    <a:lnTo>
                      <a:pt x="128" y="13"/>
                    </a:lnTo>
                    <a:lnTo>
                      <a:pt x="138" y="16"/>
                    </a:lnTo>
                    <a:lnTo>
                      <a:pt x="145" y="5"/>
                    </a:lnTo>
                    <a:lnTo>
                      <a:pt x="172" y="0"/>
                    </a:lnTo>
                    <a:lnTo>
                      <a:pt x="198" y="8"/>
                    </a:lnTo>
                    <a:lnTo>
                      <a:pt x="200" y="21"/>
                    </a:lnTo>
                    <a:lnTo>
                      <a:pt x="199" y="37"/>
                    </a:lnTo>
                    <a:lnTo>
                      <a:pt x="194" y="46"/>
                    </a:lnTo>
                    <a:lnTo>
                      <a:pt x="149" y="60"/>
                    </a:lnTo>
                    <a:lnTo>
                      <a:pt x="135" y="60"/>
                    </a:lnTo>
                    <a:lnTo>
                      <a:pt x="134" y="65"/>
                    </a:lnTo>
                    <a:lnTo>
                      <a:pt x="127" y="70"/>
                    </a:lnTo>
                    <a:lnTo>
                      <a:pt x="134" y="76"/>
                    </a:lnTo>
                    <a:lnTo>
                      <a:pt x="129" y="80"/>
                    </a:lnTo>
                    <a:lnTo>
                      <a:pt x="105" y="81"/>
                    </a:lnTo>
                    <a:lnTo>
                      <a:pt x="107" y="85"/>
                    </a:lnTo>
                    <a:lnTo>
                      <a:pt x="107" y="97"/>
                    </a:lnTo>
                    <a:lnTo>
                      <a:pt x="114" y="87"/>
                    </a:lnTo>
                    <a:lnTo>
                      <a:pt x="116" y="94"/>
                    </a:lnTo>
                    <a:lnTo>
                      <a:pt x="111" y="104"/>
                    </a:lnTo>
                    <a:lnTo>
                      <a:pt x="123" y="92"/>
                    </a:lnTo>
                    <a:lnTo>
                      <a:pt x="129" y="92"/>
                    </a:lnTo>
                    <a:lnTo>
                      <a:pt x="129" y="104"/>
                    </a:lnTo>
                    <a:lnTo>
                      <a:pt x="134" y="99"/>
                    </a:lnTo>
                    <a:lnTo>
                      <a:pt x="135" y="87"/>
                    </a:lnTo>
                    <a:lnTo>
                      <a:pt x="140" y="81"/>
                    </a:lnTo>
                    <a:lnTo>
                      <a:pt x="144" y="89"/>
                    </a:lnTo>
                    <a:lnTo>
                      <a:pt x="155" y="92"/>
                    </a:lnTo>
                    <a:lnTo>
                      <a:pt x="173" y="87"/>
                    </a:lnTo>
                    <a:lnTo>
                      <a:pt x="177" y="115"/>
                    </a:lnTo>
                    <a:lnTo>
                      <a:pt x="173" y="150"/>
                    </a:lnTo>
                    <a:lnTo>
                      <a:pt x="168" y="157"/>
                    </a:lnTo>
                    <a:lnTo>
                      <a:pt x="161" y="163"/>
                    </a:lnTo>
                    <a:lnTo>
                      <a:pt x="125" y="177"/>
                    </a:lnTo>
                    <a:lnTo>
                      <a:pt x="117" y="172"/>
                    </a:lnTo>
                    <a:lnTo>
                      <a:pt x="76" y="195"/>
                    </a:lnTo>
                    <a:lnTo>
                      <a:pt x="64" y="195"/>
                    </a:lnTo>
                    <a:lnTo>
                      <a:pt x="52" y="190"/>
                    </a:lnTo>
                    <a:lnTo>
                      <a:pt x="46" y="179"/>
                    </a:lnTo>
                    <a:lnTo>
                      <a:pt x="44" y="169"/>
                    </a:lnTo>
                    <a:lnTo>
                      <a:pt x="14" y="158"/>
                    </a:lnTo>
                    <a:lnTo>
                      <a:pt x="6" y="148"/>
                    </a:lnTo>
                    <a:lnTo>
                      <a:pt x="6" y="136"/>
                    </a:lnTo>
                    <a:lnTo>
                      <a:pt x="9" y="129"/>
                    </a:lnTo>
                    <a:lnTo>
                      <a:pt x="6" y="118"/>
                    </a:lnTo>
                    <a:lnTo>
                      <a:pt x="6" y="102"/>
                    </a:lnTo>
                    <a:lnTo>
                      <a:pt x="0" y="83"/>
                    </a:lnTo>
                    <a:lnTo>
                      <a:pt x="4" y="61"/>
                    </a:lnTo>
                    <a:lnTo>
                      <a:pt x="8" y="56"/>
                    </a:lnTo>
                    <a:lnTo>
                      <a:pt x="32" y="49"/>
                    </a:lnTo>
                    <a:lnTo>
                      <a:pt x="37" y="39"/>
                    </a:lnTo>
                    <a:lnTo>
                      <a:pt x="46" y="33"/>
                    </a:lnTo>
                    <a:lnTo>
                      <a:pt x="54" y="37"/>
                    </a:lnTo>
                    <a:lnTo>
                      <a:pt x="63" y="23"/>
                    </a:lnTo>
                    <a:lnTo>
                      <a:pt x="71" y="23"/>
                    </a:lnTo>
                    <a:lnTo>
                      <a:pt x="76" y="1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34" name="Freeform 296"/>
              <p:cNvSpPr>
                <a:spLocks noChangeAspect="1"/>
              </p:cNvSpPr>
              <p:nvPr/>
            </p:nvSpPr>
            <p:spPr bwMode="gray">
              <a:xfrm>
                <a:off x="1271" y="1035"/>
                <a:ext cx="44" cy="26"/>
              </a:xfrm>
              <a:custGeom>
                <a:avLst/>
                <a:gdLst/>
                <a:ahLst/>
                <a:cxnLst>
                  <a:cxn ang="0">
                    <a:pos x="184" y="32"/>
                  </a:cxn>
                  <a:cxn ang="0">
                    <a:pos x="188" y="31"/>
                  </a:cxn>
                  <a:cxn ang="0">
                    <a:pos x="192" y="46"/>
                  </a:cxn>
                  <a:cxn ang="0">
                    <a:pos x="207" y="47"/>
                  </a:cxn>
                  <a:cxn ang="0">
                    <a:pos x="208" y="57"/>
                  </a:cxn>
                  <a:cxn ang="0">
                    <a:pos x="216" y="66"/>
                  </a:cxn>
                  <a:cxn ang="0">
                    <a:pos x="216" y="74"/>
                  </a:cxn>
                  <a:cxn ang="0">
                    <a:pos x="219" y="80"/>
                  </a:cxn>
                  <a:cxn ang="0">
                    <a:pos x="219" y="101"/>
                  </a:cxn>
                  <a:cxn ang="0">
                    <a:pos x="216" y="117"/>
                  </a:cxn>
                  <a:cxn ang="0">
                    <a:pos x="208" y="122"/>
                  </a:cxn>
                  <a:cxn ang="0">
                    <a:pos x="195" y="126"/>
                  </a:cxn>
                  <a:cxn ang="0">
                    <a:pos x="188" y="121"/>
                  </a:cxn>
                  <a:cxn ang="0">
                    <a:pos x="160" y="131"/>
                  </a:cxn>
                  <a:cxn ang="0">
                    <a:pos x="148" y="127"/>
                  </a:cxn>
                  <a:cxn ang="0">
                    <a:pos x="130" y="105"/>
                  </a:cxn>
                  <a:cxn ang="0">
                    <a:pos x="121" y="104"/>
                  </a:cxn>
                  <a:cxn ang="0">
                    <a:pos x="114" y="94"/>
                  </a:cxn>
                  <a:cxn ang="0">
                    <a:pos x="109" y="97"/>
                  </a:cxn>
                  <a:cxn ang="0">
                    <a:pos x="107" y="90"/>
                  </a:cxn>
                  <a:cxn ang="0">
                    <a:pos x="107" y="105"/>
                  </a:cxn>
                  <a:cxn ang="0">
                    <a:pos x="111" y="117"/>
                  </a:cxn>
                  <a:cxn ang="0">
                    <a:pos x="105" y="120"/>
                  </a:cxn>
                  <a:cxn ang="0">
                    <a:pos x="107" y="131"/>
                  </a:cxn>
                  <a:cxn ang="0">
                    <a:pos x="86" y="133"/>
                  </a:cxn>
                  <a:cxn ang="0">
                    <a:pos x="78" y="111"/>
                  </a:cxn>
                  <a:cxn ang="0">
                    <a:pos x="60" y="107"/>
                  </a:cxn>
                  <a:cxn ang="0">
                    <a:pos x="57" y="99"/>
                  </a:cxn>
                  <a:cxn ang="0">
                    <a:pos x="49" y="101"/>
                  </a:cxn>
                  <a:cxn ang="0">
                    <a:pos x="51" y="107"/>
                  </a:cxn>
                  <a:cxn ang="0">
                    <a:pos x="51" y="110"/>
                  </a:cxn>
                  <a:cxn ang="0">
                    <a:pos x="43" y="107"/>
                  </a:cxn>
                  <a:cxn ang="0">
                    <a:pos x="31" y="115"/>
                  </a:cxn>
                  <a:cxn ang="0">
                    <a:pos x="32" y="124"/>
                  </a:cxn>
                  <a:cxn ang="0">
                    <a:pos x="31" y="132"/>
                  </a:cxn>
                  <a:cxn ang="0">
                    <a:pos x="28" y="126"/>
                  </a:cxn>
                  <a:cxn ang="0">
                    <a:pos x="15" y="133"/>
                  </a:cxn>
                  <a:cxn ang="0">
                    <a:pos x="8" y="131"/>
                  </a:cxn>
                  <a:cxn ang="0">
                    <a:pos x="6" y="120"/>
                  </a:cxn>
                  <a:cxn ang="0">
                    <a:pos x="0" y="120"/>
                  </a:cxn>
                  <a:cxn ang="0">
                    <a:pos x="8" y="94"/>
                  </a:cxn>
                  <a:cxn ang="0">
                    <a:pos x="23" y="79"/>
                  </a:cxn>
                  <a:cxn ang="0">
                    <a:pos x="27" y="84"/>
                  </a:cxn>
                  <a:cxn ang="0">
                    <a:pos x="36" y="81"/>
                  </a:cxn>
                  <a:cxn ang="0">
                    <a:pos x="36" y="75"/>
                  </a:cxn>
                  <a:cxn ang="0">
                    <a:pos x="53" y="62"/>
                  </a:cxn>
                  <a:cxn ang="0">
                    <a:pos x="85" y="54"/>
                  </a:cxn>
                  <a:cxn ang="0">
                    <a:pos x="105" y="45"/>
                  </a:cxn>
                  <a:cxn ang="0">
                    <a:pos x="117" y="19"/>
                  </a:cxn>
                  <a:cxn ang="0">
                    <a:pos x="121" y="26"/>
                  </a:cxn>
                  <a:cxn ang="0">
                    <a:pos x="140" y="3"/>
                  </a:cxn>
                  <a:cxn ang="0">
                    <a:pos x="159" y="0"/>
                  </a:cxn>
                  <a:cxn ang="0">
                    <a:pos x="164" y="5"/>
                  </a:cxn>
                  <a:cxn ang="0">
                    <a:pos x="164" y="13"/>
                  </a:cxn>
                  <a:cxn ang="0">
                    <a:pos x="168" y="13"/>
                  </a:cxn>
                  <a:cxn ang="0">
                    <a:pos x="171" y="21"/>
                  </a:cxn>
                  <a:cxn ang="0">
                    <a:pos x="184" y="26"/>
                  </a:cxn>
                  <a:cxn ang="0">
                    <a:pos x="184" y="32"/>
                  </a:cxn>
                </a:cxnLst>
                <a:rect l="0" t="0" r="r" b="b"/>
                <a:pathLst>
                  <a:path w="219" h="133">
                    <a:moveTo>
                      <a:pt x="184" y="32"/>
                    </a:moveTo>
                    <a:lnTo>
                      <a:pt x="188" y="31"/>
                    </a:lnTo>
                    <a:lnTo>
                      <a:pt x="192" y="46"/>
                    </a:lnTo>
                    <a:lnTo>
                      <a:pt x="207" y="47"/>
                    </a:lnTo>
                    <a:lnTo>
                      <a:pt x="208" y="57"/>
                    </a:lnTo>
                    <a:lnTo>
                      <a:pt x="216" y="66"/>
                    </a:lnTo>
                    <a:lnTo>
                      <a:pt x="216" y="74"/>
                    </a:lnTo>
                    <a:lnTo>
                      <a:pt x="219" y="80"/>
                    </a:lnTo>
                    <a:lnTo>
                      <a:pt x="219" y="101"/>
                    </a:lnTo>
                    <a:lnTo>
                      <a:pt x="216" y="117"/>
                    </a:lnTo>
                    <a:lnTo>
                      <a:pt x="208" y="122"/>
                    </a:lnTo>
                    <a:lnTo>
                      <a:pt x="195" y="126"/>
                    </a:lnTo>
                    <a:lnTo>
                      <a:pt x="188" y="121"/>
                    </a:lnTo>
                    <a:lnTo>
                      <a:pt x="160" y="131"/>
                    </a:lnTo>
                    <a:lnTo>
                      <a:pt x="148" y="127"/>
                    </a:lnTo>
                    <a:lnTo>
                      <a:pt x="130" y="105"/>
                    </a:lnTo>
                    <a:lnTo>
                      <a:pt x="121" y="104"/>
                    </a:lnTo>
                    <a:lnTo>
                      <a:pt x="114" y="94"/>
                    </a:lnTo>
                    <a:lnTo>
                      <a:pt x="109" y="97"/>
                    </a:lnTo>
                    <a:lnTo>
                      <a:pt x="107" y="90"/>
                    </a:lnTo>
                    <a:lnTo>
                      <a:pt x="107" y="105"/>
                    </a:lnTo>
                    <a:lnTo>
                      <a:pt x="111" y="117"/>
                    </a:lnTo>
                    <a:lnTo>
                      <a:pt x="105" y="120"/>
                    </a:lnTo>
                    <a:lnTo>
                      <a:pt x="107" y="131"/>
                    </a:lnTo>
                    <a:lnTo>
                      <a:pt x="86" y="133"/>
                    </a:lnTo>
                    <a:lnTo>
                      <a:pt x="78" y="111"/>
                    </a:lnTo>
                    <a:lnTo>
                      <a:pt x="60" y="107"/>
                    </a:lnTo>
                    <a:lnTo>
                      <a:pt x="57" y="99"/>
                    </a:lnTo>
                    <a:lnTo>
                      <a:pt x="49" y="101"/>
                    </a:lnTo>
                    <a:lnTo>
                      <a:pt x="51" y="107"/>
                    </a:lnTo>
                    <a:lnTo>
                      <a:pt x="51" y="110"/>
                    </a:lnTo>
                    <a:lnTo>
                      <a:pt x="43" y="107"/>
                    </a:lnTo>
                    <a:lnTo>
                      <a:pt x="31" y="115"/>
                    </a:lnTo>
                    <a:lnTo>
                      <a:pt x="32" y="124"/>
                    </a:lnTo>
                    <a:lnTo>
                      <a:pt x="31" y="132"/>
                    </a:lnTo>
                    <a:lnTo>
                      <a:pt x="28" y="126"/>
                    </a:lnTo>
                    <a:lnTo>
                      <a:pt x="15" y="133"/>
                    </a:lnTo>
                    <a:lnTo>
                      <a:pt x="8" y="131"/>
                    </a:lnTo>
                    <a:lnTo>
                      <a:pt x="6" y="120"/>
                    </a:lnTo>
                    <a:lnTo>
                      <a:pt x="0" y="120"/>
                    </a:lnTo>
                    <a:lnTo>
                      <a:pt x="8" y="94"/>
                    </a:lnTo>
                    <a:lnTo>
                      <a:pt x="23" y="79"/>
                    </a:lnTo>
                    <a:lnTo>
                      <a:pt x="27" y="84"/>
                    </a:lnTo>
                    <a:lnTo>
                      <a:pt x="36" y="81"/>
                    </a:lnTo>
                    <a:lnTo>
                      <a:pt x="36" y="75"/>
                    </a:lnTo>
                    <a:lnTo>
                      <a:pt x="53" y="62"/>
                    </a:lnTo>
                    <a:lnTo>
                      <a:pt x="85" y="54"/>
                    </a:lnTo>
                    <a:lnTo>
                      <a:pt x="105" y="45"/>
                    </a:lnTo>
                    <a:lnTo>
                      <a:pt x="117" y="19"/>
                    </a:lnTo>
                    <a:lnTo>
                      <a:pt x="121" y="26"/>
                    </a:lnTo>
                    <a:lnTo>
                      <a:pt x="140" y="3"/>
                    </a:lnTo>
                    <a:lnTo>
                      <a:pt x="159" y="0"/>
                    </a:lnTo>
                    <a:lnTo>
                      <a:pt x="164" y="5"/>
                    </a:lnTo>
                    <a:lnTo>
                      <a:pt x="164" y="13"/>
                    </a:lnTo>
                    <a:lnTo>
                      <a:pt x="168" y="13"/>
                    </a:lnTo>
                    <a:lnTo>
                      <a:pt x="171" y="21"/>
                    </a:lnTo>
                    <a:lnTo>
                      <a:pt x="184" y="26"/>
                    </a:lnTo>
                    <a:lnTo>
                      <a:pt x="184" y="3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35" name="Freeform 297"/>
              <p:cNvSpPr>
                <a:spLocks noChangeAspect="1"/>
              </p:cNvSpPr>
              <p:nvPr/>
            </p:nvSpPr>
            <p:spPr bwMode="gray">
              <a:xfrm>
                <a:off x="1461" y="1086"/>
                <a:ext cx="33" cy="21"/>
              </a:xfrm>
              <a:custGeom>
                <a:avLst/>
                <a:gdLst/>
                <a:ahLst/>
                <a:cxnLst>
                  <a:cxn ang="0">
                    <a:pos x="61" y="15"/>
                  </a:cxn>
                  <a:cxn ang="0">
                    <a:pos x="70" y="20"/>
                  </a:cxn>
                  <a:cxn ang="0">
                    <a:pos x="73" y="12"/>
                  </a:cxn>
                  <a:cxn ang="0">
                    <a:pos x="89" y="10"/>
                  </a:cxn>
                  <a:cxn ang="0">
                    <a:pos x="89" y="15"/>
                  </a:cxn>
                  <a:cxn ang="0">
                    <a:pos x="103" y="20"/>
                  </a:cxn>
                  <a:cxn ang="0">
                    <a:pos x="106" y="15"/>
                  </a:cxn>
                  <a:cxn ang="0">
                    <a:pos x="124" y="26"/>
                  </a:cxn>
                  <a:cxn ang="0">
                    <a:pos x="135" y="25"/>
                  </a:cxn>
                  <a:cxn ang="0">
                    <a:pos x="140" y="15"/>
                  </a:cxn>
                  <a:cxn ang="0">
                    <a:pos x="147" y="25"/>
                  </a:cxn>
                  <a:cxn ang="0">
                    <a:pos x="158" y="30"/>
                  </a:cxn>
                  <a:cxn ang="0">
                    <a:pos x="164" y="44"/>
                  </a:cxn>
                  <a:cxn ang="0">
                    <a:pos x="162" y="49"/>
                  </a:cxn>
                  <a:cxn ang="0">
                    <a:pos x="151" y="52"/>
                  </a:cxn>
                  <a:cxn ang="0">
                    <a:pos x="148" y="57"/>
                  </a:cxn>
                  <a:cxn ang="0">
                    <a:pos x="151" y="62"/>
                  </a:cxn>
                  <a:cxn ang="0">
                    <a:pos x="152" y="71"/>
                  </a:cxn>
                  <a:cxn ang="0">
                    <a:pos x="149" y="85"/>
                  </a:cxn>
                  <a:cxn ang="0">
                    <a:pos x="151" y="91"/>
                  </a:cxn>
                  <a:cxn ang="0">
                    <a:pos x="146" y="101"/>
                  </a:cxn>
                  <a:cxn ang="0">
                    <a:pos x="126" y="103"/>
                  </a:cxn>
                  <a:cxn ang="0">
                    <a:pos x="105" y="98"/>
                  </a:cxn>
                  <a:cxn ang="0">
                    <a:pos x="99" y="91"/>
                  </a:cxn>
                  <a:cxn ang="0">
                    <a:pos x="82" y="93"/>
                  </a:cxn>
                  <a:cxn ang="0">
                    <a:pos x="81" y="89"/>
                  </a:cxn>
                  <a:cxn ang="0">
                    <a:pos x="65" y="97"/>
                  </a:cxn>
                  <a:cxn ang="0">
                    <a:pos x="63" y="92"/>
                  </a:cxn>
                  <a:cxn ang="0">
                    <a:pos x="54" y="87"/>
                  </a:cxn>
                  <a:cxn ang="0">
                    <a:pos x="34" y="87"/>
                  </a:cxn>
                  <a:cxn ang="0">
                    <a:pos x="24" y="76"/>
                  </a:cxn>
                  <a:cxn ang="0">
                    <a:pos x="17" y="76"/>
                  </a:cxn>
                  <a:cxn ang="0">
                    <a:pos x="7" y="63"/>
                  </a:cxn>
                  <a:cxn ang="0">
                    <a:pos x="3" y="52"/>
                  </a:cxn>
                  <a:cxn ang="0">
                    <a:pos x="3" y="44"/>
                  </a:cxn>
                  <a:cxn ang="0">
                    <a:pos x="0" y="42"/>
                  </a:cxn>
                  <a:cxn ang="0">
                    <a:pos x="2" y="30"/>
                  </a:cxn>
                  <a:cxn ang="0">
                    <a:pos x="13" y="20"/>
                  </a:cxn>
                  <a:cxn ang="0">
                    <a:pos x="30" y="15"/>
                  </a:cxn>
                  <a:cxn ang="0">
                    <a:pos x="35" y="0"/>
                  </a:cxn>
                  <a:cxn ang="0">
                    <a:pos x="41" y="0"/>
                  </a:cxn>
                  <a:cxn ang="0">
                    <a:pos x="45" y="15"/>
                  </a:cxn>
                  <a:cxn ang="0">
                    <a:pos x="50" y="12"/>
                  </a:cxn>
                  <a:cxn ang="0">
                    <a:pos x="54" y="17"/>
                  </a:cxn>
                  <a:cxn ang="0">
                    <a:pos x="61" y="15"/>
                  </a:cxn>
                </a:cxnLst>
                <a:rect l="0" t="0" r="r" b="b"/>
                <a:pathLst>
                  <a:path w="164" h="103">
                    <a:moveTo>
                      <a:pt x="61" y="15"/>
                    </a:moveTo>
                    <a:lnTo>
                      <a:pt x="70" y="20"/>
                    </a:lnTo>
                    <a:lnTo>
                      <a:pt x="73" y="12"/>
                    </a:lnTo>
                    <a:lnTo>
                      <a:pt x="89" y="10"/>
                    </a:lnTo>
                    <a:lnTo>
                      <a:pt x="89" y="15"/>
                    </a:lnTo>
                    <a:lnTo>
                      <a:pt x="103" y="20"/>
                    </a:lnTo>
                    <a:lnTo>
                      <a:pt x="106" y="15"/>
                    </a:lnTo>
                    <a:lnTo>
                      <a:pt x="124" y="26"/>
                    </a:lnTo>
                    <a:lnTo>
                      <a:pt x="135" y="25"/>
                    </a:lnTo>
                    <a:lnTo>
                      <a:pt x="140" y="15"/>
                    </a:lnTo>
                    <a:lnTo>
                      <a:pt x="147" y="25"/>
                    </a:lnTo>
                    <a:lnTo>
                      <a:pt x="158" y="30"/>
                    </a:lnTo>
                    <a:lnTo>
                      <a:pt x="164" y="44"/>
                    </a:lnTo>
                    <a:lnTo>
                      <a:pt x="162" y="49"/>
                    </a:lnTo>
                    <a:lnTo>
                      <a:pt x="151" y="52"/>
                    </a:lnTo>
                    <a:lnTo>
                      <a:pt x="148" y="57"/>
                    </a:lnTo>
                    <a:lnTo>
                      <a:pt x="151" y="62"/>
                    </a:lnTo>
                    <a:lnTo>
                      <a:pt x="152" y="71"/>
                    </a:lnTo>
                    <a:lnTo>
                      <a:pt x="149" y="85"/>
                    </a:lnTo>
                    <a:lnTo>
                      <a:pt x="151" y="91"/>
                    </a:lnTo>
                    <a:lnTo>
                      <a:pt x="146" y="101"/>
                    </a:lnTo>
                    <a:lnTo>
                      <a:pt x="126" y="103"/>
                    </a:lnTo>
                    <a:lnTo>
                      <a:pt x="105" y="98"/>
                    </a:lnTo>
                    <a:lnTo>
                      <a:pt x="99" y="91"/>
                    </a:lnTo>
                    <a:lnTo>
                      <a:pt x="82" y="93"/>
                    </a:lnTo>
                    <a:lnTo>
                      <a:pt x="81" y="89"/>
                    </a:lnTo>
                    <a:lnTo>
                      <a:pt x="65" y="97"/>
                    </a:lnTo>
                    <a:lnTo>
                      <a:pt x="63" y="92"/>
                    </a:lnTo>
                    <a:lnTo>
                      <a:pt x="54" y="87"/>
                    </a:lnTo>
                    <a:lnTo>
                      <a:pt x="34" y="87"/>
                    </a:lnTo>
                    <a:lnTo>
                      <a:pt x="24" y="76"/>
                    </a:lnTo>
                    <a:lnTo>
                      <a:pt x="17" y="76"/>
                    </a:lnTo>
                    <a:lnTo>
                      <a:pt x="7" y="63"/>
                    </a:lnTo>
                    <a:lnTo>
                      <a:pt x="3" y="52"/>
                    </a:lnTo>
                    <a:lnTo>
                      <a:pt x="3" y="44"/>
                    </a:lnTo>
                    <a:lnTo>
                      <a:pt x="0" y="42"/>
                    </a:lnTo>
                    <a:lnTo>
                      <a:pt x="2" y="30"/>
                    </a:lnTo>
                    <a:lnTo>
                      <a:pt x="13" y="20"/>
                    </a:lnTo>
                    <a:lnTo>
                      <a:pt x="30" y="15"/>
                    </a:lnTo>
                    <a:lnTo>
                      <a:pt x="35" y="0"/>
                    </a:lnTo>
                    <a:lnTo>
                      <a:pt x="41" y="0"/>
                    </a:lnTo>
                    <a:lnTo>
                      <a:pt x="45" y="15"/>
                    </a:lnTo>
                    <a:lnTo>
                      <a:pt x="50" y="12"/>
                    </a:lnTo>
                    <a:lnTo>
                      <a:pt x="54" y="17"/>
                    </a:lnTo>
                    <a:lnTo>
                      <a:pt x="61" y="1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36" name="Freeform 298"/>
              <p:cNvSpPr>
                <a:spLocks noChangeAspect="1"/>
              </p:cNvSpPr>
              <p:nvPr/>
            </p:nvSpPr>
            <p:spPr bwMode="gray">
              <a:xfrm>
                <a:off x="1452" y="1121"/>
                <a:ext cx="189" cy="119"/>
              </a:xfrm>
              <a:custGeom>
                <a:avLst/>
                <a:gdLst/>
                <a:ahLst/>
                <a:cxnLst>
                  <a:cxn ang="0">
                    <a:pos x="27" y="21"/>
                  </a:cxn>
                  <a:cxn ang="0">
                    <a:pos x="19" y="52"/>
                  </a:cxn>
                  <a:cxn ang="0">
                    <a:pos x="3" y="68"/>
                  </a:cxn>
                  <a:cxn ang="0">
                    <a:pos x="37" y="106"/>
                  </a:cxn>
                  <a:cxn ang="0">
                    <a:pos x="110" y="210"/>
                  </a:cxn>
                  <a:cxn ang="0">
                    <a:pos x="169" y="197"/>
                  </a:cxn>
                  <a:cxn ang="0">
                    <a:pos x="197" y="176"/>
                  </a:cxn>
                  <a:cxn ang="0">
                    <a:pos x="229" y="268"/>
                  </a:cxn>
                  <a:cxn ang="0">
                    <a:pos x="266" y="354"/>
                  </a:cxn>
                  <a:cxn ang="0">
                    <a:pos x="245" y="454"/>
                  </a:cxn>
                  <a:cxn ang="0">
                    <a:pos x="271" y="534"/>
                  </a:cxn>
                  <a:cxn ang="0">
                    <a:pos x="307" y="537"/>
                  </a:cxn>
                  <a:cxn ang="0">
                    <a:pos x="345" y="559"/>
                  </a:cxn>
                  <a:cxn ang="0">
                    <a:pos x="397" y="580"/>
                  </a:cxn>
                  <a:cxn ang="0">
                    <a:pos x="412" y="527"/>
                  </a:cxn>
                  <a:cxn ang="0">
                    <a:pos x="443" y="517"/>
                  </a:cxn>
                  <a:cxn ang="0">
                    <a:pos x="466" y="591"/>
                  </a:cxn>
                  <a:cxn ang="0">
                    <a:pos x="517" y="575"/>
                  </a:cxn>
                  <a:cxn ang="0">
                    <a:pos x="559" y="579"/>
                  </a:cxn>
                  <a:cxn ang="0">
                    <a:pos x="590" y="579"/>
                  </a:cxn>
                  <a:cxn ang="0">
                    <a:pos x="640" y="585"/>
                  </a:cxn>
                  <a:cxn ang="0">
                    <a:pos x="658" y="580"/>
                  </a:cxn>
                  <a:cxn ang="0">
                    <a:pos x="728" y="497"/>
                  </a:cxn>
                  <a:cxn ang="0">
                    <a:pos x="775" y="582"/>
                  </a:cxn>
                  <a:cxn ang="0">
                    <a:pos x="837" y="579"/>
                  </a:cxn>
                  <a:cxn ang="0">
                    <a:pos x="913" y="528"/>
                  </a:cxn>
                  <a:cxn ang="0">
                    <a:pos x="917" y="453"/>
                  </a:cxn>
                  <a:cxn ang="0">
                    <a:pos x="936" y="376"/>
                  </a:cxn>
                  <a:cxn ang="0">
                    <a:pos x="912" y="346"/>
                  </a:cxn>
                  <a:cxn ang="0">
                    <a:pos x="859" y="302"/>
                  </a:cxn>
                  <a:cxn ang="0">
                    <a:pos x="737" y="302"/>
                  </a:cxn>
                  <a:cxn ang="0">
                    <a:pos x="670" y="330"/>
                  </a:cxn>
                  <a:cxn ang="0">
                    <a:pos x="635" y="348"/>
                  </a:cxn>
                  <a:cxn ang="0">
                    <a:pos x="610" y="361"/>
                  </a:cxn>
                  <a:cxn ang="0">
                    <a:pos x="617" y="399"/>
                  </a:cxn>
                  <a:cxn ang="0">
                    <a:pos x="560" y="386"/>
                  </a:cxn>
                  <a:cxn ang="0">
                    <a:pos x="503" y="386"/>
                  </a:cxn>
                  <a:cxn ang="0">
                    <a:pos x="465" y="383"/>
                  </a:cxn>
                  <a:cxn ang="0">
                    <a:pos x="436" y="348"/>
                  </a:cxn>
                  <a:cxn ang="0">
                    <a:pos x="407" y="357"/>
                  </a:cxn>
                  <a:cxn ang="0">
                    <a:pos x="390" y="354"/>
                  </a:cxn>
                  <a:cxn ang="0">
                    <a:pos x="381" y="306"/>
                  </a:cxn>
                  <a:cxn ang="0">
                    <a:pos x="358" y="279"/>
                  </a:cxn>
                  <a:cxn ang="0">
                    <a:pos x="327" y="289"/>
                  </a:cxn>
                  <a:cxn ang="0">
                    <a:pos x="354" y="263"/>
                  </a:cxn>
                  <a:cxn ang="0">
                    <a:pos x="325" y="246"/>
                  </a:cxn>
                  <a:cxn ang="0">
                    <a:pos x="296" y="206"/>
                  </a:cxn>
                  <a:cxn ang="0">
                    <a:pos x="347" y="232"/>
                  </a:cxn>
                  <a:cxn ang="0">
                    <a:pos x="418" y="193"/>
                  </a:cxn>
                  <a:cxn ang="0">
                    <a:pos x="344" y="172"/>
                  </a:cxn>
                  <a:cxn ang="0">
                    <a:pos x="323" y="144"/>
                  </a:cxn>
                  <a:cxn ang="0">
                    <a:pos x="350" y="139"/>
                  </a:cxn>
                  <a:cxn ang="0">
                    <a:pos x="293" y="95"/>
                  </a:cxn>
                  <a:cxn ang="0">
                    <a:pos x="232" y="123"/>
                  </a:cxn>
                  <a:cxn ang="0">
                    <a:pos x="192" y="123"/>
                  </a:cxn>
                  <a:cxn ang="0">
                    <a:pos x="176" y="36"/>
                  </a:cxn>
                  <a:cxn ang="0">
                    <a:pos x="111" y="15"/>
                  </a:cxn>
                </a:cxnLst>
                <a:rect l="0" t="0" r="r" b="b"/>
                <a:pathLst>
                  <a:path w="944" h="593">
                    <a:moveTo>
                      <a:pt x="111" y="15"/>
                    </a:moveTo>
                    <a:lnTo>
                      <a:pt x="101" y="17"/>
                    </a:lnTo>
                    <a:lnTo>
                      <a:pt x="79" y="2"/>
                    </a:lnTo>
                    <a:lnTo>
                      <a:pt x="60" y="0"/>
                    </a:lnTo>
                    <a:lnTo>
                      <a:pt x="27" y="11"/>
                    </a:lnTo>
                    <a:lnTo>
                      <a:pt x="27" y="21"/>
                    </a:lnTo>
                    <a:lnTo>
                      <a:pt x="21" y="27"/>
                    </a:lnTo>
                    <a:lnTo>
                      <a:pt x="6" y="25"/>
                    </a:lnTo>
                    <a:lnTo>
                      <a:pt x="9" y="32"/>
                    </a:lnTo>
                    <a:lnTo>
                      <a:pt x="5" y="39"/>
                    </a:lnTo>
                    <a:lnTo>
                      <a:pt x="8" y="48"/>
                    </a:lnTo>
                    <a:lnTo>
                      <a:pt x="19" y="52"/>
                    </a:lnTo>
                    <a:lnTo>
                      <a:pt x="31" y="66"/>
                    </a:lnTo>
                    <a:lnTo>
                      <a:pt x="36" y="72"/>
                    </a:lnTo>
                    <a:lnTo>
                      <a:pt x="37" y="76"/>
                    </a:lnTo>
                    <a:lnTo>
                      <a:pt x="21" y="76"/>
                    </a:lnTo>
                    <a:lnTo>
                      <a:pt x="6" y="64"/>
                    </a:lnTo>
                    <a:lnTo>
                      <a:pt x="3" y="68"/>
                    </a:lnTo>
                    <a:lnTo>
                      <a:pt x="0" y="84"/>
                    </a:lnTo>
                    <a:lnTo>
                      <a:pt x="6" y="90"/>
                    </a:lnTo>
                    <a:lnTo>
                      <a:pt x="24" y="92"/>
                    </a:lnTo>
                    <a:lnTo>
                      <a:pt x="25" y="99"/>
                    </a:lnTo>
                    <a:lnTo>
                      <a:pt x="35" y="108"/>
                    </a:lnTo>
                    <a:lnTo>
                      <a:pt x="37" y="106"/>
                    </a:lnTo>
                    <a:lnTo>
                      <a:pt x="45" y="122"/>
                    </a:lnTo>
                    <a:lnTo>
                      <a:pt x="52" y="120"/>
                    </a:lnTo>
                    <a:lnTo>
                      <a:pt x="72" y="167"/>
                    </a:lnTo>
                    <a:lnTo>
                      <a:pt x="91" y="169"/>
                    </a:lnTo>
                    <a:lnTo>
                      <a:pt x="101" y="179"/>
                    </a:lnTo>
                    <a:lnTo>
                      <a:pt x="110" y="210"/>
                    </a:lnTo>
                    <a:lnTo>
                      <a:pt x="111" y="192"/>
                    </a:lnTo>
                    <a:lnTo>
                      <a:pt x="118" y="201"/>
                    </a:lnTo>
                    <a:lnTo>
                      <a:pt x="169" y="210"/>
                    </a:lnTo>
                    <a:lnTo>
                      <a:pt x="175" y="209"/>
                    </a:lnTo>
                    <a:lnTo>
                      <a:pt x="167" y="204"/>
                    </a:lnTo>
                    <a:lnTo>
                      <a:pt x="169" y="197"/>
                    </a:lnTo>
                    <a:lnTo>
                      <a:pt x="176" y="194"/>
                    </a:lnTo>
                    <a:lnTo>
                      <a:pt x="177" y="197"/>
                    </a:lnTo>
                    <a:lnTo>
                      <a:pt x="185" y="192"/>
                    </a:lnTo>
                    <a:lnTo>
                      <a:pt x="191" y="187"/>
                    </a:lnTo>
                    <a:lnTo>
                      <a:pt x="192" y="181"/>
                    </a:lnTo>
                    <a:lnTo>
                      <a:pt x="197" y="176"/>
                    </a:lnTo>
                    <a:lnTo>
                      <a:pt x="207" y="183"/>
                    </a:lnTo>
                    <a:lnTo>
                      <a:pt x="210" y="203"/>
                    </a:lnTo>
                    <a:lnTo>
                      <a:pt x="216" y="216"/>
                    </a:lnTo>
                    <a:lnTo>
                      <a:pt x="224" y="230"/>
                    </a:lnTo>
                    <a:lnTo>
                      <a:pt x="229" y="253"/>
                    </a:lnTo>
                    <a:lnTo>
                      <a:pt x="229" y="268"/>
                    </a:lnTo>
                    <a:lnTo>
                      <a:pt x="234" y="271"/>
                    </a:lnTo>
                    <a:lnTo>
                      <a:pt x="246" y="289"/>
                    </a:lnTo>
                    <a:lnTo>
                      <a:pt x="255" y="306"/>
                    </a:lnTo>
                    <a:lnTo>
                      <a:pt x="256" y="328"/>
                    </a:lnTo>
                    <a:lnTo>
                      <a:pt x="258" y="345"/>
                    </a:lnTo>
                    <a:lnTo>
                      <a:pt x="266" y="354"/>
                    </a:lnTo>
                    <a:lnTo>
                      <a:pt x="253" y="367"/>
                    </a:lnTo>
                    <a:lnTo>
                      <a:pt x="239" y="397"/>
                    </a:lnTo>
                    <a:lnTo>
                      <a:pt x="245" y="400"/>
                    </a:lnTo>
                    <a:lnTo>
                      <a:pt x="240" y="426"/>
                    </a:lnTo>
                    <a:lnTo>
                      <a:pt x="239" y="437"/>
                    </a:lnTo>
                    <a:lnTo>
                      <a:pt x="245" y="454"/>
                    </a:lnTo>
                    <a:lnTo>
                      <a:pt x="264" y="450"/>
                    </a:lnTo>
                    <a:lnTo>
                      <a:pt x="261" y="466"/>
                    </a:lnTo>
                    <a:lnTo>
                      <a:pt x="256" y="481"/>
                    </a:lnTo>
                    <a:lnTo>
                      <a:pt x="258" y="507"/>
                    </a:lnTo>
                    <a:lnTo>
                      <a:pt x="257" y="518"/>
                    </a:lnTo>
                    <a:lnTo>
                      <a:pt x="271" y="534"/>
                    </a:lnTo>
                    <a:lnTo>
                      <a:pt x="288" y="540"/>
                    </a:lnTo>
                    <a:lnTo>
                      <a:pt x="282" y="543"/>
                    </a:lnTo>
                    <a:lnTo>
                      <a:pt x="283" y="551"/>
                    </a:lnTo>
                    <a:lnTo>
                      <a:pt x="288" y="558"/>
                    </a:lnTo>
                    <a:lnTo>
                      <a:pt x="306" y="554"/>
                    </a:lnTo>
                    <a:lnTo>
                      <a:pt x="307" y="537"/>
                    </a:lnTo>
                    <a:lnTo>
                      <a:pt x="312" y="533"/>
                    </a:lnTo>
                    <a:lnTo>
                      <a:pt x="330" y="517"/>
                    </a:lnTo>
                    <a:lnTo>
                      <a:pt x="318" y="537"/>
                    </a:lnTo>
                    <a:lnTo>
                      <a:pt x="334" y="560"/>
                    </a:lnTo>
                    <a:lnTo>
                      <a:pt x="334" y="533"/>
                    </a:lnTo>
                    <a:lnTo>
                      <a:pt x="345" y="559"/>
                    </a:lnTo>
                    <a:lnTo>
                      <a:pt x="355" y="559"/>
                    </a:lnTo>
                    <a:lnTo>
                      <a:pt x="352" y="569"/>
                    </a:lnTo>
                    <a:lnTo>
                      <a:pt x="363" y="572"/>
                    </a:lnTo>
                    <a:lnTo>
                      <a:pt x="366" y="564"/>
                    </a:lnTo>
                    <a:lnTo>
                      <a:pt x="369" y="577"/>
                    </a:lnTo>
                    <a:lnTo>
                      <a:pt x="397" y="580"/>
                    </a:lnTo>
                    <a:lnTo>
                      <a:pt x="417" y="558"/>
                    </a:lnTo>
                    <a:lnTo>
                      <a:pt x="416" y="553"/>
                    </a:lnTo>
                    <a:lnTo>
                      <a:pt x="404" y="542"/>
                    </a:lnTo>
                    <a:lnTo>
                      <a:pt x="407" y="529"/>
                    </a:lnTo>
                    <a:lnTo>
                      <a:pt x="404" y="529"/>
                    </a:lnTo>
                    <a:lnTo>
                      <a:pt x="412" y="527"/>
                    </a:lnTo>
                    <a:lnTo>
                      <a:pt x="419" y="531"/>
                    </a:lnTo>
                    <a:lnTo>
                      <a:pt x="418" y="517"/>
                    </a:lnTo>
                    <a:lnTo>
                      <a:pt x="425" y="540"/>
                    </a:lnTo>
                    <a:lnTo>
                      <a:pt x="431" y="550"/>
                    </a:lnTo>
                    <a:lnTo>
                      <a:pt x="441" y="531"/>
                    </a:lnTo>
                    <a:lnTo>
                      <a:pt x="443" y="517"/>
                    </a:lnTo>
                    <a:lnTo>
                      <a:pt x="447" y="518"/>
                    </a:lnTo>
                    <a:lnTo>
                      <a:pt x="456" y="528"/>
                    </a:lnTo>
                    <a:lnTo>
                      <a:pt x="456" y="538"/>
                    </a:lnTo>
                    <a:lnTo>
                      <a:pt x="452" y="561"/>
                    </a:lnTo>
                    <a:lnTo>
                      <a:pt x="451" y="585"/>
                    </a:lnTo>
                    <a:lnTo>
                      <a:pt x="466" y="591"/>
                    </a:lnTo>
                    <a:lnTo>
                      <a:pt x="474" y="585"/>
                    </a:lnTo>
                    <a:lnTo>
                      <a:pt x="486" y="591"/>
                    </a:lnTo>
                    <a:lnTo>
                      <a:pt x="493" y="583"/>
                    </a:lnTo>
                    <a:lnTo>
                      <a:pt x="497" y="593"/>
                    </a:lnTo>
                    <a:lnTo>
                      <a:pt x="516" y="588"/>
                    </a:lnTo>
                    <a:lnTo>
                      <a:pt x="517" y="575"/>
                    </a:lnTo>
                    <a:lnTo>
                      <a:pt x="525" y="575"/>
                    </a:lnTo>
                    <a:lnTo>
                      <a:pt x="524" y="588"/>
                    </a:lnTo>
                    <a:lnTo>
                      <a:pt x="533" y="591"/>
                    </a:lnTo>
                    <a:lnTo>
                      <a:pt x="554" y="592"/>
                    </a:lnTo>
                    <a:lnTo>
                      <a:pt x="560" y="587"/>
                    </a:lnTo>
                    <a:lnTo>
                      <a:pt x="559" y="579"/>
                    </a:lnTo>
                    <a:lnTo>
                      <a:pt x="553" y="566"/>
                    </a:lnTo>
                    <a:lnTo>
                      <a:pt x="557" y="579"/>
                    </a:lnTo>
                    <a:lnTo>
                      <a:pt x="572" y="588"/>
                    </a:lnTo>
                    <a:lnTo>
                      <a:pt x="579" y="580"/>
                    </a:lnTo>
                    <a:lnTo>
                      <a:pt x="583" y="566"/>
                    </a:lnTo>
                    <a:lnTo>
                      <a:pt x="590" y="579"/>
                    </a:lnTo>
                    <a:lnTo>
                      <a:pt x="594" y="592"/>
                    </a:lnTo>
                    <a:lnTo>
                      <a:pt x="613" y="588"/>
                    </a:lnTo>
                    <a:lnTo>
                      <a:pt x="621" y="575"/>
                    </a:lnTo>
                    <a:lnTo>
                      <a:pt x="621" y="549"/>
                    </a:lnTo>
                    <a:lnTo>
                      <a:pt x="634" y="581"/>
                    </a:lnTo>
                    <a:lnTo>
                      <a:pt x="640" y="585"/>
                    </a:lnTo>
                    <a:lnTo>
                      <a:pt x="643" y="576"/>
                    </a:lnTo>
                    <a:lnTo>
                      <a:pt x="651" y="566"/>
                    </a:lnTo>
                    <a:lnTo>
                      <a:pt x="649" y="551"/>
                    </a:lnTo>
                    <a:lnTo>
                      <a:pt x="650" y="543"/>
                    </a:lnTo>
                    <a:lnTo>
                      <a:pt x="651" y="556"/>
                    </a:lnTo>
                    <a:lnTo>
                      <a:pt x="658" y="580"/>
                    </a:lnTo>
                    <a:lnTo>
                      <a:pt x="682" y="580"/>
                    </a:lnTo>
                    <a:lnTo>
                      <a:pt x="730" y="569"/>
                    </a:lnTo>
                    <a:lnTo>
                      <a:pt x="747" y="532"/>
                    </a:lnTo>
                    <a:lnTo>
                      <a:pt x="737" y="521"/>
                    </a:lnTo>
                    <a:lnTo>
                      <a:pt x="731" y="505"/>
                    </a:lnTo>
                    <a:lnTo>
                      <a:pt x="728" y="497"/>
                    </a:lnTo>
                    <a:lnTo>
                      <a:pt x="739" y="504"/>
                    </a:lnTo>
                    <a:lnTo>
                      <a:pt x="746" y="518"/>
                    </a:lnTo>
                    <a:lnTo>
                      <a:pt x="757" y="518"/>
                    </a:lnTo>
                    <a:lnTo>
                      <a:pt x="758" y="533"/>
                    </a:lnTo>
                    <a:lnTo>
                      <a:pt x="758" y="559"/>
                    </a:lnTo>
                    <a:lnTo>
                      <a:pt x="775" y="582"/>
                    </a:lnTo>
                    <a:lnTo>
                      <a:pt x="788" y="580"/>
                    </a:lnTo>
                    <a:lnTo>
                      <a:pt x="790" y="570"/>
                    </a:lnTo>
                    <a:lnTo>
                      <a:pt x="796" y="580"/>
                    </a:lnTo>
                    <a:lnTo>
                      <a:pt x="811" y="588"/>
                    </a:lnTo>
                    <a:lnTo>
                      <a:pt x="825" y="591"/>
                    </a:lnTo>
                    <a:lnTo>
                      <a:pt x="837" y="579"/>
                    </a:lnTo>
                    <a:lnTo>
                      <a:pt x="859" y="570"/>
                    </a:lnTo>
                    <a:lnTo>
                      <a:pt x="892" y="570"/>
                    </a:lnTo>
                    <a:lnTo>
                      <a:pt x="903" y="564"/>
                    </a:lnTo>
                    <a:lnTo>
                      <a:pt x="917" y="563"/>
                    </a:lnTo>
                    <a:lnTo>
                      <a:pt x="917" y="534"/>
                    </a:lnTo>
                    <a:lnTo>
                      <a:pt x="913" y="528"/>
                    </a:lnTo>
                    <a:lnTo>
                      <a:pt x="915" y="521"/>
                    </a:lnTo>
                    <a:lnTo>
                      <a:pt x="909" y="510"/>
                    </a:lnTo>
                    <a:lnTo>
                      <a:pt x="896" y="495"/>
                    </a:lnTo>
                    <a:lnTo>
                      <a:pt x="897" y="468"/>
                    </a:lnTo>
                    <a:lnTo>
                      <a:pt x="907" y="463"/>
                    </a:lnTo>
                    <a:lnTo>
                      <a:pt x="917" y="453"/>
                    </a:lnTo>
                    <a:lnTo>
                      <a:pt x="923" y="440"/>
                    </a:lnTo>
                    <a:lnTo>
                      <a:pt x="935" y="434"/>
                    </a:lnTo>
                    <a:lnTo>
                      <a:pt x="946" y="415"/>
                    </a:lnTo>
                    <a:lnTo>
                      <a:pt x="945" y="378"/>
                    </a:lnTo>
                    <a:lnTo>
                      <a:pt x="944" y="376"/>
                    </a:lnTo>
                    <a:lnTo>
                      <a:pt x="936" y="376"/>
                    </a:lnTo>
                    <a:lnTo>
                      <a:pt x="933" y="367"/>
                    </a:lnTo>
                    <a:lnTo>
                      <a:pt x="935" y="361"/>
                    </a:lnTo>
                    <a:lnTo>
                      <a:pt x="911" y="366"/>
                    </a:lnTo>
                    <a:lnTo>
                      <a:pt x="902" y="362"/>
                    </a:lnTo>
                    <a:lnTo>
                      <a:pt x="913" y="355"/>
                    </a:lnTo>
                    <a:lnTo>
                      <a:pt x="912" y="346"/>
                    </a:lnTo>
                    <a:lnTo>
                      <a:pt x="909" y="341"/>
                    </a:lnTo>
                    <a:lnTo>
                      <a:pt x="892" y="329"/>
                    </a:lnTo>
                    <a:lnTo>
                      <a:pt x="881" y="334"/>
                    </a:lnTo>
                    <a:lnTo>
                      <a:pt x="860" y="328"/>
                    </a:lnTo>
                    <a:lnTo>
                      <a:pt x="863" y="310"/>
                    </a:lnTo>
                    <a:lnTo>
                      <a:pt x="859" y="302"/>
                    </a:lnTo>
                    <a:lnTo>
                      <a:pt x="853" y="305"/>
                    </a:lnTo>
                    <a:lnTo>
                      <a:pt x="798" y="291"/>
                    </a:lnTo>
                    <a:lnTo>
                      <a:pt x="777" y="297"/>
                    </a:lnTo>
                    <a:lnTo>
                      <a:pt x="756" y="313"/>
                    </a:lnTo>
                    <a:lnTo>
                      <a:pt x="741" y="311"/>
                    </a:lnTo>
                    <a:lnTo>
                      <a:pt x="737" y="302"/>
                    </a:lnTo>
                    <a:lnTo>
                      <a:pt x="729" y="306"/>
                    </a:lnTo>
                    <a:lnTo>
                      <a:pt x="720" y="298"/>
                    </a:lnTo>
                    <a:lnTo>
                      <a:pt x="712" y="298"/>
                    </a:lnTo>
                    <a:lnTo>
                      <a:pt x="705" y="310"/>
                    </a:lnTo>
                    <a:lnTo>
                      <a:pt x="676" y="324"/>
                    </a:lnTo>
                    <a:lnTo>
                      <a:pt x="670" y="330"/>
                    </a:lnTo>
                    <a:lnTo>
                      <a:pt x="671" y="338"/>
                    </a:lnTo>
                    <a:lnTo>
                      <a:pt x="673" y="341"/>
                    </a:lnTo>
                    <a:lnTo>
                      <a:pt x="654" y="335"/>
                    </a:lnTo>
                    <a:lnTo>
                      <a:pt x="644" y="339"/>
                    </a:lnTo>
                    <a:lnTo>
                      <a:pt x="638" y="351"/>
                    </a:lnTo>
                    <a:lnTo>
                      <a:pt x="635" y="348"/>
                    </a:lnTo>
                    <a:lnTo>
                      <a:pt x="638" y="362"/>
                    </a:lnTo>
                    <a:lnTo>
                      <a:pt x="637" y="367"/>
                    </a:lnTo>
                    <a:lnTo>
                      <a:pt x="635" y="362"/>
                    </a:lnTo>
                    <a:lnTo>
                      <a:pt x="623" y="357"/>
                    </a:lnTo>
                    <a:lnTo>
                      <a:pt x="621" y="349"/>
                    </a:lnTo>
                    <a:lnTo>
                      <a:pt x="610" y="361"/>
                    </a:lnTo>
                    <a:lnTo>
                      <a:pt x="600" y="361"/>
                    </a:lnTo>
                    <a:lnTo>
                      <a:pt x="584" y="370"/>
                    </a:lnTo>
                    <a:lnTo>
                      <a:pt x="585" y="377"/>
                    </a:lnTo>
                    <a:lnTo>
                      <a:pt x="596" y="386"/>
                    </a:lnTo>
                    <a:lnTo>
                      <a:pt x="615" y="391"/>
                    </a:lnTo>
                    <a:lnTo>
                      <a:pt x="617" y="399"/>
                    </a:lnTo>
                    <a:lnTo>
                      <a:pt x="606" y="394"/>
                    </a:lnTo>
                    <a:lnTo>
                      <a:pt x="583" y="393"/>
                    </a:lnTo>
                    <a:lnTo>
                      <a:pt x="554" y="409"/>
                    </a:lnTo>
                    <a:lnTo>
                      <a:pt x="549" y="403"/>
                    </a:lnTo>
                    <a:lnTo>
                      <a:pt x="567" y="393"/>
                    </a:lnTo>
                    <a:lnTo>
                      <a:pt x="560" y="386"/>
                    </a:lnTo>
                    <a:lnTo>
                      <a:pt x="538" y="377"/>
                    </a:lnTo>
                    <a:lnTo>
                      <a:pt x="529" y="360"/>
                    </a:lnTo>
                    <a:lnTo>
                      <a:pt x="511" y="351"/>
                    </a:lnTo>
                    <a:lnTo>
                      <a:pt x="504" y="364"/>
                    </a:lnTo>
                    <a:lnTo>
                      <a:pt x="505" y="377"/>
                    </a:lnTo>
                    <a:lnTo>
                      <a:pt x="503" y="386"/>
                    </a:lnTo>
                    <a:lnTo>
                      <a:pt x="498" y="364"/>
                    </a:lnTo>
                    <a:lnTo>
                      <a:pt x="492" y="357"/>
                    </a:lnTo>
                    <a:lnTo>
                      <a:pt x="482" y="370"/>
                    </a:lnTo>
                    <a:lnTo>
                      <a:pt x="479" y="377"/>
                    </a:lnTo>
                    <a:lnTo>
                      <a:pt x="474" y="384"/>
                    </a:lnTo>
                    <a:lnTo>
                      <a:pt x="465" y="383"/>
                    </a:lnTo>
                    <a:lnTo>
                      <a:pt x="470" y="371"/>
                    </a:lnTo>
                    <a:lnTo>
                      <a:pt x="467" y="367"/>
                    </a:lnTo>
                    <a:lnTo>
                      <a:pt x="458" y="357"/>
                    </a:lnTo>
                    <a:lnTo>
                      <a:pt x="456" y="350"/>
                    </a:lnTo>
                    <a:lnTo>
                      <a:pt x="445" y="340"/>
                    </a:lnTo>
                    <a:lnTo>
                      <a:pt x="436" y="348"/>
                    </a:lnTo>
                    <a:lnTo>
                      <a:pt x="434" y="359"/>
                    </a:lnTo>
                    <a:lnTo>
                      <a:pt x="439" y="383"/>
                    </a:lnTo>
                    <a:lnTo>
                      <a:pt x="431" y="397"/>
                    </a:lnTo>
                    <a:lnTo>
                      <a:pt x="427" y="388"/>
                    </a:lnTo>
                    <a:lnTo>
                      <a:pt x="422" y="365"/>
                    </a:lnTo>
                    <a:lnTo>
                      <a:pt x="407" y="357"/>
                    </a:lnTo>
                    <a:lnTo>
                      <a:pt x="400" y="367"/>
                    </a:lnTo>
                    <a:lnTo>
                      <a:pt x="395" y="366"/>
                    </a:lnTo>
                    <a:lnTo>
                      <a:pt x="395" y="364"/>
                    </a:lnTo>
                    <a:lnTo>
                      <a:pt x="397" y="357"/>
                    </a:lnTo>
                    <a:lnTo>
                      <a:pt x="388" y="361"/>
                    </a:lnTo>
                    <a:lnTo>
                      <a:pt x="390" y="354"/>
                    </a:lnTo>
                    <a:lnTo>
                      <a:pt x="409" y="349"/>
                    </a:lnTo>
                    <a:lnTo>
                      <a:pt x="417" y="317"/>
                    </a:lnTo>
                    <a:lnTo>
                      <a:pt x="412" y="316"/>
                    </a:lnTo>
                    <a:lnTo>
                      <a:pt x="407" y="302"/>
                    </a:lnTo>
                    <a:lnTo>
                      <a:pt x="393" y="310"/>
                    </a:lnTo>
                    <a:lnTo>
                      <a:pt x="381" y="306"/>
                    </a:lnTo>
                    <a:lnTo>
                      <a:pt x="387" y="295"/>
                    </a:lnTo>
                    <a:lnTo>
                      <a:pt x="380" y="278"/>
                    </a:lnTo>
                    <a:lnTo>
                      <a:pt x="374" y="274"/>
                    </a:lnTo>
                    <a:lnTo>
                      <a:pt x="369" y="284"/>
                    </a:lnTo>
                    <a:lnTo>
                      <a:pt x="365" y="286"/>
                    </a:lnTo>
                    <a:lnTo>
                      <a:pt x="358" y="279"/>
                    </a:lnTo>
                    <a:lnTo>
                      <a:pt x="347" y="289"/>
                    </a:lnTo>
                    <a:lnTo>
                      <a:pt x="347" y="275"/>
                    </a:lnTo>
                    <a:lnTo>
                      <a:pt x="339" y="280"/>
                    </a:lnTo>
                    <a:lnTo>
                      <a:pt x="333" y="279"/>
                    </a:lnTo>
                    <a:lnTo>
                      <a:pt x="332" y="276"/>
                    </a:lnTo>
                    <a:lnTo>
                      <a:pt x="327" y="289"/>
                    </a:lnTo>
                    <a:lnTo>
                      <a:pt x="306" y="312"/>
                    </a:lnTo>
                    <a:lnTo>
                      <a:pt x="309" y="291"/>
                    </a:lnTo>
                    <a:lnTo>
                      <a:pt x="317" y="286"/>
                    </a:lnTo>
                    <a:lnTo>
                      <a:pt x="318" y="281"/>
                    </a:lnTo>
                    <a:lnTo>
                      <a:pt x="312" y="271"/>
                    </a:lnTo>
                    <a:lnTo>
                      <a:pt x="354" y="263"/>
                    </a:lnTo>
                    <a:lnTo>
                      <a:pt x="344" y="255"/>
                    </a:lnTo>
                    <a:lnTo>
                      <a:pt x="332" y="259"/>
                    </a:lnTo>
                    <a:lnTo>
                      <a:pt x="326" y="252"/>
                    </a:lnTo>
                    <a:lnTo>
                      <a:pt x="328" y="249"/>
                    </a:lnTo>
                    <a:lnTo>
                      <a:pt x="330" y="246"/>
                    </a:lnTo>
                    <a:lnTo>
                      <a:pt x="325" y="246"/>
                    </a:lnTo>
                    <a:lnTo>
                      <a:pt x="321" y="238"/>
                    </a:lnTo>
                    <a:lnTo>
                      <a:pt x="307" y="231"/>
                    </a:lnTo>
                    <a:lnTo>
                      <a:pt x="290" y="230"/>
                    </a:lnTo>
                    <a:lnTo>
                      <a:pt x="301" y="217"/>
                    </a:lnTo>
                    <a:lnTo>
                      <a:pt x="295" y="215"/>
                    </a:lnTo>
                    <a:lnTo>
                      <a:pt x="296" y="206"/>
                    </a:lnTo>
                    <a:lnTo>
                      <a:pt x="311" y="225"/>
                    </a:lnTo>
                    <a:lnTo>
                      <a:pt x="326" y="228"/>
                    </a:lnTo>
                    <a:lnTo>
                      <a:pt x="337" y="227"/>
                    </a:lnTo>
                    <a:lnTo>
                      <a:pt x="349" y="241"/>
                    </a:lnTo>
                    <a:lnTo>
                      <a:pt x="357" y="241"/>
                    </a:lnTo>
                    <a:lnTo>
                      <a:pt x="347" y="232"/>
                    </a:lnTo>
                    <a:lnTo>
                      <a:pt x="359" y="231"/>
                    </a:lnTo>
                    <a:lnTo>
                      <a:pt x="387" y="237"/>
                    </a:lnTo>
                    <a:lnTo>
                      <a:pt x="402" y="236"/>
                    </a:lnTo>
                    <a:lnTo>
                      <a:pt x="417" y="222"/>
                    </a:lnTo>
                    <a:lnTo>
                      <a:pt x="420" y="206"/>
                    </a:lnTo>
                    <a:lnTo>
                      <a:pt x="418" y="193"/>
                    </a:lnTo>
                    <a:lnTo>
                      <a:pt x="401" y="197"/>
                    </a:lnTo>
                    <a:lnTo>
                      <a:pt x="386" y="193"/>
                    </a:lnTo>
                    <a:lnTo>
                      <a:pt x="359" y="176"/>
                    </a:lnTo>
                    <a:lnTo>
                      <a:pt x="352" y="174"/>
                    </a:lnTo>
                    <a:lnTo>
                      <a:pt x="347" y="179"/>
                    </a:lnTo>
                    <a:lnTo>
                      <a:pt x="344" y="172"/>
                    </a:lnTo>
                    <a:lnTo>
                      <a:pt x="325" y="160"/>
                    </a:lnTo>
                    <a:lnTo>
                      <a:pt x="298" y="157"/>
                    </a:lnTo>
                    <a:lnTo>
                      <a:pt x="295" y="151"/>
                    </a:lnTo>
                    <a:lnTo>
                      <a:pt x="295" y="146"/>
                    </a:lnTo>
                    <a:lnTo>
                      <a:pt x="320" y="150"/>
                    </a:lnTo>
                    <a:lnTo>
                      <a:pt x="323" y="144"/>
                    </a:lnTo>
                    <a:lnTo>
                      <a:pt x="328" y="151"/>
                    </a:lnTo>
                    <a:lnTo>
                      <a:pt x="337" y="157"/>
                    </a:lnTo>
                    <a:lnTo>
                      <a:pt x="345" y="160"/>
                    </a:lnTo>
                    <a:lnTo>
                      <a:pt x="354" y="156"/>
                    </a:lnTo>
                    <a:lnTo>
                      <a:pt x="352" y="150"/>
                    </a:lnTo>
                    <a:lnTo>
                      <a:pt x="350" y="139"/>
                    </a:lnTo>
                    <a:lnTo>
                      <a:pt x="345" y="130"/>
                    </a:lnTo>
                    <a:lnTo>
                      <a:pt x="320" y="112"/>
                    </a:lnTo>
                    <a:lnTo>
                      <a:pt x="310" y="108"/>
                    </a:lnTo>
                    <a:lnTo>
                      <a:pt x="302" y="102"/>
                    </a:lnTo>
                    <a:lnTo>
                      <a:pt x="301" y="97"/>
                    </a:lnTo>
                    <a:lnTo>
                      <a:pt x="293" y="95"/>
                    </a:lnTo>
                    <a:lnTo>
                      <a:pt x="290" y="99"/>
                    </a:lnTo>
                    <a:lnTo>
                      <a:pt x="269" y="107"/>
                    </a:lnTo>
                    <a:lnTo>
                      <a:pt x="261" y="119"/>
                    </a:lnTo>
                    <a:lnTo>
                      <a:pt x="247" y="123"/>
                    </a:lnTo>
                    <a:lnTo>
                      <a:pt x="241" y="115"/>
                    </a:lnTo>
                    <a:lnTo>
                      <a:pt x="232" y="123"/>
                    </a:lnTo>
                    <a:lnTo>
                      <a:pt x="210" y="120"/>
                    </a:lnTo>
                    <a:lnTo>
                      <a:pt x="193" y="152"/>
                    </a:lnTo>
                    <a:lnTo>
                      <a:pt x="180" y="163"/>
                    </a:lnTo>
                    <a:lnTo>
                      <a:pt x="182" y="154"/>
                    </a:lnTo>
                    <a:lnTo>
                      <a:pt x="181" y="147"/>
                    </a:lnTo>
                    <a:lnTo>
                      <a:pt x="192" y="123"/>
                    </a:lnTo>
                    <a:lnTo>
                      <a:pt x="191" y="112"/>
                    </a:lnTo>
                    <a:lnTo>
                      <a:pt x="197" y="86"/>
                    </a:lnTo>
                    <a:lnTo>
                      <a:pt x="193" y="82"/>
                    </a:lnTo>
                    <a:lnTo>
                      <a:pt x="192" y="70"/>
                    </a:lnTo>
                    <a:lnTo>
                      <a:pt x="186" y="63"/>
                    </a:lnTo>
                    <a:lnTo>
                      <a:pt x="176" y="36"/>
                    </a:lnTo>
                    <a:lnTo>
                      <a:pt x="166" y="39"/>
                    </a:lnTo>
                    <a:lnTo>
                      <a:pt x="161" y="29"/>
                    </a:lnTo>
                    <a:lnTo>
                      <a:pt x="156" y="39"/>
                    </a:lnTo>
                    <a:lnTo>
                      <a:pt x="143" y="45"/>
                    </a:lnTo>
                    <a:lnTo>
                      <a:pt x="137" y="33"/>
                    </a:lnTo>
                    <a:lnTo>
                      <a:pt x="111" y="1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37" name="Freeform 299"/>
              <p:cNvSpPr>
                <a:spLocks noChangeAspect="1"/>
              </p:cNvSpPr>
              <p:nvPr/>
            </p:nvSpPr>
            <p:spPr bwMode="gray">
              <a:xfrm>
                <a:off x="1457" y="1187"/>
                <a:ext cx="33" cy="46"/>
              </a:xfrm>
              <a:custGeom>
                <a:avLst/>
                <a:gdLst/>
                <a:ahLst/>
                <a:cxnLst>
                  <a:cxn ang="0">
                    <a:pos x="82" y="0"/>
                  </a:cxn>
                  <a:cxn ang="0">
                    <a:pos x="105" y="22"/>
                  </a:cxn>
                  <a:cxn ang="0">
                    <a:pos x="123" y="39"/>
                  </a:cxn>
                  <a:cxn ang="0">
                    <a:pos x="129" y="48"/>
                  </a:cxn>
                  <a:cxn ang="0">
                    <a:pos x="130" y="76"/>
                  </a:cxn>
                  <a:cxn ang="0">
                    <a:pos x="149" y="76"/>
                  </a:cxn>
                  <a:cxn ang="0">
                    <a:pos x="156" y="89"/>
                  </a:cxn>
                  <a:cxn ang="0">
                    <a:pos x="157" y="109"/>
                  </a:cxn>
                  <a:cxn ang="0">
                    <a:pos x="159" y="145"/>
                  </a:cxn>
                  <a:cxn ang="0">
                    <a:pos x="161" y="210"/>
                  </a:cxn>
                  <a:cxn ang="0">
                    <a:pos x="150" y="226"/>
                  </a:cxn>
                  <a:cxn ang="0">
                    <a:pos x="124" y="229"/>
                  </a:cxn>
                  <a:cxn ang="0">
                    <a:pos x="98" y="228"/>
                  </a:cxn>
                  <a:cxn ang="0">
                    <a:pos x="86" y="211"/>
                  </a:cxn>
                  <a:cxn ang="0">
                    <a:pos x="75" y="197"/>
                  </a:cxn>
                  <a:cxn ang="0">
                    <a:pos x="62" y="185"/>
                  </a:cxn>
                  <a:cxn ang="0">
                    <a:pos x="60" y="195"/>
                  </a:cxn>
                  <a:cxn ang="0">
                    <a:pos x="53" y="193"/>
                  </a:cxn>
                  <a:cxn ang="0">
                    <a:pos x="50" y="178"/>
                  </a:cxn>
                  <a:cxn ang="0">
                    <a:pos x="39" y="183"/>
                  </a:cxn>
                  <a:cxn ang="0">
                    <a:pos x="26" y="159"/>
                  </a:cxn>
                  <a:cxn ang="0">
                    <a:pos x="31" y="142"/>
                  </a:cxn>
                  <a:cxn ang="0">
                    <a:pos x="25" y="137"/>
                  </a:cxn>
                  <a:cxn ang="0">
                    <a:pos x="14" y="158"/>
                  </a:cxn>
                  <a:cxn ang="0">
                    <a:pos x="6" y="141"/>
                  </a:cxn>
                  <a:cxn ang="0">
                    <a:pos x="0" y="113"/>
                  </a:cxn>
                  <a:cxn ang="0">
                    <a:pos x="6" y="103"/>
                  </a:cxn>
                  <a:cxn ang="0">
                    <a:pos x="7" y="92"/>
                  </a:cxn>
                  <a:cxn ang="0">
                    <a:pos x="23" y="83"/>
                  </a:cxn>
                  <a:cxn ang="0">
                    <a:pos x="34" y="73"/>
                  </a:cxn>
                  <a:cxn ang="0">
                    <a:pos x="26" y="67"/>
                  </a:cxn>
                  <a:cxn ang="0">
                    <a:pos x="32" y="64"/>
                  </a:cxn>
                  <a:cxn ang="0">
                    <a:pos x="39" y="50"/>
                  </a:cxn>
                  <a:cxn ang="0">
                    <a:pos x="23" y="60"/>
                  </a:cxn>
                  <a:cxn ang="0">
                    <a:pos x="28" y="45"/>
                  </a:cxn>
                  <a:cxn ang="0">
                    <a:pos x="44" y="43"/>
                  </a:cxn>
                  <a:cxn ang="0">
                    <a:pos x="65" y="5"/>
                  </a:cxn>
                  <a:cxn ang="0">
                    <a:pos x="84" y="7"/>
                  </a:cxn>
                </a:cxnLst>
                <a:rect l="0" t="0" r="r" b="b"/>
                <a:pathLst>
                  <a:path w="163" h="229">
                    <a:moveTo>
                      <a:pt x="84" y="7"/>
                    </a:moveTo>
                    <a:lnTo>
                      <a:pt x="82" y="0"/>
                    </a:lnTo>
                    <a:lnTo>
                      <a:pt x="85" y="12"/>
                    </a:lnTo>
                    <a:lnTo>
                      <a:pt x="105" y="22"/>
                    </a:lnTo>
                    <a:lnTo>
                      <a:pt x="114" y="34"/>
                    </a:lnTo>
                    <a:lnTo>
                      <a:pt x="123" y="39"/>
                    </a:lnTo>
                    <a:lnTo>
                      <a:pt x="123" y="48"/>
                    </a:lnTo>
                    <a:lnTo>
                      <a:pt x="129" y="48"/>
                    </a:lnTo>
                    <a:lnTo>
                      <a:pt x="134" y="59"/>
                    </a:lnTo>
                    <a:lnTo>
                      <a:pt x="130" y="76"/>
                    </a:lnTo>
                    <a:lnTo>
                      <a:pt x="141" y="65"/>
                    </a:lnTo>
                    <a:lnTo>
                      <a:pt x="149" y="76"/>
                    </a:lnTo>
                    <a:lnTo>
                      <a:pt x="147" y="82"/>
                    </a:lnTo>
                    <a:lnTo>
                      <a:pt x="156" y="89"/>
                    </a:lnTo>
                    <a:lnTo>
                      <a:pt x="161" y="99"/>
                    </a:lnTo>
                    <a:lnTo>
                      <a:pt x="157" y="109"/>
                    </a:lnTo>
                    <a:lnTo>
                      <a:pt x="161" y="123"/>
                    </a:lnTo>
                    <a:lnTo>
                      <a:pt x="159" y="145"/>
                    </a:lnTo>
                    <a:lnTo>
                      <a:pt x="163" y="182"/>
                    </a:lnTo>
                    <a:lnTo>
                      <a:pt x="161" y="210"/>
                    </a:lnTo>
                    <a:lnTo>
                      <a:pt x="159" y="218"/>
                    </a:lnTo>
                    <a:lnTo>
                      <a:pt x="150" y="226"/>
                    </a:lnTo>
                    <a:lnTo>
                      <a:pt x="136" y="224"/>
                    </a:lnTo>
                    <a:lnTo>
                      <a:pt x="124" y="229"/>
                    </a:lnTo>
                    <a:lnTo>
                      <a:pt x="112" y="226"/>
                    </a:lnTo>
                    <a:lnTo>
                      <a:pt x="98" y="228"/>
                    </a:lnTo>
                    <a:lnTo>
                      <a:pt x="89" y="220"/>
                    </a:lnTo>
                    <a:lnTo>
                      <a:pt x="86" y="211"/>
                    </a:lnTo>
                    <a:lnTo>
                      <a:pt x="77" y="207"/>
                    </a:lnTo>
                    <a:lnTo>
                      <a:pt x="75" y="197"/>
                    </a:lnTo>
                    <a:lnTo>
                      <a:pt x="68" y="185"/>
                    </a:lnTo>
                    <a:lnTo>
                      <a:pt x="62" y="185"/>
                    </a:lnTo>
                    <a:lnTo>
                      <a:pt x="59" y="190"/>
                    </a:lnTo>
                    <a:lnTo>
                      <a:pt x="60" y="195"/>
                    </a:lnTo>
                    <a:lnTo>
                      <a:pt x="57" y="197"/>
                    </a:lnTo>
                    <a:lnTo>
                      <a:pt x="53" y="193"/>
                    </a:lnTo>
                    <a:lnTo>
                      <a:pt x="52" y="180"/>
                    </a:lnTo>
                    <a:lnTo>
                      <a:pt x="50" y="178"/>
                    </a:lnTo>
                    <a:lnTo>
                      <a:pt x="42" y="177"/>
                    </a:lnTo>
                    <a:lnTo>
                      <a:pt x="39" y="183"/>
                    </a:lnTo>
                    <a:lnTo>
                      <a:pt x="34" y="178"/>
                    </a:lnTo>
                    <a:lnTo>
                      <a:pt x="26" y="159"/>
                    </a:lnTo>
                    <a:lnTo>
                      <a:pt x="26" y="152"/>
                    </a:lnTo>
                    <a:lnTo>
                      <a:pt x="31" y="142"/>
                    </a:lnTo>
                    <a:lnTo>
                      <a:pt x="27" y="146"/>
                    </a:lnTo>
                    <a:lnTo>
                      <a:pt x="25" y="137"/>
                    </a:lnTo>
                    <a:lnTo>
                      <a:pt x="19" y="157"/>
                    </a:lnTo>
                    <a:lnTo>
                      <a:pt x="14" y="158"/>
                    </a:lnTo>
                    <a:lnTo>
                      <a:pt x="11" y="146"/>
                    </a:lnTo>
                    <a:lnTo>
                      <a:pt x="6" y="141"/>
                    </a:lnTo>
                    <a:lnTo>
                      <a:pt x="1" y="123"/>
                    </a:lnTo>
                    <a:lnTo>
                      <a:pt x="0" y="113"/>
                    </a:lnTo>
                    <a:lnTo>
                      <a:pt x="0" y="103"/>
                    </a:lnTo>
                    <a:lnTo>
                      <a:pt x="6" y="103"/>
                    </a:lnTo>
                    <a:lnTo>
                      <a:pt x="11" y="99"/>
                    </a:lnTo>
                    <a:lnTo>
                      <a:pt x="7" y="92"/>
                    </a:lnTo>
                    <a:lnTo>
                      <a:pt x="12" y="89"/>
                    </a:lnTo>
                    <a:lnTo>
                      <a:pt x="23" y="83"/>
                    </a:lnTo>
                    <a:lnTo>
                      <a:pt x="36" y="78"/>
                    </a:lnTo>
                    <a:lnTo>
                      <a:pt x="34" y="73"/>
                    </a:lnTo>
                    <a:lnTo>
                      <a:pt x="26" y="73"/>
                    </a:lnTo>
                    <a:lnTo>
                      <a:pt x="26" y="67"/>
                    </a:lnTo>
                    <a:lnTo>
                      <a:pt x="32" y="56"/>
                    </a:lnTo>
                    <a:lnTo>
                      <a:pt x="32" y="64"/>
                    </a:lnTo>
                    <a:lnTo>
                      <a:pt x="39" y="61"/>
                    </a:lnTo>
                    <a:lnTo>
                      <a:pt x="39" y="50"/>
                    </a:lnTo>
                    <a:lnTo>
                      <a:pt x="31" y="50"/>
                    </a:lnTo>
                    <a:lnTo>
                      <a:pt x="23" y="60"/>
                    </a:lnTo>
                    <a:lnTo>
                      <a:pt x="22" y="50"/>
                    </a:lnTo>
                    <a:lnTo>
                      <a:pt x="28" y="45"/>
                    </a:lnTo>
                    <a:lnTo>
                      <a:pt x="44" y="49"/>
                    </a:lnTo>
                    <a:lnTo>
                      <a:pt x="44" y="43"/>
                    </a:lnTo>
                    <a:lnTo>
                      <a:pt x="41" y="28"/>
                    </a:lnTo>
                    <a:lnTo>
                      <a:pt x="65" y="5"/>
                    </a:lnTo>
                    <a:lnTo>
                      <a:pt x="76" y="2"/>
                    </a:lnTo>
                    <a:lnTo>
                      <a:pt x="84" y="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38" name="Freeform 300"/>
              <p:cNvSpPr>
                <a:spLocks noChangeAspect="1"/>
              </p:cNvSpPr>
              <p:nvPr/>
            </p:nvSpPr>
            <p:spPr bwMode="gray">
              <a:xfrm>
                <a:off x="1559" y="1520"/>
                <a:ext cx="77" cy="70"/>
              </a:xfrm>
              <a:custGeom>
                <a:avLst/>
                <a:gdLst/>
                <a:ahLst/>
                <a:cxnLst>
                  <a:cxn ang="0">
                    <a:pos x="91" y="0"/>
                  </a:cxn>
                  <a:cxn ang="0">
                    <a:pos x="110" y="27"/>
                  </a:cxn>
                  <a:cxn ang="0">
                    <a:pos x="118" y="61"/>
                  </a:cxn>
                  <a:cxn ang="0">
                    <a:pos x="134" y="70"/>
                  </a:cxn>
                  <a:cxn ang="0">
                    <a:pos x="161" y="70"/>
                  </a:cxn>
                  <a:cxn ang="0">
                    <a:pos x="179" y="96"/>
                  </a:cxn>
                  <a:cxn ang="0">
                    <a:pos x="212" y="116"/>
                  </a:cxn>
                  <a:cxn ang="0">
                    <a:pos x="243" y="143"/>
                  </a:cxn>
                  <a:cxn ang="0">
                    <a:pos x="276" y="157"/>
                  </a:cxn>
                  <a:cxn ang="0">
                    <a:pos x="296" y="183"/>
                  </a:cxn>
                  <a:cxn ang="0">
                    <a:pos x="303" y="236"/>
                  </a:cxn>
                  <a:cxn ang="0">
                    <a:pos x="327" y="237"/>
                  </a:cxn>
                  <a:cxn ang="0">
                    <a:pos x="351" y="232"/>
                  </a:cxn>
                  <a:cxn ang="0">
                    <a:pos x="364" y="256"/>
                  </a:cxn>
                  <a:cxn ang="0">
                    <a:pos x="384" y="272"/>
                  </a:cxn>
                  <a:cxn ang="0">
                    <a:pos x="351" y="296"/>
                  </a:cxn>
                  <a:cxn ang="0">
                    <a:pos x="319" y="303"/>
                  </a:cxn>
                  <a:cxn ang="0">
                    <a:pos x="307" y="298"/>
                  </a:cxn>
                  <a:cxn ang="0">
                    <a:pos x="285" y="283"/>
                  </a:cxn>
                  <a:cxn ang="0">
                    <a:pos x="263" y="282"/>
                  </a:cxn>
                  <a:cxn ang="0">
                    <a:pos x="263" y="253"/>
                  </a:cxn>
                  <a:cxn ang="0">
                    <a:pos x="233" y="247"/>
                  </a:cxn>
                  <a:cxn ang="0">
                    <a:pos x="230" y="232"/>
                  </a:cxn>
                  <a:cxn ang="0">
                    <a:pos x="212" y="227"/>
                  </a:cxn>
                  <a:cxn ang="0">
                    <a:pos x="195" y="256"/>
                  </a:cxn>
                  <a:cxn ang="0">
                    <a:pos x="189" y="274"/>
                  </a:cxn>
                  <a:cxn ang="0">
                    <a:pos x="176" y="290"/>
                  </a:cxn>
                  <a:cxn ang="0">
                    <a:pos x="155" y="307"/>
                  </a:cxn>
                  <a:cxn ang="0">
                    <a:pos x="147" y="317"/>
                  </a:cxn>
                  <a:cxn ang="0">
                    <a:pos x="108" y="349"/>
                  </a:cxn>
                  <a:cxn ang="0">
                    <a:pos x="88" y="331"/>
                  </a:cxn>
                  <a:cxn ang="0">
                    <a:pos x="85" y="283"/>
                  </a:cxn>
                  <a:cxn ang="0">
                    <a:pos x="79" y="264"/>
                  </a:cxn>
                  <a:cxn ang="0">
                    <a:pos x="63" y="286"/>
                  </a:cxn>
                  <a:cxn ang="0">
                    <a:pos x="37" y="285"/>
                  </a:cxn>
                  <a:cxn ang="0">
                    <a:pos x="4" y="293"/>
                  </a:cxn>
                  <a:cxn ang="0">
                    <a:pos x="20" y="249"/>
                  </a:cxn>
                  <a:cxn ang="0">
                    <a:pos x="51" y="211"/>
                  </a:cxn>
                  <a:cxn ang="0">
                    <a:pos x="44" y="174"/>
                  </a:cxn>
                  <a:cxn ang="0">
                    <a:pos x="55" y="125"/>
                  </a:cxn>
                  <a:cxn ang="0">
                    <a:pos x="59" y="72"/>
                  </a:cxn>
                  <a:cxn ang="0">
                    <a:pos x="66" y="29"/>
                  </a:cxn>
                </a:cxnLst>
                <a:rect l="0" t="0" r="r" b="b"/>
                <a:pathLst>
                  <a:path w="384" h="349">
                    <a:moveTo>
                      <a:pt x="77" y="14"/>
                    </a:moveTo>
                    <a:lnTo>
                      <a:pt x="86" y="1"/>
                    </a:lnTo>
                    <a:lnTo>
                      <a:pt x="91" y="0"/>
                    </a:lnTo>
                    <a:lnTo>
                      <a:pt x="93" y="11"/>
                    </a:lnTo>
                    <a:lnTo>
                      <a:pt x="106" y="10"/>
                    </a:lnTo>
                    <a:lnTo>
                      <a:pt x="110" y="27"/>
                    </a:lnTo>
                    <a:lnTo>
                      <a:pt x="119" y="38"/>
                    </a:lnTo>
                    <a:lnTo>
                      <a:pt x="114" y="48"/>
                    </a:lnTo>
                    <a:lnTo>
                      <a:pt x="118" y="61"/>
                    </a:lnTo>
                    <a:lnTo>
                      <a:pt x="120" y="81"/>
                    </a:lnTo>
                    <a:lnTo>
                      <a:pt x="129" y="85"/>
                    </a:lnTo>
                    <a:lnTo>
                      <a:pt x="134" y="70"/>
                    </a:lnTo>
                    <a:lnTo>
                      <a:pt x="142" y="57"/>
                    </a:lnTo>
                    <a:lnTo>
                      <a:pt x="150" y="59"/>
                    </a:lnTo>
                    <a:lnTo>
                      <a:pt x="161" y="70"/>
                    </a:lnTo>
                    <a:lnTo>
                      <a:pt x="169" y="72"/>
                    </a:lnTo>
                    <a:lnTo>
                      <a:pt x="168" y="89"/>
                    </a:lnTo>
                    <a:lnTo>
                      <a:pt x="179" y="96"/>
                    </a:lnTo>
                    <a:lnTo>
                      <a:pt x="207" y="100"/>
                    </a:lnTo>
                    <a:lnTo>
                      <a:pt x="209" y="108"/>
                    </a:lnTo>
                    <a:lnTo>
                      <a:pt x="212" y="116"/>
                    </a:lnTo>
                    <a:lnTo>
                      <a:pt x="222" y="127"/>
                    </a:lnTo>
                    <a:lnTo>
                      <a:pt x="233" y="132"/>
                    </a:lnTo>
                    <a:lnTo>
                      <a:pt x="243" y="143"/>
                    </a:lnTo>
                    <a:lnTo>
                      <a:pt x="255" y="151"/>
                    </a:lnTo>
                    <a:lnTo>
                      <a:pt x="265" y="148"/>
                    </a:lnTo>
                    <a:lnTo>
                      <a:pt x="276" y="157"/>
                    </a:lnTo>
                    <a:lnTo>
                      <a:pt x="286" y="161"/>
                    </a:lnTo>
                    <a:lnTo>
                      <a:pt x="290" y="172"/>
                    </a:lnTo>
                    <a:lnTo>
                      <a:pt x="296" y="183"/>
                    </a:lnTo>
                    <a:lnTo>
                      <a:pt x="301" y="213"/>
                    </a:lnTo>
                    <a:lnTo>
                      <a:pt x="307" y="222"/>
                    </a:lnTo>
                    <a:lnTo>
                      <a:pt x="303" y="236"/>
                    </a:lnTo>
                    <a:lnTo>
                      <a:pt x="308" y="239"/>
                    </a:lnTo>
                    <a:lnTo>
                      <a:pt x="319" y="236"/>
                    </a:lnTo>
                    <a:lnTo>
                      <a:pt x="327" y="237"/>
                    </a:lnTo>
                    <a:lnTo>
                      <a:pt x="329" y="240"/>
                    </a:lnTo>
                    <a:lnTo>
                      <a:pt x="343" y="227"/>
                    </a:lnTo>
                    <a:lnTo>
                      <a:pt x="351" y="232"/>
                    </a:lnTo>
                    <a:lnTo>
                      <a:pt x="356" y="240"/>
                    </a:lnTo>
                    <a:lnTo>
                      <a:pt x="362" y="245"/>
                    </a:lnTo>
                    <a:lnTo>
                      <a:pt x="364" y="256"/>
                    </a:lnTo>
                    <a:lnTo>
                      <a:pt x="362" y="260"/>
                    </a:lnTo>
                    <a:lnTo>
                      <a:pt x="383" y="266"/>
                    </a:lnTo>
                    <a:lnTo>
                      <a:pt x="384" y="272"/>
                    </a:lnTo>
                    <a:lnTo>
                      <a:pt x="376" y="274"/>
                    </a:lnTo>
                    <a:lnTo>
                      <a:pt x="360" y="291"/>
                    </a:lnTo>
                    <a:lnTo>
                      <a:pt x="351" y="296"/>
                    </a:lnTo>
                    <a:lnTo>
                      <a:pt x="343" y="307"/>
                    </a:lnTo>
                    <a:lnTo>
                      <a:pt x="335" y="309"/>
                    </a:lnTo>
                    <a:lnTo>
                      <a:pt x="319" y="303"/>
                    </a:lnTo>
                    <a:lnTo>
                      <a:pt x="314" y="298"/>
                    </a:lnTo>
                    <a:lnTo>
                      <a:pt x="313" y="295"/>
                    </a:lnTo>
                    <a:lnTo>
                      <a:pt x="307" y="298"/>
                    </a:lnTo>
                    <a:lnTo>
                      <a:pt x="302" y="288"/>
                    </a:lnTo>
                    <a:lnTo>
                      <a:pt x="293" y="285"/>
                    </a:lnTo>
                    <a:lnTo>
                      <a:pt x="285" y="283"/>
                    </a:lnTo>
                    <a:lnTo>
                      <a:pt x="280" y="280"/>
                    </a:lnTo>
                    <a:lnTo>
                      <a:pt x="275" y="283"/>
                    </a:lnTo>
                    <a:lnTo>
                      <a:pt x="263" y="282"/>
                    </a:lnTo>
                    <a:lnTo>
                      <a:pt x="260" y="275"/>
                    </a:lnTo>
                    <a:lnTo>
                      <a:pt x="265" y="264"/>
                    </a:lnTo>
                    <a:lnTo>
                      <a:pt x="263" y="253"/>
                    </a:lnTo>
                    <a:lnTo>
                      <a:pt x="255" y="249"/>
                    </a:lnTo>
                    <a:lnTo>
                      <a:pt x="236" y="244"/>
                    </a:lnTo>
                    <a:lnTo>
                      <a:pt x="233" y="247"/>
                    </a:lnTo>
                    <a:lnTo>
                      <a:pt x="233" y="249"/>
                    </a:lnTo>
                    <a:lnTo>
                      <a:pt x="225" y="245"/>
                    </a:lnTo>
                    <a:lnTo>
                      <a:pt x="230" y="232"/>
                    </a:lnTo>
                    <a:lnTo>
                      <a:pt x="236" y="226"/>
                    </a:lnTo>
                    <a:lnTo>
                      <a:pt x="233" y="222"/>
                    </a:lnTo>
                    <a:lnTo>
                      <a:pt x="212" y="227"/>
                    </a:lnTo>
                    <a:lnTo>
                      <a:pt x="198" y="233"/>
                    </a:lnTo>
                    <a:lnTo>
                      <a:pt x="198" y="239"/>
                    </a:lnTo>
                    <a:lnTo>
                      <a:pt x="195" y="256"/>
                    </a:lnTo>
                    <a:lnTo>
                      <a:pt x="198" y="263"/>
                    </a:lnTo>
                    <a:lnTo>
                      <a:pt x="196" y="274"/>
                    </a:lnTo>
                    <a:lnTo>
                      <a:pt x="189" y="274"/>
                    </a:lnTo>
                    <a:lnTo>
                      <a:pt x="185" y="281"/>
                    </a:lnTo>
                    <a:lnTo>
                      <a:pt x="178" y="283"/>
                    </a:lnTo>
                    <a:lnTo>
                      <a:pt x="176" y="290"/>
                    </a:lnTo>
                    <a:lnTo>
                      <a:pt x="171" y="296"/>
                    </a:lnTo>
                    <a:lnTo>
                      <a:pt x="162" y="296"/>
                    </a:lnTo>
                    <a:lnTo>
                      <a:pt x="155" y="307"/>
                    </a:lnTo>
                    <a:lnTo>
                      <a:pt x="151" y="315"/>
                    </a:lnTo>
                    <a:lnTo>
                      <a:pt x="147" y="314"/>
                    </a:lnTo>
                    <a:lnTo>
                      <a:pt x="147" y="317"/>
                    </a:lnTo>
                    <a:lnTo>
                      <a:pt x="145" y="325"/>
                    </a:lnTo>
                    <a:lnTo>
                      <a:pt x="137" y="335"/>
                    </a:lnTo>
                    <a:lnTo>
                      <a:pt x="108" y="349"/>
                    </a:lnTo>
                    <a:lnTo>
                      <a:pt x="104" y="345"/>
                    </a:lnTo>
                    <a:lnTo>
                      <a:pt x="97" y="349"/>
                    </a:lnTo>
                    <a:lnTo>
                      <a:pt x="88" y="331"/>
                    </a:lnTo>
                    <a:lnTo>
                      <a:pt x="86" y="309"/>
                    </a:lnTo>
                    <a:lnTo>
                      <a:pt x="87" y="290"/>
                    </a:lnTo>
                    <a:lnTo>
                      <a:pt x="85" y="283"/>
                    </a:lnTo>
                    <a:lnTo>
                      <a:pt x="83" y="269"/>
                    </a:lnTo>
                    <a:lnTo>
                      <a:pt x="82" y="259"/>
                    </a:lnTo>
                    <a:lnTo>
                      <a:pt x="79" y="264"/>
                    </a:lnTo>
                    <a:lnTo>
                      <a:pt x="76" y="281"/>
                    </a:lnTo>
                    <a:lnTo>
                      <a:pt x="69" y="281"/>
                    </a:lnTo>
                    <a:lnTo>
                      <a:pt x="63" y="286"/>
                    </a:lnTo>
                    <a:lnTo>
                      <a:pt x="47" y="286"/>
                    </a:lnTo>
                    <a:lnTo>
                      <a:pt x="43" y="283"/>
                    </a:lnTo>
                    <a:lnTo>
                      <a:pt x="37" y="285"/>
                    </a:lnTo>
                    <a:lnTo>
                      <a:pt x="23" y="295"/>
                    </a:lnTo>
                    <a:lnTo>
                      <a:pt x="8" y="299"/>
                    </a:lnTo>
                    <a:lnTo>
                      <a:pt x="4" y="293"/>
                    </a:lnTo>
                    <a:lnTo>
                      <a:pt x="0" y="283"/>
                    </a:lnTo>
                    <a:lnTo>
                      <a:pt x="12" y="256"/>
                    </a:lnTo>
                    <a:lnTo>
                      <a:pt x="20" y="249"/>
                    </a:lnTo>
                    <a:lnTo>
                      <a:pt x="32" y="245"/>
                    </a:lnTo>
                    <a:lnTo>
                      <a:pt x="51" y="223"/>
                    </a:lnTo>
                    <a:lnTo>
                      <a:pt x="51" y="211"/>
                    </a:lnTo>
                    <a:lnTo>
                      <a:pt x="48" y="206"/>
                    </a:lnTo>
                    <a:lnTo>
                      <a:pt x="47" y="182"/>
                    </a:lnTo>
                    <a:lnTo>
                      <a:pt x="44" y="174"/>
                    </a:lnTo>
                    <a:lnTo>
                      <a:pt x="47" y="158"/>
                    </a:lnTo>
                    <a:lnTo>
                      <a:pt x="53" y="141"/>
                    </a:lnTo>
                    <a:lnTo>
                      <a:pt x="55" y="125"/>
                    </a:lnTo>
                    <a:lnTo>
                      <a:pt x="55" y="121"/>
                    </a:lnTo>
                    <a:lnTo>
                      <a:pt x="58" y="110"/>
                    </a:lnTo>
                    <a:lnTo>
                      <a:pt x="59" y="72"/>
                    </a:lnTo>
                    <a:lnTo>
                      <a:pt x="59" y="60"/>
                    </a:lnTo>
                    <a:lnTo>
                      <a:pt x="63" y="49"/>
                    </a:lnTo>
                    <a:lnTo>
                      <a:pt x="66" y="29"/>
                    </a:lnTo>
                    <a:lnTo>
                      <a:pt x="72" y="19"/>
                    </a:lnTo>
                    <a:lnTo>
                      <a:pt x="77" y="1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39" name="Freeform 301"/>
              <p:cNvSpPr>
                <a:spLocks noChangeAspect="1"/>
              </p:cNvSpPr>
              <p:nvPr/>
            </p:nvSpPr>
            <p:spPr bwMode="gray">
              <a:xfrm>
                <a:off x="1668" y="1452"/>
                <a:ext cx="24" cy="32"/>
              </a:xfrm>
              <a:custGeom>
                <a:avLst/>
                <a:gdLst/>
                <a:ahLst/>
                <a:cxnLst>
                  <a:cxn ang="0">
                    <a:pos x="52" y="4"/>
                  </a:cxn>
                  <a:cxn ang="0">
                    <a:pos x="56" y="0"/>
                  </a:cxn>
                  <a:cxn ang="0">
                    <a:pos x="59" y="5"/>
                  </a:cxn>
                  <a:cxn ang="0">
                    <a:pos x="65" y="11"/>
                  </a:cxn>
                  <a:cxn ang="0">
                    <a:pos x="75" y="3"/>
                  </a:cxn>
                  <a:cxn ang="0">
                    <a:pos x="87" y="5"/>
                  </a:cxn>
                  <a:cxn ang="0">
                    <a:pos x="92" y="17"/>
                  </a:cxn>
                  <a:cxn ang="0">
                    <a:pos x="100" y="19"/>
                  </a:cxn>
                  <a:cxn ang="0">
                    <a:pos x="111" y="17"/>
                  </a:cxn>
                  <a:cxn ang="0">
                    <a:pos x="119" y="33"/>
                  </a:cxn>
                  <a:cxn ang="0">
                    <a:pos x="120" y="49"/>
                  </a:cxn>
                  <a:cxn ang="0">
                    <a:pos x="119" y="74"/>
                  </a:cxn>
                  <a:cxn ang="0">
                    <a:pos x="122" y="97"/>
                  </a:cxn>
                  <a:cxn ang="0">
                    <a:pos x="119" y="119"/>
                  </a:cxn>
                  <a:cxn ang="0">
                    <a:pos x="104" y="139"/>
                  </a:cxn>
                  <a:cxn ang="0">
                    <a:pos x="88" y="151"/>
                  </a:cxn>
                  <a:cxn ang="0">
                    <a:pos x="39" y="161"/>
                  </a:cxn>
                  <a:cxn ang="0">
                    <a:pos x="33" y="158"/>
                  </a:cxn>
                  <a:cxn ang="0">
                    <a:pos x="17" y="153"/>
                  </a:cxn>
                  <a:cxn ang="0">
                    <a:pos x="6" y="132"/>
                  </a:cxn>
                  <a:cxn ang="0">
                    <a:pos x="1" y="110"/>
                  </a:cxn>
                  <a:cxn ang="0">
                    <a:pos x="0" y="90"/>
                  </a:cxn>
                  <a:cxn ang="0">
                    <a:pos x="2" y="72"/>
                  </a:cxn>
                  <a:cxn ang="0">
                    <a:pos x="8" y="62"/>
                  </a:cxn>
                  <a:cxn ang="0">
                    <a:pos x="13" y="46"/>
                  </a:cxn>
                  <a:cxn ang="0">
                    <a:pos x="22" y="27"/>
                  </a:cxn>
                  <a:cxn ang="0">
                    <a:pos x="33" y="13"/>
                  </a:cxn>
                  <a:cxn ang="0">
                    <a:pos x="44" y="10"/>
                  </a:cxn>
                  <a:cxn ang="0">
                    <a:pos x="52" y="4"/>
                  </a:cxn>
                </a:cxnLst>
                <a:rect l="0" t="0" r="r" b="b"/>
                <a:pathLst>
                  <a:path w="122" h="161">
                    <a:moveTo>
                      <a:pt x="52" y="4"/>
                    </a:moveTo>
                    <a:lnTo>
                      <a:pt x="56" y="0"/>
                    </a:lnTo>
                    <a:lnTo>
                      <a:pt x="59" y="5"/>
                    </a:lnTo>
                    <a:lnTo>
                      <a:pt x="65" y="11"/>
                    </a:lnTo>
                    <a:lnTo>
                      <a:pt x="75" y="3"/>
                    </a:lnTo>
                    <a:lnTo>
                      <a:pt x="87" y="5"/>
                    </a:lnTo>
                    <a:lnTo>
                      <a:pt x="92" y="17"/>
                    </a:lnTo>
                    <a:lnTo>
                      <a:pt x="100" y="19"/>
                    </a:lnTo>
                    <a:lnTo>
                      <a:pt x="111" y="17"/>
                    </a:lnTo>
                    <a:lnTo>
                      <a:pt x="119" y="33"/>
                    </a:lnTo>
                    <a:lnTo>
                      <a:pt x="120" y="49"/>
                    </a:lnTo>
                    <a:lnTo>
                      <a:pt x="119" y="74"/>
                    </a:lnTo>
                    <a:lnTo>
                      <a:pt x="122" y="97"/>
                    </a:lnTo>
                    <a:lnTo>
                      <a:pt x="119" y="119"/>
                    </a:lnTo>
                    <a:lnTo>
                      <a:pt x="104" y="139"/>
                    </a:lnTo>
                    <a:lnTo>
                      <a:pt x="88" y="151"/>
                    </a:lnTo>
                    <a:lnTo>
                      <a:pt x="39" y="161"/>
                    </a:lnTo>
                    <a:lnTo>
                      <a:pt x="33" y="158"/>
                    </a:lnTo>
                    <a:lnTo>
                      <a:pt x="17" y="153"/>
                    </a:lnTo>
                    <a:lnTo>
                      <a:pt x="6" y="132"/>
                    </a:lnTo>
                    <a:lnTo>
                      <a:pt x="1" y="110"/>
                    </a:lnTo>
                    <a:lnTo>
                      <a:pt x="0" y="90"/>
                    </a:lnTo>
                    <a:lnTo>
                      <a:pt x="2" y="72"/>
                    </a:lnTo>
                    <a:lnTo>
                      <a:pt x="8" y="62"/>
                    </a:lnTo>
                    <a:lnTo>
                      <a:pt x="13" y="46"/>
                    </a:lnTo>
                    <a:lnTo>
                      <a:pt x="22" y="27"/>
                    </a:lnTo>
                    <a:lnTo>
                      <a:pt x="33" y="13"/>
                    </a:lnTo>
                    <a:lnTo>
                      <a:pt x="44" y="10"/>
                    </a:lnTo>
                    <a:lnTo>
                      <a:pt x="52" y="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40" name="Freeform 302"/>
              <p:cNvSpPr>
                <a:spLocks noChangeAspect="1"/>
              </p:cNvSpPr>
              <p:nvPr/>
            </p:nvSpPr>
            <p:spPr bwMode="gray">
              <a:xfrm>
                <a:off x="1628" y="1270"/>
                <a:ext cx="53" cy="38"/>
              </a:xfrm>
              <a:custGeom>
                <a:avLst/>
                <a:gdLst/>
                <a:ahLst/>
                <a:cxnLst>
                  <a:cxn ang="0">
                    <a:pos x="110" y="18"/>
                  </a:cxn>
                  <a:cxn ang="0">
                    <a:pos x="129" y="14"/>
                  </a:cxn>
                  <a:cxn ang="0">
                    <a:pos x="149" y="16"/>
                  </a:cxn>
                  <a:cxn ang="0">
                    <a:pos x="200" y="45"/>
                  </a:cxn>
                  <a:cxn ang="0">
                    <a:pos x="207" y="57"/>
                  </a:cxn>
                  <a:cxn ang="0">
                    <a:pos x="208" y="68"/>
                  </a:cxn>
                  <a:cxn ang="0">
                    <a:pos x="217" y="81"/>
                  </a:cxn>
                  <a:cxn ang="0">
                    <a:pos x="227" y="87"/>
                  </a:cxn>
                  <a:cxn ang="0">
                    <a:pos x="243" y="118"/>
                  </a:cxn>
                  <a:cxn ang="0">
                    <a:pos x="254" y="129"/>
                  </a:cxn>
                  <a:cxn ang="0">
                    <a:pos x="253" y="136"/>
                  </a:cxn>
                  <a:cxn ang="0">
                    <a:pos x="255" y="147"/>
                  </a:cxn>
                  <a:cxn ang="0">
                    <a:pos x="265" y="158"/>
                  </a:cxn>
                  <a:cxn ang="0">
                    <a:pos x="256" y="172"/>
                  </a:cxn>
                  <a:cxn ang="0">
                    <a:pos x="238" y="173"/>
                  </a:cxn>
                  <a:cxn ang="0">
                    <a:pos x="213" y="170"/>
                  </a:cxn>
                  <a:cxn ang="0">
                    <a:pos x="186" y="159"/>
                  </a:cxn>
                  <a:cxn ang="0">
                    <a:pos x="148" y="158"/>
                  </a:cxn>
                  <a:cxn ang="0">
                    <a:pos x="109" y="183"/>
                  </a:cxn>
                  <a:cxn ang="0">
                    <a:pos x="86" y="190"/>
                  </a:cxn>
                  <a:cxn ang="0">
                    <a:pos x="65" y="179"/>
                  </a:cxn>
                  <a:cxn ang="0">
                    <a:pos x="49" y="165"/>
                  </a:cxn>
                  <a:cxn ang="0">
                    <a:pos x="41" y="145"/>
                  </a:cxn>
                  <a:cxn ang="0">
                    <a:pos x="39" y="100"/>
                  </a:cxn>
                  <a:cxn ang="0">
                    <a:pos x="11" y="92"/>
                  </a:cxn>
                  <a:cxn ang="0">
                    <a:pos x="0" y="72"/>
                  </a:cxn>
                  <a:cxn ang="0">
                    <a:pos x="1" y="51"/>
                  </a:cxn>
                  <a:cxn ang="0">
                    <a:pos x="6" y="44"/>
                  </a:cxn>
                  <a:cxn ang="0">
                    <a:pos x="6" y="18"/>
                  </a:cxn>
                  <a:cxn ang="0">
                    <a:pos x="14" y="1"/>
                  </a:cxn>
                  <a:cxn ang="0">
                    <a:pos x="28" y="0"/>
                  </a:cxn>
                  <a:cxn ang="0">
                    <a:pos x="40" y="8"/>
                  </a:cxn>
                  <a:cxn ang="0">
                    <a:pos x="49" y="7"/>
                  </a:cxn>
                  <a:cxn ang="0">
                    <a:pos x="73" y="17"/>
                  </a:cxn>
                  <a:cxn ang="0">
                    <a:pos x="102" y="23"/>
                  </a:cxn>
                  <a:cxn ang="0">
                    <a:pos x="110" y="18"/>
                  </a:cxn>
                </a:cxnLst>
                <a:rect l="0" t="0" r="r" b="b"/>
                <a:pathLst>
                  <a:path w="265" h="190">
                    <a:moveTo>
                      <a:pt x="110" y="18"/>
                    </a:moveTo>
                    <a:lnTo>
                      <a:pt x="129" y="14"/>
                    </a:lnTo>
                    <a:lnTo>
                      <a:pt x="149" y="16"/>
                    </a:lnTo>
                    <a:lnTo>
                      <a:pt x="200" y="45"/>
                    </a:lnTo>
                    <a:lnTo>
                      <a:pt x="207" y="57"/>
                    </a:lnTo>
                    <a:lnTo>
                      <a:pt x="208" y="68"/>
                    </a:lnTo>
                    <a:lnTo>
                      <a:pt x="217" y="81"/>
                    </a:lnTo>
                    <a:lnTo>
                      <a:pt x="227" y="87"/>
                    </a:lnTo>
                    <a:lnTo>
                      <a:pt x="243" y="118"/>
                    </a:lnTo>
                    <a:lnTo>
                      <a:pt x="254" y="129"/>
                    </a:lnTo>
                    <a:lnTo>
                      <a:pt x="253" y="136"/>
                    </a:lnTo>
                    <a:lnTo>
                      <a:pt x="255" y="147"/>
                    </a:lnTo>
                    <a:lnTo>
                      <a:pt x="265" y="158"/>
                    </a:lnTo>
                    <a:lnTo>
                      <a:pt x="256" y="172"/>
                    </a:lnTo>
                    <a:lnTo>
                      <a:pt x="238" y="173"/>
                    </a:lnTo>
                    <a:lnTo>
                      <a:pt x="213" y="170"/>
                    </a:lnTo>
                    <a:lnTo>
                      <a:pt x="186" y="159"/>
                    </a:lnTo>
                    <a:lnTo>
                      <a:pt x="148" y="158"/>
                    </a:lnTo>
                    <a:lnTo>
                      <a:pt x="109" y="183"/>
                    </a:lnTo>
                    <a:lnTo>
                      <a:pt x="86" y="190"/>
                    </a:lnTo>
                    <a:lnTo>
                      <a:pt x="65" y="179"/>
                    </a:lnTo>
                    <a:lnTo>
                      <a:pt x="49" y="165"/>
                    </a:lnTo>
                    <a:lnTo>
                      <a:pt x="41" y="145"/>
                    </a:lnTo>
                    <a:lnTo>
                      <a:pt x="39" y="100"/>
                    </a:lnTo>
                    <a:lnTo>
                      <a:pt x="11" y="92"/>
                    </a:lnTo>
                    <a:lnTo>
                      <a:pt x="0" y="72"/>
                    </a:lnTo>
                    <a:lnTo>
                      <a:pt x="1" y="51"/>
                    </a:lnTo>
                    <a:lnTo>
                      <a:pt x="6" y="44"/>
                    </a:lnTo>
                    <a:lnTo>
                      <a:pt x="6" y="18"/>
                    </a:lnTo>
                    <a:lnTo>
                      <a:pt x="14" y="1"/>
                    </a:lnTo>
                    <a:lnTo>
                      <a:pt x="28" y="0"/>
                    </a:lnTo>
                    <a:lnTo>
                      <a:pt x="40" y="8"/>
                    </a:lnTo>
                    <a:lnTo>
                      <a:pt x="49" y="7"/>
                    </a:lnTo>
                    <a:lnTo>
                      <a:pt x="73" y="17"/>
                    </a:lnTo>
                    <a:lnTo>
                      <a:pt x="102" y="23"/>
                    </a:lnTo>
                    <a:lnTo>
                      <a:pt x="110" y="1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41" name="Freeform 303"/>
              <p:cNvSpPr>
                <a:spLocks noChangeAspect="1"/>
              </p:cNvSpPr>
              <p:nvPr/>
            </p:nvSpPr>
            <p:spPr bwMode="gray">
              <a:xfrm>
                <a:off x="1527" y="1265"/>
                <a:ext cx="316" cy="356"/>
              </a:xfrm>
              <a:custGeom>
                <a:avLst/>
                <a:gdLst/>
                <a:ahLst/>
                <a:cxnLst>
                  <a:cxn ang="0">
                    <a:pos x="1131" y="1671"/>
                  </a:cxn>
                  <a:cxn ang="0">
                    <a:pos x="1196" y="1735"/>
                  </a:cxn>
                  <a:cxn ang="0">
                    <a:pos x="1317" y="1753"/>
                  </a:cxn>
                  <a:cxn ang="0">
                    <a:pos x="1220" y="1622"/>
                  </a:cxn>
                  <a:cxn ang="0">
                    <a:pos x="1258" y="1612"/>
                  </a:cxn>
                  <a:cxn ang="0">
                    <a:pos x="1376" y="1663"/>
                  </a:cxn>
                  <a:cxn ang="0">
                    <a:pos x="1400" y="1662"/>
                  </a:cxn>
                  <a:cxn ang="0">
                    <a:pos x="1406" y="1612"/>
                  </a:cxn>
                  <a:cxn ang="0">
                    <a:pos x="1383" y="1464"/>
                  </a:cxn>
                  <a:cxn ang="0">
                    <a:pos x="1312" y="1405"/>
                  </a:cxn>
                  <a:cxn ang="0">
                    <a:pos x="1253" y="1334"/>
                  </a:cxn>
                  <a:cxn ang="0">
                    <a:pos x="1242" y="1240"/>
                  </a:cxn>
                  <a:cxn ang="0">
                    <a:pos x="1265" y="1192"/>
                  </a:cxn>
                  <a:cxn ang="0">
                    <a:pos x="1384" y="1340"/>
                  </a:cxn>
                  <a:cxn ang="0">
                    <a:pos x="1470" y="1359"/>
                  </a:cxn>
                  <a:cxn ang="0">
                    <a:pos x="1512" y="1254"/>
                  </a:cxn>
                  <a:cxn ang="0">
                    <a:pos x="1581" y="1182"/>
                  </a:cxn>
                  <a:cxn ang="0">
                    <a:pos x="1471" y="1095"/>
                  </a:cxn>
                  <a:cxn ang="0">
                    <a:pos x="1374" y="1010"/>
                  </a:cxn>
                  <a:cxn ang="0">
                    <a:pos x="1283" y="958"/>
                  </a:cxn>
                  <a:cxn ang="0">
                    <a:pos x="1226" y="870"/>
                  </a:cxn>
                  <a:cxn ang="0">
                    <a:pos x="1248" y="812"/>
                  </a:cxn>
                  <a:cxn ang="0">
                    <a:pos x="1178" y="743"/>
                  </a:cxn>
                  <a:cxn ang="0">
                    <a:pos x="1201" y="661"/>
                  </a:cxn>
                  <a:cxn ang="0">
                    <a:pos x="1190" y="606"/>
                  </a:cxn>
                  <a:cxn ang="0">
                    <a:pos x="1102" y="546"/>
                  </a:cxn>
                  <a:cxn ang="0">
                    <a:pos x="1018" y="500"/>
                  </a:cxn>
                  <a:cxn ang="0">
                    <a:pos x="928" y="454"/>
                  </a:cxn>
                  <a:cxn ang="0">
                    <a:pos x="867" y="385"/>
                  </a:cxn>
                  <a:cxn ang="0">
                    <a:pos x="828" y="289"/>
                  </a:cxn>
                  <a:cxn ang="0">
                    <a:pos x="618" y="285"/>
                  </a:cxn>
                  <a:cxn ang="0">
                    <a:pos x="503" y="357"/>
                  </a:cxn>
                  <a:cxn ang="0">
                    <a:pos x="510" y="176"/>
                  </a:cxn>
                  <a:cxn ang="0">
                    <a:pos x="390" y="33"/>
                  </a:cxn>
                  <a:cxn ang="0">
                    <a:pos x="291" y="94"/>
                  </a:cxn>
                  <a:cxn ang="0">
                    <a:pos x="293" y="177"/>
                  </a:cxn>
                  <a:cxn ang="0">
                    <a:pos x="279" y="274"/>
                  </a:cxn>
                  <a:cxn ang="0">
                    <a:pos x="280" y="406"/>
                  </a:cxn>
                  <a:cxn ang="0">
                    <a:pos x="277" y="485"/>
                  </a:cxn>
                  <a:cxn ang="0">
                    <a:pos x="281" y="460"/>
                  </a:cxn>
                  <a:cxn ang="0">
                    <a:pos x="222" y="102"/>
                  </a:cxn>
                  <a:cxn ang="0">
                    <a:pos x="75" y="101"/>
                  </a:cxn>
                  <a:cxn ang="0">
                    <a:pos x="7" y="274"/>
                  </a:cxn>
                  <a:cxn ang="0">
                    <a:pos x="115" y="476"/>
                  </a:cxn>
                  <a:cxn ang="0">
                    <a:pos x="83" y="602"/>
                  </a:cxn>
                  <a:cxn ang="0">
                    <a:pos x="265" y="682"/>
                  </a:cxn>
                  <a:cxn ang="0">
                    <a:pos x="448" y="709"/>
                  </a:cxn>
                  <a:cxn ang="0">
                    <a:pos x="549" y="682"/>
                  </a:cxn>
                  <a:cxn ang="0">
                    <a:pos x="658" y="638"/>
                  </a:cxn>
                  <a:cxn ang="0">
                    <a:pos x="750" y="759"/>
                  </a:cxn>
                  <a:cxn ang="0">
                    <a:pos x="849" y="829"/>
                  </a:cxn>
                  <a:cxn ang="0">
                    <a:pos x="912" y="949"/>
                  </a:cxn>
                  <a:cxn ang="0">
                    <a:pos x="951" y="1121"/>
                  </a:cxn>
                  <a:cxn ang="0">
                    <a:pos x="908" y="1313"/>
                  </a:cxn>
                  <a:cxn ang="0">
                    <a:pos x="743" y="1348"/>
                  </a:cxn>
                  <a:cxn ang="0">
                    <a:pos x="668" y="1462"/>
                  </a:cxn>
                  <a:cxn ang="0">
                    <a:pos x="780" y="1452"/>
                  </a:cxn>
                  <a:cxn ang="0">
                    <a:pos x="846" y="1419"/>
                  </a:cxn>
                  <a:cxn ang="0">
                    <a:pos x="919" y="1456"/>
                  </a:cxn>
                  <a:cxn ang="0">
                    <a:pos x="968" y="1547"/>
                  </a:cxn>
                  <a:cxn ang="0">
                    <a:pos x="1003" y="1593"/>
                  </a:cxn>
                </a:cxnLst>
                <a:rect l="0" t="0" r="r" b="b"/>
                <a:pathLst>
                  <a:path w="1581" h="1779">
                    <a:moveTo>
                      <a:pt x="1037" y="1646"/>
                    </a:moveTo>
                    <a:lnTo>
                      <a:pt x="1053" y="1650"/>
                    </a:lnTo>
                    <a:lnTo>
                      <a:pt x="1071" y="1657"/>
                    </a:lnTo>
                    <a:lnTo>
                      <a:pt x="1072" y="1665"/>
                    </a:lnTo>
                    <a:lnTo>
                      <a:pt x="1078" y="1665"/>
                    </a:lnTo>
                    <a:lnTo>
                      <a:pt x="1091" y="1673"/>
                    </a:lnTo>
                    <a:lnTo>
                      <a:pt x="1102" y="1667"/>
                    </a:lnTo>
                    <a:lnTo>
                      <a:pt x="1109" y="1654"/>
                    </a:lnTo>
                    <a:lnTo>
                      <a:pt x="1111" y="1659"/>
                    </a:lnTo>
                    <a:lnTo>
                      <a:pt x="1109" y="1672"/>
                    </a:lnTo>
                    <a:lnTo>
                      <a:pt x="1118" y="1677"/>
                    </a:lnTo>
                    <a:lnTo>
                      <a:pt x="1121" y="1668"/>
                    </a:lnTo>
                    <a:lnTo>
                      <a:pt x="1131" y="1671"/>
                    </a:lnTo>
                    <a:lnTo>
                      <a:pt x="1137" y="1667"/>
                    </a:lnTo>
                    <a:lnTo>
                      <a:pt x="1135" y="1678"/>
                    </a:lnTo>
                    <a:lnTo>
                      <a:pt x="1138" y="1688"/>
                    </a:lnTo>
                    <a:lnTo>
                      <a:pt x="1145" y="1688"/>
                    </a:lnTo>
                    <a:lnTo>
                      <a:pt x="1148" y="1693"/>
                    </a:lnTo>
                    <a:lnTo>
                      <a:pt x="1150" y="1703"/>
                    </a:lnTo>
                    <a:lnTo>
                      <a:pt x="1159" y="1716"/>
                    </a:lnTo>
                    <a:lnTo>
                      <a:pt x="1170" y="1720"/>
                    </a:lnTo>
                    <a:lnTo>
                      <a:pt x="1175" y="1708"/>
                    </a:lnTo>
                    <a:lnTo>
                      <a:pt x="1175" y="1720"/>
                    </a:lnTo>
                    <a:lnTo>
                      <a:pt x="1181" y="1722"/>
                    </a:lnTo>
                    <a:lnTo>
                      <a:pt x="1185" y="1730"/>
                    </a:lnTo>
                    <a:lnTo>
                      <a:pt x="1196" y="1735"/>
                    </a:lnTo>
                    <a:lnTo>
                      <a:pt x="1205" y="1732"/>
                    </a:lnTo>
                    <a:lnTo>
                      <a:pt x="1213" y="1740"/>
                    </a:lnTo>
                    <a:lnTo>
                      <a:pt x="1236" y="1741"/>
                    </a:lnTo>
                    <a:lnTo>
                      <a:pt x="1238" y="1748"/>
                    </a:lnTo>
                    <a:lnTo>
                      <a:pt x="1249" y="1758"/>
                    </a:lnTo>
                    <a:lnTo>
                      <a:pt x="1254" y="1759"/>
                    </a:lnTo>
                    <a:lnTo>
                      <a:pt x="1267" y="1758"/>
                    </a:lnTo>
                    <a:lnTo>
                      <a:pt x="1280" y="1751"/>
                    </a:lnTo>
                    <a:lnTo>
                      <a:pt x="1306" y="1779"/>
                    </a:lnTo>
                    <a:lnTo>
                      <a:pt x="1325" y="1776"/>
                    </a:lnTo>
                    <a:lnTo>
                      <a:pt x="1323" y="1768"/>
                    </a:lnTo>
                    <a:lnTo>
                      <a:pt x="1317" y="1759"/>
                    </a:lnTo>
                    <a:lnTo>
                      <a:pt x="1317" y="1753"/>
                    </a:lnTo>
                    <a:lnTo>
                      <a:pt x="1320" y="1747"/>
                    </a:lnTo>
                    <a:lnTo>
                      <a:pt x="1322" y="1735"/>
                    </a:lnTo>
                    <a:lnTo>
                      <a:pt x="1319" y="1726"/>
                    </a:lnTo>
                    <a:lnTo>
                      <a:pt x="1301" y="1705"/>
                    </a:lnTo>
                    <a:lnTo>
                      <a:pt x="1285" y="1692"/>
                    </a:lnTo>
                    <a:lnTo>
                      <a:pt x="1279" y="1683"/>
                    </a:lnTo>
                    <a:lnTo>
                      <a:pt x="1270" y="1679"/>
                    </a:lnTo>
                    <a:lnTo>
                      <a:pt x="1253" y="1665"/>
                    </a:lnTo>
                    <a:lnTo>
                      <a:pt x="1249" y="1652"/>
                    </a:lnTo>
                    <a:lnTo>
                      <a:pt x="1236" y="1645"/>
                    </a:lnTo>
                    <a:lnTo>
                      <a:pt x="1236" y="1633"/>
                    </a:lnTo>
                    <a:lnTo>
                      <a:pt x="1224" y="1635"/>
                    </a:lnTo>
                    <a:lnTo>
                      <a:pt x="1220" y="1622"/>
                    </a:lnTo>
                    <a:lnTo>
                      <a:pt x="1216" y="1619"/>
                    </a:lnTo>
                    <a:lnTo>
                      <a:pt x="1213" y="1622"/>
                    </a:lnTo>
                    <a:lnTo>
                      <a:pt x="1210" y="1618"/>
                    </a:lnTo>
                    <a:lnTo>
                      <a:pt x="1188" y="1587"/>
                    </a:lnTo>
                    <a:lnTo>
                      <a:pt x="1178" y="1577"/>
                    </a:lnTo>
                    <a:lnTo>
                      <a:pt x="1167" y="1557"/>
                    </a:lnTo>
                    <a:lnTo>
                      <a:pt x="1180" y="1552"/>
                    </a:lnTo>
                    <a:lnTo>
                      <a:pt x="1197" y="1565"/>
                    </a:lnTo>
                    <a:lnTo>
                      <a:pt x="1216" y="1587"/>
                    </a:lnTo>
                    <a:lnTo>
                      <a:pt x="1231" y="1590"/>
                    </a:lnTo>
                    <a:lnTo>
                      <a:pt x="1227" y="1579"/>
                    </a:lnTo>
                    <a:lnTo>
                      <a:pt x="1236" y="1576"/>
                    </a:lnTo>
                    <a:lnTo>
                      <a:pt x="1258" y="1612"/>
                    </a:lnTo>
                    <a:lnTo>
                      <a:pt x="1269" y="1618"/>
                    </a:lnTo>
                    <a:lnTo>
                      <a:pt x="1280" y="1619"/>
                    </a:lnTo>
                    <a:lnTo>
                      <a:pt x="1287" y="1641"/>
                    </a:lnTo>
                    <a:lnTo>
                      <a:pt x="1318" y="1641"/>
                    </a:lnTo>
                    <a:lnTo>
                      <a:pt x="1330" y="1657"/>
                    </a:lnTo>
                    <a:lnTo>
                      <a:pt x="1335" y="1649"/>
                    </a:lnTo>
                    <a:lnTo>
                      <a:pt x="1341" y="1654"/>
                    </a:lnTo>
                    <a:lnTo>
                      <a:pt x="1350" y="1657"/>
                    </a:lnTo>
                    <a:lnTo>
                      <a:pt x="1356" y="1649"/>
                    </a:lnTo>
                    <a:lnTo>
                      <a:pt x="1360" y="1651"/>
                    </a:lnTo>
                    <a:lnTo>
                      <a:pt x="1361" y="1657"/>
                    </a:lnTo>
                    <a:lnTo>
                      <a:pt x="1367" y="1668"/>
                    </a:lnTo>
                    <a:lnTo>
                      <a:pt x="1376" y="1663"/>
                    </a:lnTo>
                    <a:lnTo>
                      <a:pt x="1376" y="1670"/>
                    </a:lnTo>
                    <a:lnTo>
                      <a:pt x="1372" y="1679"/>
                    </a:lnTo>
                    <a:lnTo>
                      <a:pt x="1371" y="1684"/>
                    </a:lnTo>
                    <a:lnTo>
                      <a:pt x="1382" y="1690"/>
                    </a:lnTo>
                    <a:lnTo>
                      <a:pt x="1387" y="1700"/>
                    </a:lnTo>
                    <a:lnTo>
                      <a:pt x="1394" y="1698"/>
                    </a:lnTo>
                    <a:lnTo>
                      <a:pt x="1390" y="1690"/>
                    </a:lnTo>
                    <a:lnTo>
                      <a:pt x="1389" y="1683"/>
                    </a:lnTo>
                    <a:lnTo>
                      <a:pt x="1382" y="1666"/>
                    </a:lnTo>
                    <a:lnTo>
                      <a:pt x="1380" y="1659"/>
                    </a:lnTo>
                    <a:lnTo>
                      <a:pt x="1384" y="1651"/>
                    </a:lnTo>
                    <a:lnTo>
                      <a:pt x="1393" y="1654"/>
                    </a:lnTo>
                    <a:lnTo>
                      <a:pt x="1400" y="1662"/>
                    </a:lnTo>
                    <a:lnTo>
                      <a:pt x="1410" y="1665"/>
                    </a:lnTo>
                    <a:lnTo>
                      <a:pt x="1412" y="1657"/>
                    </a:lnTo>
                    <a:lnTo>
                      <a:pt x="1411" y="1651"/>
                    </a:lnTo>
                    <a:lnTo>
                      <a:pt x="1408" y="1649"/>
                    </a:lnTo>
                    <a:lnTo>
                      <a:pt x="1408" y="1645"/>
                    </a:lnTo>
                    <a:lnTo>
                      <a:pt x="1403" y="1643"/>
                    </a:lnTo>
                    <a:lnTo>
                      <a:pt x="1393" y="1644"/>
                    </a:lnTo>
                    <a:lnTo>
                      <a:pt x="1387" y="1625"/>
                    </a:lnTo>
                    <a:lnTo>
                      <a:pt x="1380" y="1613"/>
                    </a:lnTo>
                    <a:lnTo>
                      <a:pt x="1383" y="1606"/>
                    </a:lnTo>
                    <a:lnTo>
                      <a:pt x="1383" y="1589"/>
                    </a:lnTo>
                    <a:lnTo>
                      <a:pt x="1395" y="1598"/>
                    </a:lnTo>
                    <a:lnTo>
                      <a:pt x="1406" y="1612"/>
                    </a:lnTo>
                    <a:lnTo>
                      <a:pt x="1408" y="1607"/>
                    </a:lnTo>
                    <a:lnTo>
                      <a:pt x="1405" y="1593"/>
                    </a:lnTo>
                    <a:lnTo>
                      <a:pt x="1409" y="1589"/>
                    </a:lnTo>
                    <a:lnTo>
                      <a:pt x="1409" y="1570"/>
                    </a:lnTo>
                    <a:lnTo>
                      <a:pt x="1411" y="1560"/>
                    </a:lnTo>
                    <a:lnTo>
                      <a:pt x="1405" y="1547"/>
                    </a:lnTo>
                    <a:lnTo>
                      <a:pt x="1401" y="1520"/>
                    </a:lnTo>
                    <a:lnTo>
                      <a:pt x="1388" y="1518"/>
                    </a:lnTo>
                    <a:lnTo>
                      <a:pt x="1374" y="1511"/>
                    </a:lnTo>
                    <a:lnTo>
                      <a:pt x="1368" y="1505"/>
                    </a:lnTo>
                    <a:lnTo>
                      <a:pt x="1367" y="1485"/>
                    </a:lnTo>
                    <a:lnTo>
                      <a:pt x="1379" y="1482"/>
                    </a:lnTo>
                    <a:lnTo>
                      <a:pt x="1383" y="1464"/>
                    </a:lnTo>
                    <a:lnTo>
                      <a:pt x="1380" y="1450"/>
                    </a:lnTo>
                    <a:lnTo>
                      <a:pt x="1367" y="1453"/>
                    </a:lnTo>
                    <a:lnTo>
                      <a:pt x="1368" y="1445"/>
                    </a:lnTo>
                    <a:lnTo>
                      <a:pt x="1366" y="1436"/>
                    </a:lnTo>
                    <a:lnTo>
                      <a:pt x="1362" y="1434"/>
                    </a:lnTo>
                    <a:lnTo>
                      <a:pt x="1346" y="1447"/>
                    </a:lnTo>
                    <a:lnTo>
                      <a:pt x="1346" y="1425"/>
                    </a:lnTo>
                    <a:lnTo>
                      <a:pt x="1344" y="1414"/>
                    </a:lnTo>
                    <a:lnTo>
                      <a:pt x="1331" y="1413"/>
                    </a:lnTo>
                    <a:lnTo>
                      <a:pt x="1315" y="1426"/>
                    </a:lnTo>
                    <a:lnTo>
                      <a:pt x="1308" y="1420"/>
                    </a:lnTo>
                    <a:lnTo>
                      <a:pt x="1320" y="1404"/>
                    </a:lnTo>
                    <a:lnTo>
                      <a:pt x="1312" y="1405"/>
                    </a:lnTo>
                    <a:lnTo>
                      <a:pt x="1299" y="1402"/>
                    </a:lnTo>
                    <a:lnTo>
                      <a:pt x="1291" y="1404"/>
                    </a:lnTo>
                    <a:lnTo>
                      <a:pt x="1288" y="1421"/>
                    </a:lnTo>
                    <a:lnTo>
                      <a:pt x="1283" y="1402"/>
                    </a:lnTo>
                    <a:lnTo>
                      <a:pt x="1275" y="1388"/>
                    </a:lnTo>
                    <a:lnTo>
                      <a:pt x="1275" y="1382"/>
                    </a:lnTo>
                    <a:lnTo>
                      <a:pt x="1271" y="1371"/>
                    </a:lnTo>
                    <a:lnTo>
                      <a:pt x="1258" y="1367"/>
                    </a:lnTo>
                    <a:lnTo>
                      <a:pt x="1258" y="1363"/>
                    </a:lnTo>
                    <a:lnTo>
                      <a:pt x="1263" y="1354"/>
                    </a:lnTo>
                    <a:lnTo>
                      <a:pt x="1256" y="1347"/>
                    </a:lnTo>
                    <a:lnTo>
                      <a:pt x="1263" y="1344"/>
                    </a:lnTo>
                    <a:lnTo>
                      <a:pt x="1253" y="1334"/>
                    </a:lnTo>
                    <a:lnTo>
                      <a:pt x="1252" y="1326"/>
                    </a:lnTo>
                    <a:lnTo>
                      <a:pt x="1256" y="1316"/>
                    </a:lnTo>
                    <a:lnTo>
                      <a:pt x="1240" y="1311"/>
                    </a:lnTo>
                    <a:lnTo>
                      <a:pt x="1221" y="1321"/>
                    </a:lnTo>
                    <a:lnTo>
                      <a:pt x="1220" y="1316"/>
                    </a:lnTo>
                    <a:lnTo>
                      <a:pt x="1224" y="1299"/>
                    </a:lnTo>
                    <a:lnTo>
                      <a:pt x="1221" y="1280"/>
                    </a:lnTo>
                    <a:lnTo>
                      <a:pt x="1229" y="1278"/>
                    </a:lnTo>
                    <a:lnTo>
                      <a:pt x="1236" y="1280"/>
                    </a:lnTo>
                    <a:lnTo>
                      <a:pt x="1252" y="1272"/>
                    </a:lnTo>
                    <a:lnTo>
                      <a:pt x="1263" y="1272"/>
                    </a:lnTo>
                    <a:lnTo>
                      <a:pt x="1256" y="1254"/>
                    </a:lnTo>
                    <a:lnTo>
                      <a:pt x="1242" y="1240"/>
                    </a:lnTo>
                    <a:lnTo>
                      <a:pt x="1222" y="1236"/>
                    </a:lnTo>
                    <a:lnTo>
                      <a:pt x="1215" y="1230"/>
                    </a:lnTo>
                    <a:lnTo>
                      <a:pt x="1209" y="1211"/>
                    </a:lnTo>
                    <a:lnTo>
                      <a:pt x="1226" y="1213"/>
                    </a:lnTo>
                    <a:lnTo>
                      <a:pt x="1221" y="1203"/>
                    </a:lnTo>
                    <a:lnTo>
                      <a:pt x="1231" y="1202"/>
                    </a:lnTo>
                    <a:lnTo>
                      <a:pt x="1253" y="1224"/>
                    </a:lnTo>
                    <a:lnTo>
                      <a:pt x="1260" y="1224"/>
                    </a:lnTo>
                    <a:lnTo>
                      <a:pt x="1252" y="1204"/>
                    </a:lnTo>
                    <a:lnTo>
                      <a:pt x="1260" y="1205"/>
                    </a:lnTo>
                    <a:lnTo>
                      <a:pt x="1247" y="1192"/>
                    </a:lnTo>
                    <a:lnTo>
                      <a:pt x="1253" y="1183"/>
                    </a:lnTo>
                    <a:lnTo>
                      <a:pt x="1265" y="1192"/>
                    </a:lnTo>
                    <a:lnTo>
                      <a:pt x="1277" y="1194"/>
                    </a:lnTo>
                    <a:lnTo>
                      <a:pt x="1279" y="1211"/>
                    </a:lnTo>
                    <a:lnTo>
                      <a:pt x="1272" y="1220"/>
                    </a:lnTo>
                    <a:lnTo>
                      <a:pt x="1288" y="1224"/>
                    </a:lnTo>
                    <a:lnTo>
                      <a:pt x="1317" y="1245"/>
                    </a:lnTo>
                    <a:lnTo>
                      <a:pt x="1329" y="1251"/>
                    </a:lnTo>
                    <a:lnTo>
                      <a:pt x="1333" y="1272"/>
                    </a:lnTo>
                    <a:lnTo>
                      <a:pt x="1350" y="1272"/>
                    </a:lnTo>
                    <a:lnTo>
                      <a:pt x="1362" y="1265"/>
                    </a:lnTo>
                    <a:lnTo>
                      <a:pt x="1358" y="1283"/>
                    </a:lnTo>
                    <a:lnTo>
                      <a:pt x="1362" y="1306"/>
                    </a:lnTo>
                    <a:lnTo>
                      <a:pt x="1366" y="1315"/>
                    </a:lnTo>
                    <a:lnTo>
                      <a:pt x="1384" y="1340"/>
                    </a:lnTo>
                    <a:lnTo>
                      <a:pt x="1400" y="1332"/>
                    </a:lnTo>
                    <a:lnTo>
                      <a:pt x="1403" y="1343"/>
                    </a:lnTo>
                    <a:lnTo>
                      <a:pt x="1395" y="1359"/>
                    </a:lnTo>
                    <a:lnTo>
                      <a:pt x="1405" y="1375"/>
                    </a:lnTo>
                    <a:lnTo>
                      <a:pt x="1422" y="1365"/>
                    </a:lnTo>
                    <a:lnTo>
                      <a:pt x="1430" y="1388"/>
                    </a:lnTo>
                    <a:lnTo>
                      <a:pt x="1442" y="1380"/>
                    </a:lnTo>
                    <a:lnTo>
                      <a:pt x="1446" y="1392"/>
                    </a:lnTo>
                    <a:lnTo>
                      <a:pt x="1451" y="1403"/>
                    </a:lnTo>
                    <a:lnTo>
                      <a:pt x="1459" y="1409"/>
                    </a:lnTo>
                    <a:lnTo>
                      <a:pt x="1465" y="1386"/>
                    </a:lnTo>
                    <a:lnTo>
                      <a:pt x="1466" y="1374"/>
                    </a:lnTo>
                    <a:lnTo>
                      <a:pt x="1470" y="1359"/>
                    </a:lnTo>
                    <a:lnTo>
                      <a:pt x="1479" y="1358"/>
                    </a:lnTo>
                    <a:lnTo>
                      <a:pt x="1475" y="1339"/>
                    </a:lnTo>
                    <a:lnTo>
                      <a:pt x="1466" y="1311"/>
                    </a:lnTo>
                    <a:lnTo>
                      <a:pt x="1468" y="1297"/>
                    </a:lnTo>
                    <a:lnTo>
                      <a:pt x="1491" y="1320"/>
                    </a:lnTo>
                    <a:lnTo>
                      <a:pt x="1506" y="1321"/>
                    </a:lnTo>
                    <a:lnTo>
                      <a:pt x="1508" y="1310"/>
                    </a:lnTo>
                    <a:lnTo>
                      <a:pt x="1512" y="1299"/>
                    </a:lnTo>
                    <a:lnTo>
                      <a:pt x="1523" y="1294"/>
                    </a:lnTo>
                    <a:lnTo>
                      <a:pt x="1524" y="1269"/>
                    </a:lnTo>
                    <a:lnTo>
                      <a:pt x="1541" y="1263"/>
                    </a:lnTo>
                    <a:lnTo>
                      <a:pt x="1533" y="1251"/>
                    </a:lnTo>
                    <a:lnTo>
                      <a:pt x="1512" y="1254"/>
                    </a:lnTo>
                    <a:lnTo>
                      <a:pt x="1514" y="1241"/>
                    </a:lnTo>
                    <a:lnTo>
                      <a:pt x="1527" y="1242"/>
                    </a:lnTo>
                    <a:lnTo>
                      <a:pt x="1529" y="1229"/>
                    </a:lnTo>
                    <a:lnTo>
                      <a:pt x="1513" y="1224"/>
                    </a:lnTo>
                    <a:lnTo>
                      <a:pt x="1525" y="1218"/>
                    </a:lnTo>
                    <a:lnTo>
                      <a:pt x="1549" y="1232"/>
                    </a:lnTo>
                    <a:lnTo>
                      <a:pt x="1562" y="1232"/>
                    </a:lnTo>
                    <a:lnTo>
                      <a:pt x="1567" y="1224"/>
                    </a:lnTo>
                    <a:lnTo>
                      <a:pt x="1557" y="1211"/>
                    </a:lnTo>
                    <a:lnTo>
                      <a:pt x="1560" y="1207"/>
                    </a:lnTo>
                    <a:lnTo>
                      <a:pt x="1564" y="1197"/>
                    </a:lnTo>
                    <a:lnTo>
                      <a:pt x="1573" y="1193"/>
                    </a:lnTo>
                    <a:lnTo>
                      <a:pt x="1581" y="1182"/>
                    </a:lnTo>
                    <a:lnTo>
                      <a:pt x="1573" y="1165"/>
                    </a:lnTo>
                    <a:lnTo>
                      <a:pt x="1555" y="1144"/>
                    </a:lnTo>
                    <a:lnTo>
                      <a:pt x="1544" y="1139"/>
                    </a:lnTo>
                    <a:lnTo>
                      <a:pt x="1535" y="1132"/>
                    </a:lnTo>
                    <a:lnTo>
                      <a:pt x="1523" y="1134"/>
                    </a:lnTo>
                    <a:lnTo>
                      <a:pt x="1513" y="1130"/>
                    </a:lnTo>
                    <a:lnTo>
                      <a:pt x="1496" y="1132"/>
                    </a:lnTo>
                    <a:lnTo>
                      <a:pt x="1474" y="1144"/>
                    </a:lnTo>
                    <a:lnTo>
                      <a:pt x="1480" y="1112"/>
                    </a:lnTo>
                    <a:lnTo>
                      <a:pt x="1490" y="1100"/>
                    </a:lnTo>
                    <a:lnTo>
                      <a:pt x="1489" y="1089"/>
                    </a:lnTo>
                    <a:lnTo>
                      <a:pt x="1478" y="1087"/>
                    </a:lnTo>
                    <a:lnTo>
                      <a:pt x="1471" y="1095"/>
                    </a:lnTo>
                    <a:lnTo>
                      <a:pt x="1439" y="1100"/>
                    </a:lnTo>
                    <a:lnTo>
                      <a:pt x="1426" y="1098"/>
                    </a:lnTo>
                    <a:lnTo>
                      <a:pt x="1435" y="1091"/>
                    </a:lnTo>
                    <a:lnTo>
                      <a:pt x="1422" y="1087"/>
                    </a:lnTo>
                    <a:lnTo>
                      <a:pt x="1427" y="1081"/>
                    </a:lnTo>
                    <a:lnTo>
                      <a:pt x="1441" y="1080"/>
                    </a:lnTo>
                    <a:lnTo>
                      <a:pt x="1441" y="1070"/>
                    </a:lnTo>
                    <a:lnTo>
                      <a:pt x="1423" y="1035"/>
                    </a:lnTo>
                    <a:lnTo>
                      <a:pt x="1416" y="1022"/>
                    </a:lnTo>
                    <a:lnTo>
                      <a:pt x="1410" y="1017"/>
                    </a:lnTo>
                    <a:lnTo>
                      <a:pt x="1401" y="1011"/>
                    </a:lnTo>
                    <a:lnTo>
                      <a:pt x="1379" y="1016"/>
                    </a:lnTo>
                    <a:lnTo>
                      <a:pt x="1374" y="1010"/>
                    </a:lnTo>
                    <a:lnTo>
                      <a:pt x="1377" y="999"/>
                    </a:lnTo>
                    <a:lnTo>
                      <a:pt x="1382" y="993"/>
                    </a:lnTo>
                    <a:lnTo>
                      <a:pt x="1383" y="979"/>
                    </a:lnTo>
                    <a:lnTo>
                      <a:pt x="1363" y="984"/>
                    </a:lnTo>
                    <a:lnTo>
                      <a:pt x="1342" y="985"/>
                    </a:lnTo>
                    <a:lnTo>
                      <a:pt x="1329" y="1000"/>
                    </a:lnTo>
                    <a:lnTo>
                      <a:pt x="1323" y="989"/>
                    </a:lnTo>
                    <a:lnTo>
                      <a:pt x="1312" y="985"/>
                    </a:lnTo>
                    <a:lnTo>
                      <a:pt x="1314" y="976"/>
                    </a:lnTo>
                    <a:lnTo>
                      <a:pt x="1324" y="968"/>
                    </a:lnTo>
                    <a:lnTo>
                      <a:pt x="1315" y="952"/>
                    </a:lnTo>
                    <a:lnTo>
                      <a:pt x="1297" y="957"/>
                    </a:lnTo>
                    <a:lnTo>
                      <a:pt x="1283" y="958"/>
                    </a:lnTo>
                    <a:lnTo>
                      <a:pt x="1279" y="952"/>
                    </a:lnTo>
                    <a:lnTo>
                      <a:pt x="1285" y="940"/>
                    </a:lnTo>
                    <a:lnTo>
                      <a:pt x="1288" y="929"/>
                    </a:lnTo>
                    <a:lnTo>
                      <a:pt x="1279" y="923"/>
                    </a:lnTo>
                    <a:lnTo>
                      <a:pt x="1252" y="918"/>
                    </a:lnTo>
                    <a:lnTo>
                      <a:pt x="1216" y="908"/>
                    </a:lnTo>
                    <a:lnTo>
                      <a:pt x="1204" y="902"/>
                    </a:lnTo>
                    <a:lnTo>
                      <a:pt x="1199" y="893"/>
                    </a:lnTo>
                    <a:lnTo>
                      <a:pt x="1215" y="893"/>
                    </a:lnTo>
                    <a:lnTo>
                      <a:pt x="1216" y="885"/>
                    </a:lnTo>
                    <a:lnTo>
                      <a:pt x="1233" y="882"/>
                    </a:lnTo>
                    <a:lnTo>
                      <a:pt x="1224" y="875"/>
                    </a:lnTo>
                    <a:lnTo>
                      <a:pt x="1226" y="870"/>
                    </a:lnTo>
                    <a:lnTo>
                      <a:pt x="1209" y="852"/>
                    </a:lnTo>
                    <a:lnTo>
                      <a:pt x="1210" y="842"/>
                    </a:lnTo>
                    <a:lnTo>
                      <a:pt x="1228" y="843"/>
                    </a:lnTo>
                    <a:lnTo>
                      <a:pt x="1231" y="836"/>
                    </a:lnTo>
                    <a:lnTo>
                      <a:pt x="1220" y="826"/>
                    </a:lnTo>
                    <a:lnTo>
                      <a:pt x="1202" y="815"/>
                    </a:lnTo>
                    <a:lnTo>
                      <a:pt x="1188" y="816"/>
                    </a:lnTo>
                    <a:lnTo>
                      <a:pt x="1186" y="807"/>
                    </a:lnTo>
                    <a:lnTo>
                      <a:pt x="1202" y="804"/>
                    </a:lnTo>
                    <a:lnTo>
                      <a:pt x="1207" y="807"/>
                    </a:lnTo>
                    <a:lnTo>
                      <a:pt x="1215" y="804"/>
                    </a:lnTo>
                    <a:lnTo>
                      <a:pt x="1215" y="791"/>
                    </a:lnTo>
                    <a:lnTo>
                      <a:pt x="1248" y="812"/>
                    </a:lnTo>
                    <a:lnTo>
                      <a:pt x="1263" y="812"/>
                    </a:lnTo>
                    <a:lnTo>
                      <a:pt x="1280" y="805"/>
                    </a:lnTo>
                    <a:lnTo>
                      <a:pt x="1295" y="811"/>
                    </a:lnTo>
                    <a:lnTo>
                      <a:pt x="1299" y="802"/>
                    </a:lnTo>
                    <a:lnTo>
                      <a:pt x="1299" y="793"/>
                    </a:lnTo>
                    <a:lnTo>
                      <a:pt x="1286" y="779"/>
                    </a:lnTo>
                    <a:lnTo>
                      <a:pt x="1269" y="768"/>
                    </a:lnTo>
                    <a:lnTo>
                      <a:pt x="1249" y="766"/>
                    </a:lnTo>
                    <a:lnTo>
                      <a:pt x="1228" y="767"/>
                    </a:lnTo>
                    <a:lnTo>
                      <a:pt x="1211" y="757"/>
                    </a:lnTo>
                    <a:lnTo>
                      <a:pt x="1206" y="769"/>
                    </a:lnTo>
                    <a:lnTo>
                      <a:pt x="1191" y="752"/>
                    </a:lnTo>
                    <a:lnTo>
                      <a:pt x="1178" y="743"/>
                    </a:lnTo>
                    <a:lnTo>
                      <a:pt x="1169" y="751"/>
                    </a:lnTo>
                    <a:lnTo>
                      <a:pt x="1180" y="735"/>
                    </a:lnTo>
                    <a:lnTo>
                      <a:pt x="1201" y="736"/>
                    </a:lnTo>
                    <a:lnTo>
                      <a:pt x="1215" y="729"/>
                    </a:lnTo>
                    <a:lnTo>
                      <a:pt x="1222" y="716"/>
                    </a:lnTo>
                    <a:lnTo>
                      <a:pt x="1238" y="713"/>
                    </a:lnTo>
                    <a:lnTo>
                      <a:pt x="1258" y="723"/>
                    </a:lnTo>
                    <a:lnTo>
                      <a:pt x="1267" y="705"/>
                    </a:lnTo>
                    <a:lnTo>
                      <a:pt x="1261" y="691"/>
                    </a:lnTo>
                    <a:lnTo>
                      <a:pt x="1226" y="641"/>
                    </a:lnTo>
                    <a:lnTo>
                      <a:pt x="1207" y="632"/>
                    </a:lnTo>
                    <a:lnTo>
                      <a:pt x="1200" y="646"/>
                    </a:lnTo>
                    <a:lnTo>
                      <a:pt x="1201" y="661"/>
                    </a:lnTo>
                    <a:lnTo>
                      <a:pt x="1185" y="673"/>
                    </a:lnTo>
                    <a:lnTo>
                      <a:pt x="1178" y="688"/>
                    </a:lnTo>
                    <a:lnTo>
                      <a:pt x="1161" y="687"/>
                    </a:lnTo>
                    <a:lnTo>
                      <a:pt x="1178" y="661"/>
                    </a:lnTo>
                    <a:lnTo>
                      <a:pt x="1178" y="649"/>
                    </a:lnTo>
                    <a:lnTo>
                      <a:pt x="1142" y="651"/>
                    </a:lnTo>
                    <a:lnTo>
                      <a:pt x="1130" y="660"/>
                    </a:lnTo>
                    <a:lnTo>
                      <a:pt x="1125" y="653"/>
                    </a:lnTo>
                    <a:lnTo>
                      <a:pt x="1140" y="640"/>
                    </a:lnTo>
                    <a:lnTo>
                      <a:pt x="1169" y="628"/>
                    </a:lnTo>
                    <a:lnTo>
                      <a:pt x="1178" y="606"/>
                    </a:lnTo>
                    <a:lnTo>
                      <a:pt x="1188" y="619"/>
                    </a:lnTo>
                    <a:lnTo>
                      <a:pt x="1190" y="606"/>
                    </a:lnTo>
                    <a:lnTo>
                      <a:pt x="1190" y="585"/>
                    </a:lnTo>
                    <a:lnTo>
                      <a:pt x="1154" y="570"/>
                    </a:lnTo>
                    <a:lnTo>
                      <a:pt x="1143" y="560"/>
                    </a:lnTo>
                    <a:lnTo>
                      <a:pt x="1131" y="557"/>
                    </a:lnTo>
                    <a:lnTo>
                      <a:pt x="1111" y="563"/>
                    </a:lnTo>
                    <a:lnTo>
                      <a:pt x="1099" y="580"/>
                    </a:lnTo>
                    <a:lnTo>
                      <a:pt x="1093" y="585"/>
                    </a:lnTo>
                    <a:lnTo>
                      <a:pt x="1083" y="597"/>
                    </a:lnTo>
                    <a:lnTo>
                      <a:pt x="1083" y="591"/>
                    </a:lnTo>
                    <a:lnTo>
                      <a:pt x="1089" y="575"/>
                    </a:lnTo>
                    <a:lnTo>
                      <a:pt x="1102" y="563"/>
                    </a:lnTo>
                    <a:lnTo>
                      <a:pt x="1110" y="542"/>
                    </a:lnTo>
                    <a:lnTo>
                      <a:pt x="1102" y="546"/>
                    </a:lnTo>
                    <a:lnTo>
                      <a:pt x="1091" y="556"/>
                    </a:lnTo>
                    <a:lnTo>
                      <a:pt x="1076" y="560"/>
                    </a:lnTo>
                    <a:lnTo>
                      <a:pt x="1057" y="575"/>
                    </a:lnTo>
                    <a:lnTo>
                      <a:pt x="1059" y="564"/>
                    </a:lnTo>
                    <a:lnTo>
                      <a:pt x="1066" y="552"/>
                    </a:lnTo>
                    <a:lnTo>
                      <a:pt x="1075" y="528"/>
                    </a:lnTo>
                    <a:lnTo>
                      <a:pt x="1071" y="509"/>
                    </a:lnTo>
                    <a:lnTo>
                      <a:pt x="1060" y="506"/>
                    </a:lnTo>
                    <a:lnTo>
                      <a:pt x="1044" y="520"/>
                    </a:lnTo>
                    <a:lnTo>
                      <a:pt x="1028" y="525"/>
                    </a:lnTo>
                    <a:lnTo>
                      <a:pt x="1021" y="513"/>
                    </a:lnTo>
                    <a:lnTo>
                      <a:pt x="990" y="506"/>
                    </a:lnTo>
                    <a:lnTo>
                      <a:pt x="1018" y="500"/>
                    </a:lnTo>
                    <a:lnTo>
                      <a:pt x="1034" y="501"/>
                    </a:lnTo>
                    <a:lnTo>
                      <a:pt x="1041" y="489"/>
                    </a:lnTo>
                    <a:lnTo>
                      <a:pt x="1048" y="477"/>
                    </a:lnTo>
                    <a:lnTo>
                      <a:pt x="1041" y="455"/>
                    </a:lnTo>
                    <a:lnTo>
                      <a:pt x="1028" y="431"/>
                    </a:lnTo>
                    <a:lnTo>
                      <a:pt x="986" y="412"/>
                    </a:lnTo>
                    <a:lnTo>
                      <a:pt x="968" y="393"/>
                    </a:lnTo>
                    <a:lnTo>
                      <a:pt x="965" y="395"/>
                    </a:lnTo>
                    <a:lnTo>
                      <a:pt x="962" y="412"/>
                    </a:lnTo>
                    <a:lnTo>
                      <a:pt x="949" y="425"/>
                    </a:lnTo>
                    <a:lnTo>
                      <a:pt x="935" y="419"/>
                    </a:lnTo>
                    <a:lnTo>
                      <a:pt x="922" y="423"/>
                    </a:lnTo>
                    <a:lnTo>
                      <a:pt x="928" y="454"/>
                    </a:lnTo>
                    <a:lnTo>
                      <a:pt x="927" y="463"/>
                    </a:lnTo>
                    <a:lnTo>
                      <a:pt x="926" y="455"/>
                    </a:lnTo>
                    <a:lnTo>
                      <a:pt x="914" y="457"/>
                    </a:lnTo>
                    <a:lnTo>
                      <a:pt x="912" y="452"/>
                    </a:lnTo>
                    <a:lnTo>
                      <a:pt x="904" y="443"/>
                    </a:lnTo>
                    <a:lnTo>
                      <a:pt x="906" y="419"/>
                    </a:lnTo>
                    <a:lnTo>
                      <a:pt x="896" y="418"/>
                    </a:lnTo>
                    <a:lnTo>
                      <a:pt x="882" y="438"/>
                    </a:lnTo>
                    <a:lnTo>
                      <a:pt x="895" y="408"/>
                    </a:lnTo>
                    <a:lnTo>
                      <a:pt x="912" y="385"/>
                    </a:lnTo>
                    <a:lnTo>
                      <a:pt x="910" y="379"/>
                    </a:lnTo>
                    <a:lnTo>
                      <a:pt x="883" y="385"/>
                    </a:lnTo>
                    <a:lnTo>
                      <a:pt x="867" y="385"/>
                    </a:lnTo>
                    <a:lnTo>
                      <a:pt x="851" y="406"/>
                    </a:lnTo>
                    <a:lnTo>
                      <a:pt x="844" y="411"/>
                    </a:lnTo>
                    <a:lnTo>
                      <a:pt x="845" y="391"/>
                    </a:lnTo>
                    <a:lnTo>
                      <a:pt x="829" y="401"/>
                    </a:lnTo>
                    <a:lnTo>
                      <a:pt x="846" y="381"/>
                    </a:lnTo>
                    <a:lnTo>
                      <a:pt x="863" y="370"/>
                    </a:lnTo>
                    <a:lnTo>
                      <a:pt x="871" y="357"/>
                    </a:lnTo>
                    <a:lnTo>
                      <a:pt x="867" y="334"/>
                    </a:lnTo>
                    <a:lnTo>
                      <a:pt x="846" y="328"/>
                    </a:lnTo>
                    <a:lnTo>
                      <a:pt x="825" y="328"/>
                    </a:lnTo>
                    <a:lnTo>
                      <a:pt x="819" y="322"/>
                    </a:lnTo>
                    <a:lnTo>
                      <a:pt x="831" y="305"/>
                    </a:lnTo>
                    <a:lnTo>
                      <a:pt x="828" y="289"/>
                    </a:lnTo>
                    <a:lnTo>
                      <a:pt x="818" y="266"/>
                    </a:lnTo>
                    <a:lnTo>
                      <a:pt x="808" y="259"/>
                    </a:lnTo>
                    <a:lnTo>
                      <a:pt x="812" y="250"/>
                    </a:lnTo>
                    <a:lnTo>
                      <a:pt x="791" y="240"/>
                    </a:lnTo>
                    <a:lnTo>
                      <a:pt x="771" y="239"/>
                    </a:lnTo>
                    <a:lnTo>
                      <a:pt x="712" y="209"/>
                    </a:lnTo>
                    <a:lnTo>
                      <a:pt x="685" y="208"/>
                    </a:lnTo>
                    <a:lnTo>
                      <a:pt x="656" y="221"/>
                    </a:lnTo>
                    <a:lnTo>
                      <a:pt x="631" y="245"/>
                    </a:lnTo>
                    <a:lnTo>
                      <a:pt x="630" y="266"/>
                    </a:lnTo>
                    <a:lnTo>
                      <a:pt x="646" y="280"/>
                    </a:lnTo>
                    <a:lnTo>
                      <a:pt x="634" y="285"/>
                    </a:lnTo>
                    <a:lnTo>
                      <a:pt x="618" y="285"/>
                    </a:lnTo>
                    <a:lnTo>
                      <a:pt x="607" y="300"/>
                    </a:lnTo>
                    <a:lnTo>
                      <a:pt x="588" y="274"/>
                    </a:lnTo>
                    <a:lnTo>
                      <a:pt x="575" y="289"/>
                    </a:lnTo>
                    <a:lnTo>
                      <a:pt x="565" y="283"/>
                    </a:lnTo>
                    <a:lnTo>
                      <a:pt x="566" y="267"/>
                    </a:lnTo>
                    <a:lnTo>
                      <a:pt x="562" y="251"/>
                    </a:lnTo>
                    <a:lnTo>
                      <a:pt x="550" y="275"/>
                    </a:lnTo>
                    <a:lnTo>
                      <a:pt x="550" y="283"/>
                    </a:lnTo>
                    <a:lnTo>
                      <a:pt x="545" y="306"/>
                    </a:lnTo>
                    <a:lnTo>
                      <a:pt x="537" y="304"/>
                    </a:lnTo>
                    <a:lnTo>
                      <a:pt x="533" y="322"/>
                    </a:lnTo>
                    <a:lnTo>
                      <a:pt x="519" y="344"/>
                    </a:lnTo>
                    <a:lnTo>
                      <a:pt x="503" y="357"/>
                    </a:lnTo>
                    <a:lnTo>
                      <a:pt x="506" y="347"/>
                    </a:lnTo>
                    <a:lnTo>
                      <a:pt x="498" y="336"/>
                    </a:lnTo>
                    <a:lnTo>
                      <a:pt x="503" y="325"/>
                    </a:lnTo>
                    <a:lnTo>
                      <a:pt x="517" y="328"/>
                    </a:lnTo>
                    <a:lnTo>
                      <a:pt x="519" y="323"/>
                    </a:lnTo>
                    <a:lnTo>
                      <a:pt x="511" y="312"/>
                    </a:lnTo>
                    <a:lnTo>
                      <a:pt x="506" y="312"/>
                    </a:lnTo>
                    <a:lnTo>
                      <a:pt x="512" y="289"/>
                    </a:lnTo>
                    <a:lnTo>
                      <a:pt x="518" y="274"/>
                    </a:lnTo>
                    <a:lnTo>
                      <a:pt x="528" y="230"/>
                    </a:lnTo>
                    <a:lnTo>
                      <a:pt x="534" y="212"/>
                    </a:lnTo>
                    <a:lnTo>
                      <a:pt x="518" y="196"/>
                    </a:lnTo>
                    <a:lnTo>
                      <a:pt x="510" y="176"/>
                    </a:lnTo>
                    <a:lnTo>
                      <a:pt x="508" y="167"/>
                    </a:lnTo>
                    <a:lnTo>
                      <a:pt x="518" y="159"/>
                    </a:lnTo>
                    <a:lnTo>
                      <a:pt x="519" y="148"/>
                    </a:lnTo>
                    <a:lnTo>
                      <a:pt x="512" y="134"/>
                    </a:lnTo>
                    <a:lnTo>
                      <a:pt x="496" y="122"/>
                    </a:lnTo>
                    <a:lnTo>
                      <a:pt x="475" y="115"/>
                    </a:lnTo>
                    <a:lnTo>
                      <a:pt x="489" y="99"/>
                    </a:lnTo>
                    <a:lnTo>
                      <a:pt x="484" y="47"/>
                    </a:lnTo>
                    <a:lnTo>
                      <a:pt x="475" y="33"/>
                    </a:lnTo>
                    <a:lnTo>
                      <a:pt x="470" y="22"/>
                    </a:lnTo>
                    <a:lnTo>
                      <a:pt x="417" y="26"/>
                    </a:lnTo>
                    <a:lnTo>
                      <a:pt x="401" y="25"/>
                    </a:lnTo>
                    <a:lnTo>
                      <a:pt x="390" y="33"/>
                    </a:lnTo>
                    <a:lnTo>
                      <a:pt x="378" y="37"/>
                    </a:lnTo>
                    <a:lnTo>
                      <a:pt x="358" y="49"/>
                    </a:lnTo>
                    <a:lnTo>
                      <a:pt x="339" y="68"/>
                    </a:lnTo>
                    <a:lnTo>
                      <a:pt x="355" y="84"/>
                    </a:lnTo>
                    <a:lnTo>
                      <a:pt x="351" y="103"/>
                    </a:lnTo>
                    <a:lnTo>
                      <a:pt x="347" y="92"/>
                    </a:lnTo>
                    <a:lnTo>
                      <a:pt x="340" y="80"/>
                    </a:lnTo>
                    <a:lnTo>
                      <a:pt x="325" y="73"/>
                    </a:lnTo>
                    <a:lnTo>
                      <a:pt x="307" y="81"/>
                    </a:lnTo>
                    <a:lnTo>
                      <a:pt x="304" y="94"/>
                    </a:lnTo>
                    <a:lnTo>
                      <a:pt x="313" y="118"/>
                    </a:lnTo>
                    <a:lnTo>
                      <a:pt x="303" y="112"/>
                    </a:lnTo>
                    <a:lnTo>
                      <a:pt x="291" y="94"/>
                    </a:lnTo>
                    <a:lnTo>
                      <a:pt x="277" y="97"/>
                    </a:lnTo>
                    <a:lnTo>
                      <a:pt x="272" y="115"/>
                    </a:lnTo>
                    <a:lnTo>
                      <a:pt x="285" y="131"/>
                    </a:lnTo>
                    <a:lnTo>
                      <a:pt x="344" y="153"/>
                    </a:lnTo>
                    <a:lnTo>
                      <a:pt x="341" y="160"/>
                    </a:lnTo>
                    <a:lnTo>
                      <a:pt x="324" y="156"/>
                    </a:lnTo>
                    <a:lnTo>
                      <a:pt x="266" y="138"/>
                    </a:lnTo>
                    <a:lnTo>
                      <a:pt x="264" y="148"/>
                    </a:lnTo>
                    <a:lnTo>
                      <a:pt x="258" y="144"/>
                    </a:lnTo>
                    <a:lnTo>
                      <a:pt x="250" y="148"/>
                    </a:lnTo>
                    <a:lnTo>
                      <a:pt x="261" y="156"/>
                    </a:lnTo>
                    <a:lnTo>
                      <a:pt x="276" y="160"/>
                    </a:lnTo>
                    <a:lnTo>
                      <a:pt x="293" y="177"/>
                    </a:lnTo>
                    <a:lnTo>
                      <a:pt x="312" y="186"/>
                    </a:lnTo>
                    <a:lnTo>
                      <a:pt x="331" y="204"/>
                    </a:lnTo>
                    <a:lnTo>
                      <a:pt x="319" y="207"/>
                    </a:lnTo>
                    <a:lnTo>
                      <a:pt x="280" y="176"/>
                    </a:lnTo>
                    <a:lnTo>
                      <a:pt x="255" y="170"/>
                    </a:lnTo>
                    <a:lnTo>
                      <a:pt x="243" y="171"/>
                    </a:lnTo>
                    <a:lnTo>
                      <a:pt x="238" y="181"/>
                    </a:lnTo>
                    <a:lnTo>
                      <a:pt x="239" y="210"/>
                    </a:lnTo>
                    <a:lnTo>
                      <a:pt x="248" y="237"/>
                    </a:lnTo>
                    <a:lnTo>
                      <a:pt x="243" y="246"/>
                    </a:lnTo>
                    <a:lnTo>
                      <a:pt x="250" y="263"/>
                    </a:lnTo>
                    <a:lnTo>
                      <a:pt x="269" y="274"/>
                    </a:lnTo>
                    <a:lnTo>
                      <a:pt x="279" y="274"/>
                    </a:lnTo>
                    <a:lnTo>
                      <a:pt x="285" y="268"/>
                    </a:lnTo>
                    <a:lnTo>
                      <a:pt x="288" y="273"/>
                    </a:lnTo>
                    <a:lnTo>
                      <a:pt x="282" y="291"/>
                    </a:lnTo>
                    <a:lnTo>
                      <a:pt x="272" y="302"/>
                    </a:lnTo>
                    <a:lnTo>
                      <a:pt x="254" y="299"/>
                    </a:lnTo>
                    <a:lnTo>
                      <a:pt x="249" y="314"/>
                    </a:lnTo>
                    <a:lnTo>
                      <a:pt x="248" y="325"/>
                    </a:lnTo>
                    <a:lnTo>
                      <a:pt x="226" y="343"/>
                    </a:lnTo>
                    <a:lnTo>
                      <a:pt x="229" y="354"/>
                    </a:lnTo>
                    <a:lnTo>
                      <a:pt x="245" y="364"/>
                    </a:lnTo>
                    <a:lnTo>
                      <a:pt x="245" y="381"/>
                    </a:lnTo>
                    <a:lnTo>
                      <a:pt x="259" y="398"/>
                    </a:lnTo>
                    <a:lnTo>
                      <a:pt x="280" y="406"/>
                    </a:lnTo>
                    <a:lnTo>
                      <a:pt x="295" y="406"/>
                    </a:lnTo>
                    <a:lnTo>
                      <a:pt x="298" y="419"/>
                    </a:lnTo>
                    <a:lnTo>
                      <a:pt x="295" y="441"/>
                    </a:lnTo>
                    <a:lnTo>
                      <a:pt x="295" y="447"/>
                    </a:lnTo>
                    <a:lnTo>
                      <a:pt x="290" y="455"/>
                    </a:lnTo>
                    <a:lnTo>
                      <a:pt x="291" y="471"/>
                    </a:lnTo>
                    <a:lnTo>
                      <a:pt x="290" y="485"/>
                    </a:lnTo>
                    <a:lnTo>
                      <a:pt x="288" y="504"/>
                    </a:lnTo>
                    <a:lnTo>
                      <a:pt x="281" y="525"/>
                    </a:lnTo>
                    <a:lnTo>
                      <a:pt x="275" y="519"/>
                    </a:lnTo>
                    <a:lnTo>
                      <a:pt x="277" y="500"/>
                    </a:lnTo>
                    <a:lnTo>
                      <a:pt x="281" y="490"/>
                    </a:lnTo>
                    <a:lnTo>
                      <a:pt x="277" y="485"/>
                    </a:lnTo>
                    <a:lnTo>
                      <a:pt x="271" y="489"/>
                    </a:lnTo>
                    <a:lnTo>
                      <a:pt x="254" y="487"/>
                    </a:lnTo>
                    <a:lnTo>
                      <a:pt x="242" y="490"/>
                    </a:lnTo>
                    <a:lnTo>
                      <a:pt x="227" y="498"/>
                    </a:lnTo>
                    <a:lnTo>
                      <a:pt x="207" y="515"/>
                    </a:lnTo>
                    <a:lnTo>
                      <a:pt x="190" y="513"/>
                    </a:lnTo>
                    <a:lnTo>
                      <a:pt x="215" y="495"/>
                    </a:lnTo>
                    <a:lnTo>
                      <a:pt x="227" y="481"/>
                    </a:lnTo>
                    <a:lnTo>
                      <a:pt x="252" y="476"/>
                    </a:lnTo>
                    <a:lnTo>
                      <a:pt x="256" y="470"/>
                    </a:lnTo>
                    <a:lnTo>
                      <a:pt x="268" y="465"/>
                    </a:lnTo>
                    <a:lnTo>
                      <a:pt x="281" y="467"/>
                    </a:lnTo>
                    <a:lnTo>
                      <a:pt x="281" y="460"/>
                    </a:lnTo>
                    <a:lnTo>
                      <a:pt x="277" y="446"/>
                    </a:lnTo>
                    <a:lnTo>
                      <a:pt x="274" y="438"/>
                    </a:lnTo>
                    <a:lnTo>
                      <a:pt x="255" y="433"/>
                    </a:lnTo>
                    <a:lnTo>
                      <a:pt x="205" y="361"/>
                    </a:lnTo>
                    <a:lnTo>
                      <a:pt x="196" y="334"/>
                    </a:lnTo>
                    <a:lnTo>
                      <a:pt x="198" y="306"/>
                    </a:lnTo>
                    <a:lnTo>
                      <a:pt x="206" y="274"/>
                    </a:lnTo>
                    <a:lnTo>
                      <a:pt x="198" y="252"/>
                    </a:lnTo>
                    <a:lnTo>
                      <a:pt x="185" y="229"/>
                    </a:lnTo>
                    <a:lnTo>
                      <a:pt x="186" y="198"/>
                    </a:lnTo>
                    <a:lnTo>
                      <a:pt x="207" y="155"/>
                    </a:lnTo>
                    <a:lnTo>
                      <a:pt x="211" y="124"/>
                    </a:lnTo>
                    <a:lnTo>
                      <a:pt x="222" y="102"/>
                    </a:lnTo>
                    <a:lnTo>
                      <a:pt x="236" y="88"/>
                    </a:lnTo>
                    <a:lnTo>
                      <a:pt x="247" y="67"/>
                    </a:lnTo>
                    <a:lnTo>
                      <a:pt x="275" y="38"/>
                    </a:lnTo>
                    <a:lnTo>
                      <a:pt x="285" y="25"/>
                    </a:lnTo>
                    <a:lnTo>
                      <a:pt x="285" y="21"/>
                    </a:lnTo>
                    <a:lnTo>
                      <a:pt x="279" y="16"/>
                    </a:lnTo>
                    <a:lnTo>
                      <a:pt x="270" y="8"/>
                    </a:lnTo>
                    <a:lnTo>
                      <a:pt x="206" y="0"/>
                    </a:lnTo>
                    <a:lnTo>
                      <a:pt x="190" y="3"/>
                    </a:lnTo>
                    <a:lnTo>
                      <a:pt x="146" y="20"/>
                    </a:lnTo>
                    <a:lnTo>
                      <a:pt x="114" y="42"/>
                    </a:lnTo>
                    <a:lnTo>
                      <a:pt x="81" y="76"/>
                    </a:lnTo>
                    <a:lnTo>
                      <a:pt x="75" y="101"/>
                    </a:lnTo>
                    <a:lnTo>
                      <a:pt x="61" y="118"/>
                    </a:lnTo>
                    <a:lnTo>
                      <a:pt x="55" y="123"/>
                    </a:lnTo>
                    <a:lnTo>
                      <a:pt x="49" y="134"/>
                    </a:lnTo>
                    <a:lnTo>
                      <a:pt x="44" y="149"/>
                    </a:lnTo>
                    <a:lnTo>
                      <a:pt x="51" y="164"/>
                    </a:lnTo>
                    <a:lnTo>
                      <a:pt x="39" y="172"/>
                    </a:lnTo>
                    <a:lnTo>
                      <a:pt x="38" y="199"/>
                    </a:lnTo>
                    <a:lnTo>
                      <a:pt x="48" y="204"/>
                    </a:lnTo>
                    <a:lnTo>
                      <a:pt x="29" y="204"/>
                    </a:lnTo>
                    <a:lnTo>
                      <a:pt x="24" y="230"/>
                    </a:lnTo>
                    <a:lnTo>
                      <a:pt x="16" y="236"/>
                    </a:lnTo>
                    <a:lnTo>
                      <a:pt x="14" y="261"/>
                    </a:lnTo>
                    <a:lnTo>
                      <a:pt x="7" y="274"/>
                    </a:lnTo>
                    <a:lnTo>
                      <a:pt x="12" y="310"/>
                    </a:lnTo>
                    <a:lnTo>
                      <a:pt x="27" y="310"/>
                    </a:lnTo>
                    <a:lnTo>
                      <a:pt x="17" y="316"/>
                    </a:lnTo>
                    <a:lnTo>
                      <a:pt x="7" y="330"/>
                    </a:lnTo>
                    <a:lnTo>
                      <a:pt x="0" y="347"/>
                    </a:lnTo>
                    <a:lnTo>
                      <a:pt x="7" y="369"/>
                    </a:lnTo>
                    <a:lnTo>
                      <a:pt x="13" y="381"/>
                    </a:lnTo>
                    <a:lnTo>
                      <a:pt x="3" y="401"/>
                    </a:lnTo>
                    <a:lnTo>
                      <a:pt x="3" y="441"/>
                    </a:lnTo>
                    <a:lnTo>
                      <a:pt x="8" y="454"/>
                    </a:lnTo>
                    <a:lnTo>
                      <a:pt x="12" y="460"/>
                    </a:lnTo>
                    <a:lnTo>
                      <a:pt x="62" y="471"/>
                    </a:lnTo>
                    <a:lnTo>
                      <a:pt x="115" y="476"/>
                    </a:lnTo>
                    <a:lnTo>
                      <a:pt x="126" y="490"/>
                    </a:lnTo>
                    <a:lnTo>
                      <a:pt x="145" y="506"/>
                    </a:lnTo>
                    <a:lnTo>
                      <a:pt x="162" y="516"/>
                    </a:lnTo>
                    <a:lnTo>
                      <a:pt x="131" y="528"/>
                    </a:lnTo>
                    <a:lnTo>
                      <a:pt x="107" y="530"/>
                    </a:lnTo>
                    <a:lnTo>
                      <a:pt x="73" y="510"/>
                    </a:lnTo>
                    <a:lnTo>
                      <a:pt x="53" y="509"/>
                    </a:lnTo>
                    <a:lnTo>
                      <a:pt x="37" y="504"/>
                    </a:lnTo>
                    <a:lnTo>
                      <a:pt x="45" y="515"/>
                    </a:lnTo>
                    <a:lnTo>
                      <a:pt x="38" y="532"/>
                    </a:lnTo>
                    <a:lnTo>
                      <a:pt x="48" y="548"/>
                    </a:lnTo>
                    <a:lnTo>
                      <a:pt x="61" y="575"/>
                    </a:lnTo>
                    <a:lnTo>
                      <a:pt x="83" y="602"/>
                    </a:lnTo>
                    <a:lnTo>
                      <a:pt x="118" y="624"/>
                    </a:lnTo>
                    <a:lnTo>
                      <a:pt x="105" y="627"/>
                    </a:lnTo>
                    <a:lnTo>
                      <a:pt x="124" y="634"/>
                    </a:lnTo>
                    <a:lnTo>
                      <a:pt x="126" y="628"/>
                    </a:lnTo>
                    <a:lnTo>
                      <a:pt x="141" y="627"/>
                    </a:lnTo>
                    <a:lnTo>
                      <a:pt x="167" y="632"/>
                    </a:lnTo>
                    <a:lnTo>
                      <a:pt x="186" y="627"/>
                    </a:lnTo>
                    <a:lnTo>
                      <a:pt x="194" y="606"/>
                    </a:lnTo>
                    <a:lnTo>
                      <a:pt x="196" y="635"/>
                    </a:lnTo>
                    <a:lnTo>
                      <a:pt x="209" y="656"/>
                    </a:lnTo>
                    <a:lnTo>
                      <a:pt x="226" y="673"/>
                    </a:lnTo>
                    <a:lnTo>
                      <a:pt x="253" y="682"/>
                    </a:lnTo>
                    <a:lnTo>
                      <a:pt x="265" y="682"/>
                    </a:lnTo>
                    <a:lnTo>
                      <a:pt x="250" y="672"/>
                    </a:lnTo>
                    <a:lnTo>
                      <a:pt x="265" y="670"/>
                    </a:lnTo>
                    <a:lnTo>
                      <a:pt x="292" y="680"/>
                    </a:lnTo>
                    <a:lnTo>
                      <a:pt x="344" y="688"/>
                    </a:lnTo>
                    <a:lnTo>
                      <a:pt x="358" y="696"/>
                    </a:lnTo>
                    <a:lnTo>
                      <a:pt x="360" y="689"/>
                    </a:lnTo>
                    <a:lnTo>
                      <a:pt x="384" y="678"/>
                    </a:lnTo>
                    <a:lnTo>
                      <a:pt x="419" y="702"/>
                    </a:lnTo>
                    <a:lnTo>
                      <a:pt x="435" y="703"/>
                    </a:lnTo>
                    <a:lnTo>
                      <a:pt x="437" y="708"/>
                    </a:lnTo>
                    <a:lnTo>
                      <a:pt x="442" y="700"/>
                    </a:lnTo>
                    <a:lnTo>
                      <a:pt x="441" y="702"/>
                    </a:lnTo>
                    <a:lnTo>
                      <a:pt x="448" y="709"/>
                    </a:lnTo>
                    <a:lnTo>
                      <a:pt x="455" y="693"/>
                    </a:lnTo>
                    <a:lnTo>
                      <a:pt x="469" y="687"/>
                    </a:lnTo>
                    <a:lnTo>
                      <a:pt x="483" y="696"/>
                    </a:lnTo>
                    <a:lnTo>
                      <a:pt x="496" y="718"/>
                    </a:lnTo>
                    <a:lnTo>
                      <a:pt x="506" y="718"/>
                    </a:lnTo>
                    <a:lnTo>
                      <a:pt x="501" y="704"/>
                    </a:lnTo>
                    <a:lnTo>
                      <a:pt x="481" y="680"/>
                    </a:lnTo>
                    <a:lnTo>
                      <a:pt x="462" y="672"/>
                    </a:lnTo>
                    <a:lnTo>
                      <a:pt x="464" y="659"/>
                    </a:lnTo>
                    <a:lnTo>
                      <a:pt x="517" y="676"/>
                    </a:lnTo>
                    <a:lnTo>
                      <a:pt x="530" y="682"/>
                    </a:lnTo>
                    <a:lnTo>
                      <a:pt x="543" y="676"/>
                    </a:lnTo>
                    <a:lnTo>
                      <a:pt x="549" y="682"/>
                    </a:lnTo>
                    <a:lnTo>
                      <a:pt x="556" y="682"/>
                    </a:lnTo>
                    <a:lnTo>
                      <a:pt x="569" y="707"/>
                    </a:lnTo>
                    <a:lnTo>
                      <a:pt x="596" y="698"/>
                    </a:lnTo>
                    <a:lnTo>
                      <a:pt x="618" y="696"/>
                    </a:lnTo>
                    <a:lnTo>
                      <a:pt x="625" y="684"/>
                    </a:lnTo>
                    <a:lnTo>
                      <a:pt x="620" y="659"/>
                    </a:lnTo>
                    <a:lnTo>
                      <a:pt x="605" y="624"/>
                    </a:lnTo>
                    <a:lnTo>
                      <a:pt x="591" y="626"/>
                    </a:lnTo>
                    <a:lnTo>
                      <a:pt x="581" y="618"/>
                    </a:lnTo>
                    <a:lnTo>
                      <a:pt x="593" y="607"/>
                    </a:lnTo>
                    <a:lnTo>
                      <a:pt x="620" y="614"/>
                    </a:lnTo>
                    <a:lnTo>
                      <a:pt x="653" y="649"/>
                    </a:lnTo>
                    <a:lnTo>
                      <a:pt x="658" y="638"/>
                    </a:lnTo>
                    <a:lnTo>
                      <a:pt x="670" y="646"/>
                    </a:lnTo>
                    <a:lnTo>
                      <a:pt x="684" y="643"/>
                    </a:lnTo>
                    <a:lnTo>
                      <a:pt x="685" y="707"/>
                    </a:lnTo>
                    <a:lnTo>
                      <a:pt x="694" y="716"/>
                    </a:lnTo>
                    <a:lnTo>
                      <a:pt x="701" y="700"/>
                    </a:lnTo>
                    <a:lnTo>
                      <a:pt x="711" y="708"/>
                    </a:lnTo>
                    <a:lnTo>
                      <a:pt x="723" y="707"/>
                    </a:lnTo>
                    <a:lnTo>
                      <a:pt x="728" y="714"/>
                    </a:lnTo>
                    <a:lnTo>
                      <a:pt x="727" y="726"/>
                    </a:lnTo>
                    <a:lnTo>
                      <a:pt x="715" y="736"/>
                    </a:lnTo>
                    <a:lnTo>
                      <a:pt x="727" y="737"/>
                    </a:lnTo>
                    <a:lnTo>
                      <a:pt x="738" y="745"/>
                    </a:lnTo>
                    <a:lnTo>
                      <a:pt x="750" y="759"/>
                    </a:lnTo>
                    <a:lnTo>
                      <a:pt x="787" y="793"/>
                    </a:lnTo>
                    <a:lnTo>
                      <a:pt x="792" y="816"/>
                    </a:lnTo>
                    <a:lnTo>
                      <a:pt x="772" y="833"/>
                    </a:lnTo>
                    <a:lnTo>
                      <a:pt x="752" y="828"/>
                    </a:lnTo>
                    <a:lnTo>
                      <a:pt x="737" y="828"/>
                    </a:lnTo>
                    <a:lnTo>
                      <a:pt x="743" y="854"/>
                    </a:lnTo>
                    <a:lnTo>
                      <a:pt x="740" y="887"/>
                    </a:lnTo>
                    <a:lnTo>
                      <a:pt x="761" y="880"/>
                    </a:lnTo>
                    <a:lnTo>
                      <a:pt x="791" y="859"/>
                    </a:lnTo>
                    <a:lnTo>
                      <a:pt x="798" y="843"/>
                    </a:lnTo>
                    <a:lnTo>
                      <a:pt x="812" y="849"/>
                    </a:lnTo>
                    <a:lnTo>
                      <a:pt x="829" y="834"/>
                    </a:lnTo>
                    <a:lnTo>
                      <a:pt x="849" y="829"/>
                    </a:lnTo>
                    <a:lnTo>
                      <a:pt x="868" y="833"/>
                    </a:lnTo>
                    <a:lnTo>
                      <a:pt x="836" y="843"/>
                    </a:lnTo>
                    <a:lnTo>
                      <a:pt x="842" y="848"/>
                    </a:lnTo>
                    <a:lnTo>
                      <a:pt x="835" y="863"/>
                    </a:lnTo>
                    <a:lnTo>
                      <a:pt x="858" y="892"/>
                    </a:lnTo>
                    <a:lnTo>
                      <a:pt x="872" y="906"/>
                    </a:lnTo>
                    <a:lnTo>
                      <a:pt x="878" y="901"/>
                    </a:lnTo>
                    <a:lnTo>
                      <a:pt x="871" y="887"/>
                    </a:lnTo>
                    <a:lnTo>
                      <a:pt x="872" y="877"/>
                    </a:lnTo>
                    <a:lnTo>
                      <a:pt x="892" y="883"/>
                    </a:lnTo>
                    <a:lnTo>
                      <a:pt x="890" y="920"/>
                    </a:lnTo>
                    <a:lnTo>
                      <a:pt x="895" y="936"/>
                    </a:lnTo>
                    <a:lnTo>
                      <a:pt x="912" y="949"/>
                    </a:lnTo>
                    <a:lnTo>
                      <a:pt x="925" y="941"/>
                    </a:lnTo>
                    <a:lnTo>
                      <a:pt x="939" y="963"/>
                    </a:lnTo>
                    <a:lnTo>
                      <a:pt x="942" y="988"/>
                    </a:lnTo>
                    <a:lnTo>
                      <a:pt x="948" y="1004"/>
                    </a:lnTo>
                    <a:lnTo>
                      <a:pt x="955" y="1014"/>
                    </a:lnTo>
                    <a:lnTo>
                      <a:pt x="958" y="1037"/>
                    </a:lnTo>
                    <a:lnTo>
                      <a:pt x="965" y="1049"/>
                    </a:lnTo>
                    <a:lnTo>
                      <a:pt x="967" y="1069"/>
                    </a:lnTo>
                    <a:lnTo>
                      <a:pt x="970" y="1085"/>
                    </a:lnTo>
                    <a:lnTo>
                      <a:pt x="976" y="1089"/>
                    </a:lnTo>
                    <a:lnTo>
                      <a:pt x="971" y="1103"/>
                    </a:lnTo>
                    <a:lnTo>
                      <a:pt x="964" y="1114"/>
                    </a:lnTo>
                    <a:lnTo>
                      <a:pt x="951" y="1121"/>
                    </a:lnTo>
                    <a:lnTo>
                      <a:pt x="942" y="1130"/>
                    </a:lnTo>
                    <a:lnTo>
                      <a:pt x="941" y="1166"/>
                    </a:lnTo>
                    <a:lnTo>
                      <a:pt x="937" y="1170"/>
                    </a:lnTo>
                    <a:lnTo>
                      <a:pt x="924" y="1173"/>
                    </a:lnTo>
                    <a:lnTo>
                      <a:pt x="911" y="1191"/>
                    </a:lnTo>
                    <a:lnTo>
                      <a:pt x="895" y="1204"/>
                    </a:lnTo>
                    <a:lnTo>
                      <a:pt x="882" y="1224"/>
                    </a:lnTo>
                    <a:lnTo>
                      <a:pt x="861" y="1242"/>
                    </a:lnTo>
                    <a:lnTo>
                      <a:pt x="863" y="1254"/>
                    </a:lnTo>
                    <a:lnTo>
                      <a:pt x="877" y="1275"/>
                    </a:lnTo>
                    <a:lnTo>
                      <a:pt x="894" y="1292"/>
                    </a:lnTo>
                    <a:lnTo>
                      <a:pt x="898" y="1310"/>
                    </a:lnTo>
                    <a:lnTo>
                      <a:pt x="908" y="1313"/>
                    </a:lnTo>
                    <a:lnTo>
                      <a:pt x="908" y="1338"/>
                    </a:lnTo>
                    <a:lnTo>
                      <a:pt x="889" y="1328"/>
                    </a:lnTo>
                    <a:lnTo>
                      <a:pt x="888" y="1333"/>
                    </a:lnTo>
                    <a:lnTo>
                      <a:pt x="874" y="1327"/>
                    </a:lnTo>
                    <a:lnTo>
                      <a:pt x="871" y="1334"/>
                    </a:lnTo>
                    <a:lnTo>
                      <a:pt x="862" y="1337"/>
                    </a:lnTo>
                    <a:lnTo>
                      <a:pt x="846" y="1347"/>
                    </a:lnTo>
                    <a:lnTo>
                      <a:pt x="822" y="1347"/>
                    </a:lnTo>
                    <a:lnTo>
                      <a:pt x="820" y="1360"/>
                    </a:lnTo>
                    <a:lnTo>
                      <a:pt x="811" y="1364"/>
                    </a:lnTo>
                    <a:lnTo>
                      <a:pt x="793" y="1354"/>
                    </a:lnTo>
                    <a:lnTo>
                      <a:pt x="765" y="1358"/>
                    </a:lnTo>
                    <a:lnTo>
                      <a:pt x="743" y="1348"/>
                    </a:lnTo>
                    <a:lnTo>
                      <a:pt x="731" y="1348"/>
                    </a:lnTo>
                    <a:lnTo>
                      <a:pt x="718" y="1344"/>
                    </a:lnTo>
                    <a:lnTo>
                      <a:pt x="711" y="1338"/>
                    </a:lnTo>
                    <a:lnTo>
                      <a:pt x="700" y="1339"/>
                    </a:lnTo>
                    <a:lnTo>
                      <a:pt x="707" y="1350"/>
                    </a:lnTo>
                    <a:lnTo>
                      <a:pt x="697" y="1350"/>
                    </a:lnTo>
                    <a:lnTo>
                      <a:pt x="700" y="1374"/>
                    </a:lnTo>
                    <a:lnTo>
                      <a:pt x="688" y="1378"/>
                    </a:lnTo>
                    <a:lnTo>
                      <a:pt x="668" y="1393"/>
                    </a:lnTo>
                    <a:lnTo>
                      <a:pt x="661" y="1408"/>
                    </a:lnTo>
                    <a:lnTo>
                      <a:pt x="658" y="1425"/>
                    </a:lnTo>
                    <a:lnTo>
                      <a:pt x="659" y="1441"/>
                    </a:lnTo>
                    <a:lnTo>
                      <a:pt x="668" y="1462"/>
                    </a:lnTo>
                    <a:lnTo>
                      <a:pt x="680" y="1473"/>
                    </a:lnTo>
                    <a:lnTo>
                      <a:pt x="690" y="1473"/>
                    </a:lnTo>
                    <a:lnTo>
                      <a:pt x="702" y="1488"/>
                    </a:lnTo>
                    <a:lnTo>
                      <a:pt x="710" y="1485"/>
                    </a:lnTo>
                    <a:lnTo>
                      <a:pt x="731" y="1491"/>
                    </a:lnTo>
                    <a:lnTo>
                      <a:pt x="737" y="1496"/>
                    </a:lnTo>
                    <a:lnTo>
                      <a:pt x="739" y="1493"/>
                    </a:lnTo>
                    <a:lnTo>
                      <a:pt x="761" y="1487"/>
                    </a:lnTo>
                    <a:lnTo>
                      <a:pt x="759" y="1478"/>
                    </a:lnTo>
                    <a:lnTo>
                      <a:pt x="776" y="1477"/>
                    </a:lnTo>
                    <a:lnTo>
                      <a:pt x="783" y="1473"/>
                    </a:lnTo>
                    <a:lnTo>
                      <a:pt x="785" y="1463"/>
                    </a:lnTo>
                    <a:lnTo>
                      <a:pt x="780" y="1452"/>
                    </a:lnTo>
                    <a:lnTo>
                      <a:pt x="792" y="1447"/>
                    </a:lnTo>
                    <a:lnTo>
                      <a:pt x="807" y="1447"/>
                    </a:lnTo>
                    <a:lnTo>
                      <a:pt x="812" y="1457"/>
                    </a:lnTo>
                    <a:lnTo>
                      <a:pt x="814" y="1467"/>
                    </a:lnTo>
                    <a:lnTo>
                      <a:pt x="840" y="1468"/>
                    </a:lnTo>
                    <a:lnTo>
                      <a:pt x="849" y="1472"/>
                    </a:lnTo>
                    <a:lnTo>
                      <a:pt x="847" y="1461"/>
                    </a:lnTo>
                    <a:lnTo>
                      <a:pt x="855" y="1453"/>
                    </a:lnTo>
                    <a:lnTo>
                      <a:pt x="857" y="1460"/>
                    </a:lnTo>
                    <a:lnTo>
                      <a:pt x="847" y="1441"/>
                    </a:lnTo>
                    <a:lnTo>
                      <a:pt x="835" y="1436"/>
                    </a:lnTo>
                    <a:lnTo>
                      <a:pt x="834" y="1423"/>
                    </a:lnTo>
                    <a:lnTo>
                      <a:pt x="846" y="1419"/>
                    </a:lnTo>
                    <a:lnTo>
                      <a:pt x="851" y="1413"/>
                    </a:lnTo>
                    <a:lnTo>
                      <a:pt x="851" y="1425"/>
                    </a:lnTo>
                    <a:lnTo>
                      <a:pt x="852" y="1435"/>
                    </a:lnTo>
                    <a:lnTo>
                      <a:pt x="860" y="1426"/>
                    </a:lnTo>
                    <a:lnTo>
                      <a:pt x="862" y="1435"/>
                    </a:lnTo>
                    <a:lnTo>
                      <a:pt x="871" y="1444"/>
                    </a:lnTo>
                    <a:lnTo>
                      <a:pt x="876" y="1439"/>
                    </a:lnTo>
                    <a:lnTo>
                      <a:pt x="885" y="1435"/>
                    </a:lnTo>
                    <a:lnTo>
                      <a:pt x="889" y="1436"/>
                    </a:lnTo>
                    <a:lnTo>
                      <a:pt x="898" y="1450"/>
                    </a:lnTo>
                    <a:lnTo>
                      <a:pt x="906" y="1444"/>
                    </a:lnTo>
                    <a:lnTo>
                      <a:pt x="914" y="1446"/>
                    </a:lnTo>
                    <a:lnTo>
                      <a:pt x="919" y="1456"/>
                    </a:lnTo>
                    <a:lnTo>
                      <a:pt x="916" y="1462"/>
                    </a:lnTo>
                    <a:lnTo>
                      <a:pt x="917" y="1473"/>
                    </a:lnTo>
                    <a:lnTo>
                      <a:pt x="921" y="1485"/>
                    </a:lnTo>
                    <a:lnTo>
                      <a:pt x="927" y="1482"/>
                    </a:lnTo>
                    <a:lnTo>
                      <a:pt x="938" y="1498"/>
                    </a:lnTo>
                    <a:lnTo>
                      <a:pt x="941" y="1507"/>
                    </a:lnTo>
                    <a:lnTo>
                      <a:pt x="939" y="1515"/>
                    </a:lnTo>
                    <a:lnTo>
                      <a:pt x="942" y="1518"/>
                    </a:lnTo>
                    <a:lnTo>
                      <a:pt x="943" y="1528"/>
                    </a:lnTo>
                    <a:lnTo>
                      <a:pt x="951" y="1526"/>
                    </a:lnTo>
                    <a:lnTo>
                      <a:pt x="955" y="1528"/>
                    </a:lnTo>
                    <a:lnTo>
                      <a:pt x="963" y="1544"/>
                    </a:lnTo>
                    <a:lnTo>
                      <a:pt x="968" y="1547"/>
                    </a:lnTo>
                    <a:lnTo>
                      <a:pt x="975" y="1541"/>
                    </a:lnTo>
                    <a:lnTo>
                      <a:pt x="980" y="1543"/>
                    </a:lnTo>
                    <a:lnTo>
                      <a:pt x="980" y="1550"/>
                    </a:lnTo>
                    <a:lnTo>
                      <a:pt x="986" y="1560"/>
                    </a:lnTo>
                    <a:lnTo>
                      <a:pt x="994" y="1563"/>
                    </a:lnTo>
                    <a:lnTo>
                      <a:pt x="995" y="1554"/>
                    </a:lnTo>
                    <a:lnTo>
                      <a:pt x="1001" y="1542"/>
                    </a:lnTo>
                    <a:lnTo>
                      <a:pt x="1012" y="1559"/>
                    </a:lnTo>
                    <a:lnTo>
                      <a:pt x="1018" y="1563"/>
                    </a:lnTo>
                    <a:lnTo>
                      <a:pt x="1022" y="1571"/>
                    </a:lnTo>
                    <a:lnTo>
                      <a:pt x="1033" y="1571"/>
                    </a:lnTo>
                    <a:lnTo>
                      <a:pt x="1019" y="1587"/>
                    </a:lnTo>
                    <a:lnTo>
                      <a:pt x="1003" y="1593"/>
                    </a:lnTo>
                    <a:lnTo>
                      <a:pt x="992" y="1579"/>
                    </a:lnTo>
                    <a:lnTo>
                      <a:pt x="998" y="1595"/>
                    </a:lnTo>
                    <a:lnTo>
                      <a:pt x="1014" y="1628"/>
                    </a:lnTo>
                    <a:lnTo>
                      <a:pt x="1024" y="1630"/>
                    </a:lnTo>
                    <a:lnTo>
                      <a:pt x="1035" y="1643"/>
                    </a:lnTo>
                    <a:lnTo>
                      <a:pt x="1037" y="164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42" name="Freeform 304"/>
              <p:cNvSpPr>
                <a:spLocks noChangeAspect="1"/>
              </p:cNvSpPr>
              <p:nvPr/>
            </p:nvSpPr>
            <p:spPr bwMode="gray">
              <a:xfrm>
                <a:off x="969" y="1334"/>
                <a:ext cx="937" cy="648"/>
              </a:xfrm>
              <a:custGeom>
                <a:avLst/>
                <a:gdLst/>
                <a:ahLst/>
                <a:cxnLst>
                  <a:cxn ang="0">
                    <a:pos x="4121" y="2577"/>
                  </a:cxn>
                  <a:cxn ang="0">
                    <a:pos x="3985" y="2718"/>
                  </a:cxn>
                  <a:cxn ang="0">
                    <a:pos x="4193" y="2896"/>
                  </a:cxn>
                  <a:cxn ang="0">
                    <a:pos x="4252" y="3041"/>
                  </a:cxn>
                  <a:cxn ang="0">
                    <a:pos x="4261" y="2980"/>
                  </a:cxn>
                  <a:cxn ang="0">
                    <a:pos x="3928" y="2815"/>
                  </a:cxn>
                  <a:cxn ang="0">
                    <a:pos x="3510" y="3092"/>
                  </a:cxn>
                  <a:cxn ang="0">
                    <a:pos x="3186" y="3206"/>
                  </a:cxn>
                  <a:cxn ang="0">
                    <a:pos x="3305" y="3028"/>
                  </a:cxn>
                  <a:cxn ang="0">
                    <a:pos x="3138" y="2904"/>
                  </a:cxn>
                  <a:cxn ang="0">
                    <a:pos x="2884" y="2730"/>
                  </a:cxn>
                  <a:cxn ang="0">
                    <a:pos x="2558" y="2711"/>
                  </a:cxn>
                  <a:cxn ang="0">
                    <a:pos x="999" y="2670"/>
                  </a:cxn>
                  <a:cxn ang="0">
                    <a:pos x="900" y="2578"/>
                  </a:cxn>
                  <a:cxn ang="0">
                    <a:pos x="745" y="2484"/>
                  </a:cxn>
                  <a:cxn ang="0">
                    <a:pos x="658" y="2308"/>
                  </a:cxn>
                  <a:cxn ang="0">
                    <a:pos x="605" y="2062"/>
                  </a:cxn>
                  <a:cxn ang="0">
                    <a:pos x="257" y="1689"/>
                  </a:cxn>
                  <a:cxn ang="0">
                    <a:pos x="0" y="1022"/>
                  </a:cxn>
                  <a:cxn ang="0">
                    <a:pos x="300" y="501"/>
                  </a:cxn>
                  <a:cxn ang="0">
                    <a:pos x="554" y="316"/>
                  </a:cxn>
                  <a:cxn ang="0">
                    <a:pos x="516" y="434"/>
                  </a:cxn>
                  <a:cxn ang="0">
                    <a:pos x="780" y="376"/>
                  </a:cxn>
                  <a:cxn ang="0">
                    <a:pos x="908" y="308"/>
                  </a:cxn>
                  <a:cxn ang="0">
                    <a:pos x="1229" y="461"/>
                  </a:cxn>
                  <a:cxn ang="0">
                    <a:pos x="1409" y="630"/>
                  </a:cxn>
                  <a:cxn ang="0">
                    <a:pos x="1713" y="655"/>
                  </a:cxn>
                  <a:cxn ang="0">
                    <a:pos x="1850" y="758"/>
                  </a:cxn>
                  <a:cxn ang="0">
                    <a:pos x="1884" y="566"/>
                  </a:cxn>
                  <a:cxn ang="0">
                    <a:pos x="1897" y="496"/>
                  </a:cxn>
                  <a:cxn ang="0">
                    <a:pos x="2137" y="669"/>
                  </a:cxn>
                  <a:cxn ang="0">
                    <a:pos x="2360" y="650"/>
                  </a:cxn>
                  <a:cxn ang="0">
                    <a:pos x="2467" y="619"/>
                  </a:cxn>
                  <a:cxn ang="0">
                    <a:pos x="2592" y="506"/>
                  </a:cxn>
                  <a:cxn ang="0">
                    <a:pos x="2465" y="360"/>
                  </a:cxn>
                  <a:cxn ang="0">
                    <a:pos x="2513" y="2"/>
                  </a:cxn>
                  <a:cxn ang="0">
                    <a:pos x="2671" y="301"/>
                  </a:cxn>
                  <a:cxn ang="0">
                    <a:pos x="2773" y="515"/>
                  </a:cxn>
                  <a:cxn ang="0">
                    <a:pos x="2955" y="732"/>
                  </a:cxn>
                  <a:cxn ang="0">
                    <a:pos x="3048" y="400"/>
                  </a:cxn>
                  <a:cxn ang="0">
                    <a:pos x="3223" y="566"/>
                  </a:cxn>
                  <a:cxn ang="0">
                    <a:pos x="3139" y="886"/>
                  </a:cxn>
                  <a:cxn ang="0">
                    <a:pos x="2869" y="956"/>
                  </a:cxn>
                  <a:cxn ang="0">
                    <a:pos x="2806" y="1170"/>
                  </a:cxn>
                  <a:cxn ang="0">
                    <a:pos x="2662" y="1202"/>
                  </a:cxn>
                  <a:cxn ang="0">
                    <a:pos x="2634" y="1400"/>
                  </a:cxn>
                  <a:cxn ang="0">
                    <a:pos x="2596" y="1772"/>
                  </a:cxn>
                  <a:cxn ang="0">
                    <a:pos x="2978" y="2076"/>
                  </a:cxn>
                  <a:cxn ang="0">
                    <a:pos x="3253" y="2406"/>
                  </a:cxn>
                  <a:cxn ang="0">
                    <a:pos x="3435" y="2410"/>
                  </a:cxn>
                  <a:cxn ang="0">
                    <a:pos x="3543" y="2007"/>
                  </a:cxn>
                  <a:cxn ang="0">
                    <a:pos x="3489" y="1658"/>
                  </a:cxn>
                  <a:cxn ang="0">
                    <a:pos x="3454" y="1379"/>
                  </a:cxn>
                  <a:cxn ang="0">
                    <a:pos x="3782" y="1465"/>
                  </a:cxn>
                  <a:cxn ang="0">
                    <a:pos x="3908" y="1642"/>
                  </a:cxn>
                  <a:cxn ang="0">
                    <a:pos x="3931" y="1765"/>
                  </a:cxn>
                  <a:cxn ang="0">
                    <a:pos x="4124" y="1745"/>
                  </a:cxn>
                  <a:cxn ang="0">
                    <a:pos x="4254" y="1721"/>
                  </a:cxn>
                  <a:cxn ang="0">
                    <a:pos x="4305" y="1837"/>
                  </a:cxn>
                  <a:cxn ang="0">
                    <a:pos x="4379" y="2060"/>
                  </a:cxn>
                  <a:cxn ang="0">
                    <a:pos x="4580" y="2206"/>
                  </a:cxn>
                  <a:cxn ang="0">
                    <a:pos x="4538" y="2229"/>
                  </a:cxn>
                  <a:cxn ang="0">
                    <a:pos x="4668" y="2398"/>
                  </a:cxn>
                </a:cxnLst>
                <a:rect l="0" t="0" r="r" b="b"/>
                <a:pathLst>
                  <a:path w="4686" h="3236">
                    <a:moveTo>
                      <a:pt x="4668" y="2398"/>
                    </a:moveTo>
                    <a:lnTo>
                      <a:pt x="4678" y="2405"/>
                    </a:lnTo>
                    <a:lnTo>
                      <a:pt x="4684" y="2412"/>
                    </a:lnTo>
                    <a:lnTo>
                      <a:pt x="4675" y="2423"/>
                    </a:lnTo>
                    <a:lnTo>
                      <a:pt x="4664" y="2437"/>
                    </a:lnTo>
                    <a:lnTo>
                      <a:pt x="4646" y="2449"/>
                    </a:lnTo>
                    <a:lnTo>
                      <a:pt x="4630" y="2469"/>
                    </a:lnTo>
                    <a:lnTo>
                      <a:pt x="4619" y="2470"/>
                    </a:lnTo>
                    <a:lnTo>
                      <a:pt x="4616" y="2475"/>
                    </a:lnTo>
                    <a:lnTo>
                      <a:pt x="4601" y="2475"/>
                    </a:lnTo>
                    <a:lnTo>
                      <a:pt x="4578" y="2474"/>
                    </a:lnTo>
                    <a:lnTo>
                      <a:pt x="4564" y="2481"/>
                    </a:lnTo>
                    <a:lnTo>
                      <a:pt x="4533" y="2487"/>
                    </a:lnTo>
                    <a:lnTo>
                      <a:pt x="4521" y="2496"/>
                    </a:lnTo>
                    <a:lnTo>
                      <a:pt x="4510" y="2512"/>
                    </a:lnTo>
                    <a:lnTo>
                      <a:pt x="4505" y="2511"/>
                    </a:lnTo>
                    <a:lnTo>
                      <a:pt x="4493" y="2531"/>
                    </a:lnTo>
                    <a:lnTo>
                      <a:pt x="4476" y="2554"/>
                    </a:lnTo>
                    <a:lnTo>
                      <a:pt x="4465" y="2560"/>
                    </a:lnTo>
                    <a:lnTo>
                      <a:pt x="4453" y="2574"/>
                    </a:lnTo>
                    <a:lnTo>
                      <a:pt x="4444" y="2579"/>
                    </a:lnTo>
                    <a:lnTo>
                      <a:pt x="4438" y="2579"/>
                    </a:lnTo>
                    <a:lnTo>
                      <a:pt x="4433" y="2574"/>
                    </a:lnTo>
                    <a:lnTo>
                      <a:pt x="4438" y="2563"/>
                    </a:lnTo>
                    <a:lnTo>
                      <a:pt x="4431" y="2566"/>
                    </a:lnTo>
                    <a:lnTo>
                      <a:pt x="4425" y="2577"/>
                    </a:lnTo>
                    <a:lnTo>
                      <a:pt x="4385" y="2583"/>
                    </a:lnTo>
                    <a:lnTo>
                      <a:pt x="4359" y="2593"/>
                    </a:lnTo>
                    <a:lnTo>
                      <a:pt x="4353" y="2590"/>
                    </a:lnTo>
                    <a:lnTo>
                      <a:pt x="4352" y="2584"/>
                    </a:lnTo>
                    <a:lnTo>
                      <a:pt x="4343" y="2579"/>
                    </a:lnTo>
                    <a:lnTo>
                      <a:pt x="4325" y="2577"/>
                    </a:lnTo>
                    <a:lnTo>
                      <a:pt x="4280" y="2577"/>
                    </a:lnTo>
                    <a:lnTo>
                      <a:pt x="4264" y="2581"/>
                    </a:lnTo>
                    <a:lnTo>
                      <a:pt x="4232" y="2574"/>
                    </a:lnTo>
                    <a:lnTo>
                      <a:pt x="4225" y="2574"/>
                    </a:lnTo>
                    <a:lnTo>
                      <a:pt x="4200" y="2572"/>
                    </a:lnTo>
                    <a:lnTo>
                      <a:pt x="4173" y="2579"/>
                    </a:lnTo>
                    <a:lnTo>
                      <a:pt x="4164" y="2577"/>
                    </a:lnTo>
                    <a:lnTo>
                      <a:pt x="4151" y="2577"/>
                    </a:lnTo>
                    <a:lnTo>
                      <a:pt x="4134" y="2579"/>
                    </a:lnTo>
                    <a:lnTo>
                      <a:pt x="4121" y="2577"/>
                    </a:lnTo>
                    <a:lnTo>
                      <a:pt x="4113" y="2581"/>
                    </a:lnTo>
                    <a:lnTo>
                      <a:pt x="4100" y="2581"/>
                    </a:lnTo>
                    <a:lnTo>
                      <a:pt x="4095" y="2583"/>
                    </a:lnTo>
                    <a:lnTo>
                      <a:pt x="4094" y="2590"/>
                    </a:lnTo>
                    <a:lnTo>
                      <a:pt x="4084" y="2589"/>
                    </a:lnTo>
                    <a:lnTo>
                      <a:pt x="4080" y="2593"/>
                    </a:lnTo>
                    <a:lnTo>
                      <a:pt x="4074" y="2597"/>
                    </a:lnTo>
                    <a:lnTo>
                      <a:pt x="4068" y="2604"/>
                    </a:lnTo>
                    <a:lnTo>
                      <a:pt x="4058" y="2617"/>
                    </a:lnTo>
                    <a:lnTo>
                      <a:pt x="4053" y="2635"/>
                    </a:lnTo>
                    <a:lnTo>
                      <a:pt x="4044" y="2654"/>
                    </a:lnTo>
                    <a:lnTo>
                      <a:pt x="4042" y="2657"/>
                    </a:lnTo>
                    <a:lnTo>
                      <a:pt x="4004" y="2659"/>
                    </a:lnTo>
                    <a:lnTo>
                      <a:pt x="3993" y="2670"/>
                    </a:lnTo>
                    <a:lnTo>
                      <a:pt x="3987" y="2670"/>
                    </a:lnTo>
                    <a:lnTo>
                      <a:pt x="3987" y="2675"/>
                    </a:lnTo>
                    <a:lnTo>
                      <a:pt x="3968" y="2694"/>
                    </a:lnTo>
                    <a:lnTo>
                      <a:pt x="3958" y="2699"/>
                    </a:lnTo>
                    <a:lnTo>
                      <a:pt x="3930" y="2743"/>
                    </a:lnTo>
                    <a:lnTo>
                      <a:pt x="3919" y="2751"/>
                    </a:lnTo>
                    <a:lnTo>
                      <a:pt x="3908" y="2753"/>
                    </a:lnTo>
                    <a:lnTo>
                      <a:pt x="3909" y="2769"/>
                    </a:lnTo>
                    <a:lnTo>
                      <a:pt x="3887" y="2810"/>
                    </a:lnTo>
                    <a:lnTo>
                      <a:pt x="3882" y="2810"/>
                    </a:lnTo>
                    <a:lnTo>
                      <a:pt x="3860" y="2832"/>
                    </a:lnTo>
                    <a:lnTo>
                      <a:pt x="3834" y="2858"/>
                    </a:lnTo>
                    <a:lnTo>
                      <a:pt x="3834" y="2861"/>
                    </a:lnTo>
                    <a:lnTo>
                      <a:pt x="3848" y="2858"/>
                    </a:lnTo>
                    <a:lnTo>
                      <a:pt x="3859" y="2851"/>
                    </a:lnTo>
                    <a:lnTo>
                      <a:pt x="3859" y="2847"/>
                    </a:lnTo>
                    <a:lnTo>
                      <a:pt x="3864" y="2845"/>
                    </a:lnTo>
                    <a:lnTo>
                      <a:pt x="3879" y="2827"/>
                    </a:lnTo>
                    <a:lnTo>
                      <a:pt x="3888" y="2814"/>
                    </a:lnTo>
                    <a:lnTo>
                      <a:pt x="3898" y="2805"/>
                    </a:lnTo>
                    <a:lnTo>
                      <a:pt x="3908" y="2794"/>
                    </a:lnTo>
                    <a:lnTo>
                      <a:pt x="3920" y="2770"/>
                    </a:lnTo>
                    <a:lnTo>
                      <a:pt x="3930" y="2761"/>
                    </a:lnTo>
                    <a:lnTo>
                      <a:pt x="3952" y="2739"/>
                    </a:lnTo>
                    <a:lnTo>
                      <a:pt x="3958" y="2735"/>
                    </a:lnTo>
                    <a:lnTo>
                      <a:pt x="3968" y="2733"/>
                    </a:lnTo>
                    <a:lnTo>
                      <a:pt x="3974" y="2726"/>
                    </a:lnTo>
                    <a:lnTo>
                      <a:pt x="3985" y="2718"/>
                    </a:lnTo>
                    <a:lnTo>
                      <a:pt x="3998" y="2713"/>
                    </a:lnTo>
                    <a:lnTo>
                      <a:pt x="4030" y="2694"/>
                    </a:lnTo>
                    <a:lnTo>
                      <a:pt x="4084" y="2670"/>
                    </a:lnTo>
                    <a:lnTo>
                      <a:pt x="4114" y="2663"/>
                    </a:lnTo>
                    <a:lnTo>
                      <a:pt x="4128" y="2664"/>
                    </a:lnTo>
                    <a:lnTo>
                      <a:pt x="4139" y="2662"/>
                    </a:lnTo>
                    <a:lnTo>
                      <a:pt x="4167" y="2664"/>
                    </a:lnTo>
                    <a:lnTo>
                      <a:pt x="4194" y="2676"/>
                    </a:lnTo>
                    <a:lnTo>
                      <a:pt x="4207" y="2685"/>
                    </a:lnTo>
                    <a:lnTo>
                      <a:pt x="4214" y="2701"/>
                    </a:lnTo>
                    <a:lnTo>
                      <a:pt x="4207" y="2697"/>
                    </a:lnTo>
                    <a:lnTo>
                      <a:pt x="4205" y="2700"/>
                    </a:lnTo>
                    <a:lnTo>
                      <a:pt x="4211" y="2707"/>
                    </a:lnTo>
                    <a:lnTo>
                      <a:pt x="4211" y="2723"/>
                    </a:lnTo>
                    <a:lnTo>
                      <a:pt x="4200" y="2733"/>
                    </a:lnTo>
                    <a:lnTo>
                      <a:pt x="4176" y="2753"/>
                    </a:lnTo>
                    <a:lnTo>
                      <a:pt x="4160" y="2761"/>
                    </a:lnTo>
                    <a:lnTo>
                      <a:pt x="4141" y="2760"/>
                    </a:lnTo>
                    <a:lnTo>
                      <a:pt x="4126" y="2753"/>
                    </a:lnTo>
                    <a:lnTo>
                      <a:pt x="4105" y="2756"/>
                    </a:lnTo>
                    <a:lnTo>
                      <a:pt x="4089" y="2762"/>
                    </a:lnTo>
                    <a:lnTo>
                      <a:pt x="4085" y="2765"/>
                    </a:lnTo>
                    <a:lnTo>
                      <a:pt x="4100" y="2765"/>
                    </a:lnTo>
                    <a:lnTo>
                      <a:pt x="4127" y="2773"/>
                    </a:lnTo>
                    <a:lnTo>
                      <a:pt x="4132" y="2787"/>
                    </a:lnTo>
                    <a:lnTo>
                      <a:pt x="4137" y="2791"/>
                    </a:lnTo>
                    <a:lnTo>
                      <a:pt x="4166" y="2776"/>
                    </a:lnTo>
                    <a:lnTo>
                      <a:pt x="4170" y="2777"/>
                    </a:lnTo>
                    <a:lnTo>
                      <a:pt x="4168" y="2782"/>
                    </a:lnTo>
                    <a:lnTo>
                      <a:pt x="4177" y="2783"/>
                    </a:lnTo>
                    <a:lnTo>
                      <a:pt x="4183" y="2788"/>
                    </a:lnTo>
                    <a:lnTo>
                      <a:pt x="4182" y="2798"/>
                    </a:lnTo>
                    <a:lnTo>
                      <a:pt x="4173" y="2823"/>
                    </a:lnTo>
                    <a:lnTo>
                      <a:pt x="4157" y="2839"/>
                    </a:lnTo>
                    <a:lnTo>
                      <a:pt x="4157" y="2841"/>
                    </a:lnTo>
                    <a:lnTo>
                      <a:pt x="4165" y="2840"/>
                    </a:lnTo>
                    <a:lnTo>
                      <a:pt x="4180" y="2842"/>
                    </a:lnTo>
                    <a:lnTo>
                      <a:pt x="4178" y="2862"/>
                    </a:lnTo>
                    <a:lnTo>
                      <a:pt x="4180" y="2870"/>
                    </a:lnTo>
                    <a:lnTo>
                      <a:pt x="4184" y="2879"/>
                    </a:lnTo>
                    <a:lnTo>
                      <a:pt x="4188" y="2889"/>
                    </a:lnTo>
                    <a:lnTo>
                      <a:pt x="4193" y="2896"/>
                    </a:lnTo>
                    <a:lnTo>
                      <a:pt x="4199" y="2902"/>
                    </a:lnTo>
                    <a:lnTo>
                      <a:pt x="4198" y="2906"/>
                    </a:lnTo>
                    <a:lnTo>
                      <a:pt x="4215" y="2907"/>
                    </a:lnTo>
                    <a:lnTo>
                      <a:pt x="4236" y="2917"/>
                    </a:lnTo>
                    <a:lnTo>
                      <a:pt x="4240" y="2921"/>
                    </a:lnTo>
                    <a:lnTo>
                      <a:pt x="4231" y="2926"/>
                    </a:lnTo>
                    <a:lnTo>
                      <a:pt x="4230" y="2932"/>
                    </a:lnTo>
                    <a:lnTo>
                      <a:pt x="4239" y="2936"/>
                    </a:lnTo>
                    <a:lnTo>
                      <a:pt x="4250" y="2937"/>
                    </a:lnTo>
                    <a:lnTo>
                      <a:pt x="4266" y="2943"/>
                    </a:lnTo>
                    <a:lnTo>
                      <a:pt x="4294" y="2947"/>
                    </a:lnTo>
                    <a:lnTo>
                      <a:pt x="4297" y="2953"/>
                    </a:lnTo>
                    <a:lnTo>
                      <a:pt x="4320" y="2950"/>
                    </a:lnTo>
                    <a:lnTo>
                      <a:pt x="4339" y="2937"/>
                    </a:lnTo>
                    <a:lnTo>
                      <a:pt x="4344" y="2947"/>
                    </a:lnTo>
                    <a:lnTo>
                      <a:pt x="4342" y="2955"/>
                    </a:lnTo>
                    <a:lnTo>
                      <a:pt x="4348" y="2954"/>
                    </a:lnTo>
                    <a:lnTo>
                      <a:pt x="4358" y="2955"/>
                    </a:lnTo>
                    <a:lnTo>
                      <a:pt x="4368" y="2954"/>
                    </a:lnTo>
                    <a:lnTo>
                      <a:pt x="4375" y="2963"/>
                    </a:lnTo>
                    <a:lnTo>
                      <a:pt x="4379" y="2968"/>
                    </a:lnTo>
                    <a:lnTo>
                      <a:pt x="4372" y="2971"/>
                    </a:lnTo>
                    <a:lnTo>
                      <a:pt x="4371" y="2977"/>
                    </a:lnTo>
                    <a:lnTo>
                      <a:pt x="4387" y="2979"/>
                    </a:lnTo>
                    <a:lnTo>
                      <a:pt x="4391" y="2981"/>
                    </a:lnTo>
                    <a:lnTo>
                      <a:pt x="4385" y="2986"/>
                    </a:lnTo>
                    <a:lnTo>
                      <a:pt x="4375" y="2985"/>
                    </a:lnTo>
                    <a:lnTo>
                      <a:pt x="4366" y="2991"/>
                    </a:lnTo>
                    <a:lnTo>
                      <a:pt x="4359" y="2988"/>
                    </a:lnTo>
                    <a:lnTo>
                      <a:pt x="4345" y="2997"/>
                    </a:lnTo>
                    <a:lnTo>
                      <a:pt x="4325" y="3006"/>
                    </a:lnTo>
                    <a:lnTo>
                      <a:pt x="4316" y="3012"/>
                    </a:lnTo>
                    <a:lnTo>
                      <a:pt x="4311" y="3013"/>
                    </a:lnTo>
                    <a:lnTo>
                      <a:pt x="4309" y="3018"/>
                    </a:lnTo>
                    <a:lnTo>
                      <a:pt x="4300" y="3017"/>
                    </a:lnTo>
                    <a:lnTo>
                      <a:pt x="4289" y="3025"/>
                    </a:lnTo>
                    <a:lnTo>
                      <a:pt x="4279" y="3026"/>
                    </a:lnTo>
                    <a:lnTo>
                      <a:pt x="4277" y="3024"/>
                    </a:lnTo>
                    <a:lnTo>
                      <a:pt x="4269" y="3028"/>
                    </a:lnTo>
                    <a:lnTo>
                      <a:pt x="4262" y="3033"/>
                    </a:lnTo>
                    <a:lnTo>
                      <a:pt x="4250" y="3028"/>
                    </a:lnTo>
                    <a:lnTo>
                      <a:pt x="4252" y="3041"/>
                    </a:lnTo>
                    <a:lnTo>
                      <a:pt x="4251" y="3046"/>
                    </a:lnTo>
                    <a:lnTo>
                      <a:pt x="4239" y="3046"/>
                    </a:lnTo>
                    <a:lnTo>
                      <a:pt x="4232" y="3038"/>
                    </a:lnTo>
                    <a:lnTo>
                      <a:pt x="4232" y="3033"/>
                    </a:lnTo>
                    <a:lnTo>
                      <a:pt x="4224" y="3046"/>
                    </a:lnTo>
                    <a:lnTo>
                      <a:pt x="4220" y="3038"/>
                    </a:lnTo>
                    <a:lnTo>
                      <a:pt x="4215" y="3047"/>
                    </a:lnTo>
                    <a:lnTo>
                      <a:pt x="4213" y="3061"/>
                    </a:lnTo>
                    <a:lnTo>
                      <a:pt x="4203" y="3068"/>
                    </a:lnTo>
                    <a:lnTo>
                      <a:pt x="4189" y="3085"/>
                    </a:lnTo>
                    <a:lnTo>
                      <a:pt x="4187" y="3090"/>
                    </a:lnTo>
                    <a:lnTo>
                      <a:pt x="4176" y="3095"/>
                    </a:lnTo>
                    <a:lnTo>
                      <a:pt x="4170" y="3108"/>
                    </a:lnTo>
                    <a:lnTo>
                      <a:pt x="4162" y="3104"/>
                    </a:lnTo>
                    <a:lnTo>
                      <a:pt x="4156" y="3106"/>
                    </a:lnTo>
                    <a:lnTo>
                      <a:pt x="4155" y="3117"/>
                    </a:lnTo>
                    <a:lnTo>
                      <a:pt x="4149" y="3121"/>
                    </a:lnTo>
                    <a:lnTo>
                      <a:pt x="4145" y="3121"/>
                    </a:lnTo>
                    <a:lnTo>
                      <a:pt x="4134" y="3119"/>
                    </a:lnTo>
                    <a:lnTo>
                      <a:pt x="4129" y="3105"/>
                    </a:lnTo>
                    <a:lnTo>
                      <a:pt x="4124" y="3098"/>
                    </a:lnTo>
                    <a:lnTo>
                      <a:pt x="4116" y="3098"/>
                    </a:lnTo>
                    <a:lnTo>
                      <a:pt x="4111" y="3083"/>
                    </a:lnTo>
                    <a:lnTo>
                      <a:pt x="4110" y="3068"/>
                    </a:lnTo>
                    <a:lnTo>
                      <a:pt x="4112" y="3056"/>
                    </a:lnTo>
                    <a:lnTo>
                      <a:pt x="4124" y="3038"/>
                    </a:lnTo>
                    <a:lnTo>
                      <a:pt x="4119" y="3044"/>
                    </a:lnTo>
                    <a:lnTo>
                      <a:pt x="4108" y="3050"/>
                    </a:lnTo>
                    <a:lnTo>
                      <a:pt x="4111" y="3042"/>
                    </a:lnTo>
                    <a:lnTo>
                      <a:pt x="4127" y="3030"/>
                    </a:lnTo>
                    <a:lnTo>
                      <a:pt x="4133" y="3031"/>
                    </a:lnTo>
                    <a:lnTo>
                      <a:pt x="4143" y="3026"/>
                    </a:lnTo>
                    <a:lnTo>
                      <a:pt x="4143" y="3020"/>
                    </a:lnTo>
                    <a:lnTo>
                      <a:pt x="4166" y="3004"/>
                    </a:lnTo>
                    <a:lnTo>
                      <a:pt x="4189" y="2990"/>
                    </a:lnTo>
                    <a:lnTo>
                      <a:pt x="4203" y="2982"/>
                    </a:lnTo>
                    <a:lnTo>
                      <a:pt x="4207" y="2987"/>
                    </a:lnTo>
                    <a:lnTo>
                      <a:pt x="4209" y="2995"/>
                    </a:lnTo>
                    <a:lnTo>
                      <a:pt x="4218" y="2999"/>
                    </a:lnTo>
                    <a:lnTo>
                      <a:pt x="4227" y="2988"/>
                    </a:lnTo>
                    <a:lnTo>
                      <a:pt x="4237" y="2983"/>
                    </a:lnTo>
                    <a:lnTo>
                      <a:pt x="4261" y="2980"/>
                    </a:lnTo>
                    <a:lnTo>
                      <a:pt x="4262" y="2975"/>
                    </a:lnTo>
                    <a:lnTo>
                      <a:pt x="4247" y="2974"/>
                    </a:lnTo>
                    <a:lnTo>
                      <a:pt x="4232" y="2977"/>
                    </a:lnTo>
                    <a:lnTo>
                      <a:pt x="4207" y="2972"/>
                    </a:lnTo>
                    <a:lnTo>
                      <a:pt x="4194" y="2979"/>
                    </a:lnTo>
                    <a:lnTo>
                      <a:pt x="4183" y="2980"/>
                    </a:lnTo>
                    <a:lnTo>
                      <a:pt x="4182" y="2968"/>
                    </a:lnTo>
                    <a:lnTo>
                      <a:pt x="4196" y="2958"/>
                    </a:lnTo>
                    <a:lnTo>
                      <a:pt x="4207" y="2943"/>
                    </a:lnTo>
                    <a:lnTo>
                      <a:pt x="4199" y="2943"/>
                    </a:lnTo>
                    <a:lnTo>
                      <a:pt x="4197" y="2936"/>
                    </a:lnTo>
                    <a:lnTo>
                      <a:pt x="4187" y="2953"/>
                    </a:lnTo>
                    <a:lnTo>
                      <a:pt x="4176" y="2955"/>
                    </a:lnTo>
                    <a:lnTo>
                      <a:pt x="4144" y="2980"/>
                    </a:lnTo>
                    <a:lnTo>
                      <a:pt x="4134" y="2985"/>
                    </a:lnTo>
                    <a:lnTo>
                      <a:pt x="4124" y="2986"/>
                    </a:lnTo>
                    <a:lnTo>
                      <a:pt x="4116" y="2985"/>
                    </a:lnTo>
                    <a:lnTo>
                      <a:pt x="4110" y="2991"/>
                    </a:lnTo>
                    <a:lnTo>
                      <a:pt x="4101" y="2996"/>
                    </a:lnTo>
                    <a:lnTo>
                      <a:pt x="4079" y="2999"/>
                    </a:lnTo>
                    <a:lnTo>
                      <a:pt x="4074" y="2998"/>
                    </a:lnTo>
                    <a:lnTo>
                      <a:pt x="4068" y="2995"/>
                    </a:lnTo>
                    <a:lnTo>
                      <a:pt x="4058" y="2992"/>
                    </a:lnTo>
                    <a:lnTo>
                      <a:pt x="4057" y="2996"/>
                    </a:lnTo>
                    <a:lnTo>
                      <a:pt x="4052" y="2996"/>
                    </a:lnTo>
                    <a:lnTo>
                      <a:pt x="4043" y="2995"/>
                    </a:lnTo>
                    <a:lnTo>
                      <a:pt x="4035" y="2988"/>
                    </a:lnTo>
                    <a:lnTo>
                      <a:pt x="4032" y="2983"/>
                    </a:lnTo>
                    <a:lnTo>
                      <a:pt x="4031" y="2979"/>
                    </a:lnTo>
                    <a:lnTo>
                      <a:pt x="4031" y="2963"/>
                    </a:lnTo>
                    <a:lnTo>
                      <a:pt x="4016" y="2955"/>
                    </a:lnTo>
                    <a:lnTo>
                      <a:pt x="4016" y="2899"/>
                    </a:lnTo>
                    <a:lnTo>
                      <a:pt x="4016" y="2848"/>
                    </a:lnTo>
                    <a:lnTo>
                      <a:pt x="3990" y="2823"/>
                    </a:lnTo>
                    <a:lnTo>
                      <a:pt x="3983" y="2823"/>
                    </a:lnTo>
                    <a:lnTo>
                      <a:pt x="3976" y="2834"/>
                    </a:lnTo>
                    <a:lnTo>
                      <a:pt x="3958" y="2837"/>
                    </a:lnTo>
                    <a:lnTo>
                      <a:pt x="3946" y="2832"/>
                    </a:lnTo>
                    <a:lnTo>
                      <a:pt x="3944" y="2829"/>
                    </a:lnTo>
                    <a:lnTo>
                      <a:pt x="3941" y="2823"/>
                    </a:lnTo>
                    <a:lnTo>
                      <a:pt x="3934" y="2816"/>
                    </a:lnTo>
                    <a:lnTo>
                      <a:pt x="3928" y="2815"/>
                    </a:lnTo>
                    <a:lnTo>
                      <a:pt x="3922" y="2819"/>
                    </a:lnTo>
                    <a:lnTo>
                      <a:pt x="3895" y="2864"/>
                    </a:lnTo>
                    <a:lnTo>
                      <a:pt x="3891" y="2888"/>
                    </a:lnTo>
                    <a:lnTo>
                      <a:pt x="3885" y="2900"/>
                    </a:lnTo>
                    <a:lnTo>
                      <a:pt x="3884" y="2906"/>
                    </a:lnTo>
                    <a:lnTo>
                      <a:pt x="3879" y="2915"/>
                    </a:lnTo>
                    <a:lnTo>
                      <a:pt x="3876" y="2922"/>
                    </a:lnTo>
                    <a:lnTo>
                      <a:pt x="3872" y="2958"/>
                    </a:lnTo>
                    <a:lnTo>
                      <a:pt x="3871" y="2960"/>
                    </a:lnTo>
                    <a:lnTo>
                      <a:pt x="3864" y="2965"/>
                    </a:lnTo>
                    <a:lnTo>
                      <a:pt x="3861" y="2970"/>
                    </a:lnTo>
                    <a:lnTo>
                      <a:pt x="3860" y="2975"/>
                    </a:lnTo>
                    <a:lnTo>
                      <a:pt x="3861" y="2981"/>
                    </a:lnTo>
                    <a:lnTo>
                      <a:pt x="3861" y="2983"/>
                    </a:lnTo>
                    <a:lnTo>
                      <a:pt x="3854" y="2980"/>
                    </a:lnTo>
                    <a:lnTo>
                      <a:pt x="3853" y="2981"/>
                    </a:lnTo>
                    <a:lnTo>
                      <a:pt x="3853" y="2987"/>
                    </a:lnTo>
                    <a:lnTo>
                      <a:pt x="3842" y="2983"/>
                    </a:lnTo>
                    <a:lnTo>
                      <a:pt x="3833" y="2986"/>
                    </a:lnTo>
                    <a:lnTo>
                      <a:pt x="3831" y="2988"/>
                    </a:lnTo>
                    <a:lnTo>
                      <a:pt x="3818" y="2990"/>
                    </a:lnTo>
                    <a:lnTo>
                      <a:pt x="3815" y="2993"/>
                    </a:lnTo>
                    <a:lnTo>
                      <a:pt x="3809" y="3009"/>
                    </a:lnTo>
                    <a:lnTo>
                      <a:pt x="3807" y="3009"/>
                    </a:lnTo>
                    <a:lnTo>
                      <a:pt x="3709" y="3009"/>
                    </a:lnTo>
                    <a:lnTo>
                      <a:pt x="3634" y="3009"/>
                    </a:lnTo>
                    <a:lnTo>
                      <a:pt x="3619" y="3009"/>
                    </a:lnTo>
                    <a:lnTo>
                      <a:pt x="3603" y="3024"/>
                    </a:lnTo>
                    <a:lnTo>
                      <a:pt x="3584" y="3035"/>
                    </a:lnTo>
                    <a:lnTo>
                      <a:pt x="3581" y="3040"/>
                    </a:lnTo>
                    <a:lnTo>
                      <a:pt x="3580" y="3041"/>
                    </a:lnTo>
                    <a:lnTo>
                      <a:pt x="3567" y="3056"/>
                    </a:lnTo>
                    <a:lnTo>
                      <a:pt x="3554" y="3058"/>
                    </a:lnTo>
                    <a:lnTo>
                      <a:pt x="3524" y="3072"/>
                    </a:lnTo>
                    <a:lnTo>
                      <a:pt x="3514" y="3078"/>
                    </a:lnTo>
                    <a:lnTo>
                      <a:pt x="3511" y="3071"/>
                    </a:lnTo>
                    <a:lnTo>
                      <a:pt x="3508" y="3071"/>
                    </a:lnTo>
                    <a:lnTo>
                      <a:pt x="3499" y="3072"/>
                    </a:lnTo>
                    <a:lnTo>
                      <a:pt x="3498" y="3076"/>
                    </a:lnTo>
                    <a:lnTo>
                      <a:pt x="3503" y="3076"/>
                    </a:lnTo>
                    <a:lnTo>
                      <a:pt x="3509" y="3087"/>
                    </a:lnTo>
                    <a:lnTo>
                      <a:pt x="3510" y="3092"/>
                    </a:lnTo>
                    <a:lnTo>
                      <a:pt x="3501" y="3093"/>
                    </a:lnTo>
                    <a:lnTo>
                      <a:pt x="3497" y="3089"/>
                    </a:lnTo>
                    <a:lnTo>
                      <a:pt x="3485" y="3088"/>
                    </a:lnTo>
                    <a:lnTo>
                      <a:pt x="3479" y="3085"/>
                    </a:lnTo>
                    <a:lnTo>
                      <a:pt x="3466" y="3084"/>
                    </a:lnTo>
                    <a:lnTo>
                      <a:pt x="3449" y="3085"/>
                    </a:lnTo>
                    <a:lnTo>
                      <a:pt x="3392" y="3103"/>
                    </a:lnTo>
                    <a:lnTo>
                      <a:pt x="3377" y="3114"/>
                    </a:lnTo>
                    <a:lnTo>
                      <a:pt x="3371" y="3119"/>
                    </a:lnTo>
                    <a:lnTo>
                      <a:pt x="3369" y="3125"/>
                    </a:lnTo>
                    <a:lnTo>
                      <a:pt x="3358" y="3138"/>
                    </a:lnTo>
                    <a:lnTo>
                      <a:pt x="3380" y="3146"/>
                    </a:lnTo>
                    <a:lnTo>
                      <a:pt x="3388" y="3143"/>
                    </a:lnTo>
                    <a:lnTo>
                      <a:pt x="3398" y="3142"/>
                    </a:lnTo>
                    <a:lnTo>
                      <a:pt x="3401" y="3152"/>
                    </a:lnTo>
                    <a:lnTo>
                      <a:pt x="3406" y="3159"/>
                    </a:lnTo>
                    <a:lnTo>
                      <a:pt x="3408" y="3171"/>
                    </a:lnTo>
                    <a:lnTo>
                      <a:pt x="3386" y="3168"/>
                    </a:lnTo>
                    <a:lnTo>
                      <a:pt x="3379" y="3168"/>
                    </a:lnTo>
                    <a:lnTo>
                      <a:pt x="3368" y="3169"/>
                    </a:lnTo>
                    <a:lnTo>
                      <a:pt x="3363" y="3169"/>
                    </a:lnTo>
                    <a:lnTo>
                      <a:pt x="3344" y="3173"/>
                    </a:lnTo>
                    <a:lnTo>
                      <a:pt x="3332" y="3178"/>
                    </a:lnTo>
                    <a:lnTo>
                      <a:pt x="3317" y="3191"/>
                    </a:lnTo>
                    <a:lnTo>
                      <a:pt x="3305" y="3187"/>
                    </a:lnTo>
                    <a:lnTo>
                      <a:pt x="3285" y="3184"/>
                    </a:lnTo>
                    <a:lnTo>
                      <a:pt x="3266" y="3190"/>
                    </a:lnTo>
                    <a:lnTo>
                      <a:pt x="3261" y="3194"/>
                    </a:lnTo>
                    <a:lnTo>
                      <a:pt x="3256" y="3196"/>
                    </a:lnTo>
                    <a:lnTo>
                      <a:pt x="3248" y="3211"/>
                    </a:lnTo>
                    <a:lnTo>
                      <a:pt x="3246" y="3209"/>
                    </a:lnTo>
                    <a:lnTo>
                      <a:pt x="3234" y="3214"/>
                    </a:lnTo>
                    <a:lnTo>
                      <a:pt x="3228" y="3219"/>
                    </a:lnTo>
                    <a:lnTo>
                      <a:pt x="3218" y="3227"/>
                    </a:lnTo>
                    <a:lnTo>
                      <a:pt x="3213" y="3232"/>
                    </a:lnTo>
                    <a:lnTo>
                      <a:pt x="3212" y="3236"/>
                    </a:lnTo>
                    <a:lnTo>
                      <a:pt x="3197" y="3233"/>
                    </a:lnTo>
                    <a:lnTo>
                      <a:pt x="3191" y="3235"/>
                    </a:lnTo>
                    <a:lnTo>
                      <a:pt x="3175" y="3234"/>
                    </a:lnTo>
                    <a:lnTo>
                      <a:pt x="3175" y="3223"/>
                    </a:lnTo>
                    <a:lnTo>
                      <a:pt x="3180" y="3211"/>
                    </a:lnTo>
                    <a:lnTo>
                      <a:pt x="3186" y="3206"/>
                    </a:lnTo>
                    <a:lnTo>
                      <a:pt x="3187" y="3209"/>
                    </a:lnTo>
                    <a:lnTo>
                      <a:pt x="3198" y="3212"/>
                    </a:lnTo>
                    <a:lnTo>
                      <a:pt x="3207" y="3211"/>
                    </a:lnTo>
                    <a:lnTo>
                      <a:pt x="3210" y="3208"/>
                    </a:lnTo>
                    <a:lnTo>
                      <a:pt x="3212" y="3205"/>
                    </a:lnTo>
                    <a:lnTo>
                      <a:pt x="3213" y="3201"/>
                    </a:lnTo>
                    <a:lnTo>
                      <a:pt x="3212" y="3197"/>
                    </a:lnTo>
                    <a:lnTo>
                      <a:pt x="3207" y="3195"/>
                    </a:lnTo>
                    <a:lnTo>
                      <a:pt x="3205" y="3187"/>
                    </a:lnTo>
                    <a:lnTo>
                      <a:pt x="3205" y="3187"/>
                    </a:lnTo>
                    <a:lnTo>
                      <a:pt x="3213" y="3160"/>
                    </a:lnTo>
                    <a:lnTo>
                      <a:pt x="3213" y="3153"/>
                    </a:lnTo>
                    <a:lnTo>
                      <a:pt x="3223" y="3153"/>
                    </a:lnTo>
                    <a:lnTo>
                      <a:pt x="3228" y="3148"/>
                    </a:lnTo>
                    <a:lnTo>
                      <a:pt x="3230" y="3143"/>
                    </a:lnTo>
                    <a:lnTo>
                      <a:pt x="3239" y="3142"/>
                    </a:lnTo>
                    <a:lnTo>
                      <a:pt x="3247" y="3132"/>
                    </a:lnTo>
                    <a:lnTo>
                      <a:pt x="3251" y="3116"/>
                    </a:lnTo>
                    <a:lnTo>
                      <a:pt x="3250" y="3100"/>
                    </a:lnTo>
                    <a:lnTo>
                      <a:pt x="3248" y="3084"/>
                    </a:lnTo>
                    <a:lnTo>
                      <a:pt x="3248" y="3072"/>
                    </a:lnTo>
                    <a:lnTo>
                      <a:pt x="3266" y="3044"/>
                    </a:lnTo>
                    <a:lnTo>
                      <a:pt x="3269" y="3035"/>
                    </a:lnTo>
                    <a:lnTo>
                      <a:pt x="3271" y="3028"/>
                    </a:lnTo>
                    <a:lnTo>
                      <a:pt x="3271" y="3020"/>
                    </a:lnTo>
                    <a:lnTo>
                      <a:pt x="3267" y="3008"/>
                    </a:lnTo>
                    <a:lnTo>
                      <a:pt x="3261" y="2995"/>
                    </a:lnTo>
                    <a:lnTo>
                      <a:pt x="3257" y="2993"/>
                    </a:lnTo>
                    <a:lnTo>
                      <a:pt x="3255" y="2987"/>
                    </a:lnTo>
                    <a:lnTo>
                      <a:pt x="3257" y="2986"/>
                    </a:lnTo>
                    <a:lnTo>
                      <a:pt x="3273" y="2988"/>
                    </a:lnTo>
                    <a:lnTo>
                      <a:pt x="3275" y="3002"/>
                    </a:lnTo>
                    <a:lnTo>
                      <a:pt x="3282" y="3014"/>
                    </a:lnTo>
                    <a:lnTo>
                      <a:pt x="3284" y="3015"/>
                    </a:lnTo>
                    <a:lnTo>
                      <a:pt x="3286" y="3012"/>
                    </a:lnTo>
                    <a:lnTo>
                      <a:pt x="3290" y="3009"/>
                    </a:lnTo>
                    <a:lnTo>
                      <a:pt x="3288" y="3023"/>
                    </a:lnTo>
                    <a:lnTo>
                      <a:pt x="3293" y="3023"/>
                    </a:lnTo>
                    <a:lnTo>
                      <a:pt x="3294" y="3031"/>
                    </a:lnTo>
                    <a:lnTo>
                      <a:pt x="3294" y="3038"/>
                    </a:lnTo>
                    <a:lnTo>
                      <a:pt x="3302" y="3029"/>
                    </a:lnTo>
                    <a:lnTo>
                      <a:pt x="3305" y="3028"/>
                    </a:lnTo>
                    <a:lnTo>
                      <a:pt x="3310" y="3036"/>
                    </a:lnTo>
                    <a:lnTo>
                      <a:pt x="3315" y="3039"/>
                    </a:lnTo>
                    <a:lnTo>
                      <a:pt x="3327" y="3044"/>
                    </a:lnTo>
                    <a:lnTo>
                      <a:pt x="3342" y="3044"/>
                    </a:lnTo>
                    <a:lnTo>
                      <a:pt x="3345" y="3038"/>
                    </a:lnTo>
                    <a:lnTo>
                      <a:pt x="3345" y="3033"/>
                    </a:lnTo>
                    <a:lnTo>
                      <a:pt x="3341" y="3023"/>
                    </a:lnTo>
                    <a:lnTo>
                      <a:pt x="3342" y="3018"/>
                    </a:lnTo>
                    <a:lnTo>
                      <a:pt x="3344" y="3017"/>
                    </a:lnTo>
                    <a:lnTo>
                      <a:pt x="3350" y="3023"/>
                    </a:lnTo>
                    <a:lnTo>
                      <a:pt x="3359" y="3023"/>
                    </a:lnTo>
                    <a:lnTo>
                      <a:pt x="3363" y="3020"/>
                    </a:lnTo>
                    <a:lnTo>
                      <a:pt x="3363" y="3019"/>
                    </a:lnTo>
                    <a:lnTo>
                      <a:pt x="3361" y="3015"/>
                    </a:lnTo>
                    <a:lnTo>
                      <a:pt x="3360" y="3013"/>
                    </a:lnTo>
                    <a:lnTo>
                      <a:pt x="3350" y="3009"/>
                    </a:lnTo>
                    <a:lnTo>
                      <a:pt x="3343" y="2997"/>
                    </a:lnTo>
                    <a:lnTo>
                      <a:pt x="3345" y="2995"/>
                    </a:lnTo>
                    <a:lnTo>
                      <a:pt x="3343" y="2986"/>
                    </a:lnTo>
                    <a:lnTo>
                      <a:pt x="3343" y="2979"/>
                    </a:lnTo>
                    <a:lnTo>
                      <a:pt x="3337" y="2979"/>
                    </a:lnTo>
                    <a:lnTo>
                      <a:pt x="3331" y="2975"/>
                    </a:lnTo>
                    <a:lnTo>
                      <a:pt x="3326" y="2968"/>
                    </a:lnTo>
                    <a:lnTo>
                      <a:pt x="3316" y="2960"/>
                    </a:lnTo>
                    <a:lnTo>
                      <a:pt x="3311" y="2942"/>
                    </a:lnTo>
                    <a:lnTo>
                      <a:pt x="3301" y="2936"/>
                    </a:lnTo>
                    <a:lnTo>
                      <a:pt x="3291" y="2933"/>
                    </a:lnTo>
                    <a:lnTo>
                      <a:pt x="3272" y="2931"/>
                    </a:lnTo>
                    <a:lnTo>
                      <a:pt x="3259" y="2933"/>
                    </a:lnTo>
                    <a:lnTo>
                      <a:pt x="3258" y="2928"/>
                    </a:lnTo>
                    <a:lnTo>
                      <a:pt x="3258" y="2923"/>
                    </a:lnTo>
                    <a:lnTo>
                      <a:pt x="3246" y="2925"/>
                    </a:lnTo>
                    <a:lnTo>
                      <a:pt x="3231" y="2923"/>
                    </a:lnTo>
                    <a:lnTo>
                      <a:pt x="3214" y="2920"/>
                    </a:lnTo>
                    <a:lnTo>
                      <a:pt x="3209" y="2917"/>
                    </a:lnTo>
                    <a:lnTo>
                      <a:pt x="3205" y="2918"/>
                    </a:lnTo>
                    <a:lnTo>
                      <a:pt x="3198" y="2917"/>
                    </a:lnTo>
                    <a:lnTo>
                      <a:pt x="3193" y="2912"/>
                    </a:lnTo>
                    <a:lnTo>
                      <a:pt x="3181" y="2915"/>
                    </a:lnTo>
                    <a:lnTo>
                      <a:pt x="3177" y="2917"/>
                    </a:lnTo>
                    <a:lnTo>
                      <a:pt x="3171" y="2916"/>
                    </a:lnTo>
                    <a:lnTo>
                      <a:pt x="3138" y="2904"/>
                    </a:lnTo>
                    <a:lnTo>
                      <a:pt x="3126" y="2905"/>
                    </a:lnTo>
                    <a:lnTo>
                      <a:pt x="3119" y="2906"/>
                    </a:lnTo>
                    <a:lnTo>
                      <a:pt x="3119" y="2899"/>
                    </a:lnTo>
                    <a:lnTo>
                      <a:pt x="3111" y="2884"/>
                    </a:lnTo>
                    <a:lnTo>
                      <a:pt x="3108" y="2882"/>
                    </a:lnTo>
                    <a:lnTo>
                      <a:pt x="3107" y="2883"/>
                    </a:lnTo>
                    <a:lnTo>
                      <a:pt x="3106" y="2886"/>
                    </a:lnTo>
                    <a:lnTo>
                      <a:pt x="3106" y="2891"/>
                    </a:lnTo>
                    <a:lnTo>
                      <a:pt x="3099" y="2891"/>
                    </a:lnTo>
                    <a:lnTo>
                      <a:pt x="3101" y="2890"/>
                    </a:lnTo>
                    <a:lnTo>
                      <a:pt x="3101" y="2889"/>
                    </a:lnTo>
                    <a:lnTo>
                      <a:pt x="3099" y="2888"/>
                    </a:lnTo>
                    <a:lnTo>
                      <a:pt x="3096" y="2880"/>
                    </a:lnTo>
                    <a:lnTo>
                      <a:pt x="3100" y="2873"/>
                    </a:lnTo>
                    <a:lnTo>
                      <a:pt x="3097" y="2873"/>
                    </a:lnTo>
                    <a:lnTo>
                      <a:pt x="3096" y="2868"/>
                    </a:lnTo>
                    <a:lnTo>
                      <a:pt x="3102" y="2861"/>
                    </a:lnTo>
                    <a:lnTo>
                      <a:pt x="3089" y="2853"/>
                    </a:lnTo>
                    <a:lnTo>
                      <a:pt x="3085" y="2840"/>
                    </a:lnTo>
                    <a:lnTo>
                      <a:pt x="3090" y="2824"/>
                    </a:lnTo>
                    <a:lnTo>
                      <a:pt x="3075" y="2805"/>
                    </a:lnTo>
                    <a:lnTo>
                      <a:pt x="3072" y="2798"/>
                    </a:lnTo>
                    <a:lnTo>
                      <a:pt x="3074" y="2781"/>
                    </a:lnTo>
                    <a:lnTo>
                      <a:pt x="3076" y="2770"/>
                    </a:lnTo>
                    <a:lnTo>
                      <a:pt x="3053" y="2773"/>
                    </a:lnTo>
                    <a:lnTo>
                      <a:pt x="3031" y="2775"/>
                    </a:lnTo>
                    <a:lnTo>
                      <a:pt x="3020" y="2766"/>
                    </a:lnTo>
                    <a:lnTo>
                      <a:pt x="3005" y="2733"/>
                    </a:lnTo>
                    <a:lnTo>
                      <a:pt x="2999" y="2717"/>
                    </a:lnTo>
                    <a:lnTo>
                      <a:pt x="2994" y="2710"/>
                    </a:lnTo>
                    <a:lnTo>
                      <a:pt x="2986" y="2710"/>
                    </a:lnTo>
                    <a:lnTo>
                      <a:pt x="2972" y="2705"/>
                    </a:lnTo>
                    <a:lnTo>
                      <a:pt x="2957" y="2705"/>
                    </a:lnTo>
                    <a:lnTo>
                      <a:pt x="2957" y="2744"/>
                    </a:lnTo>
                    <a:lnTo>
                      <a:pt x="2938" y="2699"/>
                    </a:lnTo>
                    <a:lnTo>
                      <a:pt x="2903" y="2686"/>
                    </a:lnTo>
                    <a:lnTo>
                      <a:pt x="2898" y="2690"/>
                    </a:lnTo>
                    <a:lnTo>
                      <a:pt x="2897" y="2692"/>
                    </a:lnTo>
                    <a:lnTo>
                      <a:pt x="2898" y="2712"/>
                    </a:lnTo>
                    <a:lnTo>
                      <a:pt x="2897" y="2716"/>
                    </a:lnTo>
                    <a:lnTo>
                      <a:pt x="2888" y="2722"/>
                    </a:lnTo>
                    <a:lnTo>
                      <a:pt x="2884" y="2730"/>
                    </a:lnTo>
                    <a:lnTo>
                      <a:pt x="2880" y="2733"/>
                    </a:lnTo>
                    <a:lnTo>
                      <a:pt x="2877" y="2726"/>
                    </a:lnTo>
                    <a:lnTo>
                      <a:pt x="2882" y="2716"/>
                    </a:lnTo>
                    <a:lnTo>
                      <a:pt x="2885" y="2707"/>
                    </a:lnTo>
                    <a:lnTo>
                      <a:pt x="2884" y="2702"/>
                    </a:lnTo>
                    <a:lnTo>
                      <a:pt x="2879" y="2711"/>
                    </a:lnTo>
                    <a:lnTo>
                      <a:pt x="2869" y="2734"/>
                    </a:lnTo>
                    <a:lnTo>
                      <a:pt x="2866" y="2738"/>
                    </a:lnTo>
                    <a:lnTo>
                      <a:pt x="2860" y="2740"/>
                    </a:lnTo>
                    <a:lnTo>
                      <a:pt x="2858" y="2732"/>
                    </a:lnTo>
                    <a:lnTo>
                      <a:pt x="2859" y="2721"/>
                    </a:lnTo>
                    <a:lnTo>
                      <a:pt x="2845" y="2738"/>
                    </a:lnTo>
                    <a:lnTo>
                      <a:pt x="2839" y="2753"/>
                    </a:lnTo>
                    <a:lnTo>
                      <a:pt x="2834" y="2756"/>
                    </a:lnTo>
                    <a:lnTo>
                      <a:pt x="2833" y="2761"/>
                    </a:lnTo>
                    <a:lnTo>
                      <a:pt x="2812" y="2771"/>
                    </a:lnTo>
                    <a:lnTo>
                      <a:pt x="2807" y="2771"/>
                    </a:lnTo>
                    <a:lnTo>
                      <a:pt x="2793" y="2764"/>
                    </a:lnTo>
                    <a:lnTo>
                      <a:pt x="2767" y="2764"/>
                    </a:lnTo>
                    <a:lnTo>
                      <a:pt x="2750" y="2756"/>
                    </a:lnTo>
                    <a:lnTo>
                      <a:pt x="2741" y="2757"/>
                    </a:lnTo>
                    <a:lnTo>
                      <a:pt x="2728" y="2764"/>
                    </a:lnTo>
                    <a:lnTo>
                      <a:pt x="2721" y="2765"/>
                    </a:lnTo>
                    <a:lnTo>
                      <a:pt x="2709" y="2759"/>
                    </a:lnTo>
                    <a:lnTo>
                      <a:pt x="2702" y="2749"/>
                    </a:lnTo>
                    <a:lnTo>
                      <a:pt x="2689" y="2745"/>
                    </a:lnTo>
                    <a:lnTo>
                      <a:pt x="2682" y="2739"/>
                    </a:lnTo>
                    <a:lnTo>
                      <a:pt x="2673" y="2737"/>
                    </a:lnTo>
                    <a:lnTo>
                      <a:pt x="2669" y="2734"/>
                    </a:lnTo>
                    <a:lnTo>
                      <a:pt x="2662" y="2727"/>
                    </a:lnTo>
                    <a:lnTo>
                      <a:pt x="2654" y="2721"/>
                    </a:lnTo>
                    <a:lnTo>
                      <a:pt x="2644" y="2717"/>
                    </a:lnTo>
                    <a:lnTo>
                      <a:pt x="2618" y="2716"/>
                    </a:lnTo>
                    <a:lnTo>
                      <a:pt x="2610" y="2721"/>
                    </a:lnTo>
                    <a:lnTo>
                      <a:pt x="2599" y="2721"/>
                    </a:lnTo>
                    <a:lnTo>
                      <a:pt x="2592" y="2719"/>
                    </a:lnTo>
                    <a:lnTo>
                      <a:pt x="2592" y="2717"/>
                    </a:lnTo>
                    <a:lnTo>
                      <a:pt x="2590" y="2716"/>
                    </a:lnTo>
                    <a:lnTo>
                      <a:pt x="2576" y="2712"/>
                    </a:lnTo>
                    <a:lnTo>
                      <a:pt x="2572" y="2708"/>
                    </a:lnTo>
                    <a:lnTo>
                      <a:pt x="2562" y="2711"/>
                    </a:lnTo>
                    <a:lnTo>
                      <a:pt x="2558" y="2711"/>
                    </a:lnTo>
                    <a:lnTo>
                      <a:pt x="2557" y="2708"/>
                    </a:lnTo>
                    <a:lnTo>
                      <a:pt x="2548" y="2710"/>
                    </a:lnTo>
                    <a:lnTo>
                      <a:pt x="2540" y="2687"/>
                    </a:lnTo>
                    <a:lnTo>
                      <a:pt x="2537" y="2686"/>
                    </a:lnTo>
                    <a:lnTo>
                      <a:pt x="2526" y="2654"/>
                    </a:lnTo>
                    <a:lnTo>
                      <a:pt x="2519" y="2653"/>
                    </a:lnTo>
                    <a:lnTo>
                      <a:pt x="2514" y="2653"/>
                    </a:lnTo>
                    <a:lnTo>
                      <a:pt x="2514" y="2689"/>
                    </a:lnTo>
                    <a:lnTo>
                      <a:pt x="2455" y="2689"/>
                    </a:lnTo>
                    <a:lnTo>
                      <a:pt x="2400" y="2689"/>
                    </a:lnTo>
                    <a:lnTo>
                      <a:pt x="2388" y="2689"/>
                    </a:lnTo>
                    <a:lnTo>
                      <a:pt x="2342" y="2689"/>
                    </a:lnTo>
                    <a:lnTo>
                      <a:pt x="2294" y="2689"/>
                    </a:lnTo>
                    <a:lnTo>
                      <a:pt x="2241" y="2689"/>
                    </a:lnTo>
                    <a:lnTo>
                      <a:pt x="2191" y="2689"/>
                    </a:lnTo>
                    <a:lnTo>
                      <a:pt x="2174" y="2689"/>
                    </a:lnTo>
                    <a:lnTo>
                      <a:pt x="2027" y="2689"/>
                    </a:lnTo>
                    <a:lnTo>
                      <a:pt x="1983" y="2689"/>
                    </a:lnTo>
                    <a:lnTo>
                      <a:pt x="1929" y="2689"/>
                    </a:lnTo>
                    <a:lnTo>
                      <a:pt x="1880" y="2689"/>
                    </a:lnTo>
                    <a:lnTo>
                      <a:pt x="1833" y="2689"/>
                    </a:lnTo>
                    <a:lnTo>
                      <a:pt x="1785" y="2689"/>
                    </a:lnTo>
                    <a:lnTo>
                      <a:pt x="1731" y="2689"/>
                    </a:lnTo>
                    <a:lnTo>
                      <a:pt x="1699" y="2689"/>
                    </a:lnTo>
                    <a:lnTo>
                      <a:pt x="1650" y="2687"/>
                    </a:lnTo>
                    <a:lnTo>
                      <a:pt x="1596" y="2687"/>
                    </a:lnTo>
                    <a:lnTo>
                      <a:pt x="1546" y="2687"/>
                    </a:lnTo>
                    <a:lnTo>
                      <a:pt x="1477" y="2687"/>
                    </a:lnTo>
                    <a:lnTo>
                      <a:pt x="1368" y="2687"/>
                    </a:lnTo>
                    <a:lnTo>
                      <a:pt x="1315" y="2687"/>
                    </a:lnTo>
                    <a:lnTo>
                      <a:pt x="1262" y="2687"/>
                    </a:lnTo>
                    <a:lnTo>
                      <a:pt x="1217" y="2687"/>
                    </a:lnTo>
                    <a:lnTo>
                      <a:pt x="1167" y="2687"/>
                    </a:lnTo>
                    <a:lnTo>
                      <a:pt x="1115" y="2687"/>
                    </a:lnTo>
                    <a:lnTo>
                      <a:pt x="1064" y="2687"/>
                    </a:lnTo>
                    <a:lnTo>
                      <a:pt x="1002" y="2687"/>
                    </a:lnTo>
                    <a:lnTo>
                      <a:pt x="1000" y="2683"/>
                    </a:lnTo>
                    <a:lnTo>
                      <a:pt x="994" y="2679"/>
                    </a:lnTo>
                    <a:lnTo>
                      <a:pt x="989" y="2680"/>
                    </a:lnTo>
                    <a:lnTo>
                      <a:pt x="988" y="2678"/>
                    </a:lnTo>
                    <a:lnTo>
                      <a:pt x="989" y="2674"/>
                    </a:lnTo>
                    <a:lnTo>
                      <a:pt x="999" y="2670"/>
                    </a:lnTo>
                    <a:lnTo>
                      <a:pt x="1011" y="2671"/>
                    </a:lnTo>
                    <a:lnTo>
                      <a:pt x="1010" y="2665"/>
                    </a:lnTo>
                    <a:lnTo>
                      <a:pt x="1008" y="2665"/>
                    </a:lnTo>
                    <a:lnTo>
                      <a:pt x="1006" y="2663"/>
                    </a:lnTo>
                    <a:lnTo>
                      <a:pt x="1004" y="2662"/>
                    </a:lnTo>
                    <a:lnTo>
                      <a:pt x="992" y="2665"/>
                    </a:lnTo>
                    <a:lnTo>
                      <a:pt x="981" y="2664"/>
                    </a:lnTo>
                    <a:lnTo>
                      <a:pt x="979" y="2660"/>
                    </a:lnTo>
                    <a:lnTo>
                      <a:pt x="979" y="2659"/>
                    </a:lnTo>
                    <a:lnTo>
                      <a:pt x="977" y="2656"/>
                    </a:lnTo>
                    <a:lnTo>
                      <a:pt x="977" y="2652"/>
                    </a:lnTo>
                    <a:lnTo>
                      <a:pt x="979" y="2651"/>
                    </a:lnTo>
                    <a:lnTo>
                      <a:pt x="981" y="2626"/>
                    </a:lnTo>
                    <a:lnTo>
                      <a:pt x="976" y="2625"/>
                    </a:lnTo>
                    <a:lnTo>
                      <a:pt x="975" y="2630"/>
                    </a:lnTo>
                    <a:lnTo>
                      <a:pt x="966" y="2638"/>
                    </a:lnTo>
                    <a:lnTo>
                      <a:pt x="960" y="2649"/>
                    </a:lnTo>
                    <a:lnTo>
                      <a:pt x="955" y="2648"/>
                    </a:lnTo>
                    <a:lnTo>
                      <a:pt x="952" y="2641"/>
                    </a:lnTo>
                    <a:lnTo>
                      <a:pt x="952" y="2637"/>
                    </a:lnTo>
                    <a:lnTo>
                      <a:pt x="955" y="2626"/>
                    </a:lnTo>
                    <a:lnTo>
                      <a:pt x="949" y="2626"/>
                    </a:lnTo>
                    <a:lnTo>
                      <a:pt x="949" y="2621"/>
                    </a:lnTo>
                    <a:lnTo>
                      <a:pt x="946" y="2621"/>
                    </a:lnTo>
                    <a:lnTo>
                      <a:pt x="944" y="2616"/>
                    </a:lnTo>
                    <a:lnTo>
                      <a:pt x="944" y="2611"/>
                    </a:lnTo>
                    <a:lnTo>
                      <a:pt x="939" y="2606"/>
                    </a:lnTo>
                    <a:lnTo>
                      <a:pt x="936" y="2598"/>
                    </a:lnTo>
                    <a:lnTo>
                      <a:pt x="935" y="2600"/>
                    </a:lnTo>
                    <a:lnTo>
                      <a:pt x="938" y="2609"/>
                    </a:lnTo>
                    <a:lnTo>
                      <a:pt x="936" y="2614"/>
                    </a:lnTo>
                    <a:lnTo>
                      <a:pt x="930" y="2605"/>
                    </a:lnTo>
                    <a:lnTo>
                      <a:pt x="927" y="2615"/>
                    </a:lnTo>
                    <a:lnTo>
                      <a:pt x="923" y="2617"/>
                    </a:lnTo>
                    <a:lnTo>
                      <a:pt x="911" y="2617"/>
                    </a:lnTo>
                    <a:lnTo>
                      <a:pt x="902" y="2610"/>
                    </a:lnTo>
                    <a:lnTo>
                      <a:pt x="898" y="2605"/>
                    </a:lnTo>
                    <a:lnTo>
                      <a:pt x="892" y="2599"/>
                    </a:lnTo>
                    <a:lnTo>
                      <a:pt x="891" y="2594"/>
                    </a:lnTo>
                    <a:lnTo>
                      <a:pt x="898" y="2588"/>
                    </a:lnTo>
                    <a:lnTo>
                      <a:pt x="900" y="2584"/>
                    </a:lnTo>
                    <a:lnTo>
                      <a:pt x="900" y="2578"/>
                    </a:lnTo>
                    <a:lnTo>
                      <a:pt x="897" y="2573"/>
                    </a:lnTo>
                    <a:lnTo>
                      <a:pt x="900" y="2565"/>
                    </a:lnTo>
                    <a:lnTo>
                      <a:pt x="896" y="2563"/>
                    </a:lnTo>
                    <a:lnTo>
                      <a:pt x="890" y="2568"/>
                    </a:lnTo>
                    <a:lnTo>
                      <a:pt x="884" y="2570"/>
                    </a:lnTo>
                    <a:lnTo>
                      <a:pt x="880" y="2565"/>
                    </a:lnTo>
                    <a:lnTo>
                      <a:pt x="878" y="2555"/>
                    </a:lnTo>
                    <a:lnTo>
                      <a:pt x="875" y="2555"/>
                    </a:lnTo>
                    <a:lnTo>
                      <a:pt x="864" y="2561"/>
                    </a:lnTo>
                    <a:lnTo>
                      <a:pt x="853" y="2557"/>
                    </a:lnTo>
                    <a:lnTo>
                      <a:pt x="849" y="2560"/>
                    </a:lnTo>
                    <a:lnTo>
                      <a:pt x="842" y="2554"/>
                    </a:lnTo>
                    <a:lnTo>
                      <a:pt x="841" y="2558"/>
                    </a:lnTo>
                    <a:lnTo>
                      <a:pt x="837" y="2561"/>
                    </a:lnTo>
                    <a:lnTo>
                      <a:pt x="833" y="2557"/>
                    </a:lnTo>
                    <a:lnTo>
                      <a:pt x="803" y="2556"/>
                    </a:lnTo>
                    <a:lnTo>
                      <a:pt x="800" y="2552"/>
                    </a:lnTo>
                    <a:lnTo>
                      <a:pt x="826" y="2545"/>
                    </a:lnTo>
                    <a:lnTo>
                      <a:pt x="828" y="2541"/>
                    </a:lnTo>
                    <a:lnTo>
                      <a:pt x="816" y="2541"/>
                    </a:lnTo>
                    <a:lnTo>
                      <a:pt x="819" y="2531"/>
                    </a:lnTo>
                    <a:lnTo>
                      <a:pt x="809" y="2528"/>
                    </a:lnTo>
                    <a:lnTo>
                      <a:pt x="803" y="2527"/>
                    </a:lnTo>
                    <a:lnTo>
                      <a:pt x="803" y="2525"/>
                    </a:lnTo>
                    <a:lnTo>
                      <a:pt x="810" y="2525"/>
                    </a:lnTo>
                    <a:lnTo>
                      <a:pt x="815" y="2523"/>
                    </a:lnTo>
                    <a:lnTo>
                      <a:pt x="810" y="2517"/>
                    </a:lnTo>
                    <a:lnTo>
                      <a:pt x="794" y="2514"/>
                    </a:lnTo>
                    <a:lnTo>
                      <a:pt x="787" y="2522"/>
                    </a:lnTo>
                    <a:lnTo>
                      <a:pt x="783" y="2518"/>
                    </a:lnTo>
                    <a:lnTo>
                      <a:pt x="766" y="2517"/>
                    </a:lnTo>
                    <a:lnTo>
                      <a:pt x="764" y="2520"/>
                    </a:lnTo>
                    <a:lnTo>
                      <a:pt x="767" y="2524"/>
                    </a:lnTo>
                    <a:lnTo>
                      <a:pt x="762" y="2525"/>
                    </a:lnTo>
                    <a:lnTo>
                      <a:pt x="740" y="2514"/>
                    </a:lnTo>
                    <a:lnTo>
                      <a:pt x="731" y="2504"/>
                    </a:lnTo>
                    <a:lnTo>
                      <a:pt x="729" y="2498"/>
                    </a:lnTo>
                    <a:lnTo>
                      <a:pt x="729" y="2492"/>
                    </a:lnTo>
                    <a:lnTo>
                      <a:pt x="735" y="2490"/>
                    </a:lnTo>
                    <a:lnTo>
                      <a:pt x="741" y="2490"/>
                    </a:lnTo>
                    <a:lnTo>
                      <a:pt x="747" y="2487"/>
                    </a:lnTo>
                    <a:lnTo>
                      <a:pt x="745" y="2484"/>
                    </a:lnTo>
                    <a:lnTo>
                      <a:pt x="740" y="2481"/>
                    </a:lnTo>
                    <a:lnTo>
                      <a:pt x="729" y="2484"/>
                    </a:lnTo>
                    <a:lnTo>
                      <a:pt x="730" y="2479"/>
                    </a:lnTo>
                    <a:lnTo>
                      <a:pt x="741" y="2474"/>
                    </a:lnTo>
                    <a:lnTo>
                      <a:pt x="752" y="2475"/>
                    </a:lnTo>
                    <a:lnTo>
                      <a:pt x="756" y="2472"/>
                    </a:lnTo>
                    <a:lnTo>
                      <a:pt x="745" y="2469"/>
                    </a:lnTo>
                    <a:lnTo>
                      <a:pt x="742" y="2465"/>
                    </a:lnTo>
                    <a:lnTo>
                      <a:pt x="750" y="2457"/>
                    </a:lnTo>
                    <a:lnTo>
                      <a:pt x="742" y="2448"/>
                    </a:lnTo>
                    <a:lnTo>
                      <a:pt x="734" y="2461"/>
                    </a:lnTo>
                    <a:lnTo>
                      <a:pt x="728" y="2463"/>
                    </a:lnTo>
                    <a:lnTo>
                      <a:pt x="725" y="2461"/>
                    </a:lnTo>
                    <a:lnTo>
                      <a:pt x="723" y="2454"/>
                    </a:lnTo>
                    <a:lnTo>
                      <a:pt x="723" y="2443"/>
                    </a:lnTo>
                    <a:lnTo>
                      <a:pt x="725" y="2430"/>
                    </a:lnTo>
                    <a:lnTo>
                      <a:pt x="723" y="2428"/>
                    </a:lnTo>
                    <a:lnTo>
                      <a:pt x="722" y="2425"/>
                    </a:lnTo>
                    <a:lnTo>
                      <a:pt x="722" y="2420"/>
                    </a:lnTo>
                    <a:lnTo>
                      <a:pt x="724" y="2409"/>
                    </a:lnTo>
                    <a:lnTo>
                      <a:pt x="723" y="2402"/>
                    </a:lnTo>
                    <a:lnTo>
                      <a:pt x="719" y="2400"/>
                    </a:lnTo>
                    <a:lnTo>
                      <a:pt x="719" y="2393"/>
                    </a:lnTo>
                    <a:lnTo>
                      <a:pt x="718" y="2388"/>
                    </a:lnTo>
                    <a:lnTo>
                      <a:pt x="707" y="2394"/>
                    </a:lnTo>
                    <a:lnTo>
                      <a:pt x="698" y="2395"/>
                    </a:lnTo>
                    <a:lnTo>
                      <a:pt x="699" y="2390"/>
                    </a:lnTo>
                    <a:lnTo>
                      <a:pt x="702" y="2388"/>
                    </a:lnTo>
                    <a:lnTo>
                      <a:pt x="702" y="2383"/>
                    </a:lnTo>
                    <a:lnTo>
                      <a:pt x="699" y="2378"/>
                    </a:lnTo>
                    <a:lnTo>
                      <a:pt x="693" y="2378"/>
                    </a:lnTo>
                    <a:lnTo>
                      <a:pt x="683" y="2382"/>
                    </a:lnTo>
                    <a:lnTo>
                      <a:pt x="674" y="2380"/>
                    </a:lnTo>
                    <a:lnTo>
                      <a:pt x="671" y="2377"/>
                    </a:lnTo>
                    <a:lnTo>
                      <a:pt x="669" y="2363"/>
                    </a:lnTo>
                    <a:lnTo>
                      <a:pt x="663" y="2361"/>
                    </a:lnTo>
                    <a:lnTo>
                      <a:pt x="656" y="2350"/>
                    </a:lnTo>
                    <a:lnTo>
                      <a:pt x="655" y="2345"/>
                    </a:lnTo>
                    <a:lnTo>
                      <a:pt x="651" y="2337"/>
                    </a:lnTo>
                    <a:lnTo>
                      <a:pt x="654" y="2326"/>
                    </a:lnTo>
                    <a:lnTo>
                      <a:pt x="658" y="2321"/>
                    </a:lnTo>
                    <a:lnTo>
                      <a:pt x="658" y="2308"/>
                    </a:lnTo>
                    <a:lnTo>
                      <a:pt x="658" y="2298"/>
                    </a:lnTo>
                    <a:lnTo>
                      <a:pt x="656" y="2296"/>
                    </a:lnTo>
                    <a:lnTo>
                      <a:pt x="653" y="2292"/>
                    </a:lnTo>
                    <a:lnTo>
                      <a:pt x="647" y="2297"/>
                    </a:lnTo>
                    <a:lnTo>
                      <a:pt x="645" y="2299"/>
                    </a:lnTo>
                    <a:lnTo>
                      <a:pt x="643" y="2298"/>
                    </a:lnTo>
                    <a:lnTo>
                      <a:pt x="642" y="2296"/>
                    </a:lnTo>
                    <a:lnTo>
                      <a:pt x="640" y="2296"/>
                    </a:lnTo>
                    <a:lnTo>
                      <a:pt x="624" y="2278"/>
                    </a:lnTo>
                    <a:lnTo>
                      <a:pt x="621" y="2270"/>
                    </a:lnTo>
                    <a:lnTo>
                      <a:pt x="616" y="2264"/>
                    </a:lnTo>
                    <a:lnTo>
                      <a:pt x="600" y="2250"/>
                    </a:lnTo>
                    <a:lnTo>
                      <a:pt x="599" y="2246"/>
                    </a:lnTo>
                    <a:lnTo>
                      <a:pt x="600" y="2238"/>
                    </a:lnTo>
                    <a:lnTo>
                      <a:pt x="605" y="2233"/>
                    </a:lnTo>
                    <a:lnTo>
                      <a:pt x="610" y="2231"/>
                    </a:lnTo>
                    <a:lnTo>
                      <a:pt x="608" y="2226"/>
                    </a:lnTo>
                    <a:lnTo>
                      <a:pt x="595" y="2227"/>
                    </a:lnTo>
                    <a:lnTo>
                      <a:pt x="590" y="2224"/>
                    </a:lnTo>
                    <a:lnTo>
                      <a:pt x="583" y="2211"/>
                    </a:lnTo>
                    <a:lnTo>
                      <a:pt x="580" y="2208"/>
                    </a:lnTo>
                    <a:lnTo>
                      <a:pt x="580" y="2195"/>
                    </a:lnTo>
                    <a:lnTo>
                      <a:pt x="584" y="2189"/>
                    </a:lnTo>
                    <a:lnTo>
                      <a:pt x="586" y="2181"/>
                    </a:lnTo>
                    <a:lnTo>
                      <a:pt x="591" y="2179"/>
                    </a:lnTo>
                    <a:lnTo>
                      <a:pt x="599" y="2185"/>
                    </a:lnTo>
                    <a:lnTo>
                      <a:pt x="600" y="2181"/>
                    </a:lnTo>
                    <a:lnTo>
                      <a:pt x="596" y="2175"/>
                    </a:lnTo>
                    <a:lnTo>
                      <a:pt x="596" y="2170"/>
                    </a:lnTo>
                    <a:lnTo>
                      <a:pt x="599" y="2161"/>
                    </a:lnTo>
                    <a:lnTo>
                      <a:pt x="604" y="2157"/>
                    </a:lnTo>
                    <a:lnTo>
                      <a:pt x="604" y="2153"/>
                    </a:lnTo>
                    <a:lnTo>
                      <a:pt x="601" y="2147"/>
                    </a:lnTo>
                    <a:lnTo>
                      <a:pt x="599" y="2147"/>
                    </a:lnTo>
                    <a:lnTo>
                      <a:pt x="600" y="2140"/>
                    </a:lnTo>
                    <a:lnTo>
                      <a:pt x="602" y="2136"/>
                    </a:lnTo>
                    <a:lnTo>
                      <a:pt x="605" y="2130"/>
                    </a:lnTo>
                    <a:lnTo>
                      <a:pt x="605" y="2125"/>
                    </a:lnTo>
                    <a:lnTo>
                      <a:pt x="600" y="2109"/>
                    </a:lnTo>
                    <a:lnTo>
                      <a:pt x="600" y="2082"/>
                    </a:lnTo>
                    <a:lnTo>
                      <a:pt x="602" y="2067"/>
                    </a:lnTo>
                    <a:lnTo>
                      <a:pt x="605" y="2062"/>
                    </a:lnTo>
                    <a:lnTo>
                      <a:pt x="605" y="2060"/>
                    </a:lnTo>
                    <a:lnTo>
                      <a:pt x="601" y="2054"/>
                    </a:lnTo>
                    <a:lnTo>
                      <a:pt x="599" y="2050"/>
                    </a:lnTo>
                    <a:lnTo>
                      <a:pt x="580" y="2045"/>
                    </a:lnTo>
                    <a:lnTo>
                      <a:pt x="575" y="2039"/>
                    </a:lnTo>
                    <a:lnTo>
                      <a:pt x="550" y="2018"/>
                    </a:lnTo>
                    <a:lnTo>
                      <a:pt x="514" y="2008"/>
                    </a:lnTo>
                    <a:lnTo>
                      <a:pt x="502" y="2001"/>
                    </a:lnTo>
                    <a:lnTo>
                      <a:pt x="497" y="1995"/>
                    </a:lnTo>
                    <a:lnTo>
                      <a:pt x="492" y="1986"/>
                    </a:lnTo>
                    <a:lnTo>
                      <a:pt x="487" y="1969"/>
                    </a:lnTo>
                    <a:lnTo>
                      <a:pt x="487" y="1965"/>
                    </a:lnTo>
                    <a:lnTo>
                      <a:pt x="483" y="1958"/>
                    </a:lnTo>
                    <a:lnTo>
                      <a:pt x="473" y="1949"/>
                    </a:lnTo>
                    <a:lnTo>
                      <a:pt x="472" y="1944"/>
                    </a:lnTo>
                    <a:lnTo>
                      <a:pt x="475" y="1939"/>
                    </a:lnTo>
                    <a:lnTo>
                      <a:pt x="475" y="1936"/>
                    </a:lnTo>
                    <a:lnTo>
                      <a:pt x="471" y="1928"/>
                    </a:lnTo>
                    <a:lnTo>
                      <a:pt x="457" y="1911"/>
                    </a:lnTo>
                    <a:lnTo>
                      <a:pt x="452" y="1893"/>
                    </a:lnTo>
                    <a:lnTo>
                      <a:pt x="449" y="1893"/>
                    </a:lnTo>
                    <a:lnTo>
                      <a:pt x="448" y="1890"/>
                    </a:lnTo>
                    <a:lnTo>
                      <a:pt x="441" y="1872"/>
                    </a:lnTo>
                    <a:lnTo>
                      <a:pt x="413" y="1826"/>
                    </a:lnTo>
                    <a:lnTo>
                      <a:pt x="402" y="1807"/>
                    </a:lnTo>
                    <a:lnTo>
                      <a:pt x="395" y="1786"/>
                    </a:lnTo>
                    <a:lnTo>
                      <a:pt x="384" y="1775"/>
                    </a:lnTo>
                    <a:lnTo>
                      <a:pt x="363" y="1766"/>
                    </a:lnTo>
                    <a:lnTo>
                      <a:pt x="359" y="1759"/>
                    </a:lnTo>
                    <a:lnTo>
                      <a:pt x="359" y="1756"/>
                    </a:lnTo>
                    <a:lnTo>
                      <a:pt x="355" y="1740"/>
                    </a:lnTo>
                    <a:lnTo>
                      <a:pt x="343" y="1729"/>
                    </a:lnTo>
                    <a:lnTo>
                      <a:pt x="341" y="1721"/>
                    </a:lnTo>
                    <a:lnTo>
                      <a:pt x="332" y="1707"/>
                    </a:lnTo>
                    <a:lnTo>
                      <a:pt x="328" y="1695"/>
                    </a:lnTo>
                    <a:lnTo>
                      <a:pt x="323" y="1695"/>
                    </a:lnTo>
                    <a:lnTo>
                      <a:pt x="320" y="1691"/>
                    </a:lnTo>
                    <a:lnTo>
                      <a:pt x="311" y="1673"/>
                    </a:lnTo>
                    <a:lnTo>
                      <a:pt x="305" y="1667"/>
                    </a:lnTo>
                    <a:lnTo>
                      <a:pt x="300" y="1666"/>
                    </a:lnTo>
                    <a:lnTo>
                      <a:pt x="278" y="1683"/>
                    </a:lnTo>
                    <a:lnTo>
                      <a:pt x="257" y="1689"/>
                    </a:lnTo>
                    <a:lnTo>
                      <a:pt x="252" y="1695"/>
                    </a:lnTo>
                    <a:lnTo>
                      <a:pt x="251" y="1707"/>
                    </a:lnTo>
                    <a:lnTo>
                      <a:pt x="249" y="1710"/>
                    </a:lnTo>
                    <a:lnTo>
                      <a:pt x="242" y="1713"/>
                    </a:lnTo>
                    <a:lnTo>
                      <a:pt x="240" y="1717"/>
                    </a:lnTo>
                    <a:lnTo>
                      <a:pt x="240" y="1726"/>
                    </a:lnTo>
                    <a:lnTo>
                      <a:pt x="236" y="1734"/>
                    </a:lnTo>
                    <a:lnTo>
                      <a:pt x="220" y="1739"/>
                    </a:lnTo>
                    <a:lnTo>
                      <a:pt x="204" y="1753"/>
                    </a:lnTo>
                    <a:lnTo>
                      <a:pt x="191" y="1758"/>
                    </a:lnTo>
                    <a:lnTo>
                      <a:pt x="188" y="1756"/>
                    </a:lnTo>
                    <a:lnTo>
                      <a:pt x="188" y="1753"/>
                    </a:lnTo>
                    <a:lnTo>
                      <a:pt x="185" y="1747"/>
                    </a:lnTo>
                    <a:lnTo>
                      <a:pt x="175" y="1723"/>
                    </a:lnTo>
                    <a:lnTo>
                      <a:pt x="159" y="1710"/>
                    </a:lnTo>
                    <a:lnTo>
                      <a:pt x="176" y="1695"/>
                    </a:lnTo>
                    <a:lnTo>
                      <a:pt x="174" y="1691"/>
                    </a:lnTo>
                    <a:lnTo>
                      <a:pt x="158" y="1681"/>
                    </a:lnTo>
                    <a:lnTo>
                      <a:pt x="169" y="1693"/>
                    </a:lnTo>
                    <a:lnTo>
                      <a:pt x="166" y="1697"/>
                    </a:lnTo>
                    <a:lnTo>
                      <a:pt x="155" y="1695"/>
                    </a:lnTo>
                    <a:lnTo>
                      <a:pt x="152" y="1702"/>
                    </a:lnTo>
                    <a:lnTo>
                      <a:pt x="149" y="1699"/>
                    </a:lnTo>
                    <a:lnTo>
                      <a:pt x="122" y="1664"/>
                    </a:lnTo>
                    <a:lnTo>
                      <a:pt x="117" y="1653"/>
                    </a:lnTo>
                    <a:lnTo>
                      <a:pt x="104" y="1642"/>
                    </a:lnTo>
                    <a:lnTo>
                      <a:pt x="97" y="1636"/>
                    </a:lnTo>
                    <a:lnTo>
                      <a:pt x="101" y="1636"/>
                    </a:lnTo>
                    <a:lnTo>
                      <a:pt x="101" y="1630"/>
                    </a:lnTo>
                    <a:lnTo>
                      <a:pt x="101" y="1608"/>
                    </a:lnTo>
                    <a:lnTo>
                      <a:pt x="68" y="1609"/>
                    </a:lnTo>
                    <a:lnTo>
                      <a:pt x="56" y="1624"/>
                    </a:lnTo>
                    <a:lnTo>
                      <a:pt x="50" y="1621"/>
                    </a:lnTo>
                    <a:lnTo>
                      <a:pt x="35" y="1610"/>
                    </a:lnTo>
                    <a:lnTo>
                      <a:pt x="20" y="1621"/>
                    </a:lnTo>
                    <a:lnTo>
                      <a:pt x="0" y="1609"/>
                    </a:lnTo>
                    <a:lnTo>
                      <a:pt x="0" y="1573"/>
                    </a:lnTo>
                    <a:lnTo>
                      <a:pt x="0" y="1463"/>
                    </a:lnTo>
                    <a:lnTo>
                      <a:pt x="0" y="1356"/>
                    </a:lnTo>
                    <a:lnTo>
                      <a:pt x="0" y="1255"/>
                    </a:lnTo>
                    <a:lnTo>
                      <a:pt x="0" y="1146"/>
                    </a:lnTo>
                    <a:lnTo>
                      <a:pt x="0" y="1022"/>
                    </a:lnTo>
                    <a:lnTo>
                      <a:pt x="0" y="900"/>
                    </a:lnTo>
                    <a:lnTo>
                      <a:pt x="0" y="785"/>
                    </a:lnTo>
                    <a:lnTo>
                      <a:pt x="0" y="660"/>
                    </a:lnTo>
                    <a:lnTo>
                      <a:pt x="0" y="516"/>
                    </a:lnTo>
                    <a:lnTo>
                      <a:pt x="0" y="373"/>
                    </a:lnTo>
                    <a:lnTo>
                      <a:pt x="2" y="376"/>
                    </a:lnTo>
                    <a:lnTo>
                      <a:pt x="11" y="381"/>
                    </a:lnTo>
                    <a:lnTo>
                      <a:pt x="21" y="384"/>
                    </a:lnTo>
                    <a:lnTo>
                      <a:pt x="62" y="383"/>
                    </a:lnTo>
                    <a:lnTo>
                      <a:pt x="70" y="386"/>
                    </a:lnTo>
                    <a:lnTo>
                      <a:pt x="74" y="393"/>
                    </a:lnTo>
                    <a:lnTo>
                      <a:pt x="91" y="394"/>
                    </a:lnTo>
                    <a:lnTo>
                      <a:pt x="110" y="413"/>
                    </a:lnTo>
                    <a:lnTo>
                      <a:pt x="132" y="447"/>
                    </a:lnTo>
                    <a:lnTo>
                      <a:pt x="139" y="447"/>
                    </a:lnTo>
                    <a:lnTo>
                      <a:pt x="143" y="451"/>
                    </a:lnTo>
                    <a:lnTo>
                      <a:pt x="145" y="445"/>
                    </a:lnTo>
                    <a:lnTo>
                      <a:pt x="149" y="454"/>
                    </a:lnTo>
                    <a:lnTo>
                      <a:pt x="159" y="465"/>
                    </a:lnTo>
                    <a:lnTo>
                      <a:pt x="170" y="475"/>
                    </a:lnTo>
                    <a:lnTo>
                      <a:pt x="179" y="480"/>
                    </a:lnTo>
                    <a:lnTo>
                      <a:pt x="191" y="492"/>
                    </a:lnTo>
                    <a:lnTo>
                      <a:pt x="198" y="491"/>
                    </a:lnTo>
                    <a:lnTo>
                      <a:pt x="214" y="495"/>
                    </a:lnTo>
                    <a:lnTo>
                      <a:pt x="228" y="502"/>
                    </a:lnTo>
                    <a:lnTo>
                      <a:pt x="235" y="504"/>
                    </a:lnTo>
                    <a:lnTo>
                      <a:pt x="241" y="501"/>
                    </a:lnTo>
                    <a:lnTo>
                      <a:pt x="246" y="505"/>
                    </a:lnTo>
                    <a:lnTo>
                      <a:pt x="246" y="500"/>
                    </a:lnTo>
                    <a:lnTo>
                      <a:pt x="244" y="492"/>
                    </a:lnTo>
                    <a:lnTo>
                      <a:pt x="255" y="497"/>
                    </a:lnTo>
                    <a:lnTo>
                      <a:pt x="265" y="501"/>
                    </a:lnTo>
                    <a:lnTo>
                      <a:pt x="269" y="506"/>
                    </a:lnTo>
                    <a:lnTo>
                      <a:pt x="277" y="507"/>
                    </a:lnTo>
                    <a:lnTo>
                      <a:pt x="288" y="516"/>
                    </a:lnTo>
                    <a:lnTo>
                      <a:pt x="309" y="537"/>
                    </a:lnTo>
                    <a:lnTo>
                      <a:pt x="316" y="535"/>
                    </a:lnTo>
                    <a:lnTo>
                      <a:pt x="321" y="537"/>
                    </a:lnTo>
                    <a:lnTo>
                      <a:pt x="319" y="529"/>
                    </a:lnTo>
                    <a:lnTo>
                      <a:pt x="308" y="517"/>
                    </a:lnTo>
                    <a:lnTo>
                      <a:pt x="304" y="506"/>
                    </a:lnTo>
                    <a:lnTo>
                      <a:pt x="300" y="501"/>
                    </a:lnTo>
                    <a:lnTo>
                      <a:pt x="306" y="499"/>
                    </a:lnTo>
                    <a:lnTo>
                      <a:pt x="322" y="505"/>
                    </a:lnTo>
                    <a:lnTo>
                      <a:pt x="331" y="502"/>
                    </a:lnTo>
                    <a:lnTo>
                      <a:pt x="341" y="505"/>
                    </a:lnTo>
                    <a:lnTo>
                      <a:pt x="347" y="510"/>
                    </a:lnTo>
                    <a:lnTo>
                      <a:pt x="349" y="524"/>
                    </a:lnTo>
                    <a:lnTo>
                      <a:pt x="354" y="532"/>
                    </a:lnTo>
                    <a:lnTo>
                      <a:pt x="370" y="545"/>
                    </a:lnTo>
                    <a:lnTo>
                      <a:pt x="373" y="553"/>
                    </a:lnTo>
                    <a:lnTo>
                      <a:pt x="376" y="542"/>
                    </a:lnTo>
                    <a:lnTo>
                      <a:pt x="375" y="527"/>
                    </a:lnTo>
                    <a:lnTo>
                      <a:pt x="370" y="522"/>
                    </a:lnTo>
                    <a:lnTo>
                      <a:pt x="353" y="490"/>
                    </a:lnTo>
                    <a:lnTo>
                      <a:pt x="349" y="480"/>
                    </a:lnTo>
                    <a:lnTo>
                      <a:pt x="349" y="475"/>
                    </a:lnTo>
                    <a:lnTo>
                      <a:pt x="360" y="468"/>
                    </a:lnTo>
                    <a:lnTo>
                      <a:pt x="369" y="456"/>
                    </a:lnTo>
                    <a:lnTo>
                      <a:pt x="385" y="445"/>
                    </a:lnTo>
                    <a:lnTo>
                      <a:pt x="391" y="435"/>
                    </a:lnTo>
                    <a:lnTo>
                      <a:pt x="396" y="435"/>
                    </a:lnTo>
                    <a:lnTo>
                      <a:pt x="400" y="429"/>
                    </a:lnTo>
                    <a:lnTo>
                      <a:pt x="423" y="425"/>
                    </a:lnTo>
                    <a:lnTo>
                      <a:pt x="430" y="420"/>
                    </a:lnTo>
                    <a:lnTo>
                      <a:pt x="439" y="411"/>
                    </a:lnTo>
                    <a:lnTo>
                      <a:pt x="440" y="391"/>
                    </a:lnTo>
                    <a:lnTo>
                      <a:pt x="448" y="384"/>
                    </a:lnTo>
                    <a:lnTo>
                      <a:pt x="450" y="387"/>
                    </a:lnTo>
                    <a:lnTo>
                      <a:pt x="455" y="387"/>
                    </a:lnTo>
                    <a:lnTo>
                      <a:pt x="457" y="378"/>
                    </a:lnTo>
                    <a:lnTo>
                      <a:pt x="464" y="371"/>
                    </a:lnTo>
                    <a:lnTo>
                      <a:pt x="468" y="371"/>
                    </a:lnTo>
                    <a:lnTo>
                      <a:pt x="470" y="376"/>
                    </a:lnTo>
                    <a:lnTo>
                      <a:pt x="484" y="376"/>
                    </a:lnTo>
                    <a:lnTo>
                      <a:pt x="491" y="370"/>
                    </a:lnTo>
                    <a:lnTo>
                      <a:pt x="492" y="365"/>
                    </a:lnTo>
                    <a:lnTo>
                      <a:pt x="500" y="362"/>
                    </a:lnTo>
                    <a:lnTo>
                      <a:pt x="521" y="348"/>
                    </a:lnTo>
                    <a:lnTo>
                      <a:pt x="524" y="336"/>
                    </a:lnTo>
                    <a:lnTo>
                      <a:pt x="542" y="344"/>
                    </a:lnTo>
                    <a:lnTo>
                      <a:pt x="550" y="334"/>
                    </a:lnTo>
                    <a:lnTo>
                      <a:pt x="551" y="324"/>
                    </a:lnTo>
                    <a:lnTo>
                      <a:pt x="554" y="316"/>
                    </a:lnTo>
                    <a:lnTo>
                      <a:pt x="568" y="309"/>
                    </a:lnTo>
                    <a:lnTo>
                      <a:pt x="574" y="303"/>
                    </a:lnTo>
                    <a:lnTo>
                      <a:pt x="585" y="312"/>
                    </a:lnTo>
                    <a:lnTo>
                      <a:pt x="593" y="312"/>
                    </a:lnTo>
                    <a:lnTo>
                      <a:pt x="597" y="317"/>
                    </a:lnTo>
                    <a:lnTo>
                      <a:pt x="606" y="313"/>
                    </a:lnTo>
                    <a:lnTo>
                      <a:pt x="612" y="302"/>
                    </a:lnTo>
                    <a:lnTo>
                      <a:pt x="613" y="295"/>
                    </a:lnTo>
                    <a:lnTo>
                      <a:pt x="621" y="290"/>
                    </a:lnTo>
                    <a:lnTo>
                      <a:pt x="623" y="297"/>
                    </a:lnTo>
                    <a:lnTo>
                      <a:pt x="629" y="305"/>
                    </a:lnTo>
                    <a:lnTo>
                      <a:pt x="633" y="318"/>
                    </a:lnTo>
                    <a:lnTo>
                      <a:pt x="629" y="321"/>
                    </a:lnTo>
                    <a:lnTo>
                      <a:pt x="622" y="332"/>
                    </a:lnTo>
                    <a:lnTo>
                      <a:pt x="583" y="360"/>
                    </a:lnTo>
                    <a:lnTo>
                      <a:pt x="574" y="372"/>
                    </a:lnTo>
                    <a:lnTo>
                      <a:pt x="564" y="378"/>
                    </a:lnTo>
                    <a:lnTo>
                      <a:pt x="548" y="398"/>
                    </a:lnTo>
                    <a:lnTo>
                      <a:pt x="534" y="392"/>
                    </a:lnTo>
                    <a:lnTo>
                      <a:pt x="499" y="404"/>
                    </a:lnTo>
                    <a:lnTo>
                      <a:pt x="488" y="414"/>
                    </a:lnTo>
                    <a:lnTo>
                      <a:pt x="484" y="424"/>
                    </a:lnTo>
                    <a:lnTo>
                      <a:pt x="492" y="421"/>
                    </a:lnTo>
                    <a:lnTo>
                      <a:pt x="476" y="435"/>
                    </a:lnTo>
                    <a:lnTo>
                      <a:pt x="473" y="443"/>
                    </a:lnTo>
                    <a:lnTo>
                      <a:pt x="468" y="441"/>
                    </a:lnTo>
                    <a:lnTo>
                      <a:pt x="464" y="451"/>
                    </a:lnTo>
                    <a:lnTo>
                      <a:pt x="460" y="461"/>
                    </a:lnTo>
                    <a:lnTo>
                      <a:pt x="459" y="452"/>
                    </a:lnTo>
                    <a:lnTo>
                      <a:pt x="454" y="449"/>
                    </a:lnTo>
                    <a:lnTo>
                      <a:pt x="441" y="469"/>
                    </a:lnTo>
                    <a:lnTo>
                      <a:pt x="441" y="478"/>
                    </a:lnTo>
                    <a:lnTo>
                      <a:pt x="449" y="477"/>
                    </a:lnTo>
                    <a:lnTo>
                      <a:pt x="459" y="467"/>
                    </a:lnTo>
                    <a:lnTo>
                      <a:pt x="483" y="458"/>
                    </a:lnTo>
                    <a:lnTo>
                      <a:pt x="504" y="435"/>
                    </a:lnTo>
                    <a:lnTo>
                      <a:pt x="505" y="431"/>
                    </a:lnTo>
                    <a:lnTo>
                      <a:pt x="502" y="426"/>
                    </a:lnTo>
                    <a:lnTo>
                      <a:pt x="504" y="424"/>
                    </a:lnTo>
                    <a:lnTo>
                      <a:pt x="513" y="418"/>
                    </a:lnTo>
                    <a:lnTo>
                      <a:pt x="518" y="420"/>
                    </a:lnTo>
                    <a:lnTo>
                      <a:pt x="516" y="434"/>
                    </a:lnTo>
                    <a:lnTo>
                      <a:pt x="524" y="421"/>
                    </a:lnTo>
                    <a:lnTo>
                      <a:pt x="526" y="432"/>
                    </a:lnTo>
                    <a:lnTo>
                      <a:pt x="535" y="415"/>
                    </a:lnTo>
                    <a:lnTo>
                      <a:pt x="543" y="411"/>
                    </a:lnTo>
                    <a:lnTo>
                      <a:pt x="550" y="418"/>
                    </a:lnTo>
                    <a:lnTo>
                      <a:pt x="548" y="432"/>
                    </a:lnTo>
                    <a:lnTo>
                      <a:pt x="546" y="454"/>
                    </a:lnTo>
                    <a:lnTo>
                      <a:pt x="564" y="418"/>
                    </a:lnTo>
                    <a:lnTo>
                      <a:pt x="581" y="389"/>
                    </a:lnTo>
                    <a:lnTo>
                      <a:pt x="583" y="378"/>
                    </a:lnTo>
                    <a:lnTo>
                      <a:pt x="596" y="376"/>
                    </a:lnTo>
                    <a:lnTo>
                      <a:pt x="607" y="371"/>
                    </a:lnTo>
                    <a:lnTo>
                      <a:pt x="617" y="360"/>
                    </a:lnTo>
                    <a:lnTo>
                      <a:pt x="645" y="351"/>
                    </a:lnTo>
                    <a:lnTo>
                      <a:pt x="663" y="334"/>
                    </a:lnTo>
                    <a:lnTo>
                      <a:pt x="660" y="354"/>
                    </a:lnTo>
                    <a:lnTo>
                      <a:pt x="656" y="352"/>
                    </a:lnTo>
                    <a:lnTo>
                      <a:pt x="650" y="366"/>
                    </a:lnTo>
                    <a:lnTo>
                      <a:pt x="649" y="376"/>
                    </a:lnTo>
                    <a:lnTo>
                      <a:pt x="672" y="361"/>
                    </a:lnTo>
                    <a:lnTo>
                      <a:pt x="681" y="348"/>
                    </a:lnTo>
                    <a:lnTo>
                      <a:pt x="692" y="336"/>
                    </a:lnTo>
                    <a:lnTo>
                      <a:pt x="697" y="324"/>
                    </a:lnTo>
                    <a:lnTo>
                      <a:pt x="693" y="316"/>
                    </a:lnTo>
                    <a:lnTo>
                      <a:pt x="698" y="309"/>
                    </a:lnTo>
                    <a:lnTo>
                      <a:pt x="725" y="298"/>
                    </a:lnTo>
                    <a:lnTo>
                      <a:pt x="731" y="292"/>
                    </a:lnTo>
                    <a:lnTo>
                      <a:pt x="715" y="287"/>
                    </a:lnTo>
                    <a:lnTo>
                      <a:pt x="709" y="281"/>
                    </a:lnTo>
                    <a:lnTo>
                      <a:pt x="710" y="276"/>
                    </a:lnTo>
                    <a:lnTo>
                      <a:pt x="712" y="266"/>
                    </a:lnTo>
                    <a:lnTo>
                      <a:pt x="709" y="262"/>
                    </a:lnTo>
                    <a:lnTo>
                      <a:pt x="699" y="265"/>
                    </a:lnTo>
                    <a:lnTo>
                      <a:pt x="701" y="255"/>
                    </a:lnTo>
                    <a:lnTo>
                      <a:pt x="706" y="247"/>
                    </a:lnTo>
                    <a:lnTo>
                      <a:pt x="709" y="242"/>
                    </a:lnTo>
                    <a:lnTo>
                      <a:pt x="722" y="247"/>
                    </a:lnTo>
                    <a:lnTo>
                      <a:pt x="751" y="281"/>
                    </a:lnTo>
                    <a:lnTo>
                      <a:pt x="757" y="295"/>
                    </a:lnTo>
                    <a:lnTo>
                      <a:pt x="761" y="323"/>
                    </a:lnTo>
                    <a:lnTo>
                      <a:pt x="768" y="335"/>
                    </a:lnTo>
                    <a:lnTo>
                      <a:pt x="780" y="376"/>
                    </a:lnTo>
                    <a:lnTo>
                      <a:pt x="787" y="389"/>
                    </a:lnTo>
                    <a:lnTo>
                      <a:pt x="796" y="394"/>
                    </a:lnTo>
                    <a:lnTo>
                      <a:pt x="803" y="410"/>
                    </a:lnTo>
                    <a:lnTo>
                      <a:pt x="805" y="409"/>
                    </a:lnTo>
                    <a:lnTo>
                      <a:pt x="821" y="425"/>
                    </a:lnTo>
                    <a:lnTo>
                      <a:pt x="831" y="429"/>
                    </a:lnTo>
                    <a:lnTo>
                      <a:pt x="853" y="430"/>
                    </a:lnTo>
                    <a:lnTo>
                      <a:pt x="853" y="426"/>
                    </a:lnTo>
                    <a:lnTo>
                      <a:pt x="855" y="424"/>
                    </a:lnTo>
                    <a:lnTo>
                      <a:pt x="866" y="424"/>
                    </a:lnTo>
                    <a:lnTo>
                      <a:pt x="866" y="418"/>
                    </a:lnTo>
                    <a:lnTo>
                      <a:pt x="858" y="414"/>
                    </a:lnTo>
                    <a:lnTo>
                      <a:pt x="841" y="420"/>
                    </a:lnTo>
                    <a:lnTo>
                      <a:pt x="844" y="409"/>
                    </a:lnTo>
                    <a:lnTo>
                      <a:pt x="859" y="408"/>
                    </a:lnTo>
                    <a:lnTo>
                      <a:pt x="868" y="403"/>
                    </a:lnTo>
                    <a:lnTo>
                      <a:pt x="863" y="403"/>
                    </a:lnTo>
                    <a:lnTo>
                      <a:pt x="852" y="387"/>
                    </a:lnTo>
                    <a:lnTo>
                      <a:pt x="858" y="381"/>
                    </a:lnTo>
                    <a:lnTo>
                      <a:pt x="871" y="376"/>
                    </a:lnTo>
                    <a:lnTo>
                      <a:pt x="871" y="368"/>
                    </a:lnTo>
                    <a:lnTo>
                      <a:pt x="863" y="366"/>
                    </a:lnTo>
                    <a:lnTo>
                      <a:pt x="863" y="354"/>
                    </a:lnTo>
                    <a:lnTo>
                      <a:pt x="866" y="362"/>
                    </a:lnTo>
                    <a:lnTo>
                      <a:pt x="884" y="341"/>
                    </a:lnTo>
                    <a:lnTo>
                      <a:pt x="887" y="330"/>
                    </a:lnTo>
                    <a:lnTo>
                      <a:pt x="884" y="328"/>
                    </a:lnTo>
                    <a:lnTo>
                      <a:pt x="876" y="333"/>
                    </a:lnTo>
                    <a:lnTo>
                      <a:pt x="873" y="341"/>
                    </a:lnTo>
                    <a:lnTo>
                      <a:pt x="869" y="338"/>
                    </a:lnTo>
                    <a:lnTo>
                      <a:pt x="868" y="328"/>
                    </a:lnTo>
                    <a:lnTo>
                      <a:pt x="871" y="321"/>
                    </a:lnTo>
                    <a:lnTo>
                      <a:pt x="878" y="324"/>
                    </a:lnTo>
                    <a:lnTo>
                      <a:pt x="887" y="322"/>
                    </a:lnTo>
                    <a:lnTo>
                      <a:pt x="892" y="324"/>
                    </a:lnTo>
                    <a:lnTo>
                      <a:pt x="895" y="335"/>
                    </a:lnTo>
                    <a:lnTo>
                      <a:pt x="900" y="325"/>
                    </a:lnTo>
                    <a:lnTo>
                      <a:pt x="907" y="324"/>
                    </a:lnTo>
                    <a:lnTo>
                      <a:pt x="906" y="318"/>
                    </a:lnTo>
                    <a:lnTo>
                      <a:pt x="898" y="316"/>
                    </a:lnTo>
                    <a:lnTo>
                      <a:pt x="893" y="311"/>
                    </a:lnTo>
                    <a:lnTo>
                      <a:pt x="908" y="308"/>
                    </a:lnTo>
                    <a:lnTo>
                      <a:pt x="908" y="313"/>
                    </a:lnTo>
                    <a:lnTo>
                      <a:pt x="912" y="321"/>
                    </a:lnTo>
                    <a:lnTo>
                      <a:pt x="909" y="335"/>
                    </a:lnTo>
                    <a:lnTo>
                      <a:pt x="908" y="359"/>
                    </a:lnTo>
                    <a:lnTo>
                      <a:pt x="906" y="366"/>
                    </a:lnTo>
                    <a:lnTo>
                      <a:pt x="907" y="373"/>
                    </a:lnTo>
                    <a:lnTo>
                      <a:pt x="912" y="378"/>
                    </a:lnTo>
                    <a:lnTo>
                      <a:pt x="919" y="372"/>
                    </a:lnTo>
                    <a:lnTo>
                      <a:pt x="930" y="376"/>
                    </a:lnTo>
                    <a:lnTo>
                      <a:pt x="912" y="409"/>
                    </a:lnTo>
                    <a:lnTo>
                      <a:pt x="907" y="424"/>
                    </a:lnTo>
                    <a:lnTo>
                      <a:pt x="906" y="413"/>
                    </a:lnTo>
                    <a:lnTo>
                      <a:pt x="903" y="424"/>
                    </a:lnTo>
                    <a:lnTo>
                      <a:pt x="903" y="430"/>
                    </a:lnTo>
                    <a:lnTo>
                      <a:pt x="925" y="432"/>
                    </a:lnTo>
                    <a:lnTo>
                      <a:pt x="933" y="425"/>
                    </a:lnTo>
                    <a:lnTo>
                      <a:pt x="938" y="429"/>
                    </a:lnTo>
                    <a:lnTo>
                      <a:pt x="954" y="430"/>
                    </a:lnTo>
                    <a:lnTo>
                      <a:pt x="962" y="424"/>
                    </a:lnTo>
                    <a:lnTo>
                      <a:pt x="965" y="414"/>
                    </a:lnTo>
                    <a:lnTo>
                      <a:pt x="975" y="405"/>
                    </a:lnTo>
                    <a:lnTo>
                      <a:pt x="976" y="394"/>
                    </a:lnTo>
                    <a:lnTo>
                      <a:pt x="981" y="378"/>
                    </a:lnTo>
                    <a:lnTo>
                      <a:pt x="982" y="360"/>
                    </a:lnTo>
                    <a:lnTo>
                      <a:pt x="991" y="360"/>
                    </a:lnTo>
                    <a:lnTo>
                      <a:pt x="1005" y="354"/>
                    </a:lnTo>
                    <a:lnTo>
                      <a:pt x="1016" y="360"/>
                    </a:lnTo>
                    <a:lnTo>
                      <a:pt x="1025" y="359"/>
                    </a:lnTo>
                    <a:lnTo>
                      <a:pt x="1032" y="360"/>
                    </a:lnTo>
                    <a:lnTo>
                      <a:pt x="1032" y="362"/>
                    </a:lnTo>
                    <a:lnTo>
                      <a:pt x="1054" y="360"/>
                    </a:lnTo>
                    <a:lnTo>
                      <a:pt x="1077" y="367"/>
                    </a:lnTo>
                    <a:lnTo>
                      <a:pt x="1107" y="392"/>
                    </a:lnTo>
                    <a:lnTo>
                      <a:pt x="1127" y="418"/>
                    </a:lnTo>
                    <a:lnTo>
                      <a:pt x="1145" y="429"/>
                    </a:lnTo>
                    <a:lnTo>
                      <a:pt x="1166" y="431"/>
                    </a:lnTo>
                    <a:lnTo>
                      <a:pt x="1175" y="438"/>
                    </a:lnTo>
                    <a:lnTo>
                      <a:pt x="1187" y="438"/>
                    </a:lnTo>
                    <a:lnTo>
                      <a:pt x="1207" y="447"/>
                    </a:lnTo>
                    <a:lnTo>
                      <a:pt x="1214" y="446"/>
                    </a:lnTo>
                    <a:lnTo>
                      <a:pt x="1224" y="449"/>
                    </a:lnTo>
                    <a:lnTo>
                      <a:pt x="1229" y="461"/>
                    </a:lnTo>
                    <a:lnTo>
                      <a:pt x="1244" y="470"/>
                    </a:lnTo>
                    <a:lnTo>
                      <a:pt x="1256" y="475"/>
                    </a:lnTo>
                    <a:lnTo>
                      <a:pt x="1282" y="491"/>
                    </a:lnTo>
                    <a:lnTo>
                      <a:pt x="1300" y="492"/>
                    </a:lnTo>
                    <a:lnTo>
                      <a:pt x="1307" y="497"/>
                    </a:lnTo>
                    <a:lnTo>
                      <a:pt x="1319" y="500"/>
                    </a:lnTo>
                    <a:lnTo>
                      <a:pt x="1317" y="496"/>
                    </a:lnTo>
                    <a:lnTo>
                      <a:pt x="1348" y="501"/>
                    </a:lnTo>
                    <a:lnTo>
                      <a:pt x="1360" y="500"/>
                    </a:lnTo>
                    <a:lnTo>
                      <a:pt x="1371" y="513"/>
                    </a:lnTo>
                    <a:lnTo>
                      <a:pt x="1374" y="504"/>
                    </a:lnTo>
                    <a:lnTo>
                      <a:pt x="1357" y="488"/>
                    </a:lnTo>
                    <a:lnTo>
                      <a:pt x="1369" y="485"/>
                    </a:lnTo>
                    <a:lnTo>
                      <a:pt x="1375" y="490"/>
                    </a:lnTo>
                    <a:lnTo>
                      <a:pt x="1386" y="491"/>
                    </a:lnTo>
                    <a:lnTo>
                      <a:pt x="1386" y="485"/>
                    </a:lnTo>
                    <a:lnTo>
                      <a:pt x="1413" y="491"/>
                    </a:lnTo>
                    <a:lnTo>
                      <a:pt x="1407" y="496"/>
                    </a:lnTo>
                    <a:lnTo>
                      <a:pt x="1423" y="505"/>
                    </a:lnTo>
                    <a:lnTo>
                      <a:pt x="1424" y="513"/>
                    </a:lnTo>
                    <a:lnTo>
                      <a:pt x="1434" y="508"/>
                    </a:lnTo>
                    <a:lnTo>
                      <a:pt x="1434" y="517"/>
                    </a:lnTo>
                    <a:lnTo>
                      <a:pt x="1451" y="528"/>
                    </a:lnTo>
                    <a:lnTo>
                      <a:pt x="1463" y="547"/>
                    </a:lnTo>
                    <a:lnTo>
                      <a:pt x="1470" y="553"/>
                    </a:lnTo>
                    <a:lnTo>
                      <a:pt x="1470" y="575"/>
                    </a:lnTo>
                    <a:lnTo>
                      <a:pt x="1478" y="564"/>
                    </a:lnTo>
                    <a:lnTo>
                      <a:pt x="1478" y="576"/>
                    </a:lnTo>
                    <a:lnTo>
                      <a:pt x="1475" y="585"/>
                    </a:lnTo>
                    <a:lnTo>
                      <a:pt x="1479" y="591"/>
                    </a:lnTo>
                    <a:lnTo>
                      <a:pt x="1470" y="590"/>
                    </a:lnTo>
                    <a:lnTo>
                      <a:pt x="1467" y="597"/>
                    </a:lnTo>
                    <a:lnTo>
                      <a:pt x="1461" y="599"/>
                    </a:lnTo>
                    <a:lnTo>
                      <a:pt x="1456" y="590"/>
                    </a:lnTo>
                    <a:lnTo>
                      <a:pt x="1443" y="594"/>
                    </a:lnTo>
                    <a:lnTo>
                      <a:pt x="1424" y="591"/>
                    </a:lnTo>
                    <a:lnTo>
                      <a:pt x="1436" y="597"/>
                    </a:lnTo>
                    <a:lnTo>
                      <a:pt x="1429" y="607"/>
                    </a:lnTo>
                    <a:lnTo>
                      <a:pt x="1409" y="603"/>
                    </a:lnTo>
                    <a:lnTo>
                      <a:pt x="1413" y="609"/>
                    </a:lnTo>
                    <a:lnTo>
                      <a:pt x="1409" y="615"/>
                    </a:lnTo>
                    <a:lnTo>
                      <a:pt x="1409" y="630"/>
                    </a:lnTo>
                    <a:lnTo>
                      <a:pt x="1393" y="639"/>
                    </a:lnTo>
                    <a:lnTo>
                      <a:pt x="1400" y="645"/>
                    </a:lnTo>
                    <a:lnTo>
                      <a:pt x="1405" y="646"/>
                    </a:lnTo>
                    <a:lnTo>
                      <a:pt x="1412" y="644"/>
                    </a:lnTo>
                    <a:lnTo>
                      <a:pt x="1406" y="650"/>
                    </a:lnTo>
                    <a:lnTo>
                      <a:pt x="1420" y="655"/>
                    </a:lnTo>
                    <a:lnTo>
                      <a:pt x="1441" y="667"/>
                    </a:lnTo>
                    <a:lnTo>
                      <a:pt x="1445" y="658"/>
                    </a:lnTo>
                    <a:lnTo>
                      <a:pt x="1454" y="662"/>
                    </a:lnTo>
                    <a:lnTo>
                      <a:pt x="1459" y="668"/>
                    </a:lnTo>
                    <a:lnTo>
                      <a:pt x="1470" y="667"/>
                    </a:lnTo>
                    <a:lnTo>
                      <a:pt x="1482" y="671"/>
                    </a:lnTo>
                    <a:lnTo>
                      <a:pt x="1503" y="669"/>
                    </a:lnTo>
                    <a:lnTo>
                      <a:pt x="1516" y="674"/>
                    </a:lnTo>
                    <a:lnTo>
                      <a:pt x="1535" y="669"/>
                    </a:lnTo>
                    <a:lnTo>
                      <a:pt x="1533" y="673"/>
                    </a:lnTo>
                    <a:lnTo>
                      <a:pt x="1546" y="675"/>
                    </a:lnTo>
                    <a:lnTo>
                      <a:pt x="1570" y="674"/>
                    </a:lnTo>
                    <a:lnTo>
                      <a:pt x="1573" y="667"/>
                    </a:lnTo>
                    <a:lnTo>
                      <a:pt x="1591" y="667"/>
                    </a:lnTo>
                    <a:lnTo>
                      <a:pt x="1588" y="674"/>
                    </a:lnTo>
                    <a:lnTo>
                      <a:pt x="1599" y="674"/>
                    </a:lnTo>
                    <a:lnTo>
                      <a:pt x="1592" y="669"/>
                    </a:lnTo>
                    <a:lnTo>
                      <a:pt x="1601" y="662"/>
                    </a:lnTo>
                    <a:lnTo>
                      <a:pt x="1604" y="669"/>
                    </a:lnTo>
                    <a:lnTo>
                      <a:pt x="1615" y="671"/>
                    </a:lnTo>
                    <a:lnTo>
                      <a:pt x="1616" y="667"/>
                    </a:lnTo>
                    <a:lnTo>
                      <a:pt x="1623" y="668"/>
                    </a:lnTo>
                    <a:lnTo>
                      <a:pt x="1628" y="651"/>
                    </a:lnTo>
                    <a:lnTo>
                      <a:pt x="1639" y="648"/>
                    </a:lnTo>
                    <a:lnTo>
                      <a:pt x="1637" y="667"/>
                    </a:lnTo>
                    <a:lnTo>
                      <a:pt x="1648" y="667"/>
                    </a:lnTo>
                    <a:lnTo>
                      <a:pt x="1655" y="662"/>
                    </a:lnTo>
                    <a:lnTo>
                      <a:pt x="1667" y="644"/>
                    </a:lnTo>
                    <a:lnTo>
                      <a:pt x="1678" y="636"/>
                    </a:lnTo>
                    <a:lnTo>
                      <a:pt x="1691" y="636"/>
                    </a:lnTo>
                    <a:lnTo>
                      <a:pt x="1696" y="626"/>
                    </a:lnTo>
                    <a:lnTo>
                      <a:pt x="1703" y="639"/>
                    </a:lnTo>
                    <a:lnTo>
                      <a:pt x="1701" y="646"/>
                    </a:lnTo>
                    <a:lnTo>
                      <a:pt x="1707" y="650"/>
                    </a:lnTo>
                    <a:lnTo>
                      <a:pt x="1709" y="645"/>
                    </a:lnTo>
                    <a:lnTo>
                      <a:pt x="1713" y="655"/>
                    </a:lnTo>
                    <a:lnTo>
                      <a:pt x="1715" y="658"/>
                    </a:lnTo>
                    <a:lnTo>
                      <a:pt x="1715" y="667"/>
                    </a:lnTo>
                    <a:lnTo>
                      <a:pt x="1713" y="667"/>
                    </a:lnTo>
                    <a:lnTo>
                      <a:pt x="1730" y="673"/>
                    </a:lnTo>
                    <a:lnTo>
                      <a:pt x="1729" y="667"/>
                    </a:lnTo>
                    <a:lnTo>
                      <a:pt x="1757" y="667"/>
                    </a:lnTo>
                    <a:lnTo>
                      <a:pt x="1755" y="675"/>
                    </a:lnTo>
                    <a:lnTo>
                      <a:pt x="1757" y="682"/>
                    </a:lnTo>
                    <a:lnTo>
                      <a:pt x="1755" y="687"/>
                    </a:lnTo>
                    <a:lnTo>
                      <a:pt x="1760" y="695"/>
                    </a:lnTo>
                    <a:lnTo>
                      <a:pt x="1757" y="707"/>
                    </a:lnTo>
                    <a:lnTo>
                      <a:pt x="1763" y="715"/>
                    </a:lnTo>
                    <a:lnTo>
                      <a:pt x="1763" y="709"/>
                    </a:lnTo>
                    <a:lnTo>
                      <a:pt x="1764" y="714"/>
                    </a:lnTo>
                    <a:lnTo>
                      <a:pt x="1769" y="701"/>
                    </a:lnTo>
                    <a:lnTo>
                      <a:pt x="1771" y="683"/>
                    </a:lnTo>
                    <a:lnTo>
                      <a:pt x="1776" y="685"/>
                    </a:lnTo>
                    <a:lnTo>
                      <a:pt x="1776" y="695"/>
                    </a:lnTo>
                    <a:lnTo>
                      <a:pt x="1779" y="695"/>
                    </a:lnTo>
                    <a:lnTo>
                      <a:pt x="1777" y="705"/>
                    </a:lnTo>
                    <a:lnTo>
                      <a:pt x="1777" y="715"/>
                    </a:lnTo>
                    <a:lnTo>
                      <a:pt x="1784" y="718"/>
                    </a:lnTo>
                    <a:lnTo>
                      <a:pt x="1789" y="711"/>
                    </a:lnTo>
                    <a:lnTo>
                      <a:pt x="1796" y="727"/>
                    </a:lnTo>
                    <a:lnTo>
                      <a:pt x="1806" y="727"/>
                    </a:lnTo>
                    <a:lnTo>
                      <a:pt x="1810" y="737"/>
                    </a:lnTo>
                    <a:lnTo>
                      <a:pt x="1817" y="755"/>
                    </a:lnTo>
                    <a:lnTo>
                      <a:pt x="1809" y="764"/>
                    </a:lnTo>
                    <a:lnTo>
                      <a:pt x="1801" y="761"/>
                    </a:lnTo>
                    <a:lnTo>
                      <a:pt x="1791" y="768"/>
                    </a:lnTo>
                    <a:lnTo>
                      <a:pt x="1788" y="764"/>
                    </a:lnTo>
                    <a:lnTo>
                      <a:pt x="1790" y="774"/>
                    </a:lnTo>
                    <a:lnTo>
                      <a:pt x="1801" y="790"/>
                    </a:lnTo>
                    <a:lnTo>
                      <a:pt x="1812" y="804"/>
                    </a:lnTo>
                    <a:lnTo>
                      <a:pt x="1820" y="808"/>
                    </a:lnTo>
                    <a:lnTo>
                      <a:pt x="1821" y="788"/>
                    </a:lnTo>
                    <a:lnTo>
                      <a:pt x="1826" y="787"/>
                    </a:lnTo>
                    <a:lnTo>
                      <a:pt x="1834" y="793"/>
                    </a:lnTo>
                    <a:lnTo>
                      <a:pt x="1843" y="782"/>
                    </a:lnTo>
                    <a:lnTo>
                      <a:pt x="1852" y="785"/>
                    </a:lnTo>
                    <a:lnTo>
                      <a:pt x="1841" y="765"/>
                    </a:lnTo>
                    <a:lnTo>
                      <a:pt x="1850" y="758"/>
                    </a:lnTo>
                    <a:lnTo>
                      <a:pt x="1849" y="755"/>
                    </a:lnTo>
                    <a:lnTo>
                      <a:pt x="1841" y="755"/>
                    </a:lnTo>
                    <a:lnTo>
                      <a:pt x="1834" y="743"/>
                    </a:lnTo>
                    <a:lnTo>
                      <a:pt x="1831" y="727"/>
                    </a:lnTo>
                    <a:lnTo>
                      <a:pt x="1822" y="716"/>
                    </a:lnTo>
                    <a:lnTo>
                      <a:pt x="1827" y="712"/>
                    </a:lnTo>
                    <a:lnTo>
                      <a:pt x="1827" y="695"/>
                    </a:lnTo>
                    <a:lnTo>
                      <a:pt x="1822" y="690"/>
                    </a:lnTo>
                    <a:lnTo>
                      <a:pt x="1822" y="683"/>
                    </a:lnTo>
                    <a:lnTo>
                      <a:pt x="1809" y="675"/>
                    </a:lnTo>
                    <a:lnTo>
                      <a:pt x="1804" y="667"/>
                    </a:lnTo>
                    <a:lnTo>
                      <a:pt x="1812" y="650"/>
                    </a:lnTo>
                    <a:lnTo>
                      <a:pt x="1818" y="651"/>
                    </a:lnTo>
                    <a:lnTo>
                      <a:pt x="1821" y="644"/>
                    </a:lnTo>
                    <a:lnTo>
                      <a:pt x="1827" y="640"/>
                    </a:lnTo>
                    <a:lnTo>
                      <a:pt x="1820" y="637"/>
                    </a:lnTo>
                    <a:lnTo>
                      <a:pt x="1826" y="623"/>
                    </a:lnTo>
                    <a:lnTo>
                      <a:pt x="1839" y="623"/>
                    </a:lnTo>
                    <a:lnTo>
                      <a:pt x="1852" y="614"/>
                    </a:lnTo>
                    <a:lnTo>
                      <a:pt x="1853" y="609"/>
                    </a:lnTo>
                    <a:lnTo>
                      <a:pt x="1853" y="615"/>
                    </a:lnTo>
                    <a:lnTo>
                      <a:pt x="1876" y="613"/>
                    </a:lnTo>
                    <a:lnTo>
                      <a:pt x="1875" y="601"/>
                    </a:lnTo>
                    <a:lnTo>
                      <a:pt x="1884" y="597"/>
                    </a:lnTo>
                    <a:lnTo>
                      <a:pt x="1895" y="599"/>
                    </a:lnTo>
                    <a:lnTo>
                      <a:pt x="1893" y="582"/>
                    </a:lnTo>
                    <a:lnTo>
                      <a:pt x="1897" y="578"/>
                    </a:lnTo>
                    <a:lnTo>
                      <a:pt x="1901" y="591"/>
                    </a:lnTo>
                    <a:lnTo>
                      <a:pt x="1907" y="575"/>
                    </a:lnTo>
                    <a:lnTo>
                      <a:pt x="1912" y="569"/>
                    </a:lnTo>
                    <a:lnTo>
                      <a:pt x="1909" y="559"/>
                    </a:lnTo>
                    <a:lnTo>
                      <a:pt x="1924" y="553"/>
                    </a:lnTo>
                    <a:lnTo>
                      <a:pt x="1918" y="550"/>
                    </a:lnTo>
                    <a:lnTo>
                      <a:pt x="1925" y="542"/>
                    </a:lnTo>
                    <a:lnTo>
                      <a:pt x="1925" y="533"/>
                    </a:lnTo>
                    <a:lnTo>
                      <a:pt x="1918" y="537"/>
                    </a:lnTo>
                    <a:lnTo>
                      <a:pt x="1916" y="533"/>
                    </a:lnTo>
                    <a:lnTo>
                      <a:pt x="1884" y="545"/>
                    </a:lnTo>
                    <a:lnTo>
                      <a:pt x="1891" y="555"/>
                    </a:lnTo>
                    <a:lnTo>
                      <a:pt x="1875" y="558"/>
                    </a:lnTo>
                    <a:lnTo>
                      <a:pt x="1882" y="575"/>
                    </a:lnTo>
                    <a:lnTo>
                      <a:pt x="1884" y="566"/>
                    </a:lnTo>
                    <a:lnTo>
                      <a:pt x="1884" y="585"/>
                    </a:lnTo>
                    <a:lnTo>
                      <a:pt x="1881" y="590"/>
                    </a:lnTo>
                    <a:lnTo>
                      <a:pt x="1877" y="583"/>
                    </a:lnTo>
                    <a:lnTo>
                      <a:pt x="1880" y="578"/>
                    </a:lnTo>
                    <a:lnTo>
                      <a:pt x="1875" y="581"/>
                    </a:lnTo>
                    <a:lnTo>
                      <a:pt x="1874" y="575"/>
                    </a:lnTo>
                    <a:lnTo>
                      <a:pt x="1863" y="575"/>
                    </a:lnTo>
                    <a:lnTo>
                      <a:pt x="1858" y="577"/>
                    </a:lnTo>
                    <a:lnTo>
                      <a:pt x="1852" y="588"/>
                    </a:lnTo>
                    <a:lnTo>
                      <a:pt x="1849" y="582"/>
                    </a:lnTo>
                    <a:lnTo>
                      <a:pt x="1834" y="581"/>
                    </a:lnTo>
                    <a:lnTo>
                      <a:pt x="1832" y="576"/>
                    </a:lnTo>
                    <a:lnTo>
                      <a:pt x="1818" y="581"/>
                    </a:lnTo>
                    <a:lnTo>
                      <a:pt x="1812" y="587"/>
                    </a:lnTo>
                    <a:lnTo>
                      <a:pt x="1815" y="594"/>
                    </a:lnTo>
                    <a:lnTo>
                      <a:pt x="1822" y="596"/>
                    </a:lnTo>
                    <a:lnTo>
                      <a:pt x="1822" y="601"/>
                    </a:lnTo>
                    <a:lnTo>
                      <a:pt x="1827" y="603"/>
                    </a:lnTo>
                    <a:lnTo>
                      <a:pt x="1817" y="605"/>
                    </a:lnTo>
                    <a:lnTo>
                      <a:pt x="1809" y="612"/>
                    </a:lnTo>
                    <a:lnTo>
                      <a:pt x="1804" y="609"/>
                    </a:lnTo>
                    <a:lnTo>
                      <a:pt x="1810" y="605"/>
                    </a:lnTo>
                    <a:lnTo>
                      <a:pt x="1791" y="608"/>
                    </a:lnTo>
                    <a:lnTo>
                      <a:pt x="1791" y="602"/>
                    </a:lnTo>
                    <a:lnTo>
                      <a:pt x="1783" y="605"/>
                    </a:lnTo>
                    <a:lnTo>
                      <a:pt x="1785" y="597"/>
                    </a:lnTo>
                    <a:lnTo>
                      <a:pt x="1777" y="597"/>
                    </a:lnTo>
                    <a:lnTo>
                      <a:pt x="1779" y="590"/>
                    </a:lnTo>
                    <a:lnTo>
                      <a:pt x="1766" y="594"/>
                    </a:lnTo>
                    <a:lnTo>
                      <a:pt x="1763" y="590"/>
                    </a:lnTo>
                    <a:lnTo>
                      <a:pt x="1764" y="578"/>
                    </a:lnTo>
                    <a:lnTo>
                      <a:pt x="1776" y="564"/>
                    </a:lnTo>
                    <a:lnTo>
                      <a:pt x="1776" y="558"/>
                    </a:lnTo>
                    <a:lnTo>
                      <a:pt x="1783" y="542"/>
                    </a:lnTo>
                    <a:lnTo>
                      <a:pt x="1790" y="537"/>
                    </a:lnTo>
                    <a:lnTo>
                      <a:pt x="1822" y="533"/>
                    </a:lnTo>
                    <a:lnTo>
                      <a:pt x="1846" y="521"/>
                    </a:lnTo>
                    <a:lnTo>
                      <a:pt x="1861" y="516"/>
                    </a:lnTo>
                    <a:lnTo>
                      <a:pt x="1868" y="506"/>
                    </a:lnTo>
                    <a:lnTo>
                      <a:pt x="1882" y="501"/>
                    </a:lnTo>
                    <a:lnTo>
                      <a:pt x="1884" y="492"/>
                    </a:lnTo>
                    <a:lnTo>
                      <a:pt x="1897" y="496"/>
                    </a:lnTo>
                    <a:lnTo>
                      <a:pt x="1907" y="486"/>
                    </a:lnTo>
                    <a:lnTo>
                      <a:pt x="1916" y="492"/>
                    </a:lnTo>
                    <a:lnTo>
                      <a:pt x="1919" y="497"/>
                    </a:lnTo>
                    <a:lnTo>
                      <a:pt x="1927" y="499"/>
                    </a:lnTo>
                    <a:lnTo>
                      <a:pt x="1929" y="513"/>
                    </a:lnTo>
                    <a:lnTo>
                      <a:pt x="1944" y="522"/>
                    </a:lnTo>
                    <a:lnTo>
                      <a:pt x="1936" y="528"/>
                    </a:lnTo>
                    <a:lnTo>
                      <a:pt x="1944" y="537"/>
                    </a:lnTo>
                    <a:lnTo>
                      <a:pt x="1945" y="547"/>
                    </a:lnTo>
                    <a:lnTo>
                      <a:pt x="1954" y="551"/>
                    </a:lnTo>
                    <a:lnTo>
                      <a:pt x="1954" y="558"/>
                    </a:lnTo>
                    <a:lnTo>
                      <a:pt x="1945" y="558"/>
                    </a:lnTo>
                    <a:lnTo>
                      <a:pt x="1939" y="560"/>
                    </a:lnTo>
                    <a:lnTo>
                      <a:pt x="1939" y="565"/>
                    </a:lnTo>
                    <a:lnTo>
                      <a:pt x="1945" y="564"/>
                    </a:lnTo>
                    <a:lnTo>
                      <a:pt x="1954" y="575"/>
                    </a:lnTo>
                    <a:lnTo>
                      <a:pt x="1960" y="577"/>
                    </a:lnTo>
                    <a:lnTo>
                      <a:pt x="1962" y="582"/>
                    </a:lnTo>
                    <a:lnTo>
                      <a:pt x="1971" y="593"/>
                    </a:lnTo>
                    <a:lnTo>
                      <a:pt x="1989" y="597"/>
                    </a:lnTo>
                    <a:lnTo>
                      <a:pt x="1988" y="599"/>
                    </a:lnTo>
                    <a:lnTo>
                      <a:pt x="1989" y="608"/>
                    </a:lnTo>
                    <a:lnTo>
                      <a:pt x="1989" y="618"/>
                    </a:lnTo>
                    <a:lnTo>
                      <a:pt x="1999" y="625"/>
                    </a:lnTo>
                    <a:lnTo>
                      <a:pt x="2006" y="624"/>
                    </a:lnTo>
                    <a:lnTo>
                      <a:pt x="2020" y="630"/>
                    </a:lnTo>
                    <a:lnTo>
                      <a:pt x="2030" y="624"/>
                    </a:lnTo>
                    <a:lnTo>
                      <a:pt x="2038" y="628"/>
                    </a:lnTo>
                    <a:lnTo>
                      <a:pt x="2038" y="619"/>
                    </a:lnTo>
                    <a:lnTo>
                      <a:pt x="2046" y="624"/>
                    </a:lnTo>
                    <a:lnTo>
                      <a:pt x="2051" y="615"/>
                    </a:lnTo>
                    <a:lnTo>
                      <a:pt x="2051" y="605"/>
                    </a:lnTo>
                    <a:lnTo>
                      <a:pt x="2068" y="613"/>
                    </a:lnTo>
                    <a:lnTo>
                      <a:pt x="2068" y="630"/>
                    </a:lnTo>
                    <a:lnTo>
                      <a:pt x="2083" y="645"/>
                    </a:lnTo>
                    <a:lnTo>
                      <a:pt x="2090" y="650"/>
                    </a:lnTo>
                    <a:lnTo>
                      <a:pt x="2099" y="667"/>
                    </a:lnTo>
                    <a:lnTo>
                      <a:pt x="2106" y="667"/>
                    </a:lnTo>
                    <a:lnTo>
                      <a:pt x="2121" y="678"/>
                    </a:lnTo>
                    <a:lnTo>
                      <a:pt x="2129" y="677"/>
                    </a:lnTo>
                    <a:lnTo>
                      <a:pt x="2129" y="668"/>
                    </a:lnTo>
                    <a:lnTo>
                      <a:pt x="2137" y="669"/>
                    </a:lnTo>
                    <a:lnTo>
                      <a:pt x="2139" y="667"/>
                    </a:lnTo>
                    <a:lnTo>
                      <a:pt x="2148" y="673"/>
                    </a:lnTo>
                    <a:lnTo>
                      <a:pt x="2150" y="669"/>
                    </a:lnTo>
                    <a:lnTo>
                      <a:pt x="2164" y="677"/>
                    </a:lnTo>
                    <a:lnTo>
                      <a:pt x="2182" y="667"/>
                    </a:lnTo>
                    <a:lnTo>
                      <a:pt x="2204" y="673"/>
                    </a:lnTo>
                    <a:lnTo>
                      <a:pt x="2221" y="667"/>
                    </a:lnTo>
                    <a:lnTo>
                      <a:pt x="2230" y="655"/>
                    </a:lnTo>
                    <a:lnTo>
                      <a:pt x="2267" y="660"/>
                    </a:lnTo>
                    <a:lnTo>
                      <a:pt x="2275" y="657"/>
                    </a:lnTo>
                    <a:lnTo>
                      <a:pt x="2290" y="671"/>
                    </a:lnTo>
                    <a:lnTo>
                      <a:pt x="2293" y="668"/>
                    </a:lnTo>
                    <a:lnTo>
                      <a:pt x="2300" y="667"/>
                    </a:lnTo>
                    <a:lnTo>
                      <a:pt x="2300" y="673"/>
                    </a:lnTo>
                    <a:lnTo>
                      <a:pt x="2322" y="667"/>
                    </a:lnTo>
                    <a:lnTo>
                      <a:pt x="2337" y="667"/>
                    </a:lnTo>
                    <a:lnTo>
                      <a:pt x="2328" y="655"/>
                    </a:lnTo>
                    <a:lnTo>
                      <a:pt x="2328" y="650"/>
                    </a:lnTo>
                    <a:lnTo>
                      <a:pt x="2321" y="640"/>
                    </a:lnTo>
                    <a:lnTo>
                      <a:pt x="2317" y="630"/>
                    </a:lnTo>
                    <a:lnTo>
                      <a:pt x="2322" y="623"/>
                    </a:lnTo>
                    <a:lnTo>
                      <a:pt x="2328" y="623"/>
                    </a:lnTo>
                    <a:lnTo>
                      <a:pt x="2331" y="625"/>
                    </a:lnTo>
                    <a:lnTo>
                      <a:pt x="2336" y="636"/>
                    </a:lnTo>
                    <a:lnTo>
                      <a:pt x="2342" y="641"/>
                    </a:lnTo>
                    <a:lnTo>
                      <a:pt x="2342" y="655"/>
                    </a:lnTo>
                    <a:lnTo>
                      <a:pt x="2349" y="667"/>
                    </a:lnTo>
                    <a:lnTo>
                      <a:pt x="2359" y="669"/>
                    </a:lnTo>
                    <a:lnTo>
                      <a:pt x="2364" y="678"/>
                    </a:lnTo>
                    <a:lnTo>
                      <a:pt x="2377" y="683"/>
                    </a:lnTo>
                    <a:lnTo>
                      <a:pt x="2384" y="689"/>
                    </a:lnTo>
                    <a:lnTo>
                      <a:pt x="2396" y="688"/>
                    </a:lnTo>
                    <a:lnTo>
                      <a:pt x="2404" y="677"/>
                    </a:lnTo>
                    <a:lnTo>
                      <a:pt x="2403" y="641"/>
                    </a:lnTo>
                    <a:lnTo>
                      <a:pt x="2398" y="641"/>
                    </a:lnTo>
                    <a:lnTo>
                      <a:pt x="2397" y="650"/>
                    </a:lnTo>
                    <a:lnTo>
                      <a:pt x="2390" y="650"/>
                    </a:lnTo>
                    <a:lnTo>
                      <a:pt x="2390" y="641"/>
                    </a:lnTo>
                    <a:lnTo>
                      <a:pt x="2385" y="636"/>
                    </a:lnTo>
                    <a:lnTo>
                      <a:pt x="2364" y="637"/>
                    </a:lnTo>
                    <a:lnTo>
                      <a:pt x="2359" y="646"/>
                    </a:lnTo>
                    <a:lnTo>
                      <a:pt x="2360" y="650"/>
                    </a:lnTo>
                    <a:lnTo>
                      <a:pt x="2361" y="658"/>
                    </a:lnTo>
                    <a:lnTo>
                      <a:pt x="2354" y="656"/>
                    </a:lnTo>
                    <a:lnTo>
                      <a:pt x="2348" y="636"/>
                    </a:lnTo>
                    <a:lnTo>
                      <a:pt x="2339" y="624"/>
                    </a:lnTo>
                    <a:lnTo>
                      <a:pt x="2334" y="614"/>
                    </a:lnTo>
                    <a:lnTo>
                      <a:pt x="2342" y="619"/>
                    </a:lnTo>
                    <a:lnTo>
                      <a:pt x="2342" y="605"/>
                    </a:lnTo>
                    <a:lnTo>
                      <a:pt x="2331" y="596"/>
                    </a:lnTo>
                    <a:lnTo>
                      <a:pt x="2331" y="590"/>
                    </a:lnTo>
                    <a:lnTo>
                      <a:pt x="2321" y="575"/>
                    </a:lnTo>
                    <a:lnTo>
                      <a:pt x="2328" y="575"/>
                    </a:lnTo>
                    <a:lnTo>
                      <a:pt x="2334" y="583"/>
                    </a:lnTo>
                    <a:lnTo>
                      <a:pt x="2339" y="578"/>
                    </a:lnTo>
                    <a:lnTo>
                      <a:pt x="2339" y="575"/>
                    </a:lnTo>
                    <a:lnTo>
                      <a:pt x="2349" y="575"/>
                    </a:lnTo>
                    <a:lnTo>
                      <a:pt x="2353" y="581"/>
                    </a:lnTo>
                    <a:lnTo>
                      <a:pt x="2374" y="577"/>
                    </a:lnTo>
                    <a:lnTo>
                      <a:pt x="2374" y="575"/>
                    </a:lnTo>
                    <a:lnTo>
                      <a:pt x="2358" y="554"/>
                    </a:lnTo>
                    <a:lnTo>
                      <a:pt x="2365" y="551"/>
                    </a:lnTo>
                    <a:lnTo>
                      <a:pt x="2377" y="554"/>
                    </a:lnTo>
                    <a:lnTo>
                      <a:pt x="2379" y="562"/>
                    </a:lnTo>
                    <a:lnTo>
                      <a:pt x="2390" y="575"/>
                    </a:lnTo>
                    <a:lnTo>
                      <a:pt x="2385" y="559"/>
                    </a:lnTo>
                    <a:lnTo>
                      <a:pt x="2398" y="560"/>
                    </a:lnTo>
                    <a:lnTo>
                      <a:pt x="2404" y="575"/>
                    </a:lnTo>
                    <a:lnTo>
                      <a:pt x="2420" y="582"/>
                    </a:lnTo>
                    <a:lnTo>
                      <a:pt x="2414" y="590"/>
                    </a:lnTo>
                    <a:lnTo>
                      <a:pt x="2422" y="594"/>
                    </a:lnTo>
                    <a:lnTo>
                      <a:pt x="2439" y="587"/>
                    </a:lnTo>
                    <a:lnTo>
                      <a:pt x="2439" y="594"/>
                    </a:lnTo>
                    <a:lnTo>
                      <a:pt x="2434" y="605"/>
                    </a:lnTo>
                    <a:lnTo>
                      <a:pt x="2433" y="615"/>
                    </a:lnTo>
                    <a:lnTo>
                      <a:pt x="2427" y="623"/>
                    </a:lnTo>
                    <a:lnTo>
                      <a:pt x="2431" y="628"/>
                    </a:lnTo>
                    <a:lnTo>
                      <a:pt x="2439" y="624"/>
                    </a:lnTo>
                    <a:lnTo>
                      <a:pt x="2443" y="631"/>
                    </a:lnTo>
                    <a:lnTo>
                      <a:pt x="2443" y="612"/>
                    </a:lnTo>
                    <a:lnTo>
                      <a:pt x="2466" y="596"/>
                    </a:lnTo>
                    <a:lnTo>
                      <a:pt x="2467" y="597"/>
                    </a:lnTo>
                    <a:lnTo>
                      <a:pt x="2466" y="607"/>
                    </a:lnTo>
                    <a:lnTo>
                      <a:pt x="2467" y="619"/>
                    </a:lnTo>
                    <a:lnTo>
                      <a:pt x="2466" y="636"/>
                    </a:lnTo>
                    <a:lnTo>
                      <a:pt x="2460" y="650"/>
                    </a:lnTo>
                    <a:lnTo>
                      <a:pt x="2459" y="668"/>
                    </a:lnTo>
                    <a:lnTo>
                      <a:pt x="2466" y="683"/>
                    </a:lnTo>
                    <a:lnTo>
                      <a:pt x="2446" y="695"/>
                    </a:lnTo>
                    <a:lnTo>
                      <a:pt x="2451" y="712"/>
                    </a:lnTo>
                    <a:lnTo>
                      <a:pt x="2466" y="711"/>
                    </a:lnTo>
                    <a:lnTo>
                      <a:pt x="2466" y="736"/>
                    </a:lnTo>
                    <a:lnTo>
                      <a:pt x="2482" y="720"/>
                    </a:lnTo>
                    <a:lnTo>
                      <a:pt x="2486" y="727"/>
                    </a:lnTo>
                    <a:lnTo>
                      <a:pt x="2495" y="718"/>
                    </a:lnTo>
                    <a:lnTo>
                      <a:pt x="2495" y="727"/>
                    </a:lnTo>
                    <a:lnTo>
                      <a:pt x="2489" y="733"/>
                    </a:lnTo>
                    <a:lnTo>
                      <a:pt x="2494" y="743"/>
                    </a:lnTo>
                    <a:lnTo>
                      <a:pt x="2504" y="744"/>
                    </a:lnTo>
                    <a:lnTo>
                      <a:pt x="2509" y="727"/>
                    </a:lnTo>
                    <a:lnTo>
                      <a:pt x="2504" y="711"/>
                    </a:lnTo>
                    <a:lnTo>
                      <a:pt x="2506" y="695"/>
                    </a:lnTo>
                    <a:lnTo>
                      <a:pt x="2502" y="682"/>
                    </a:lnTo>
                    <a:lnTo>
                      <a:pt x="2488" y="673"/>
                    </a:lnTo>
                    <a:lnTo>
                      <a:pt x="2488" y="667"/>
                    </a:lnTo>
                    <a:lnTo>
                      <a:pt x="2495" y="636"/>
                    </a:lnTo>
                    <a:lnTo>
                      <a:pt x="2492" y="631"/>
                    </a:lnTo>
                    <a:lnTo>
                      <a:pt x="2489" y="620"/>
                    </a:lnTo>
                    <a:lnTo>
                      <a:pt x="2495" y="620"/>
                    </a:lnTo>
                    <a:lnTo>
                      <a:pt x="2500" y="618"/>
                    </a:lnTo>
                    <a:lnTo>
                      <a:pt x="2504" y="620"/>
                    </a:lnTo>
                    <a:lnTo>
                      <a:pt x="2506" y="625"/>
                    </a:lnTo>
                    <a:lnTo>
                      <a:pt x="2510" y="623"/>
                    </a:lnTo>
                    <a:lnTo>
                      <a:pt x="2521" y="621"/>
                    </a:lnTo>
                    <a:lnTo>
                      <a:pt x="2533" y="628"/>
                    </a:lnTo>
                    <a:lnTo>
                      <a:pt x="2540" y="625"/>
                    </a:lnTo>
                    <a:lnTo>
                      <a:pt x="2545" y="613"/>
                    </a:lnTo>
                    <a:lnTo>
                      <a:pt x="2549" y="607"/>
                    </a:lnTo>
                    <a:lnTo>
                      <a:pt x="2563" y="599"/>
                    </a:lnTo>
                    <a:lnTo>
                      <a:pt x="2563" y="590"/>
                    </a:lnTo>
                    <a:lnTo>
                      <a:pt x="2569" y="574"/>
                    </a:lnTo>
                    <a:lnTo>
                      <a:pt x="2595" y="555"/>
                    </a:lnTo>
                    <a:lnTo>
                      <a:pt x="2602" y="544"/>
                    </a:lnTo>
                    <a:lnTo>
                      <a:pt x="2591" y="542"/>
                    </a:lnTo>
                    <a:lnTo>
                      <a:pt x="2594" y="520"/>
                    </a:lnTo>
                    <a:lnTo>
                      <a:pt x="2592" y="506"/>
                    </a:lnTo>
                    <a:lnTo>
                      <a:pt x="2589" y="491"/>
                    </a:lnTo>
                    <a:lnTo>
                      <a:pt x="2576" y="483"/>
                    </a:lnTo>
                    <a:lnTo>
                      <a:pt x="2575" y="491"/>
                    </a:lnTo>
                    <a:lnTo>
                      <a:pt x="2573" y="499"/>
                    </a:lnTo>
                    <a:lnTo>
                      <a:pt x="2572" y="508"/>
                    </a:lnTo>
                    <a:lnTo>
                      <a:pt x="2579" y="505"/>
                    </a:lnTo>
                    <a:lnTo>
                      <a:pt x="2583" y="497"/>
                    </a:lnTo>
                    <a:lnTo>
                      <a:pt x="2570" y="522"/>
                    </a:lnTo>
                    <a:lnTo>
                      <a:pt x="2551" y="528"/>
                    </a:lnTo>
                    <a:lnTo>
                      <a:pt x="2538" y="526"/>
                    </a:lnTo>
                    <a:lnTo>
                      <a:pt x="2542" y="516"/>
                    </a:lnTo>
                    <a:lnTo>
                      <a:pt x="2543" y="494"/>
                    </a:lnTo>
                    <a:lnTo>
                      <a:pt x="2547" y="491"/>
                    </a:lnTo>
                    <a:lnTo>
                      <a:pt x="2554" y="492"/>
                    </a:lnTo>
                    <a:lnTo>
                      <a:pt x="2563" y="472"/>
                    </a:lnTo>
                    <a:lnTo>
                      <a:pt x="2563" y="462"/>
                    </a:lnTo>
                    <a:lnTo>
                      <a:pt x="2557" y="465"/>
                    </a:lnTo>
                    <a:lnTo>
                      <a:pt x="2557" y="463"/>
                    </a:lnTo>
                    <a:lnTo>
                      <a:pt x="2558" y="449"/>
                    </a:lnTo>
                    <a:lnTo>
                      <a:pt x="2567" y="432"/>
                    </a:lnTo>
                    <a:lnTo>
                      <a:pt x="2586" y="425"/>
                    </a:lnTo>
                    <a:lnTo>
                      <a:pt x="2589" y="421"/>
                    </a:lnTo>
                    <a:lnTo>
                      <a:pt x="2581" y="436"/>
                    </a:lnTo>
                    <a:lnTo>
                      <a:pt x="2581" y="451"/>
                    </a:lnTo>
                    <a:lnTo>
                      <a:pt x="2585" y="458"/>
                    </a:lnTo>
                    <a:lnTo>
                      <a:pt x="2595" y="445"/>
                    </a:lnTo>
                    <a:lnTo>
                      <a:pt x="2599" y="427"/>
                    </a:lnTo>
                    <a:lnTo>
                      <a:pt x="2594" y="408"/>
                    </a:lnTo>
                    <a:lnTo>
                      <a:pt x="2583" y="408"/>
                    </a:lnTo>
                    <a:lnTo>
                      <a:pt x="2569" y="420"/>
                    </a:lnTo>
                    <a:lnTo>
                      <a:pt x="2556" y="418"/>
                    </a:lnTo>
                    <a:lnTo>
                      <a:pt x="2542" y="391"/>
                    </a:lnTo>
                    <a:lnTo>
                      <a:pt x="2536" y="386"/>
                    </a:lnTo>
                    <a:lnTo>
                      <a:pt x="2537" y="394"/>
                    </a:lnTo>
                    <a:lnTo>
                      <a:pt x="2532" y="399"/>
                    </a:lnTo>
                    <a:lnTo>
                      <a:pt x="2524" y="392"/>
                    </a:lnTo>
                    <a:lnTo>
                      <a:pt x="2524" y="387"/>
                    </a:lnTo>
                    <a:lnTo>
                      <a:pt x="2508" y="379"/>
                    </a:lnTo>
                    <a:lnTo>
                      <a:pt x="2505" y="372"/>
                    </a:lnTo>
                    <a:lnTo>
                      <a:pt x="2505" y="367"/>
                    </a:lnTo>
                    <a:lnTo>
                      <a:pt x="2479" y="370"/>
                    </a:lnTo>
                    <a:lnTo>
                      <a:pt x="2465" y="360"/>
                    </a:lnTo>
                    <a:lnTo>
                      <a:pt x="2461" y="352"/>
                    </a:lnTo>
                    <a:lnTo>
                      <a:pt x="2465" y="345"/>
                    </a:lnTo>
                    <a:lnTo>
                      <a:pt x="2447" y="336"/>
                    </a:lnTo>
                    <a:lnTo>
                      <a:pt x="2445" y="328"/>
                    </a:lnTo>
                    <a:lnTo>
                      <a:pt x="2436" y="318"/>
                    </a:lnTo>
                    <a:lnTo>
                      <a:pt x="2434" y="290"/>
                    </a:lnTo>
                    <a:lnTo>
                      <a:pt x="2434" y="275"/>
                    </a:lnTo>
                    <a:lnTo>
                      <a:pt x="2435" y="266"/>
                    </a:lnTo>
                    <a:lnTo>
                      <a:pt x="2441" y="262"/>
                    </a:lnTo>
                    <a:lnTo>
                      <a:pt x="2445" y="262"/>
                    </a:lnTo>
                    <a:lnTo>
                      <a:pt x="2456" y="236"/>
                    </a:lnTo>
                    <a:lnTo>
                      <a:pt x="2459" y="236"/>
                    </a:lnTo>
                    <a:lnTo>
                      <a:pt x="2461" y="242"/>
                    </a:lnTo>
                    <a:lnTo>
                      <a:pt x="2465" y="237"/>
                    </a:lnTo>
                    <a:lnTo>
                      <a:pt x="2466" y="222"/>
                    </a:lnTo>
                    <a:lnTo>
                      <a:pt x="2461" y="227"/>
                    </a:lnTo>
                    <a:lnTo>
                      <a:pt x="2452" y="204"/>
                    </a:lnTo>
                    <a:lnTo>
                      <a:pt x="2444" y="194"/>
                    </a:lnTo>
                    <a:lnTo>
                      <a:pt x="2444" y="184"/>
                    </a:lnTo>
                    <a:lnTo>
                      <a:pt x="2445" y="171"/>
                    </a:lnTo>
                    <a:lnTo>
                      <a:pt x="2452" y="156"/>
                    </a:lnTo>
                    <a:lnTo>
                      <a:pt x="2449" y="156"/>
                    </a:lnTo>
                    <a:lnTo>
                      <a:pt x="2450" y="145"/>
                    </a:lnTo>
                    <a:lnTo>
                      <a:pt x="2451" y="137"/>
                    </a:lnTo>
                    <a:lnTo>
                      <a:pt x="2451" y="122"/>
                    </a:lnTo>
                    <a:lnTo>
                      <a:pt x="2455" y="117"/>
                    </a:lnTo>
                    <a:lnTo>
                      <a:pt x="2460" y="118"/>
                    </a:lnTo>
                    <a:lnTo>
                      <a:pt x="2461" y="114"/>
                    </a:lnTo>
                    <a:lnTo>
                      <a:pt x="2462" y="106"/>
                    </a:lnTo>
                    <a:lnTo>
                      <a:pt x="2470" y="101"/>
                    </a:lnTo>
                    <a:lnTo>
                      <a:pt x="2488" y="124"/>
                    </a:lnTo>
                    <a:lnTo>
                      <a:pt x="2492" y="123"/>
                    </a:lnTo>
                    <a:lnTo>
                      <a:pt x="2495" y="107"/>
                    </a:lnTo>
                    <a:lnTo>
                      <a:pt x="2493" y="86"/>
                    </a:lnTo>
                    <a:lnTo>
                      <a:pt x="2487" y="85"/>
                    </a:lnTo>
                    <a:lnTo>
                      <a:pt x="2481" y="79"/>
                    </a:lnTo>
                    <a:lnTo>
                      <a:pt x="2479" y="67"/>
                    </a:lnTo>
                    <a:lnTo>
                      <a:pt x="2488" y="52"/>
                    </a:lnTo>
                    <a:lnTo>
                      <a:pt x="2502" y="36"/>
                    </a:lnTo>
                    <a:lnTo>
                      <a:pt x="2505" y="26"/>
                    </a:lnTo>
                    <a:lnTo>
                      <a:pt x="2506" y="16"/>
                    </a:lnTo>
                    <a:lnTo>
                      <a:pt x="2513" y="2"/>
                    </a:lnTo>
                    <a:lnTo>
                      <a:pt x="2522" y="0"/>
                    </a:lnTo>
                    <a:lnTo>
                      <a:pt x="2531" y="2"/>
                    </a:lnTo>
                    <a:lnTo>
                      <a:pt x="2541" y="0"/>
                    </a:lnTo>
                    <a:lnTo>
                      <a:pt x="2551" y="10"/>
                    </a:lnTo>
                    <a:lnTo>
                      <a:pt x="2549" y="18"/>
                    </a:lnTo>
                    <a:lnTo>
                      <a:pt x="2546" y="22"/>
                    </a:lnTo>
                    <a:lnTo>
                      <a:pt x="2545" y="32"/>
                    </a:lnTo>
                    <a:lnTo>
                      <a:pt x="2546" y="38"/>
                    </a:lnTo>
                    <a:lnTo>
                      <a:pt x="2554" y="32"/>
                    </a:lnTo>
                    <a:lnTo>
                      <a:pt x="2554" y="49"/>
                    </a:lnTo>
                    <a:lnTo>
                      <a:pt x="2564" y="40"/>
                    </a:lnTo>
                    <a:lnTo>
                      <a:pt x="2567" y="32"/>
                    </a:lnTo>
                    <a:lnTo>
                      <a:pt x="2576" y="44"/>
                    </a:lnTo>
                    <a:lnTo>
                      <a:pt x="2594" y="37"/>
                    </a:lnTo>
                    <a:lnTo>
                      <a:pt x="2594" y="47"/>
                    </a:lnTo>
                    <a:lnTo>
                      <a:pt x="2590" y="63"/>
                    </a:lnTo>
                    <a:lnTo>
                      <a:pt x="2595" y="75"/>
                    </a:lnTo>
                    <a:lnTo>
                      <a:pt x="2605" y="76"/>
                    </a:lnTo>
                    <a:lnTo>
                      <a:pt x="2632" y="115"/>
                    </a:lnTo>
                    <a:lnTo>
                      <a:pt x="2637" y="147"/>
                    </a:lnTo>
                    <a:lnTo>
                      <a:pt x="2638" y="167"/>
                    </a:lnTo>
                    <a:lnTo>
                      <a:pt x="2637" y="190"/>
                    </a:lnTo>
                    <a:lnTo>
                      <a:pt x="2633" y="189"/>
                    </a:lnTo>
                    <a:lnTo>
                      <a:pt x="2634" y="198"/>
                    </a:lnTo>
                    <a:lnTo>
                      <a:pt x="2645" y="201"/>
                    </a:lnTo>
                    <a:lnTo>
                      <a:pt x="2648" y="221"/>
                    </a:lnTo>
                    <a:lnTo>
                      <a:pt x="2662" y="220"/>
                    </a:lnTo>
                    <a:lnTo>
                      <a:pt x="2671" y="230"/>
                    </a:lnTo>
                    <a:lnTo>
                      <a:pt x="2671" y="244"/>
                    </a:lnTo>
                    <a:lnTo>
                      <a:pt x="2672" y="251"/>
                    </a:lnTo>
                    <a:lnTo>
                      <a:pt x="2681" y="264"/>
                    </a:lnTo>
                    <a:lnTo>
                      <a:pt x="2683" y="274"/>
                    </a:lnTo>
                    <a:lnTo>
                      <a:pt x="2685" y="284"/>
                    </a:lnTo>
                    <a:lnTo>
                      <a:pt x="2688" y="284"/>
                    </a:lnTo>
                    <a:lnTo>
                      <a:pt x="2692" y="279"/>
                    </a:lnTo>
                    <a:lnTo>
                      <a:pt x="2693" y="274"/>
                    </a:lnTo>
                    <a:lnTo>
                      <a:pt x="2701" y="280"/>
                    </a:lnTo>
                    <a:lnTo>
                      <a:pt x="2703" y="297"/>
                    </a:lnTo>
                    <a:lnTo>
                      <a:pt x="2709" y="301"/>
                    </a:lnTo>
                    <a:lnTo>
                      <a:pt x="2713" y="308"/>
                    </a:lnTo>
                    <a:lnTo>
                      <a:pt x="2694" y="312"/>
                    </a:lnTo>
                    <a:lnTo>
                      <a:pt x="2671" y="301"/>
                    </a:lnTo>
                    <a:lnTo>
                      <a:pt x="2664" y="302"/>
                    </a:lnTo>
                    <a:lnTo>
                      <a:pt x="2665" y="306"/>
                    </a:lnTo>
                    <a:lnTo>
                      <a:pt x="2665" y="312"/>
                    </a:lnTo>
                    <a:lnTo>
                      <a:pt x="2661" y="316"/>
                    </a:lnTo>
                    <a:lnTo>
                      <a:pt x="2661" y="318"/>
                    </a:lnTo>
                    <a:lnTo>
                      <a:pt x="2680" y="321"/>
                    </a:lnTo>
                    <a:lnTo>
                      <a:pt x="2688" y="334"/>
                    </a:lnTo>
                    <a:lnTo>
                      <a:pt x="2683" y="343"/>
                    </a:lnTo>
                    <a:lnTo>
                      <a:pt x="2676" y="352"/>
                    </a:lnTo>
                    <a:lnTo>
                      <a:pt x="2670" y="352"/>
                    </a:lnTo>
                    <a:lnTo>
                      <a:pt x="2664" y="357"/>
                    </a:lnTo>
                    <a:lnTo>
                      <a:pt x="2658" y="357"/>
                    </a:lnTo>
                    <a:lnTo>
                      <a:pt x="2656" y="364"/>
                    </a:lnTo>
                    <a:lnTo>
                      <a:pt x="2648" y="371"/>
                    </a:lnTo>
                    <a:lnTo>
                      <a:pt x="2650" y="378"/>
                    </a:lnTo>
                    <a:lnTo>
                      <a:pt x="2649" y="381"/>
                    </a:lnTo>
                    <a:lnTo>
                      <a:pt x="2669" y="381"/>
                    </a:lnTo>
                    <a:lnTo>
                      <a:pt x="2673" y="388"/>
                    </a:lnTo>
                    <a:lnTo>
                      <a:pt x="2678" y="402"/>
                    </a:lnTo>
                    <a:lnTo>
                      <a:pt x="2692" y="408"/>
                    </a:lnTo>
                    <a:lnTo>
                      <a:pt x="2705" y="405"/>
                    </a:lnTo>
                    <a:lnTo>
                      <a:pt x="2715" y="391"/>
                    </a:lnTo>
                    <a:lnTo>
                      <a:pt x="2723" y="389"/>
                    </a:lnTo>
                    <a:lnTo>
                      <a:pt x="2724" y="395"/>
                    </a:lnTo>
                    <a:lnTo>
                      <a:pt x="2718" y="404"/>
                    </a:lnTo>
                    <a:lnTo>
                      <a:pt x="2725" y="402"/>
                    </a:lnTo>
                    <a:lnTo>
                      <a:pt x="2731" y="413"/>
                    </a:lnTo>
                    <a:lnTo>
                      <a:pt x="2735" y="409"/>
                    </a:lnTo>
                    <a:lnTo>
                      <a:pt x="2745" y="415"/>
                    </a:lnTo>
                    <a:lnTo>
                      <a:pt x="2748" y="406"/>
                    </a:lnTo>
                    <a:lnTo>
                      <a:pt x="2751" y="421"/>
                    </a:lnTo>
                    <a:lnTo>
                      <a:pt x="2748" y="432"/>
                    </a:lnTo>
                    <a:lnTo>
                      <a:pt x="2744" y="440"/>
                    </a:lnTo>
                    <a:lnTo>
                      <a:pt x="2735" y="430"/>
                    </a:lnTo>
                    <a:lnTo>
                      <a:pt x="2729" y="434"/>
                    </a:lnTo>
                    <a:lnTo>
                      <a:pt x="2720" y="431"/>
                    </a:lnTo>
                    <a:lnTo>
                      <a:pt x="2745" y="465"/>
                    </a:lnTo>
                    <a:lnTo>
                      <a:pt x="2755" y="469"/>
                    </a:lnTo>
                    <a:lnTo>
                      <a:pt x="2756" y="479"/>
                    </a:lnTo>
                    <a:lnTo>
                      <a:pt x="2764" y="494"/>
                    </a:lnTo>
                    <a:lnTo>
                      <a:pt x="2763" y="499"/>
                    </a:lnTo>
                    <a:lnTo>
                      <a:pt x="2773" y="515"/>
                    </a:lnTo>
                    <a:lnTo>
                      <a:pt x="2768" y="531"/>
                    </a:lnTo>
                    <a:lnTo>
                      <a:pt x="2768" y="549"/>
                    </a:lnTo>
                    <a:lnTo>
                      <a:pt x="2766" y="558"/>
                    </a:lnTo>
                    <a:lnTo>
                      <a:pt x="2771" y="574"/>
                    </a:lnTo>
                    <a:lnTo>
                      <a:pt x="2775" y="581"/>
                    </a:lnTo>
                    <a:lnTo>
                      <a:pt x="2779" y="591"/>
                    </a:lnTo>
                    <a:lnTo>
                      <a:pt x="2787" y="581"/>
                    </a:lnTo>
                    <a:lnTo>
                      <a:pt x="2798" y="559"/>
                    </a:lnTo>
                    <a:lnTo>
                      <a:pt x="2798" y="540"/>
                    </a:lnTo>
                    <a:lnTo>
                      <a:pt x="2799" y="535"/>
                    </a:lnTo>
                    <a:lnTo>
                      <a:pt x="2800" y="532"/>
                    </a:lnTo>
                    <a:lnTo>
                      <a:pt x="2806" y="532"/>
                    </a:lnTo>
                    <a:lnTo>
                      <a:pt x="2807" y="513"/>
                    </a:lnTo>
                    <a:lnTo>
                      <a:pt x="2806" y="495"/>
                    </a:lnTo>
                    <a:lnTo>
                      <a:pt x="2806" y="480"/>
                    </a:lnTo>
                    <a:lnTo>
                      <a:pt x="2818" y="465"/>
                    </a:lnTo>
                    <a:lnTo>
                      <a:pt x="2826" y="447"/>
                    </a:lnTo>
                    <a:lnTo>
                      <a:pt x="2837" y="442"/>
                    </a:lnTo>
                    <a:lnTo>
                      <a:pt x="2850" y="443"/>
                    </a:lnTo>
                    <a:lnTo>
                      <a:pt x="2855" y="462"/>
                    </a:lnTo>
                    <a:lnTo>
                      <a:pt x="2866" y="480"/>
                    </a:lnTo>
                    <a:lnTo>
                      <a:pt x="2896" y="505"/>
                    </a:lnTo>
                    <a:lnTo>
                      <a:pt x="2901" y="517"/>
                    </a:lnTo>
                    <a:lnTo>
                      <a:pt x="2907" y="554"/>
                    </a:lnTo>
                    <a:lnTo>
                      <a:pt x="2913" y="575"/>
                    </a:lnTo>
                    <a:lnTo>
                      <a:pt x="2914" y="592"/>
                    </a:lnTo>
                    <a:lnTo>
                      <a:pt x="2906" y="599"/>
                    </a:lnTo>
                    <a:lnTo>
                      <a:pt x="2897" y="597"/>
                    </a:lnTo>
                    <a:lnTo>
                      <a:pt x="2893" y="592"/>
                    </a:lnTo>
                    <a:lnTo>
                      <a:pt x="2893" y="575"/>
                    </a:lnTo>
                    <a:lnTo>
                      <a:pt x="2884" y="598"/>
                    </a:lnTo>
                    <a:lnTo>
                      <a:pt x="2887" y="615"/>
                    </a:lnTo>
                    <a:lnTo>
                      <a:pt x="2884" y="631"/>
                    </a:lnTo>
                    <a:lnTo>
                      <a:pt x="2884" y="641"/>
                    </a:lnTo>
                    <a:lnTo>
                      <a:pt x="2895" y="663"/>
                    </a:lnTo>
                    <a:lnTo>
                      <a:pt x="2900" y="677"/>
                    </a:lnTo>
                    <a:lnTo>
                      <a:pt x="2908" y="689"/>
                    </a:lnTo>
                    <a:lnTo>
                      <a:pt x="2930" y="732"/>
                    </a:lnTo>
                    <a:lnTo>
                      <a:pt x="2936" y="737"/>
                    </a:lnTo>
                    <a:lnTo>
                      <a:pt x="2944" y="746"/>
                    </a:lnTo>
                    <a:lnTo>
                      <a:pt x="2954" y="741"/>
                    </a:lnTo>
                    <a:lnTo>
                      <a:pt x="2955" y="732"/>
                    </a:lnTo>
                    <a:lnTo>
                      <a:pt x="2957" y="721"/>
                    </a:lnTo>
                    <a:lnTo>
                      <a:pt x="2966" y="716"/>
                    </a:lnTo>
                    <a:lnTo>
                      <a:pt x="2971" y="721"/>
                    </a:lnTo>
                    <a:lnTo>
                      <a:pt x="2974" y="715"/>
                    </a:lnTo>
                    <a:lnTo>
                      <a:pt x="2977" y="720"/>
                    </a:lnTo>
                    <a:lnTo>
                      <a:pt x="2983" y="721"/>
                    </a:lnTo>
                    <a:lnTo>
                      <a:pt x="2987" y="699"/>
                    </a:lnTo>
                    <a:lnTo>
                      <a:pt x="2987" y="679"/>
                    </a:lnTo>
                    <a:lnTo>
                      <a:pt x="2988" y="673"/>
                    </a:lnTo>
                    <a:lnTo>
                      <a:pt x="2997" y="653"/>
                    </a:lnTo>
                    <a:lnTo>
                      <a:pt x="3009" y="640"/>
                    </a:lnTo>
                    <a:lnTo>
                      <a:pt x="3020" y="607"/>
                    </a:lnTo>
                    <a:lnTo>
                      <a:pt x="3021" y="592"/>
                    </a:lnTo>
                    <a:lnTo>
                      <a:pt x="3027" y="586"/>
                    </a:lnTo>
                    <a:lnTo>
                      <a:pt x="3030" y="545"/>
                    </a:lnTo>
                    <a:lnTo>
                      <a:pt x="3029" y="538"/>
                    </a:lnTo>
                    <a:lnTo>
                      <a:pt x="3035" y="531"/>
                    </a:lnTo>
                    <a:lnTo>
                      <a:pt x="3047" y="529"/>
                    </a:lnTo>
                    <a:lnTo>
                      <a:pt x="3049" y="523"/>
                    </a:lnTo>
                    <a:lnTo>
                      <a:pt x="3054" y="524"/>
                    </a:lnTo>
                    <a:lnTo>
                      <a:pt x="3064" y="520"/>
                    </a:lnTo>
                    <a:lnTo>
                      <a:pt x="3076" y="524"/>
                    </a:lnTo>
                    <a:lnTo>
                      <a:pt x="3087" y="522"/>
                    </a:lnTo>
                    <a:lnTo>
                      <a:pt x="3083" y="517"/>
                    </a:lnTo>
                    <a:lnTo>
                      <a:pt x="3069" y="515"/>
                    </a:lnTo>
                    <a:lnTo>
                      <a:pt x="3064" y="507"/>
                    </a:lnTo>
                    <a:lnTo>
                      <a:pt x="3068" y="501"/>
                    </a:lnTo>
                    <a:lnTo>
                      <a:pt x="3065" y="496"/>
                    </a:lnTo>
                    <a:lnTo>
                      <a:pt x="3075" y="496"/>
                    </a:lnTo>
                    <a:lnTo>
                      <a:pt x="3074" y="488"/>
                    </a:lnTo>
                    <a:lnTo>
                      <a:pt x="3079" y="485"/>
                    </a:lnTo>
                    <a:lnTo>
                      <a:pt x="3090" y="489"/>
                    </a:lnTo>
                    <a:lnTo>
                      <a:pt x="3087" y="479"/>
                    </a:lnTo>
                    <a:lnTo>
                      <a:pt x="3080" y="479"/>
                    </a:lnTo>
                    <a:lnTo>
                      <a:pt x="3073" y="469"/>
                    </a:lnTo>
                    <a:lnTo>
                      <a:pt x="3059" y="465"/>
                    </a:lnTo>
                    <a:lnTo>
                      <a:pt x="3052" y="456"/>
                    </a:lnTo>
                    <a:lnTo>
                      <a:pt x="3047" y="442"/>
                    </a:lnTo>
                    <a:lnTo>
                      <a:pt x="3048" y="431"/>
                    </a:lnTo>
                    <a:lnTo>
                      <a:pt x="3049" y="426"/>
                    </a:lnTo>
                    <a:lnTo>
                      <a:pt x="3046" y="410"/>
                    </a:lnTo>
                    <a:lnTo>
                      <a:pt x="3048" y="400"/>
                    </a:lnTo>
                    <a:lnTo>
                      <a:pt x="3044" y="386"/>
                    </a:lnTo>
                    <a:lnTo>
                      <a:pt x="3046" y="381"/>
                    </a:lnTo>
                    <a:lnTo>
                      <a:pt x="3048" y="371"/>
                    </a:lnTo>
                    <a:lnTo>
                      <a:pt x="3048" y="360"/>
                    </a:lnTo>
                    <a:lnTo>
                      <a:pt x="3067" y="365"/>
                    </a:lnTo>
                    <a:lnTo>
                      <a:pt x="3075" y="356"/>
                    </a:lnTo>
                    <a:lnTo>
                      <a:pt x="3097" y="355"/>
                    </a:lnTo>
                    <a:lnTo>
                      <a:pt x="3116" y="360"/>
                    </a:lnTo>
                    <a:lnTo>
                      <a:pt x="3126" y="371"/>
                    </a:lnTo>
                    <a:lnTo>
                      <a:pt x="3150" y="384"/>
                    </a:lnTo>
                    <a:lnTo>
                      <a:pt x="3173" y="381"/>
                    </a:lnTo>
                    <a:lnTo>
                      <a:pt x="3181" y="386"/>
                    </a:lnTo>
                    <a:lnTo>
                      <a:pt x="3192" y="383"/>
                    </a:lnTo>
                    <a:lnTo>
                      <a:pt x="3200" y="378"/>
                    </a:lnTo>
                    <a:lnTo>
                      <a:pt x="3205" y="386"/>
                    </a:lnTo>
                    <a:lnTo>
                      <a:pt x="3205" y="403"/>
                    </a:lnTo>
                    <a:lnTo>
                      <a:pt x="3207" y="411"/>
                    </a:lnTo>
                    <a:lnTo>
                      <a:pt x="3198" y="415"/>
                    </a:lnTo>
                    <a:lnTo>
                      <a:pt x="3205" y="415"/>
                    </a:lnTo>
                    <a:lnTo>
                      <a:pt x="3216" y="431"/>
                    </a:lnTo>
                    <a:lnTo>
                      <a:pt x="3224" y="445"/>
                    </a:lnTo>
                    <a:lnTo>
                      <a:pt x="3220" y="451"/>
                    </a:lnTo>
                    <a:lnTo>
                      <a:pt x="3223" y="453"/>
                    </a:lnTo>
                    <a:lnTo>
                      <a:pt x="3251" y="451"/>
                    </a:lnTo>
                    <a:lnTo>
                      <a:pt x="3259" y="458"/>
                    </a:lnTo>
                    <a:lnTo>
                      <a:pt x="3269" y="461"/>
                    </a:lnTo>
                    <a:lnTo>
                      <a:pt x="3272" y="470"/>
                    </a:lnTo>
                    <a:lnTo>
                      <a:pt x="3262" y="484"/>
                    </a:lnTo>
                    <a:lnTo>
                      <a:pt x="3246" y="496"/>
                    </a:lnTo>
                    <a:lnTo>
                      <a:pt x="3240" y="508"/>
                    </a:lnTo>
                    <a:lnTo>
                      <a:pt x="3272" y="513"/>
                    </a:lnTo>
                    <a:lnTo>
                      <a:pt x="3277" y="526"/>
                    </a:lnTo>
                    <a:lnTo>
                      <a:pt x="3275" y="542"/>
                    </a:lnTo>
                    <a:lnTo>
                      <a:pt x="3271" y="549"/>
                    </a:lnTo>
                    <a:lnTo>
                      <a:pt x="3258" y="558"/>
                    </a:lnTo>
                    <a:lnTo>
                      <a:pt x="3252" y="559"/>
                    </a:lnTo>
                    <a:lnTo>
                      <a:pt x="3246" y="570"/>
                    </a:lnTo>
                    <a:lnTo>
                      <a:pt x="3242" y="577"/>
                    </a:lnTo>
                    <a:lnTo>
                      <a:pt x="3236" y="571"/>
                    </a:lnTo>
                    <a:lnTo>
                      <a:pt x="3232" y="556"/>
                    </a:lnTo>
                    <a:lnTo>
                      <a:pt x="3225" y="559"/>
                    </a:lnTo>
                    <a:lnTo>
                      <a:pt x="3223" y="566"/>
                    </a:lnTo>
                    <a:lnTo>
                      <a:pt x="3208" y="559"/>
                    </a:lnTo>
                    <a:lnTo>
                      <a:pt x="3207" y="569"/>
                    </a:lnTo>
                    <a:lnTo>
                      <a:pt x="3220" y="588"/>
                    </a:lnTo>
                    <a:lnTo>
                      <a:pt x="3215" y="592"/>
                    </a:lnTo>
                    <a:lnTo>
                      <a:pt x="3215" y="596"/>
                    </a:lnTo>
                    <a:lnTo>
                      <a:pt x="3221" y="597"/>
                    </a:lnTo>
                    <a:lnTo>
                      <a:pt x="3221" y="605"/>
                    </a:lnTo>
                    <a:lnTo>
                      <a:pt x="3220" y="613"/>
                    </a:lnTo>
                    <a:lnTo>
                      <a:pt x="3239" y="604"/>
                    </a:lnTo>
                    <a:lnTo>
                      <a:pt x="3232" y="620"/>
                    </a:lnTo>
                    <a:lnTo>
                      <a:pt x="3230" y="637"/>
                    </a:lnTo>
                    <a:lnTo>
                      <a:pt x="3231" y="651"/>
                    </a:lnTo>
                    <a:lnTo>
                      <a:pt x="3257" y="688"/>
                    </a:lnTo>
                    <a:lnTo>
                      <a:pt x="3268" y="699"/>
                    </a:lnTo>
                    <a:lnTo>
                      <a:pt x="3275" y="711"/>
                    </a:lnTo>
                    <a:lnTo>
                      <a:pt x="3275" y="717"/>
                    </a:lnTo>
                    <a:lnTo>
                      <a:pt x="3271" y="723"/>
                    </a:lnTo>
                    <a:lnTo>
                      <a:pt x="3271" y="738"/>
                    </a:lnTo>
                    <a:lnTo>
                      <a:pt x="3274" y="748"/>
                    </a:lnTo>
                    <a:lnTo>
                      <a:pt x="3268" y="755"/>
                    </a:lnTo>
                    <a:lnTo>
                      <a:pt x="3268" y="764"/>
                    </a:lnTo>
                    <a:lnTo>
                      <a:pt x="3255" y="770"/>
                    </a:lnTo>
                    <a:lnTo>
                      <a:pt x="3248" y="776"/>
                    </a:lnTo>
                    <a:lnTo>
                      <a:pt x="3236" y="790"/>
                    </a:lnTo>
                    <a:lnTo>
                      <a:pt x="3235" y="798"/>
                    </a:lnTo>
                    <a:lnTo>
                      <a:pt x="3230" y="807"/>
                    </a:lnTo>
                    <a:lnTo>
                      <a:pt x="3202" y="835"/>
                    </a:lnTo>
                    <a:lnTo>
                      <a:pt x="3183" y="840"/>
                    </a:lnTo>
                    <a:lnTo>
                      <a:pt x="3180" y="851"/>
                    </a:lnTo>
                    <a:lnTo>
                      <a:pt x="3170" y="863"/>
                    </a:lnTo>
                    <a:lnTo>
                      <a:pt x="3162" y="863"/>
                    </a:lnTo>
                    <a:lnTo>
                      <a:pt x="3157" y="859"/>
                    </a:lnTo>
                    <a:lnTo>
                      <a:pt x="3155" y="851"/>
                    </a:lnTo>
                    <a:lnTo>
                      <a:pt x="3134" y="831"/>
                    </a:lnTo>
                    <a:lnTo>
                      <a:pt x="3126" y="819"/>
                    </a:lnTo>
                    <a:lnTo>
                      <a:pt x="3119" y="827"/>
                    </a:lnTo>
                    <a:lnTo>
                      <a:pt x="3121" y="836"/>
                    </a:lnTo>
                    <a:lnTo>
                      <a:pt x="3133" y="855"/>
                    </a:lnTo>
                    <a:lnTo>
                      <a:pt x="3134" y="868"/>
                    </a:lnTo>
                    <a:lnTo>
                      <a:pt x="3140" y="886"/>
                    </a:lnTo>
                    <a:lnTo>
                      <a:pt x="3140" y="892"/>
                    </a:lnTo>
                    <a:lnTo>
                      <a:pt x="3139" y="886"/>
                    </a:lnTo>
                    <a:lnTo>
                      <a:pt x="3128" y="884"/>
                    </a:lnTo>
                    <a:lnTo>
                      <a:pt x="3114" y="870"/>
                    </a:lnTo>
                    <a:lnTo>
                      <a:pt x="3106" y="866"/>
                    </a:lnTo>
                    <a:lnTo>
                      <a:pt x="3103" y="863"/>
                    </a:lnTo>
                    <a:lnTo>
                      <a:pt x="3100" y="863"/>
                    </a:lnTo>
                    <a:lnTo>
                      <a:pt x="3100" y="887"/>
                    </a:lnTo>
                    <a:lnTo>
                      <a:pt x="3084" y="881"/>
                    </a:lnTo>
                    <a:lnTo>
                      <a:pt x="3076" y="882"/>
                    </a:lnTo>
                    <a:lnTo>
                      <a:pt x="3065" y="874"/>
                    </a:lnTo>
                    <a:lnTo>
                      <a:pt x="3063" y="879"/>
                    </a:lnTo>
                    <a:lnTo>
                      <a:pt x="3053" y="836"/>
                    </a:lnTo>
                    <a:lnTo>
                      <a:pt x="3044" y="835"/>
                    </a:lnTo>
                    <a:lnTo>
                      <a:pt x="3026" y="849"/>
                    </a:lnTo>
                    <a:lnTo>
                      <a:pt x="3025" y="846"/>
                    </a:lnTo>
                    <a:lnTo>
                      <a:pt x="3017" y="847"/>
                    </a:lnTo>
                    <a:lnTo>
                      <a:pt x="2990" y="838"/>
                    </a:lnTo>
                    <a:lnTo>
                      <a:pt x="2979" y="847"/>
                    </a:lnTo>
                    <a:lnTo>
                      <a:pt x="2981" y="854"/>
                    </a:lnTo>
                    <a:lnTo>
                      <a:pt x="2977" y="856"/>
                    </a:lnTo>
                    <a:lnTo>
                      <a:pt x="2979" y="865"/>
                    </a:lnTo>
                    <a:lnTo>
                      <a:pt x="3003" y="877"/>
                    </a:lnTo>
                    <a:lnTo>
                      <a:pt x="3011" y="878"/>
                    </a:lnTo>
                    <a:lnTo>
                      <a:pt x="3017" y="887"/>
                    </a:lnTo>
                    <a:lnTo>
                      <a:pt x="3015" y="895"/>
                    </a:lnTo>
                    <a:lnTo>
                      <a:pt x="3015" y="905"/>
                    </a:lnTo>
                    <a:lnTo>
                      <a:pt x="3011" y="909"/>
                    </a:lnTo>
                    <a:lnTo>
                      <a:pt x="3011" y="915"/>
                    </a:lnTo>
                    <a:lnTo>
                      <a:pt x="3009" y="921"/>
                    </a:lnTo>
                    <a:lnTo>
                      <a:pt x="3001" y="927"/>
                    </a:lnTo>
                    <a:lnTo>
                      <a:pt x="2994" y="944"/>
                    </a:lnTo>
                    <a:lnTo>
                      <a:pt x="2988" y="953"/>
                    </a:lnTo>
                    <a:lnTo>
                      <a:pt x="2981" y="960"/>
                    </a:lnTo>
                    <a:lnTo>
                      <a:pt x="2978" y="968"/>
                    </a:lnTo>
                    <a:lnTo>
                      <a:pt x="2967" y="973"/>
                    </a:lnTo>
                    <a:lnTo>
                      <a:pt x="2960" y="991"/>
                    </a:lnTo>
                    <a:lnTo>
                      <a:pt x="2956" y="996"/>
                    </a:lnTo>
                    <a:lnTo>
                      <a:pt x="2946" y="999"/>
                    </a:lnTo>
                    <a:lnTo>
                      <a:pt x="2909" y="1002"/>
                    </a:lnTo>
                    <a:lnTo>
                      <a:pt x="2906" y="994"/>
                    </a:lnTo>
                    <a:lnTo>
                      <a:pt x="2900" y="984"/>
                    </a:lnTo>
                    <a:lnTo>
                      <a:pt x="2869" y="958"/>
                    </a:lnTo>
                    <a:lnTo>
                      <a:pt x="2869" y="956"/>
                    </a:lnTo>
                    <a:lnTo>
                      <a:pt x="2847" y="947"/>
                    </a:lnTo>
                    <a:lnTo>
                      <a:pt x="2826" y="930"/>
                    </a:lnTo>
                    <a:lnTo>
                      <a:pt x="2818" y="929"/>
                    </a:lnTo>
                    <a:lnTo>
                      <a:pt x="2810" y="932"/>
                    </a:lnTo>
                    <a:lnTo>
                      <a:pt x="2794" y="927"/>
                    </a:lnTo>
                    <a:lnTo>
                      <a:pt x="2789" y="940"/>
                    </a:lnTo>
                    <a:lnTo>
                      <a:pt x="2807" y="951"/>
                    </a:lnTo>
                    <a:lnTo>
                      <a:pt x="2822" y="967"/>
                    </a:lnTo>
                    <a:lnTo>
                      <a:pt x="2833" y="986"/>
                    </a:lnTo>
                    <a:lnTo>
                      <a:pt x="2850" y="1002"/>
                    </a:lnTo>
                    <a:lnTo>
                      <a:pt x="2879" y="1006"/>
                    </a:lnTo>
                    <a:lnTo>
                      <a:pt x="2903" y="1016"/>
                    </a:lnTo>
                    <a:lnTo>
                      <a:pt x="2912" y="1011"/>
                    </a:lnTo>
                    <a:lnTo>
                      <a:pt x="2936" y="1012"/>
                    </a:lnTo>
                    <a:lnTo>
                      <a:pt x="2961" y="1016"/>
                    </a:lnTo>
                    <a:lnTo>
                      <a:pt x="2962" y="1021"/>
                    </a:lnTo>
                    <a:lnTo>
                      <a:pt x="2968" y="1019"/>
                    </a:lnTo>
                    <a:lnTo>
                      <a:pt x="2965" y="1032"/>
                    </a:lnTo>
                    <a:lnTo>
                      <a:pt x="2960" y="1040"/>
                    </a:lnTo>
                    <a:lnTo>
                      <a:pt x="2960" y="1050"/>
                    </a:lnTo>
                    <a:lnTo>
                      <a:pt x="2950" y="1062"/>
                    </a:lnTo>
                    <a:lnTo>
                      <a:pt x="2946" y="1081"/>
                    </a:lnTo>
                    <a:lnTo>
                      <a:pt x="2939" y="1085"/>
                    </a:lnTo>
                    <a:lnTo>
                      <a:pt x="2931" y="1104"/>
                    </a:lnTo>
                    <a:lnTo>
                      <a:pt x="2918" y="1110"/>
                    </a:lnTo>
                    <a:lnTo>
                      <a:pt x="2918" y="1125"/>
                    </a:lnTo>
                    <a:lnTo>
                      <a:pt x="2913" y="1131"/>
                    </a:lnTo>
                    <a:lnTo>
                      <a:pt x="2903" y="1153"/>
                    </a:lnTo>
                    <a:lnTo>
                      <a:pt x="2900" y="1151"/>
                    </a:lnTo>
                    <a:lnTo>
                      <a:pt x="2888" y="1164"/>
                    </a:lnTo>
                    <a:lnTo>
                      <a:pt x="2871" y="1174"/>
                    </a:lnTo>
                    <a:lnTo>
                      <a:pt x="2850" y="1169"/>
                    </a:lnTo>
                    <a:lnTo>
                      <a:pt x="2847" y="1177"/>
                    </a:lnTo>
                    <a:lnTo>
                      <a:pt x="2827" y="1162"/>
                    </a:lnTo>
                    <a:lnTo>
                      <a:pt x="2826" y="1166"/>
                    </a:lnTo>
                    <a:lnTo>
                      <a:pt x="2826" y="1170"/>
                    </a:lnTo>
                    <a:lnTo>
                      <a:pt x="2820" y="1159"/>
                    </a:lnTo>
                    <a:lnTo>
                      <a:pt x="2816" y="1162"/>
                    </a:lnTo>
                    <a:lnTo>
                      <a:pt x="2809" y="1156"/>
                    </a:lnTo>
                    <a:lnTo>
                      <a:pt x="2804" y="1155"/>
                    </a:lnTo>
                    <a:lnTo>
                      <a:pt x="2806" y="1162"/>
                    </a:lnTo>
                    <a:lnTo>
                      <a:pt x="2806" y="1170"/>
                    </a:lnTo>
                    <a:lnTo>
                      <a:pt x="2809" y="1180"/>
                    </a:lnTo>
                    <a:lnTo>
                      <a:pt x="2809" y="1182"/>
                    </a:lnTo>
                    <a:lnTo>
                      <a:pt x="2804" y="1182"/>
                    </a:lnTo>
                    <a:lnTo>
                      <a:pt x="2796" y="1178"/>
                    </a:lnTo>
                    <a:lnTo>
                      <a:pt x="2795" y="1189"/>
                    </a:lnTo>
                    <a:lnTo>
                      <a:pt x="2800" y="1196"/>
                    </a:lnTo>
                    <a:lnTo>
                      <a:pt x="2796" y="1201"/>
                    </a:lnTo>
                    <a:lnTo>
                      <a:pt x="2793" y="1215"/>
                    </a:lnTo>
                    <a:lnTo>
                      <a:pt x="2788" y="1222"/>
                    </a:lnTo>
                    <a:lnTo>
                      <a:pt x="2780" y="1222"/>
                    </a:lnTo>
                    <a:lnTo>
                      <a:pt x="2778" y="1229"/>
                    </a:lnTo>
                    <a:lnTo>
                      <a:pt x="2773" y="1231"/>
                    </a:lnTo>
                    <a:lnTo>
                      <a:pt x="2767" y="1228"/>
                    </a:lnTo>
                    <a:lnTo>
                      <a:pt x="2763" y="1237"/>
                    </a:lnTo>
                    <a:lnTo>
                      <a:pt x="2758" y="1229"/>
                    </a:lnTo>
                    <a:lnTo>
                      <a:pt x="2752" y="1227"/>
                    </a:lnTo>
                    <a:lnTo>
                      <a:pt x="2746" y="1221"/>
                    </a:lnTo>
                    <a:lnTo>
                      <a:pt x="2734" y="1216"/>
                    </a:lnTo>
                    <a:lnTo>
                      <a:pt x="2721" y="1205"/>
                    </a:lnTo>
                    <a:lnTo>
                      <a:pt x="2716" y="1209"/>
                    </a:lnTo>
                    <a:lnTo>
                      <a:pt x="2714" y="1195"/>
                    </a:lnTo>
                    <a:lnTo>
                      <a:pt x="2707" y="1204"/>
                    </a:lnTo>
                    <a:lnTo>
                      <a:pt x="2697" y="1205"/>
                    </a:lnTo>
                    <a:lnTo>
                      <a:pt x="2692" y="1200"/>
                    </a:lnTo>
                    <a:lnTo>
                      <a:pt x="2688" y="1204"/>
                    </a:lnTo>
                    <a:lnTo>
                      <a:pt x="2678" y="1204"/>
                    </a:lnTo>
                    <a:lnTo>
                      <a:pt x="2658" y="1195"/>
                    </a:lnTo>
                    <a:lnTo>
                      <a:pt x="2654" y="1189"/>
                    </a:lnTo>
                    <a:lnTo>
                      <a:pt x="2608" y="1167"/>
                    </a:lnTo>
                    <a:lnTo>
                      <a:pt x="2606" y="1170"/>
                    </a:lnTo>
                    <a:lnTo>
                      <a:pt x="2600" y="1182"/>
                    </a:lnTo>
                    <a:lnTo>
                      <a:pt x="2602" y="1189"/>
                    </a:lnTo>
                    <a:lnTo>
                      <a:pt x="2611" y="1195"/>
                    </a:lnTo>
                    <a:lnTo>
                      <a:pt x="2618" y="1191"/>
                    </a:lnTo>
                    <a:lnTo>
                      <a:pt x="2617" y="1186"/>
                    </a:lnTo>
                    <a:lnTo>
                      <a:pt x="2617" y="1180"/>
                    </a:lnTo>
                    <a:lnTo>
                      <a:pt x="2626" y="1189"/>
                    </a:lnTo>
                    <a:lnTo>
                      <a:pt x="2642" y="1194"/>
                    </a:lnTo>
                    <a:lnTo>
                      <a:pt x="2654" y="1200"/>
                    </a:lnTo>
                    <a:lnTo>
                      <a:pt x="2656" y="1205"/>
                    </a:lnTo>
                    <a:lnTo>
                      <a:pt x="2656" y="1211"/>
                    </a:lnTo>
                    <a:lnTo>
                      <a:pt x="2662" y="1202"/>
                    </a:lnTo>
                    <a:lnTo>
                      <a:pt x="2682" y="1209"/>
                    </a:lnTo>
                    <a:lnTo>
                      <a:pt x="2683" y="1215"/>
                    </a:lnTo>
                    <a:lnTo>
                      <a:pt x="2676" y="1220"/>
                    </a:lnTo>
                    <a:lnTo>
                      <a:pt x="2672" y="1227"/>
                    </a:lnTo>
                    <a:lnTo>
                      <a:pt x="2678" y="1228"/>
                    </a:lnTo>
                    <a:lnTo>
                      <a:pt x="2682" y="1220"/>
                    </a:lnTo>
                    <a:lnTo>
                      <a:pt x="2689" y="1213"/>
                    </a:lnTo>
                    <a:lnTo>
                      <a:pt x="2701" y="1211"/>
                    </a:lnTo>
                    <a:lnTo>
                      <a:pt x="2709" y="1215"/>
                    </a:lnTo>
                    <a:lnTo>
                      <a:pt x="2712" y="1222"/>
                    </a:lnTo>
                    <a:lnTo>
                      <a:pt x="2724" y="1233"/>
                    </a:lnTo>
                    <a:lnTo>
                      <a:pt x="2737" y="1237"/>
                    </a:lnTo>
                    <a:lnTo>
                      <a:pt x="2740" y="1242"/>
                    </a:lnTo>
                    <a:lnTo>
                      <a:pt x="2748" y="1238"/>
                    </a:lnTo>
                    <a:lnTo>
                      <a:pt x="2751" y="1243"/>
                    </a:lnTo>
                    <a:lnTo>
                      <a:pt x="2750" y="1248"/>
                    </a:lnTo>
                    <a:lnTo>
                      <a:pt x="2758" y="1258"/>
                    </a:lnTo>
                    <a:lnTo>
                      <a:pt x="2759" y="1264"/>
                    </a:lnTo>
                    <a:lnTo>
                      <a:pt x="2764" y="1287"/>
                    </a:lnTo>
                    <a:lnTo>
                      <a:pt x="2763" y="1298"/>
                    </a:lnTo>
                    <a:lnTo>
                      <a:pt x="2761" y="1304"/>
                    </a:lnTo>
                    <a:lnTo>
                      <a:pt x="2756" y="1311"/>
                    </a:lnTo>
                    <a:lnTo>
                      <a:pt x="2734" y="1311"/>
                    </a:lnTo>
                    <a:lnTo>
                      <a:pt x="2726" y="1318"/>
                    </a:lnTo>
                    <a:lnTo>
                      <a:pt x="2719" y="1322"/>
                    </a:lnTo>
                    <a:lnTo>
                      <a:pt x="2708" y="1323"/>
                    </a:lnTo>
                    <a:lnTo>
                      <a:pt x="2685" y="1320"/>
                    </a:lnTo>
                    <a:lnTo>
                      <a:pt x="2676" y="1323"/>
                    </a:lnTo>
                    <a:lnTo>
                      <a:pt x="2665" y="1319"/>
                    </a:lnTo>
                    <a:lnTo>
                      <a:pt x="2661" y="1326"/>
                    </a:lnTo>
                    <a:lnTo>
                      <a:pt x="2670" y="1341"/>
                    </a:lnTo>
                    <a:lnTo>
                      <a:pt x="2686" y="1340"/>
                    </a:lnTo>
                    <a:lnTo>
                      <a:pt x="2688" y="1347"/>
                    </a:lnTo>
                    <a:lnTo>
                      <a:pt x="2676" y="1351"/>
                    </a:lnTo>
                    <a:lnTo>
                      <a:pt x="2667" y="1347"/>
                    </a:lnTo>
                    <a:lnTo>
                      <a:pt x="2655" y="1349"/>
                    </a:lnTo>
                    <a:lnTo>
                      <a:pt x="2651" y="1368"/>
                    </a:lnTo>
                    <a:lnTo>
                      <a:pt x="2651" y="1379"/>
                    </a:lnTo>
                    <a:lnTo>
                      <a:pt x="2656" y="1410"/>
                    </a:lnTo>
                    <a:lnTo>
                      <a:pt x="2639" y="1390"/>
                    </a:lnTo>
                    <a:lnTo>
                      <a:pt x="2633" y="1393"/>
                    </a:lnTo>
                    <a:lnTo>
                      <a:pt x="2634" y="1400"/>
                    </a:lnTo>
                    <a:lnTo>
                      <a:pt x="2626" y="1406"/>
                    </a:lnTo>
                    <a:lnTo>
                      <a:pt x="2626" y="1414"/>
                    </a:lnTo>
                    <a:lnTo>
                      <a:pt x="2622" y="1421"/>
                    </a:lnTo>
                    <a:lnTo>
                      <a:pt x="2621" y="1426"/>
                    </a:lnTo>
                    <a:lnTo>
                      <a:pt x="2605" y="1426"/>
                    </a:lnTo>
                    <a:lnTo>
                      <a:pt x="2608" y="1437"/>
                    </a:lnTo>
                    <a:lnTo>
                      <a:pt x="2613" y="1441"/>
                    </a:lnTo>
                    <a:lnTo>
                      <a:pt x="2603" y="1459"/>
                    </a:lnTo>
                    <a:lnTo>
                      <a:pt x="2581" y="1475"/>
                    </a:lnTo>
                    <a:lnTo>
                      <a:pt x="2575" y="1482"/>
                    </a:lnTo>
                    <a:lnTo>
                      <a:pt x="2551" y="1484"/>
                    </a:lnTo>
                    <a:lnTo>
                      <a:pt x="2546" y="1489"/>
                    </a:lnTo>
                    <a:lnTo>
                      <a:pt x="2568" y="1506"/>
                    </a:lnTo>
                    <a:lnTo>
                      <a:pt x="2568" y="1512"/>
                    </a:lnTo>
                    <a:lnTo>
                      <a:pt x="2565" y="1524"/>
                    </a:lnTo>
                    <a:lnTo>
                      <a:pt x="2563" y="1538"/>
                    </a:lnTo>
                    <a:lnTo>
                      <a:pt x="2560" y="1544"/>
                    </a:lnTo>
                    <a:lnTo>
                      <a:pt x="2549" y="1548"/>
                    </a:lnTo>
                    <a:lnTo>
                      <a:pt x="2551" y="1573"/>
                    </a:lnTo>
                    <a:lnTo>
                      <a:pt x="2547" y="1583"/>
                    </a:lnTo>
                    <a:lnTo>
                      <a:pt x="2540" y="1584"/>
                    </a:lnTo>
                    <a:lnTo>
                      <a:pt x="2537" y="1589"/>
                    </a:lnTo>
                    <a:lnTo>
                      <a:pt x="2541" y="1605"/>
                    </a:lnTo>
                    <a:lnTo>
                      <a:pt x="2538" y="1632"/>
                    </a:lnTo>
                    <a:lnTo>
                      <a:pt x="2537" y="1642"/>
                    </a:lnTo>
                    <a:lnTo>
                      <a:pt x="2533" y="1675"/>
                    </a:lnTo>
                    <a:lnTo>
                      <a:pt x="2533" y="1702"/>
                    </a:lnTo>
                    <a:lnTo>
                      <a:pt x="2535" y="1718"/>
                    </a:lnTo>
                    <a:lnTo>
                      <a:pt x="2535" y="1729"/>
                    </a:lnTo>
                    <a:lnTo>
                      <a:pt x="2525" y="1747"/>
                    </a:lnTo>
                    <a:lnTo>
                      <a:pt x="2533" y="1749"/>
                    </a:lnTo>
                    <a:lnTo>
                      <a:pt x="2537" y="1758"/>
                    </a:lnTo>
                    <a:lnTo>
                      <a:pt x="2545" y="1770"/>
                    </a:lnTo>
                    <a:lnTo>
                      <a:pt x="2551" y="1776"/>
                    </a:lnTo>
                    <a:lnTo>
                      <a:pt x="2552" y="1776"/>
                    </a:lnTo>
                    <a:lnTo>
                      <a:pt x="2558" y="1772"/>
                    </a:lnTo>
                    <a:lnTo>
                      <a:pt x="2559" y="1779"/>
                    </a:lnTo>
                    <a:lnTo>
                      <a:pt x="2560" y="1802"/>
                    </a:lnTo>
                    <a:lnTo>
                      <a:pt x="2564" y="1797"/>
                    </a:lnTo>
                    <a:lnTo>
                      <a:pt x="2564" y="1775"/>
                    </a:lnTo>
                    <a:lnTo>
                      <a:pt x="2568" y="1772"/>
                    </a:lnTo>
                    <a:lnTo>
                      <a:pt x="2596" y="1772"/>
                    </a:lnTo>
                    <a:lnTo>
                      <a:pt x="2601" y="1776"/>
                    </a:lnTo>
                    <a:lnTo>
                      <a:pt x="2608" y="1776"/>
                    </a:lnTo>
                    <a:lnTo>
                      <a:pt x="2613" y="1774"/>
                    </a:lnTo>
                    <a:lnTo>
                      <a:pt x="2622" y="1779"/>
                    </a:lnTo>
                    <a:lnTo>
                      <a:pt x="2624" y="1785"/>
                    </a:lnTo>
                    <a:lnTo>
                      <a:pt x="2628" y="1812"/>
                    </a:lnTo>
                    <a:lnTo>
                      <a:pt x="2646" y="1856"/>
                    </a:lnTo>
                    <a:lnTo>
                      <a:pt x="2646" y="1876"/>
                    </a:lnTo>
                    <a:lnTo>
                      <a:pt x="2648" y="1890"/>
                    </a:lnTo>
                    <a:lnTo>
                      <a:pt x="2660" y="1909"/>
                    </a:lnTo>
                    <a:lnTo>
                      <a:pt x="2662" y="1936"/>
                    </a:lnTo>
                    <a:lnTo>
                      <a:pt x="2661" y="1944"/>
                    </a:lnTo>
                    <a:lnTo>
                      <a:pt x="2658" y="1953"/>
                    </a:lnTo>
                    <a:lnTo>
                      <a:pt x="2650" y="1959"/>
                    </a:lnTo>
                    <a:lnTo>
                      <a:pt x="2644" y="1964"/>
                    </a:lnTo>
                    <a:lnTo>
                      <a:pt x="2645" y="1966"/>
                    </a:lnTo>
                    <a:lnTo>
                      <a:pt x="2666" y="1955"/>
                    </a:lnTo>
                    <a:lnTo>
                      <a:pt x="2666" y="1964"/>
                    </a:lnTo>
                    <a:lnTo>
                      <a:pt x="2670" y="1964"/>
                    </a:lnTo>
                    <a:lnTo>
                      <a:pt x="2686" y="1952"/>
                    </a:lnTo>
                    <a:lnTo>
                      <a:pt x="2734" y="1930"/>
                    </a:lnTo>
                    <a:lnTo>
                      <a:pt x="2756" y="1936"/>
                    </a:lnTo>
                    <a:lnTo>
                      <a:pt x="2762" y="1942"/>
                    </a:lnTo>
                    <a:lnTo>
                      <a:pt x="2774" y="1948"/>
                    </a:lnTo>
                    <a:lnTo>
                      <a:pt x="2779" y="1957"/>
                    </a:lnTo>
                    <a:lnTo>
                      <a:pt x="2796" y="1964"/>
                    </a:lnTo>
                    <a:lnTo>
                      <a:pt x="2821" y="1976"/>
                    </a:lnTo>
                    <a:lnTo>
                      <a:pt x="2842" y="1977"/>
                    </a:lnTo>
                    <a:lnTo>
                      <a:pt x="2847" y="1980"/>
                    </a:lnTo>
                    <a:lnTo>
                      <a:pt x="2885" y="2006"/>
                    </a:lnTo>
                    <a:lnTo>
                      <a:pt x="2900" y="2012"/>
                    </a:lnTo>
                    <a:lnTo>
                      <a:pt x="2920" y="2043"/>
                    </a:lnTo>
                    <a:lnTo>
                      <a:pt x="2924" y="2049"/>
                    </a:lnTo>
                    <a:lnTo>
                      <a:pt x="2923" y="2056"/>
                    </a:lnTo>
                    <a:lnTo>
                      <a:pt x="2929" y="2061"/>
                    </a:lnTo>
                    <a:lnTo>
                      <a:pt x="2934" y="2057"/>
                    </a:lnTo>
                    <a:lnTo>
                      <a:pt x="2939" y="2060"/>
                    </a:lnTo>
                    <a:lnTo>
                      <a:pt x="2943" y="2065"/>
                    </a:lnTo>
                    <a:lnTo>
                      <a:pt x="2950" y="2066"/>
                    </a:lnTo>
                    <a:lnTo>
                      <a:pt x="2958" y="2065"/>
                    </a:lnTo>
                    <a:lnTo>
                      <a:pt x="2966" y="2066"/>
                    </a:lnTo>
                    <a:lnTo>
                      <a:pt x="2978" y="2076"/>
                    </a:lnTo>
                    <a:lnTo>
                      <a:pt x="3020" y="2089"/>
                    </a:lnTo>
                    <a:lnTo>
                      <a:pt x="3032" y="2099"/>
                    </a:lnTo>
                    <a:lnTo>
                      <a:pt x="3035" y="2106"/>
                    </a:lnTo>
                    <a:lnTo>
                      <a:pt x="3051" y="2116"/>
                    </a:lnTo>
                    <a:lnTo>
                      <a:pt x="3052" y="2122"/>
                    </a:lnTo>
                    <a:lnTo>
                      <a:pt x="3046" y="2137"/>
                    </a:lnTo>
                    <a:lnTo>
                      <a:pt x="3042" y="2149"/>
                    </a:lnTo>
                    <a:lnTo>
                      <a:pt x="3033" y="2169"/>
                    </a:lnTo>
                    <a:lnTo>
                      <a:pt x="3046" y="2148"/>
                    </a:lnTo>
                    <a:lnTo>
                      <a:pt x="3051" y="2136"/>
                    </a:lnTo>
                    <a:lnTo>
                      <a:pt x="3056" y="2127"/>
                    </a:lnTo>
                    <a:lnTo>
                      <a:pt x="3112" y="2126"/>
                    </a:lnTo>
                    <a:lnTo>
                      <a:pt x="3139" y="2132"/>
                    </a:lnTo>
                    <a:lnTo>
                      <a:pt x="3160" y="2130"/>
                    </a:lnTo>
                    <a:lnTo>
                      <a:pt x="3166" y="2131"/>
                    </a:lnTo>
                    <a:lnTo>
                      <a:pt x="3171" y="2127"/>
                    </a:lnTo>
                    <a:lnTo>
                      <a:pt x="3182" y="2130"/>
                    </a:lnTo>
                    <a:lnTo>
                      <a:pt x="3185" y="2137"/>
                    </a:lnTo>
                    <a:lnTo>
                      <a:pt x="3193" y="2136"/>
                    </a:lnTo>
                    <a:lnTo>
                      <a:pt x="3203" y="2140"/>
                    </a:lnTo>
                    <a:lnTo>
                      <a:pt x="3210" y="2145"/>
                    </a:lnTo>
                    <a:lnTo>
                      <a:pt x="3216" y="2141"/>
                    </a:lnTo>
                    <a:lnTo>
                      <a:pt x="3221" y="2165"/>
                    </a:lnTo>
                    <a:lnTo>
                      <a:pt x="3219" y="2199"/>
                    </a:lnTo>
                    <a:lnTo>
                      <a:pt x="3214" y="2217"/>
                    </a:lnTo>
                    <a:lnTo>
                      <a:pt x="3213" y="2235"/>
                    </a:lnTo>
                    <a:lnTo>
                      <a:pt x="3219" y="2246"/>
                    </a:lnTo>
                    <a:lnTo>
                      <a:pt x="3221" y="2258"/>
                    </a:lnTo>
                    <a:lnTo>
                      <a:pt x="3221" y="2281"/>
                    </a:lnTo>
                    <a:lnTo>
                      <a:pt x="3225" y="2314"/>
                    </a:lnTo>
                    <a:lnTo>
                      <a:pt x="3219" y="2321"/>
                    </a:lnTo>
                    <a:lnTo>
                      <a:pt x="3219" y="2341"/>
                    </a:lnTo>
                    <a:lnTo>
                      <a:pt x="3223" y="2348"/>
                    </a:lnTo>
                    <a:lnTo>
                      <a:pt x="3228" y="2352"/>
                    </a:lnTo>
                    <a:lnTo>
                      <a:pt x="3230" y="2358"/>
                    </a:lnTo>
                    <a:lnTo>
                      <a:pt x="3239" y="2369"/>
                    </a:lnTo>
                    <a:lnTo>
                      <a:pt x="3247" y="2373"/>
                    </a:lnTo>
                    <a:lnTo>
                      <a:pt x="3255" y="2382"/>
                    </a:lnTo>
                    <a:lnTo>
                      <a:pt x="3259" y="2393"/>
                    </a:lnTo>
                    <a:lnTo>
                      <a:pt x="3267" y="2402"/>
                    </a:lnTo>
                    <a:lnTo>
                      <a:pt x="3267" y="2405"/>
                    </a:lnTo>
                    <a:lnTo>
                      <a:pt x="3253" y="2406"/>
                    </a:lnTo>
                    <a:lnTo>
                      <a:pt x="3234" y="2418"/>
                    </a:lnTo>
                    <a:lnTo>
                      <a:pt x="3229" y="2423"/>
                    </a:lnTo>
                    <a:lnTo>
                      <a:pt x="3229" y="2425"/>
                    </a:lnTo>
                    <a:lnTo>
                      <a:pt x="3262" y="2416"/>
                    </a:lnTo>
                    <a:lnTo>
                      <a:pt x="3272" y="2417"/>
                    </a:lnTo>
                    <a:lnTo>
                      <a:pt x="3279" y="2421"/>
                    </a:lnTo>
                    <a:lnTo>
                      <a:pt x="3307" y="2450"/>
                    </a:lnTo>
                    <a:lnTo>
                      <a:pt x="3312" y="2459"/>
                    </a:lnTo>
                    <a:lnTo>
                      <a:pt x="3317" y="2477"/>
                    </a:lnTo>
                    <a:lnTo>
                      <a:pt x="3314" y="2486"/>
                    </a:lnTo>
                    <a:lnTo>
                      <a:pt x="3289" y="2514"/>
                    </a:lnTo>
                    <a:lnTo>
                      <a:pt x="3314" y="2495"/>
                    </a:lnTo>
                    <a:lnTo>
                      <a:pt x="3318" y="2488"/>
                    </a:lnTo>
                    <a:lnTo>
                      <a:pt x="3323" y="2488"/>
                    </a:lnTo>
                    <a:lnTo>
                      <a:pt x="3337" y="2500"/>
                    </a:lnTo>
                    <a:lnTo>
                      <a:pt x="3344" y="2501"/>
                    </a:lnTo>
                    <a:lnTo>
                      <a:pt x="3359" y="2512"/>
                    </a:lnTo>
                    <a:lnTo>
                      <a:pt x="3363" y="2509"/>
                    </a:lnTo>
                    <a:lnTo>
                      <a:pt x="3360" y="2482"/>
                    </a:lnTo>
                    <a:lnTo>
                      <a:pt x="3363" y="2476"/>
                    </a:lnTo>
                    <a:lnTo>
                      <a:pt x="3370" y="2476"/>
                    </a:lnTo>
                    <a:lnTo>
                      <a:pt x="3370" y="2470"/>
                    </a:lnTo>
                    <a:lnTo>
                      <a:pt x="3371" y="2464"/>
                    </a:lnTo>
                    <a:lnTo>
                      <a:pt x="3379" y="2461"/>
                    </a:lnTo>
                    <a:lnTo>
                      <a:pt x="3386" y="2461"/>
                    </a:lnTo>
                    <a:lnTo>
                      <a:pt x="3386" y="2466"/>
                    </a:lnTo>
                    <a:lnTo>
                      <a:pt x="3399" y="2475"/>
                    </a:lnTo>
                    <a:lnTo>
                      <a:pt x="3402" y="2495"/>
                    </a:lnTo>
                    <a:lnTo>
                      <a:pt x="3408" y="2493"/>
                    </a:lnTo>
                    <a:lnTo>
                      <a:pt x="3415" y="2487"/>
                    </a:lnTo>
                    <a:lnTo>
                      <a:pt x="3415" y="2481"/>
                    </a:lnTo>
                    <a:lnTo>
                      <a:pt x="3419" y="2477"/>
                    </a:lnTo>
                    <a:lnTo>
                      <a:pt x="3420" y="2470"/>
                    </a:lnTo>
                    <a:lnTo>
                      <a:pt x="3412" y="2468"/>
                    </a:lnTo>
                    <a:lnTo>
                      <a:pt x="3401" y="2450"/>
                    </a:lnTo>
                    <a:lnTo>
                      <a:pt x="3399" y="2443"/>
                    </a:lnTo>
                    <a:lnTo>
                      <a:pt x="3412" y="2442"/>
                    </a:lnTo>
                    <a:lnTo>
                      <a:pt x="3412" y="2437"/>
                    </a:lnTo>
                    <a:lnTo>
                      <a:pt x="3420" y="2432"/>
                    </a:lnTo>
                    <a:lnTo>
                      <a:pt x="3424" y="2421"/>
                    </a:lnTo>
                    <a:lnTo>
                      <a:pt x="3429" y="2415"/>
                    </a:lnTo>
                    <a:lnTo>
                      <a:pt x="3435" y="2410"/>
                    </a:lnTo>
                    <a:lnTo>
                      <a:pt x="3454" y="2411"/>
                    </a:lnTo>
                    <a:lnTo>
                      <a:pt x="3460" y="2407"/>
                    </a:lnTo>
                    <a:lnTo>
                      <a:pt x="3460" y="2405"/>
                    </a:lnTo>
                    <a:lnTo>
                      <a:pt x="3444" y="2407"/>
                    </a:lnTo>
                    <a:lnTo>
                      <a:pt x="3436" y="2406"/>
                    </a:lnTo>
                    <a:lnTo>
                      <a:pt x="3429" y="2400"/>
                    </a:lnTo>
                    <a:lnTo>
                      <a:pt x="3427" y="2391"/>
                    </a:lnTo>
                    <a:lnTo>
                      <a:pt x="3424" y="2387"/>
                    </a:lnTo>
                    <a:lnTo>
                      <a:pt x="3417" y="2383"/>
                    </a:lnTo>
                    <a:lnTo>
                      <a:pt x="3411" y="2364"/>
                    </a:lnTo>
                    <a:lnTo>
                      <a:pt x="3414" y="2361"/>
                    </a:lnTo>
                    <a:lnTo>
                      <a:pt x="3415" y="2356"/>
                    </a:lnTo>
                    <a:lnTo>
                      <a:pt x="3411" y="2353"/>
                    </a:lnTo>
                    <a:lnTo>
                      <a:pt x="3407" y="2309"/>
                    </a:lnTo>
                    <a:lnTo>
                      <a:pt x="3404" y="2299"/>
                    </a:lnTo>
                    <a:lnTo>
                      <a:pt x="3403" y="2274"/>
                    </a:lnTo>
                    <a:lnTo>
                      <a:pt x="3404" y="2264"/>
                    </a:lnTo>
                    <a:lnTo>
                      <a:pt x="3402" y="2251"/>
                    </a:lnTo>
                    <a:lnTo>
                      <a:pt x="3399" y="2242"/>
                    </a:lnTo>
                    <a:lnTo>
                      <a:pt x="3391" y="2232"/>
                    </a:lnTo>
                    <a:lnTo>
                      <a:pt x="3379" y="2206"/>
                    </a:lnTo>
                    <a:lnTo>
                      <a:pt x="3374" y="2200"/>
                    </a:lnTo>
                    <a:lnTo>
                      <a:pt x="3366" y="2197"/>
                    </a:lnTo>
                    <a:lnTo>
                      <a:pt x="3361" y="2195"/>
                    </a:lnTo>
                    <a:lnTo>
                      <a:pt x="3380" y="2186"/>
                    </a:lnTo>
                    <a:lnTo>
                      <a:pt x="3407" y="2169"/>
                    </a:lnTo>
                    <a:lnTo>
                      <a:pt x="3422" y="2162"/>
                    </a:lnTo>
                    <a:lnTo>
                      <a:pt x="3449" y="2140"/>
                    </a:lnTo>
                    <a:lnTo>
                      <a:pt x="3461" y="2132"/>
                    </a:lnTo>
                    <a:lnTo>
                      <a:pt x="3476" y="2119"/>
                    </a:lnTo>
                    <a:lnTo>
                      <a:pt x="3489" y="2104"/>
                    </a:lnTo>
                    <a:lnTo>
                      <a:pt x="3476" y="2114"/>
                    </a:lnTo>
                    <a:lnTo>
                      <a:pt x="3492" y="2092"/>
                    </a:lnTo>
                    <a:lnTo>
                      <a:pt x="3513" y="2055"/>
                    </a:lnTo>
                    <a:lnTo>
                      <a:pt x="3519" y="2041"/>
                    </a:lnTo>
                    <a:lnTo>
                      <a:pt x="3524" y="2036"/>
                    </a:lnTo>
                    <a:lnTo>
                      <a:pt x="3532" y="2038"/>
                    </a:lnTo>
                    <a:lnTo>
                      <a:pt x="3541" y="2045"/>
                    </a:lnTo>
                    <a:lnTo>
                      <a:pt x="3551" y="2040"/>
                    </a:lnTo>
                    <a:lnTo>
                      <a:pt x="3554" y="2032"/>
                    </a:lnTo>
                    <a:lnTo>
                      <a:pt x="3548" y="2030"/>
                    </a:lnTo>
                    <a:lnTo>
                      <a:pt x="3543" y="2007"/>
                    </a:lnTo>
                    <a:lnTo>
                      <a:pt x="3540" y="2001"/>
                    </a:lnTo>
                    <a:lnTo>
                      <a:pt x="3531" y="2022"/>
                    </a:lnTo>
                    <a:lnTo>
                      <a:pt x="3527" y="2030"/>
                    </a:lnTo>
                    <a:lnTo>
                      <a:pt x="3525" y="2027"/>
                    </a:lnTo>
                    <a:lnTo>
                      <a:pt x="3524" y="2005"/>
                    </a:lnTo>
                    <a:lnTo>
                      <a:pt x="3521" y="1980"/>
                    </a:lnTo>
                    <a:lnTo>
                      <a:pt x="3517" y="1959"/>
                    </a:lnTo>
                    <a:lnTo>
                      <a:pt x="3514" y="1953"/>
                    </a:lnTo>
                    <a:lnTo>
                      <a:pt x="3511" y="1947"/>
                    </a:lnTo>
                    <a:lnTo>
                      <a:pt x="3510" y="1927"/>
                    </a:lnTo>
                    <a:lnTo>
                      <a:pt x="3500" y="1892"/>
                    </a:lnTo>
                    <a:lnTo>
                      <a:pt x="3492" y="1861"/>
                    </a:lnTo>
                    <a:lnTo>
                      <a:pt x="3490" y="1849"/>
                    </a:lnTo>
                    <a:lnTo>
                      <a:pt x="3483" y="1835"/>
                    </a:lnTo>
                    <a:lnTo>
                      <a:pt x="3483" y="1829"/>
                    </a:lnTo>
                    <a:lnTo>
                      <a:pt x="3482" y="1825"/>
                    </a:lnTo>
                    <a:lnTo>
                      <a:pt x="3472" y="1826"/>
                    </a:lnTo>
                    <a:lnTo>
                      <a:pt x="3454" y="1815"/>
                    </a:lnTo>
                    <a:lnTo>
                      <a:pt x="3449" y="1809"/>
                    </a:lnTo>
                    <a:lnTo>
                      <a:pt x="3428" y="1793"/>
                    </a:lnTo>
                    <a:lnTo>
                      <a:pt x="3413" y="1777"/>
                    </a:lnTo>
                    <a:lnTo>
                      <a:pt x="3411" y="1771"/>
                    </a:lnTo>
                    <a:lnTo>
                      <a:pt x="3414" y="1767"/>
                    </a:lnTo>
                    <a:lnTo>
                      <a:pt x="3412" y="1760"/>
                    </a:lnTo>
                    <a:lnTo>
                      <a:pt x="3411" y="1749"/>
                    </a:lnTo>
                    <a:lnTo>
                      <a:pt x="3413" y="1740"/>
                    </a:lnTo>
                    <a:lnTo>
                      <a:pt x="3419" y="1739"/>
                    </a:lnTo>
                    <a:lnTo>
                      <a:pt x="3433" y="1729"/>
                    </a:lnTo>
                    <a:lnTo>
                      <a:pt x="3451" y="1729"/>
                    </a:lnTo>
                    <a:lnTo>
                      <a:pt x="3455" y="1723"/>
                    </a:lnTo>
                    <a:lnTo>
                      <a:pt x="3471" y="1722"/>
                    </a:lnTo>
                    <a:lnTo>
                      <a:pt x="3471" y="1708"/>
                    </a:lnTo>
                    <a:lnTo>
                      <a:pt x="3465" y="1705"/>
                    </a:lnTo>
                    <a:lnTo>
                      <a:pt x="3465" y="1695"/>
                    </a:lnTo>
                    <a:lnTo>
                      <a:pt x="3470" y="1683"/>
                    </a:lnTo>
                    <a:lnTo>
                      <a:pt x="3483" y="1688"/>
                    </a:lnTo>
                    <a:lnTo>
                      <a:pt x="3487" y="1691"/>
                    </a:lnTo>
                    <a:lnTo>
                      <a:pt x="3508" y="1686"/>
                    </a:lnTo>
                    <a:lnTo>
                      <a:pt x="3492" y="1681"/>
                    </a:lnTo>
                    <a:lnTo>
                      <a:pt x="3487" y="1675"/>
                    </a:lnTo>
                    <a:lnTo>
                      <a:pt x="3487" y="1664"/>
                    </a:lnTo>
                    <a:lnTo>
                      <a:pt x="3489" y="1658"/>
                    </a:lnTo>
                    <a:lnTo>
                      <a:pt x="3493" y="1658"/>
                    </a:lnTo>
                    <a:lnTo>
                      <a:pt x="3500" y="1643"/>
                    </a:lnTo>
                    <a:lnTo>
                      <a:pt x="3493" y="1648"/>
                    </a:lnTo>
                    <a:lnTo>
                      <a:pt x="3471" y="1645"/>
                    </a:lnTo>
                    <a:lnTo>
                      <a:pt x="3471" y="1635"/>
                    </a:lnTo>
                    <a:lnTo>
                      <a:pt x="3476" y="1637"/>
                    </a:lnTo>
                    <a:lnTo>
                      <a:pt x="3482" y="1634"/>
                    </a:lnTo>
                    <a:lnTo>
                      <a:pt x="3483" y="1625"/>
                    </a:lnTo>
                    <a:lnTo>
                      <a:pt x="3477" y="1616"/>
                    </a:lnTo>
                    <a:lnTo>
                      <a:pt x="3476" y="1615"/>
                    </a:lnTo>
                    <a:lnTo>
                      <a:pt x="3467" y="1597"/>
                    </a:lnTo>
                    <a:lnTo>
                      <a:pt x="3472" y="1578"/>
                    </a:lnTo>
                    <a:lnTo>
                      <a:pt x="3466" y="1576"/>
                    </a:lnTo>
                    <a:lnTo>
                      <a:pt x="3465" y="1568"/>
                    </a:lnTo>
                    <a:lnTo>
                      <a:pt x="3483" y="1562"/>
                    </a:lnTo>
                    <a:lnTo>
                      <a:pt x="3483" y="1561"/>
                    </a:lnTo>
                    <a:lnTo>
                      <a:pt x="3473" y="1561"/>
                    </a:lnTo>
                    <a:lnTo>
                      <a:pt x="3468" y="1556"/>
                    </a:lnTo>
                    <a:lnTo>
                      <a:pt x="3460" y="1561"/>
                    </a:lnTo>
                    <a:lnTo>
                      <a:pt x="3452" y="1559"/>
                    </a:lnTo>
                    <a:lnTo>
                      <a:pt x="3445" y="1550"/>
                    </a:lnTo>
                    <a:lnTo>
                      <a:pt x="3445" y="1539"/>
                    </a:lnTo>
                    <a:lnTo>
                      <a:pt x="3456" y="1523"/>
                    </a:lnTo>
                    <a:lnTo>
                      <a:pt x="3461" y="1505"/>
                    </a:lnTo>
                    <a:lnTo>
                      <a:pt x="3467" y="1500"/>
                    </a:lnTo>
                    <a:lnTo>
                      <a:pt x="3467" y="1486"/>
                    </a:lnTo>
                    <a:lnTo>
                      <a:pt x="3471" y="1485"/>
                    </a:lnTo>
                    <a:lnTo>
                      <a:pt x="3476" y="1478"/>
                    </a:lnTo>
                    <a:lnTo>
                      <a:pt x="3476" y="1468"/>
                    </a:lnTo>
                    <a:lnTo>
                      <a:pt x="3483" y="1465"/>
                    </a:lnTo>
                    <a:lnTo>
                      <a:pt x="3485" y="1447"/>
                    </a:lnTo>
                    <a:lnTo>
                      <a:pt x="3481" y="1454"/>
                    </a:lnTo>
                    <a:lnTo>
                      <a:pt x="3472" y="1457"/>
                    </a:lnTo>
                    <a:lnTo>
                      <a:pt x="3466" y="1452"/>
                    </a:lnTo>
                    <a:lnTo>
                      <a:pt x="3458" y="1449"/>
                    </a:lnTo>
                    <a:lnTo>
                      <a:pt x="3449" y="1441"/>
                    </a:lnTo>
                    <a:lnTo>
                      <a:pt x="3447" y="1428"/>
                    </a:lnTo>
                    <a:lnTo>
                      <a:pt x="3442" y="1419"/>
                    </a:lnTo>
                    <a:lnTo>
                      <a:pt x="3441" y="1404"/>
                    </a:lnTo>
                    <a:lnTo>
                      <a:pt x="3441" y="1392"/>
                    </a:lnTo>
                    <a:lnTo>
                      <a:pt x="3442" y="1387"/>
                    </a:lnTo>
                    <a:lnTo>
                      <a:pt x="3454" y="1379"/>
                    </a:lnTo>
                    <a:lnTo>
                      <a:pt x="3466" y="1360"/>
                    </a:lnTo>
                    <a:lnTo>
                      <a:pt x="3474" y="1350"/>
                    </a:lnTo>
                    <a:lnTo>
                      <a:pt x="3481" y="1347"/>
                    </a:lnTo>
                    <a:lnTo>
                      <a:pt x="3481" y="1355"/>
                    </a:lnTo>
                    <a:lnTo>
                      <a:pt x="3490" y="1354"/>
                    </a:lnTo>
                    <a:lnTo>
                      <a:pt x="3516" y="1355"/>
                    </a:lnTo>
                    <a:lnTo>
                      <a:pt x="3547" y="1362"/>
                    </a:lnTo>
                    <a:lnTo>
                      <a:pt x="3552" y="1367"/>
                    </a:lnTo>
                    <a:lnTo>
                      <a:pt x="3553" y="1369"/>
                    </a:lnTo>
                    <a:lnTo>
                      <a:pt x="3562" y="1374"/>
                    </a:lnTo>
                    <a:lnTo>
                      <a:pt x="3579" y="1377"/>
                    </a:lnTo>
                    <a:lnTo>
                      <a:pt x="3586" y="1379"/>
                    </a:lnTo>
                    <a:lnTo>
                      <a:pt x="3583" y="1388"/>
                    </a:lnTo>
                    <a:lnTo>
                      <a:pt x="3585" y="1390"/>
                    </a:lnTo>
                    <a:lnTo>
                      <a:pt x="3596" y="1383"/>
                    </a:lnTo>
                    <a:lnTo>
                      <a:pt x="3612" y="1383"/>
                    </a:lnTo>
                    <a:lnTo>
                      <a:pt x="3616" y="1389"/>
                    </a:lnTo>
                    <a:lnTo>
                      <a:pt x="3613" y="1397"/>
                    </a:lnTo>
                    <a:lnTo>
                      <a:pt x="3633" y="1395"/>
                    </a:lnTo>
                    <a:lnTo>
                      <a:pt x="3630" y="1390"/>
                    </a:lnTo>
                    <a:lnTo>
                      <a:pt x="3637" y="1384"/>
                    </a:lnTo>
                    <a:lnTo>
                      <a:pt x="3670" y="1373"/>
                    </a:lnTo>
                    <a:lnTo>
                      <a:pt x="3682" y="1361"/>
                    </a:lnTo>
                    <a:lnTo>
                      <a:pt x="3715" y="1378"/>
                    </a:lnTo>
                    <a:lnTo>
                      <a:pt x="3724" y="1390"/>
                    </a:lnTo>
                    <a:lnTo>
                      <a:pt x="3739" y="1397"/>
                    </a:lnTo>
                    <a:lnTo>
                      <a:pt x="3748" y="1398"/>
                    </a:lnTo>
                    <a:lnTo>
                      <a:pt x="3751" y="1403"/>
                    </a:lnTo>
                    <a:lnTo>
                      <a:pt x="3752" y="1411"/>
                    </a:lnTo>
                    <a:lnTo>
                      <a:pt x="3740" y="1438"/>
                    </a:lnTo>
                    <a:lnTo>
                      <a:pt x="3743" y="1435"/>
                    </a:lnTo>
                    <a:lnTo>
                      <a:pt x="3751" y="1437"/>
                    </a:lnTo>
                    <a:lnTo>
                      <a:pt x="3753" y="1433"/>
                    </a:lnTo>
                    <a:lnTo>
                      <a:pt x="3753" y="1422"/>
                    </a:lnTo>
                    <a:lnTo>
                      <a:pt x="3759" y="1421"/>
                    </a:lnTo>
                    <a:lnTo>
                      <a:pt x="3769" y="1425"/>
                    </a:lnTo>
                    <a:lnTo>
                      <a:pt x="3769" y="1441"/>
                    </a:lnTo>
                    <a:lnTo>
                      <a:pt x="3775" y="1448"/>
                    </a:lnTo>
                    <a:lnTo>
                      <a:pt x="3778" y="1455"/>
                    </a:lnTo>
                    <a:lnTo>
                      <a:pt x="3770" y="1460"/>
                    </a:lnTo>
                    <a:lnTo>
                      <a:pt x="3772" y="1469"/>
                    </a:lnTo>
                    <a:lnTo>
                      <a:pt x="3782" y="1465"/>
                    </a:lnTo>
                    <a:lnTo>
                      <a:pt x="3784" y="1458"/>
                    </a:lnTo>
                    <a:lnTo>
                      <a:pt x="3793" y="1455"/>
                    </a:lnTo>
                    <a:lnTo>
                      <a:pt x="3801" y="1458"/>
                    </a:lnTo>
                    <a:lnTo>
                      <a:pt x="3807" y="1464"/>
                    </a:lnTo>
                    <a:lnTo>
                      <a:pt x="3802" y="1471"/>
                    </a:lnTo>
                    <a:lnTo>
                      <a:pt x="3798" y="1474"/>
                    </a:lnTo>
                    <a:lnTo>
                      <a:pt x="3791" y="1479"/>
                    </a:lnTo>
                    <a:lnTo>
                      <a:pt x="3791" y="1489"/>
                    </a:lnTo>
                    <a:lnTo>
                      <a:pt x="3794" y="1495"/>
                    </a:lnTo>
                    <a:lnTo>
                      <a:pt x="3799" y="1501"/>
                    </a:lnTo>
                    <a:lnTo>
                      <a:pt x="3807" y="1503"/>
                    </a:lnTo>
                    <a:lnTo>
                      <a:pt x="3805" y="1511"/>
                    </a:lnTo>
                    <a:lnTo>
                      <a:pt x="3806" y="1514"/>
                    </a:lnTo>
                    <a:lnTo>
                      <a:pt x="3823" y="1511"/>
                    </a:lnTo>
                    <a:lnTo>
                      <a:pt x="3834" y="1513"/>
                    </a:lnTo>
                    <a:lnTo>
                      <a:pt x="3837" y="1523"/>
                    </a:lnTo>
                    <a:lnTo>
                      <a:pt x="3843" y="1532"/>
                    </a:lnTo>
                    <a:lnTo>
                      <a:pt x="3849" y="1524"/>
                    </a:lnTo>
                    <a:lnTo>
                      <a:pt x="3864" y="1529"/>
                    </a:lnTo>
                    <a:lnTo>
                      <a:pt x="3877" y="1523"/>
                    </a:lnTo>
                    <a:lnTo>
                      <a:pt x="3882" y="1529"/>
                    </a:lnTo>
                    <a:lnTo>
                      <a:pt x="3884" y="1537"/>
                    </a:lnTo>
                    <a:lnTo>
                      <a:pt x="3884" y="1544"/>
                    </a:lnTo>
                    <a:lnTo>
                      <a:pt x="3888" y="1545"/>
                    </a:lnTo>
                    <a:lnTo>
                      <a:pt x="3908" y="1535"/>
                    </a:lnTo>
                    <a:lnTo>
                      <a:pt x="3907" y="1528"/>
                    </a:lnTo>
                    <a:lnTo>
                      <a:pt x="3914" y="1524"/>
                    </a:lnTo>
                    <a:lnTo>
                      <a:pt x="3925" y="1541"/>
                    </a:lnTo>
                    <a:lnTo>
                      <a:pt x="3926" y="1548"/>
                    </a:lnTo>
                    <a:lnTo>
                      <a:pt x="3925" y="1553"/>
                    </a:lnTo>
                    <a:lnTo>
                      <a:pt x="3920" y="1560"/>
                    </a:lnTo>
                    <a:lnTo>
                      <a:pt x="3912" y="1566"/>
                    </a:lnTo>
                    <a:lnTo>
                      <a:pt x="3912" y="1575"/>
                    </a:lnTo>
                    <a:lnTo>
                      <a:pt x="3909" y="1584"/>
                    </a:lnTo>
                    <a:lnTo>
                      <a:pt x="3912" y="1592"/>
                    </a:lnTo>
                    <a:lnTo>
                      <a:pt x="3911" y="1598"/>
                    </a:lnTo>
                    <a:lnTo>
                      <a:pt x="3915" y="1599"/>
                    </a:lnTo>
                    <a:lnTo>
                      <a:pt x="3918" y="1615"/>
                    </a:lnTo>
                    <a:lnTo>
                      <a:pt x="3926" y="1632"/>
                    </a:lnTo>
                    <a:lnTo>
                      <a:pt x="3913" y="1634"/>
                    </a:lnTo>
                    <a:lnTo>
                      <a:pt x="3912" y="1638"/>
                    </a:lnTo>
                    <a:lnTo>
                      <a:pt x="3908" y="1642"/>
                    </a:lnTo>
                    <a:lnTo>
                      <a:pt x="3896" y="1642"/>
                    </a:lnTo>
                    <a:lnTo>
                      <a:pt x="3887" y="1640"/>
                    </a:lnTo>
                    <a:lnTo>
                      <a:pt x="3869" y="1641"/>
                    </a:lnTo>
                    <a:lnTo>
                      <a:pt x="3853" y="1638"/>
                    </a:lnTo>
                    <a:lnTo>
                      <a:pt x="3842" y="1631"/>
                    </a:lnTo>
                    <a:lnTo>
                      <a:pt x="3831" y="1632"/>
                    </a:lnTo>
                    <a:lnTo>
                      <a:pt x="3826" y="1636"/>
                    </a:lnTo>
                    <a:lnTo>
                      <a:pt x="3845" y="1638"/>
                    </a:lnTo>
                    <a:lnTo>
                      <a:pt x="3863" y="1650"/>
                    </a:lnTo>
                    <a:lnTo>
                      <a:pt x="3899" y="1648"/>
                    </a:lnTo>
                    <a:lnTo>
                      <a:pt x="3912" y="1653"/>
                    </a:lnTo>
                    <a:lnTo>
                      <a:pt x="3924" y="1664"/>
                    </a:lnTo>
                    <a:lnTo>
                      <a:pt x="3926" y="1674"/>
                    </a:lnTo>
                    <a:lnTo>
                      <a:pt x="3924" y="1677"/>
                    </a:lnTo>
                    <a:lnTo>
                      <a:pt x="3926" y="1683"/>
                    </a:lnTo>
                    <a:lnTo>
                      <a:pt x="3913" y="1713"/>
                    </a:lnTo>
                    <a:lnTo>
                      <a:pt x="3915" y="1717"/>
                    </a:lnTo>
                    <a:lnTo>
                      <a:pt x="3931" y="1712"/>
                    </a:lnTo>
                    <a:lnTo>
                      <a:pt x="3938" y="1717"/>
                    </a:lnTo>
                    <a:lnTo>
                      <a:pt x="3935" y="1722"/>
                    </a:lnTo>
                    <a:lnTo>
                      <a:pt x="3923" y="1731"/>
                    </a:lnTo>
                    <a:lnTo>
                      <a:pt x="3924" y="1736"/>
                    </a:lnTo>
                    <a:lnTo>
                      <a:pt x="3934" y="1736"/>
                    </a:lnTo>
                    <a:lnTo>
                      <a:pt x="3938" y="1743"/>
                    </a:lnTo>
                    <a:lnTo>
                      <a:pt x="3938" y="1748"/>
                    </a:lnTo>
                    <a:lnTo>
                      <a:pt x="3935" y="1751"/>
                    </a:lnTo>
                    <a:lnTo>
                      <a:pt x="3931" y="1750"/>
                    </a:lnTo>
                    <a:lnTo>
                      <a:pt x="3930" y="1748"/>
                    </a:lnTo>
                    <a:lnTo>
                      <a:pt x="3924" y="1755"/>
                    </a:lnTo>
                    <a:lnTo>
                      <a:pt x="3912" y="1766"/>
                    </a:lnTo>
                    <a:lnTo>
                      <a:pt x="3909" y="1755"/>
                    </a:lnTo>
                    <a:lnTo>
                      <a:pt x="3903" y="1749"/>
                    </a:lnTo>
                    <a:lnTo>
                      <a:pt x="3893" y="1750"/>
                    </a:lnTo>
                    <a:lnTo>
                      <a:pt x="3899" y="1764"/>
                    </a:lnTo>
                    <a:lnTo>
                      <a:pt x="3899" y="1770"/>
                    </a:lnTo>
                    <a:lnTo>
                      <a:pt x="3879" y="1774"/>
                    </a:lnTo>
                    <a:lnTo>
                      <a:pt x="3885" y="1779"/>
                    </a:lnTo>
                    <a:lnTo>
                      <a:pt x="3895" y="1779"/>
                    </a:lnTo>
                    <a:lnTo>
                      <a:pt x="3901" y="1780"/>
                    </a:lnTo>
                    <a:lnTo>
                      <a:pt x="3907" y="1787"/>
                    </a:lnTo>
                    <a:lnTo>
                      <a:pt x="3924" y="1770"/>
                    </a:lnTo>
                    <a:lnTo>
                      <a:pt x="3931" y="1765"/>
                    </a:lnTo>
                    <a:lnTo>
                      <a:pt x="3945" y="1765"/>
                    </a:lnTo>
                    <a:lnTo>
                      <a:pt x="3956" y="1761"/>
                    </a:lnTo>
                    <a:lnTo>
                      <a:pt x="3969" y="1760"/>
                    </a:lnTo>
                    <a:lnTo>
                      <a:pt x="3979" y="1764"/>
                    </a:lnTo>
                    <a:lnTo>
                      <a:pt x="3985" y="1788"/>
                    </a:lnTo>
                    <a:lnTo>
                      <a:pt x="3990" y="1793"/>
                    </a:lnTo>
                    <a:lnTo>
                      <a:pt x="3992" y="1808"/>
                    </a:lnTo>
                    <a:lnTo>
                      <a:pt x="3987" y="1839"/>
                    </a:lnTo>
                    <a:lnTo>
                      <a:pt x="3972" y="1851"/>
                    </a:lnTo>
                    <a:lnTo>
                      <a:pt x="3934" y="1872"/>
                    </a:lnTo>
                    <a:lnTo>
                      <a:pt x="3966" y="1860"/>
                    </a:lnTo>
                    <a:lnTo>
                      <a:pt x="3987" y="1844"/>
                    </a:lnTo>
                    <a:lnTo>
                      <a:pt x="3994" y="1829"/>
                    </a:lnTo>
                    <a:lnTo>
                      <a:pt x="4000" y="1802"/>
                    </a:lnTo>
                    <a:lnTo>
                      <a:pt x="4008" y="1791"/>
                    </a:lnTo>
                    <a:lnTo>
                      <a:pt x="4008" y="1812"/>
                    </a:lnTo>
                    <a:lnTo>
                      <a:pt x="4005" y="1818"/>
                    </a:lnTo>
                    <a:lnTo>
                      <a:pt x="4015" y="1807"/>
                    </a:lnTo>
                    <a:lnTo>
                      <a:pt x="4017" y="1817"/>
                    </a:lnTo>
                    <a:lnTo>
                      <a:pt x="4015" y="1825"/>
                    </a:lnTo>
                    <a:lnTo>
                      <a:pt x="4016" y="1840"/>
                    </a:lnTo>
                    <a:lnTo>
                      <a:pt x="4019" y="1844"/>
                    </a:lnTo>
                    <a:lnTo>
                      <a:pt x="4026" y="1828"/>
                    </a:lnTo>
                    <a:lnTo>
                      <a:pt x="4055" y="1808"/>
                    </a:lnTo>
                    <a:lnTo>
                      <a:pt x="4078" y="1802"/>
                    </a:lnTo>
                    <a:lnTo>
                      <a:pt x="4079" y="1788"/>
                    </a:lnTo>
                    <a:lnTo>
                      <a:pt x="4085" y="1775"/>
                    </a:lnTo>
                    <a:lnTo>
                      <a:pt x="4091" y="1766"/>
                    </a:lnTo>
                    <a:lnTo>
                      <a:pt x="4100" y="1775"/>
                    </a:lnTo>
                    <a:lnTo>
                      <a:pt x="4112" y="1781"/>
                    </a:lnTo>
                    <a:lnTo>
                      <a:pt x="4116" y="1791"/>
                    </a:lnTo>
                    <a:lnTo>
                      <a:pt x="4111" y="1809"/>
                    </a:lnTo>
                    <a:lnTo>
                      <a:pt x="4114" y="1803"/>
                    </a:lnTo>
                    <a:lnTo>
                      <a:pt x="4123" y="1782"/>
                    </a:lnTo>
                    <a:lnTo>
                      <a:pt x="4116" y="1772"/>
                    </a:lnTo>
                    <a:lnTo>
                      <a:pt x="4110" y="1766"/>
                    </a:lnTo>
                    <a:lnTo>
                      <a:pt x="4106" y="1758"/>
                    </a:lnTo>
                    <a:lnTo>
                      <a:pt x="4116" y="1766"/>
                    </a:lnTo>
                    <a:lnTo>
                      <a:pt x="4122" y="1764"/>
                    </a:lnTo>
                    <a:lnTo>
                      <a:pt x="4127" y="1758"/>
                    </a:lnTo>
                    <a:lnTo>
                      <a:pt x="4123" y="1755"/>
                    </a:lnTo>
                    <a:lnTo>
                      <a:pt x="4124" y="1745"/>
                    </a:lnTo>
                    <a:lnTo>
                      <a:pt x="4133" y="1747"/>
                    </a:lnTo>
                    <a:lnTo>
                      <a:pt x="4135" y="1732"/>
                    </a:lnTo>
                    <a:lnTo>
                      <a:pt x="4130" y="1718"/>
                    </a:lnTo>
                    <a:lnTo>
                      <a:pt x="4137" y="1726"/>
                    </a:lnTo>
                    <a:lnTo>
                      <a:pt x="4141" y="1717"/>
                    </a:lnTo>
                    <a:lnTo>
                      <a:pt x="4149" y="1712"/>
                    </a:lnTo>
                    <a:lnTo>
                      <a:pt x="4149" y="1704"/>
                    </a:lnTo>
                    <a:lnTo>
                      <a:pt x="4157" y="1699"/>
                    </a:lnTo>
                    <a:lnTo>
                      <a:pt x="4150" y="1686"/>
                    </a:lnTo>
                    <a:lnTo>
                      <a:pt x="4143" y="1679"/>
                    </a:lnTo>
                    <a:lnTo>
                      <a:pt x="4138" y="1669"/>
                    </a:lnTo>
                    <a:lnTo>
                      <a:pt x="4143" y="1658"/>
                    </a:lnTo>
                    <a:lnTo>
                      <a:pt x="4157" y="1635"/>
                    </a:lnTo>
                    <a:lnTo>
                      <a:pt x="4165" y="1630"/>
                    </a:lnTo>
                    <a:lnTo>
                      <a:pt x="4172" y="1621"/>
                    </a:lnTo>
                    <a:lnTo>
                      <a:pt x="4172" y="1619"/>
                    </a:lnTo>
                    <a:lnTo>
                      <a:pt x="4177" y="1609"/>
                    </a:lnTo>
                    <a:lnTo>
                      <a:pt x="4186" y="1608"/>
                    </a:lnTo>
                    <a:lnTo>
                      <a:pt x="4196" y="1609"/>
                    </a:lnTo>
                    <a:lnTo>
                      <a:pt x="4198" y="1615"/>
                    </a:lnTo>
                    <a:lnTo>
                      <a:pt x="4194" y="1621"/>
                    </a:lnTo>
                    <a:lnTo>
                      <a:pt x="4202" y="1623"/>
                    </a:lnTo>
                    <a:lnTo>
                      <a:pt x="4200" y="1631"/>
                    </a:lnTo>
                    <a:lnTo>
                      <a:pt x="4203" y="1638"/>
                    </a:lnTo>
                    <a:lnTo>
                      <a:pt x="4203" y="1650"/>
                    </a:lnTo>
                    <a:lnTo>
                      <a:pt x="4198" y="1656"/>
                    </a:lnTo>
                    <a:lnTo>
                      <a:pt x="4207" y="1651"/>
                    </a:lnTo>
                    <a:lnTo>
                      <a:pt x="4211" y="1656"/>
                    </a:lnTo>
                    <a:lnTo>
                      <a:pt x="4211" y="1679"/>
                    </a:lnTo>
                    <a:lnTo>
                      <a:pt x="4223" y="1680"/>
                    </a:lnTo>
                    <a:lnTo>
                      <a:pt x="4218" y="1683"/>
                    </a:lnTo>
                    <a:lnTo>
                      <a:pt x="4219" y="1690"/>
                    </a:lnTo>
                    <a:lnTo>
                      <a:pt x="4229" y="1688"/>
                    </a:lnTo>
                    <a:lnTo>
                      <a:pt x="4239" y="1693"/>
                    </a:lnTo>
                    <a:lnTo>
                      <a:pt x="4234" y="1700"/>
                    </a:lnTo>
                    <a:lnTo>
                      <a:pt x="4226" y="1708"/>
                    </a:lnTo>
                    <a:lnTo>
                      <a:pt x="4237" y="1710"/>
                    </a:lnTo>
                    <a:lnTo>
                      <a:pt x="4240" y="1718"/>
                    </a:lnTo>
                    <a:lnTo>
                      <a:pt x="4243" y="1710"/>
                    </a:lnTo>
                    <a:lnTo>
                      <a:pt x="4248" y="1712"/>
                    </a:lnTo>
                    <a:lnTo>
                      <a:pt x="4248" y="1724"/>
                    </a:lnTo>
                    <a:lnTo>
                      <a:pt x="4254" y="1721"/>
                    </a:lnTo>
                    <a:lnTo>
                      <a:pt x="4259" y="1724"/>
                    </a:lnTo>
                    <a:lnTo>
                      <a:pt x="4258" y="1734"/>
                    </a:lnTo>
                    <a:lnTo>
                      <a:pt x="4247" y="1740"/>
                    </a:lnTo>
                    <a:lnTo>
                      <a:pt x="4226" y="1740"/>
                    </a:lnTo>
                    <a:lnTo>
                      <a:pt x="4214" y="1747"/>
                    </a:lnTo>
                    <a:lnTo>
                      <a:pt x="4211" y="1753"/>
                    </a:lnTo>
                    <a:lnTo>
                      <a:pt x="4221" y="1745"/>
                    </a:lnTo>
                    <a:lnTo>
                      <a:pt x="4226" y="1749"/>
                    </a:lnTo>
                    <a:lnTo>
                      <a:pt x="4234" y="1747"/>
                    </a:lnTo>
                    <a:lnTo>
                      <a:pt x="4250" y="1747"/>
                    </a:lnTo>
                    <a:lnTo>
                      <a:pt x="4266" y="1742"/>
                    </a:lnTo>
                    <a:lnTo>
                      <a:pt x="4269" y="1743"/>
                    </a:lnTo>
                    <a:lnTo>
                      <a:pt x="4266" y="1754"/>
                    </a:lnTo>
                    <a:lnTo>
                      <a:pt x="4268" y="1755"/>
                    </a:lnTo>
                    <a:lnTo>
                      <a:pt x="4268" y="1764"/>
                    </a:lnTo>
                    <a:lnTo>
                      <a:pt x="4266" y="1771"/>
                    </a:lnTo>
                    <a:lnTo>
                      <a:pt x="4270" y="1769"/>
                    </a:lnTo>
                    <a:lnTo>
                      <a:pt x="4283" y="1770"/>
                    </a:lnTo>
                    <a:lnTo>
                      <a:pt x="4280" y="1781"/>
                    </a:lnTo>
                    <a:lnTo>
                      <a:pt x="4282" y="1785"/>
                    </a:lnTo>
                    <a:lnTo>
                      <a:pt x="4289" y="1787"/>
                    </a:lnTo>
                    <a:lnTo>
                      <a:pt x="4286" y="1792"/>
                    </a:lnTo>
                    <a:lnTo>
                      <a:pt x="4278" y="1796"/>
                    </a:lnTo>
                    <a:lnTo>
                      <a:pt x="4264" y="1798"/>
                    </a:lnTo>
                    <a:lnTo>
                      <a:pt x="4257" y="1794"/>
                    </a:lnTo>
                    <a:lnTo>
                      <a:pt x="4251" y="1797"/>
                    </a:lnTo>
                    <a:lnTo>
                      <a:pt x="4251" y="1802"/>
                    </a:lnTo>
                    <a:lnTo>
                      <a:pt x="4256" y="1806"/>
                    </a:lnTo>
                    <a:lnTo>
                      <a:pt x="4266" y="1803"/>
                    </a:lnTo>
                    <a:lnTo>
                      <a:pt x="4284" y="1804"/>
                    </a:lnTo>
                    <a:lnTo>
                      <a:pt x="4301" y="1803"/>
                    </a:lnTo>
                    <a:lnTo>
                      <a:pt x="4304" y="1814"/>
                    </a:lnTo>
                    <a:lnTo>
                      <a:pt x="4297" y="1819"/>
                    </a:lnTo>
                    <a:lnTo>
                      <a:pt x="4294" y="1825"/>
                    </a:lnTo>
                    <a:lnTo>
                      <a:pt x="4299" y="1828"/>
                    </a:lnTo>
                    <a:lnTo>
                      <a:pt x="4293" y="1833"/>
                    </a:lnTo>
                    <a:lnTo>
                      <a:pt x="4280" y="1836"/>
                    </a:lnTo>
                    <a:lnTo>
                      <a:pt x="4269" y="1851"/>
                    </a:lnTo>
                    <a:lnTo>
                      <a:pt x="4278" y="1850"/>
                    </a:lnTo>
                    <a:lnTo>
                      <a:pt x="4286" y="1842"/>
                    </a:lnTo>
                    <a:lnTo>
                      <a:pt x="4296" y="1841"/>
                    </a:lnTo>
                    <a:lnTo>
                      <a:pt x="4305" y="1837"/>
                    </a:lnTo>
                    <a:lnTo>
                      <a:pt x="4315" y="1852"/>
                    </a:lnTo>
                    <a:lnTo>
                      <a:pt x="4310" y="1853"/>
                    </a:lnTo>
                    <a:lnTo>
                      <a:pt x="4304" y="1860"/>
                    </a:lnTo>
                    <a:lnTo>
                      <a:pt x="4304" y="1866"/>
                    </a:lnTo>
                    <a:lnTo>
                      <a:pt x="4315" y="1861"/>
                    </a:lnTo>
                    <a:lnTo>
                      <a:pt x="4322" y="1864"/>
                    </a:lnTo>
                    <a:lnTo>
                      <a:pt x="4322" y="1867"/>
                    </a:lnTo>
                    <a:lnTo>
                      <a:pt x="4331" y="1878"/>
                    </a:lnTo>
                    <a:lnTo>
                      <a:pt x="4339" y="1884"/>
                    </a:lnTo>
                    <a:lnTo>
                      <a:pt x="4342" y="1893"/>
                    </a:lnTo>
                    <a:lnTo>
                      <a:pt x="4323" y="1907"/>
                    </a:lnTo>
                    <a:lnTo>
                      <a:pt x="4312" y="1907"/>
                    </a:lnTo>
                    <a:lnTo>
                      <a:pt x="4312" y="1914"/>
                    </a:lnTo>
                    <a:lnTo>
                      <a:pt x="4339" y="1912"/>
                    </a:lnTo>
                    <a:lnTo>
                      <a:pt x="4347" y="1922"/>
                    </a:lnTo>
                    <a:lnTo>
                      <a:pt x="4342" y="1932"/>
                    </a:lnTo>
                    <a:lnTo>
                      <a:pt x="4364" y="1939"/>
                    </a:lnTo>
                    <a:lnTo>
                      <a:pt x="4368" y="1953"/>
                    </a:lnTo>
                    <a:lnTo>
                      <a:pt x="4358" y="1963"/>
                    </a:lnTo>
                    <a:lnTo>
                      <a:pt x="4347" y="1974"/>
                    </a:lnTo>
                    <a:lnTo>
                      <a:pt x="4350" y="1987"/>
                    </a:lnTo>
                    <a:lnTo>
                      <a:pt x="4343" y="1989"/>
                    </a:lnTo>
                    <a:lnTo>
                      <a:pt x="4315" y="1973"/>
                    </a:lnTo>
                    <a:lnTo>
                      <a:pt x="4312" y="1979"/>
                    </a:lnTo>
                    <a:lnTo>
                      <a:pt x="4326" y="1984"/>
                    </a:lnTo>
                    <a:lnTo>
                      <a:pt x="4326" y="1986"/>
                    </a:lnTo>
                    <a:lnTo>
                      <a:pt x="4295" y="1990"/>
                    </a:lnTo>
                    <a:lnTo>
                      <a:pt x="4286" y="1992"/>
                    </a:lnTo>
                    <a:lnTo>
                      <a:pt x="4302" y="1996"/>
                    </a:lnTo>
                    <a:lnTo>
                      <a:pt x="4334" y="1995"/>
                    </a:lnTo>
                    <a:lnTo>
                      <a:pt x="4348" y="1997"/>
                    </a:lnTo>
                    <a:lnTo>
                      <a:pt x="4350" y="2002"/>
                    </a:lnTo>
                    <a:lnTo>
                      <a:pt x="4342" y="2003"/>
                    </a:lnTo>
                    <a:lnTo>
                      <a:pt x="4334" y="2009"/>
                    </a:lnTo>
                    <a:lnTo>
                      <a:pt x="4336" y="2013"/>
                    </a:lnTo>
                    <a:lnTo>
                      <a:pt x="4350" y="2022"/>
                    </a:lnTo>
                    <a:lnTo>
                      <a:pt x="4352" y="2028"/>
                    </a:lnTo>
                    <a:lnTo>
                      <a:pt x="4342" y="2027"/>
                    </a:lnTo>
                    <a:lnTo>
                      <a:pt x="4338" y="2036"/>
                    </a:lnTo>
                    <a:lnTo>
                      <a:pt x="4371" y="2034"/>
                    </a:lnTo>
                    <a:lnTo>
                      <a:pt x="4375" y="2055"/>
                    </a:lnTo>
                    <a:lnTo>
                      <a:pt x="4379" y="2060"/>
                    </a:lnTo>
                    <a:lnTo>
                      <a:pt x="4374" y="2065"/>
                    </a:lnTo>
                    <a:lnTo>
                      <a:pt x="4403" y="2068"/>
                    </a:lnTo>
                    <a:lnTo>
                      <a:pt x="4411" y="2073"/>
                    </a:lnTo>
                    <a:lnTo>
                      <a:pt x="4412" y="2084"/>
                    </a:lnTo>
                    <a:lnTo>
                      <a:pt x="4418" y="2079"/>
                    </a:lnTo>
                    <a:lnTo>
                      <a:pt x="4428" y="2079"/>
                    </a:lnTo>
                    <a:lnTo>
                      <a:pt x="4428" y="2089"/>
                    </a:lnTo>
                    <a:lnTo>
                      <a:pt x="4424" y="2097"/>
                    </a:lnTo>
                    <a:lnTo>
                      <a:pt x="4429" y="2102"/>
                    </a:lnTo>
                    <a:lnTo>
                      <a:pt x="4431" y="2110"/>
                    </a:lnTo>
                    <a:lnTo>
                      <a:pt x="4420" y="2122"/>
                    </a:lnTo>
                    <a:lnTo>
                      <a:pt x="4420" y="2126"/>
                    </a:lnTo>
                    <a:lnTo>
                      <a:pt x="4433" y="2119"/>
                    </a:lnTo>
                    <a:lnTo>
                      <a:pt x="4447" y="2130"/>
                    </a:lnTo>
                    <a:lnTo>
                      <a:pt x="4452" y="2125"/>
                    </a:lnTo>
                    <a:lnTo>
                      <a:pt x="4462" y="2120"/>
                    </a:lnTo>
                    <a:lnTo>
                      <a:pt x="4463" y="2129"/>
                    </a:lnTo>
                    <a:lnTo>
                      <a:pt x="4473" y="2132"/>
                    </a:lnTo>
                    <a:lnTo>
                      <a:pt x="4461" y="2162"/>
                    </a:lnTo>
                    <a:lnTo>
                      <a:pt x="4469" y="2154"/>
                    </a:lnTo>
                    <a:lnTo>
                      <a:pt x="4481" y="2138"/>
                    </a:lnTo>
                    <a:lnTo>
                      <a:pt x="4490" y="2131"/>
                    </a:lnTo>
                    <a:lnTo>
                      <a:pt x="4489" y="2145"/>
                    </a:lnTo>
                    <a:lnTo>
                      <a:pt x="4493" y="2145"/>
                    </a:lnTo>
                    <a:lnTo>
                      <a:pt x="4499" y="2137"/>
                    </a:lnTo>
                    <a:lnTo>
                      <a:pt x="4501" y="2149"/>
                    </a:lnTo>
                    <a:lnTo>
                      <a:pt x="4504" y="2158"/>
                    </a:lnTo>
                    <a:lnTo>
                      <a:pt x="4510" y="2164"/>
                    </a:lnTo>
                    <a:lnTo>
                      <a:pt x="4522" y="2167"/>
                    </a:lnTo>
                    <a:lnTo>
                      <a:pt x="4536" y="2174"/>
                    </a:lnTo>
                    <a:lnTo>
                      <a:pt x="4543" y="2170"/>
                    </a:lnTo>
                    <a:lnTo>
                      <a:pt x="4542" y="2163"/>
                    </a:lnTo>
                    <a:lnTo>
                      <a:pt x="4552" y="2156"/>
                    </a:lnTo>
                    <a:lnTo>
                      <a:pt x="4559" y="2165"/>
                    </a:lnTo>
                    <a:lnTo>
                      <a:pt x="4557" y="2174"/>
                    </a:lnTo>
                    <a:lnTo>
                      <a:pt x="4568" y="2176"/>
                    </a:lnTo>
                    <a:lnTo>
                      <a:pt x="4575" y="2181"/>
                    </a:lnTo>
                    <a:lnTo>
                      <a:pt x="4581" y="2183"/>
                    </a:lnTo>
                    <a:lnTo>
                      <a:pt x="4586" y="2192"/>
                    </a:lnTo>
                    <a:lnTo>
                      <a:pt x="4581" y="2199"/>
                    </a:lnTo>
                    <a:lnTo>
                      <a:pt x="4581" y="2203"/>
                    </a:lnTo>
                    <a:lnTo>
                      <a:pt x="4580" y="2206"/>
                    </a:lnTo>
                    <a:lnTo>
                      <a:pt x="4571" y="2208"/>
                    </a:lnTo>
                    <a:lnTo>
                      <a:pt x="4565" y="2206"/>
                    </a:lnTo>
                    <a:lnTo>
                      <a:pt x="4558" y="2207"/>
                    </a:lnTo>
                    <a:lnTo>
                      <a:pt x="4544" y="2213"/>
                    </a:lnTo>
                    <a:lnTo>
                      <a:pt x="4539" y="2216"/>
                    </a:lnTo>
                    <a:lnTo>
                      <a:pt x="4539" y="2218"/>
                    </a:lnTo>
                    <a:lnTo>
                      <a:pt x="4524" y="2228"/>
                    </a:lnTo>
                    <a:lnTo>
                      <a:pt x="4494" y="2232"/>
                    </a:lnTo>
                    <a:lnTo>
                      <a:pt x="4477" y="2238"/>
                    </a:lnTo>
                    <a:lnTo>
                      <a:pt x="4469" y="2246"/>
                    </a:lnTo>
                    <a:lnTo>
                      <a:pt x="4482" y="2246"/>
                    </a:lnTo>
                    <a:lnTo>
                      <a:pt x="4495" y="2242"/>
                    </a:lnTo>
                    <a:lnTo>
                      <a:pt x="4510" y="2233"/>
                    </a:lnTo>
                    <a:lnTo>
                      <a:pt x="4515" y="2235"/>
                    </a:lnTo>
                    <a:lnTo>
                      <a:pt x="4482" y="2251"/>
                    </a:lnTo>
                    <a:lnTo>
                      <a:pt x="4467" y="2256"/>
                    </a:lnTo>
                    <a:lnTo>
                      <a:pt x="4452" y="2256"/>
                    </a:lnTo>
                    <a:lnTo>
                      <a:pt x="4436" y="2280"/>
                    </a:lnTo>
                    <a:lnTo>
                      <a:pt x="4424" y="2276"/>
                    </a:lnTo>
                    <a:lnTo>
                      <a:pt x="4413" y="2267"/>
                    </a:lnTo>
                    <a:lnTo>
                      <a:pt x="4399" y="2264"/>
                    </a:lnTo>
                    <a:lnTo>
                      <a:pt x="4386" y="2265"/>
                    </a:lnTo>
                    <a:lnTo>
                      <a:pt x="4387" y="2274"/>
                    </a:lnTo>
                    <a:lnTo>
                      <a:pt x="4404" y="2276"/>
                    </a:lnTo>
                    <a:lnTo>
                      <a:pt x="4419" y="2282"/>
                    </a:lnTo>
                    <a:lnTo>
                      <a:pt x="4430" y="2289"/>
                    </a:lnTo>
                    <a:lnTo>
                      <a:pt x="4426" y="2314"/>
                    </a:lnTo>
                    <a:lnTo>
                      <a:pt x="4438" y="2308"/>
                    </a:lnTo>
                    <a:lnTo>
                      <a:pt x="4451" y="2298"/>
                    </a:lnTo>
                    <a:lnTo>
                      <a:pt x="4456" y="2291"/>
                    </a:lnTo>
                    <a:lnTo>
                      <a:pt x="4468" y="2283"/>
                    </a:lnTo>
                    <a:lnTo>
                      <a:pt x="4479" y="2272"/>
                    </a:lnTo>
                    <a:lnTo>
                      <a:pt x="4496" y="2265"/>
                    </a:lnTo>
                    <a:lnTo>
                      <a:pt x="4506" y="2251"/>
                    </a:lnTo>
                    <a:lnTo>
                      <a:pt x="4519" y="2244"/>
                    </a:lnTo>
                    <a:lnTo>
                      <a:pt x="4547" y="2237"/>
                    </a:lnTo>
                    <a:lnTo>
                      <a:pt x="4563" y="2240"/>
                    </a:lnTo>
                    <a:lnTo>
                      <a:pt x="4569" y="2238"/>
                    </a:lnTo>
                    <a:lnTo>
                      <a:pt x="4560" y="2234"/>
                    </a:lnTo>
                    <a:lnTo>
                      <a:pt x="4546" y="2231"/>
                    </a:lnTo>
                    <a:lnTo>
                      <a:pt x="4530" y="2234"/>
                    </a:lnTo>
                    <a:lnTo>
                      <a:pt x="4538" y="2229"/>
                    </a:lnTo>
                    <a:lnTo>
                      <a:pt x="4555" y="2226"/>
                    </a:lnTo>
                    <a:lnTo>
                      <a:pt x="4582" y="2228"/>
                    </a:lnTo>
                    <a:lnTo>
                      <a:pt x="4594" y="2228"/>
                    </a:lnTo>
                    <a:lnTo>
                      <a:pt x="4596" y="2233"/>
                    </a:lnTo>
                    <a:lnTo>
                      <a:pt x="4595" y="2243"/>
                    </a:lnTo>
                    <a:lnTo>
                      <a:pt x="4597" y="2253"/>
                    </a:lnTo>
                    <a:lnTo>
                      <a:pt x="4598" y="2265"/>
                    </a:lnTo>
                    <a:lnTo>
                      <a:pt x="4591" y="2275"/>
                    </a:lnTo>
                    <a:lnTo>
                      <a:pt x="4590" y="2285"/>
                    </a:lnTo>
                    <a:lnTo>
                      <a:pt x="4592" y="2301"/>
                    </a:lnTo>
                    <a:lnTo>
                      <a:pt x="4595" y="2301"/>
                    </a:lnTo>
                    <a:lnTo>
                      <a:pt x="4607" y="2274"/>
                    </a:lnTo>
                    <a:lnTo>
                      <a:pt x="4616" y="2267"/>
                    </a:lnTo>
                    <a:lnTo>
                      <a:pt x="4629" y="2266"/>
                    </a:lnTo>
                    <a:lnTo>
                      <a:pt x="4637" y="2269"/>
                    </a:lnTo>
                    <a:lnTo>
                      <a:pt x="4633" y="2274"/>
                    </a:lnTo>
                    <a:lnTo>
                      <a:pt x="4667" y="2286"/>
                    </a:lnTo>
                    <a:lnTo>
                      <a:pt x="4668" y="2289"/>
                    </a:lnTo>
                    <a:lnTo>
                      <a:pt x="4662" y="2293"/>
                    </a:lnTo>
                    <a:lnTo>
                      <a:pt x="4668" y="2303"/>
                    </a:lnTo>
                    <a:lnTo>
                      <a:pt x="4675" y="2307"/>
                    </a:lnTo>
                    <a:lnTo>
                      <a:pt x="4676" y="2313"/>
                    </a:lnTo>
                    <a:lnTo>
                      <a:pt x="4680" y="2315"/>
                    </a:lnTo>
                    <a:lnTo>
                      <a:pt x="4680" y="2323"/>
                    </a:lnTo>
                    <a:lnTo>
                      <a:pt x="4675" y="2325"/>
                    </a:lnTo>
                    <a:lnTo>
                      <a:pt x="4670" y="2330"/>
                    </a:lnTo>
                    <a:lnTo>
                      <a:pt x="4648" y="2321"/>
                    </a:lnTo>
                    <a:lnTo>
                      <a:pt x="4655" y="2334"/>
                    </a:lnTo>
                    <a:lnTo>
                      <a:pt x="4660" y="2336"/>
                    </a:lnTo>
                    <a:lnTo>
                      <a:pt x="4668" y="2336"/>
                    </a:lnTo>
                    <a:lnTo>
                      <a:pt x="4672" y="2350"/>
                    </a:lnTo>
                    <a:lnTo>
                      <a:pt x="4668" y="2353"/>
                    </a:lnTo>
                    <a:lnTo>
                      <a:pt x="4668" y="2357"/>
                    </a:lnTo>
                    <a:lnTo>
                      <a:pt x="4677" y="2371"/>
                    </a:lnTo>
                    <a:lnTo>
                      <a:pt x="4677" y="2373"/>
                    </a:lnTo>
                    <a:lnTo>
                      <a:pt x="4667" y="2372"/>
                    </a:lnTo>
                    <a:lnTo>
                      <a:pt x="4664" y="2378"/>
                    </a:lnTo>
                    <a:lnTo>
                      <a:pt x="4681" y="2383"/>
                    </a:lnTo>
                    <a:lnTo>
                      <a:pt x="4686" y="2395"/>
                    </a:lnTo>
                    <a:lnTo>
                      <a:pt x="4671" y="2394"/>
                    </a:lnTo>
                    <a:lnTo>
                      <a:pt x="4664" y="2391"/>
                    </a:lnTo>
                    <a:lnTo>
                      <a:pt x="4668" y="2398"/>
                    </a:lnTo>
                    <a:close/>
                  </a:path>
                </a:pathLst>
              </a:custGeom>
              <a:grpFill/>
              <a:ln w="63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43" name="Freeform 305"/>
              <p:cNvSpPr>
                <a:spLocks noChangeAspect="1"/>
              </p:cNvSpPr>
              <p:nvPr/>
            </p:nvSpPr>
            <p:spPr bwMode="gray">
              <a:xfrm>
                <a:off x="1437" y="1025"/>
                <a:ext cx="39" cy="63"/>
              </a:xfrm>
              <a:custGeom>
                <a:avLst/>
                <a:gdLst/>
                <a:ahLst/>
                <a:cxnLst>
                  <a:cxn ang="0">
                    <a:pos x="197" y="156"/>
                  </a:cxn>
                  <a:cxn ang="0">
                    <a:pos x="180" y="119"/>
                  </a:cxn>
                  <a:cxn ang="0">
                    <a:pos x="140" y="109"/>
                  </a:cxn>
                  <a:cxn ang="0">
                    <a:pos x="128" y="97"/>
                  </a:cxn>
                  <a:cxn ang="0">
                    <a:pos x="132" y="73"/>
                  </a:cxn>
                  <a:cxn ang="0">
                    <a:pos x="121" y="63"/>
                  </a:cxn>
                  <a:cxn ang="0">
                    <a:pos x="95" y="44"/>
                  </a:cxn>
                  <a:cxn ang="0">
                    <a:pos x="22" y="0"/>
                  </a:cxn>
                  <a:cxn ang="0">
                    <a:pos x="6" y="25"/>
                  </a:cxn>
                  <a:cxn ang="0">
                    <a:pos x="4" y="44"/>
                  </a:cxn>
                  <a:cxn ang="0">
                    <a:pos x="9" y="65"/>
                  </a:cxn>
                  <a:cxn ang="0">
                    <a:pos x="18" y="82"/>
                  </a:cxn>
                  <a:cxn ang="0">
                    <a:pos x="0" y="98"/>
                  </a:cxn>
                  <a:cxn ang="0">
                    <a:pos x="20" y="127"/>
                  </a:cxn>
                  <a:cxn ang="0">
                    <a:pos x="21" y="161"/>
                  </a:cxn>
                  <a:cxn ang="0">
                    <a:pos x="34" y="173"/>
                  </a:cxn>
                  <a:cxn ang="0">
                    <a:pos x="27" y="184"/>
                  </a:cxn>
                  <a:cxn ang="0">
                    <a:pos x="54" y="187"/>
                  </a:cxn>
                  <a:cxn ang="0">
                    <a:pos x="83" y="215"/>
                  </a:cxn>
                  <a:cxn ang="0">
                    <a:pos x="79" y="226"/>
                  </a:cxn>
                  <a:cxn ang="0">
                    <a:pos x="35" y="236"/>
                  </a:cxn>
                  <a:cxn ang="0">
                    <a:pos x="63" y="300"/>
                  </a:cxn>
                  <a:cxn ang="0">
                    <a:pos x="86" y="316"/>
                  </a:cxn>
                  <a:cxn ang="0">
                    <a:pos x="97" y="295"/>
                  </a:cxn>
                  <a:cxn ang="0">
                    <a:pos x="91" y="292"/>
                  </a:cxn>
                  <a:cxn ang="0">
                    <a:pos x="120" y="290"/>
                  </a:cxn>
                  <a:cxn ang="0">
                    <a:pos x="170" y="268"/>
                  </a:cxn>
                  <a:cxn ang="0">
                    <a:pos x="185" y="275"/>
                  </a:cxn>
                  <a:cxn ang="0">
                    <a:pos x="190" y="264"/>
                  </a:cxn>
                  <a:cxn ang="0">
                    <a:pos x="197" y="233"/>
                  </a:cxn>
                  <a:cxn ang="0">
                    <a:pos x="186" y="221"/>
                  </a:cxn>
                  <a:cxn ang="0">
                    <a:pos x="185" y="219"/>
                  </a:cxn>
                  <a:cxn ang="0">
                    <a:pos x="197" y="163"/>
                  </a:cxn>
                </a:cxnLst>
                <a:rect l="0" t="0" r="r" b="b"/>
                <a:pathLst>
                  <a:path w="197" h="316">
                    <a:moveTo>
                      <a:pt x="197" y="163"/>
                    </a:moveTo>
                    <a:lnTo>
                      <a:pt x="197" y="156"/>
                    </a:lnTo>
                    <a:lnTo>
                      <a:pt x="196" y="149"/>
                    </a:lnTo>
                    <a:lnTo>
                      <a:pt x="180" y="119"/>
                    </a:lnTo>
                    <a:lnTo>
                      <a:pt x="156" y="102"/>
                    </a:lnTo>
                    <a:lnTo>
                      <a:pt x="140" y="109"/>
                    </a:lnTo>
                    <a:lnTo>
                      <a:pt x="127" y="107"/>
                    </a:lnTo>
                    <a:lnTo>
                      <a:pt x="128" y="97"/>
                    </a:lnTo>
                    <a:lnTo>
                      <a:pt x="128" y="86"/>
                    </a:lnTo>
                    <a:lnTo>
                      <a:pt x="132" y="73"/>
                    </a:lnTo>
                    <a:lnTo>
                      <a:pt x="127" y="65"/>
                    </a:lnTo>
                    <a:lnTo>
                      <a:pt x="121" y="63"/>
                    </a:lnTo>
                    <a:lnTo>
                      <a:pt x="106" y="47"/>
                    </a:lnTo>
                    <a:lnTo>
                      <a:pt x="95" y="44"/>
                    </a:lnTo>
                    <a:lnTo>
                      <a:pt x="53" y="7"/>
                    </a:lnTo>
                    <a:lnTo>
                      <a:pt x="22" y="0"/>
                    </a:lnTo>
                    <a:lnTo>
                      <a:pt x="5" y="16"/>
                    </a:lnTo>
                    <a:lnTo>
                      <a:pt x="6" y="25"/>
                    </a:lnTo>
                    <a:lnTo>
                      <a:pt x="4" y="27"/>
                    </a:lnTo>
                    <a:lnTo>
                      <a:pt x="4" y="44"/>
                    </a:lnTo>
                    <a:lnTo>
                      <a:pt x="5" y="52"/>
                    </a:lnTo>
                    <a:lnTo>
                      <a:pt x="9" y="65"/>
                    </a:lnTo>
                    <a:lnTo>
                      <a:pt x="15" y="70"/>
                    </a:lnTo>
                    <a:lnTo>
                      <a:pt x="18" y="82"/>
                    </a:lnTo>
                    <a:lnTo>
                      <a:pt x="14" y="90"/>
                    </a:lnTo>
                    <a:lnTo>
                      <a:pt x="0" y="98"/>
                    </a:lnTo>
                    <a:lnTo>
                      <a:pt x="13" y="124"/>
                    </a:lnTo>
                    <a:lnTo>
                      <a:pt x="20" y="127"/>
                    </a:lnTo>
                    <a:lnTo>
                      <a:pt x="18" y="139"/>
                    </a:lnTo>
                    <a:lnTo>
                      <a:pt x="21" y="161"/>
                    </a:lnTo>
                    <a:lnTo>
                      <a:pt x="31" y="163"/>
                    </a:lnTo>
                    <a:lnTo>
                      <a:pt x="34" y="173"/>
                    </a:lnTo>
                    <a:lnTo>
                      <a:pt x="24" y="177"/>
                    </a:lnTo>
                    <a:lnTo>
                      <a:pt x="27" y="184"/>
                    </a:lnTo>
                    <a:lnTo>
                      <a:pt x="46" y="190"/>
                    </a:lnTo>
                    <a:lnTo>
                      <a:pt x="54" y="187"/>
                    </a:lnTo>
                    <a:lnTo>
                      <a:pt x="85" y="203"/>
                    </a:lnTo>
                    <a:lnTo>
                      <a:pt x="83" y="215"/>
                    </a:lnTo>
                    <a:lnTo>
                      <a:pt x="89" y="216"/>
                    </a:lnTo>
                    <a:lnTo>
                      <a:pt x="79" y="226"/>
                    </a:lnTo>
                    <a:lnTo>
                      <a:pt x="38" y="224"/>
                    </a:lnTo>
                    <a:lnTo>
                      <a:pt x="35" y="236"/>
                    </a:lnTo>
                    <a:lnTo>
                      <a:pt x="72" y="279"/>
                    </a:lnTo>
                    <a:lnTo>
                      <a:pt x="63" y="300"/>
                    </a:lnTo>
                    <a:lnTo>
                      <a:pt x="65" y="307"/>
                    </a:lnTo>
                    <a:lnTo>
                      <a:pt x="86" y="316"/>
                    </a:lnTo>
                    <a:lnTo>
                      <a:pt x="97" y="300"/>
                    </a:lnTo>
                    <a:lnTo>
                      <a:pt x="97" y="295"/>
                    </a:lnTo>
                    <a:lnTo>
                      <a:pt x="94" y="290"/>
                    </a:lnTo>
                    <a:lnTo>
                      <a:pt x="91" y="292"/>
                    </a:lnTo>
                    <a:lnTo>
                      <a:pt x="106" y="275"/>
                    </a:lnTo>
                    <a:lnTo>
                      <a:pt x="120" y="290"/>
                    </a:lnTo>
                    <a:lnTo>
                      <a:pt x="133" y="287"/>
                    </a:lnTo>
                    <a:lnTo>
                      <a:pt x="170" y="268"/>
                    </a:lnTo>
                    <a:lnTo>
                      <a:pt x="181" y="270"/>
                    </a:lnTo>
                    <a:lnTo>
                      <a:pt x="185" y="275"/>
                    </a:lnTo>
                    <a:lnTo>
                      <a:pt x="188" y="271"/>
                    </a:lnTo>
                    <a:lnTo>
                      <a:pt x="190" y="264"/>
                    </a:lnTo>
                    <a:lnTo>
                      <a:pt x="196" y="249"/>
                    </a:lnTo>
                    <a:lnTo>
                      <a:pt x="197" y="233"/>
                    </a:lnTo>
                    <a:lnTo>
                      <a:pt x="193" y="227"/>
                    </a:lnTo>
                    <a:lnTo>
                      <a:pt x="186" y="221"/>
                    </a:lnTo>
                    <a:lnTo>
                      <a:pt x="186" y="225"/>
                    </a:lnTo>
                    <a:lnTo>
                      <a:pt x="185" y="219"/>
                    </a:lnTo>
                    <a:lnTo>
                      <a:pt x="185" y="174"/>
                    </a:lnTo>
                    <a:lnTo>
                      <a:pt x="197" y="16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44" name="Freeform 306"/>
              <p:cNvSpPr>
                <a:spLocks noChangeAspect="1"/>
              </p:cNvSpPr>
              <p:nvPr/>
            </p:nvSpPr>
            <p:spPr bwMode="gray">
              <a:xfrm>
                <a:off x="1356" y="1000"/>
                <a:ext cx="74" cy="86"/>
              </a:xfrm>
              <a:custGeom>
                <a:avLst/>
                <a:gdLst/>
                <a:ahLst/>
                <a:cxnLst>
                  <a:cxn ang="0">
                    <a:pos x="318" y="278"/>
                  </a:cxn>
                  <a:cxn ang="0">
                    <a:pos x="327" y="224"/>
                  </a:cxn>
                  <a:cxn ang="0">
                    <a:pos x="332" y="197"/>
                  </a:cxn>
                  <a:cxn ang="0">
                    <a:pos x="321" y="194"/>
                  </a:cxn>
                  <a:cxn ang="0">
                    <a:pos x="300" y="176"/>
                  </a:cxn>
                  <a:cxn ang="0">
                    <a:pos x="297" y="141"/>
                  </a:cxn>
                  <a:cxn ang="0">
                    <a:pos x="245" y="131"/>
                  </a:cxn>
                  <a:cxn ang="0">
                    <a:pos x="236" y="133"/>
                  </a:cxn>
                  <a:cxn ang="0">
                    <a:pos x="232" y="101"/>
                  </a:cxn>
                  <a:cxn ang="0">
                    <a:pos x="220" y="85"/>
                  </a:cxn>
                  <a:cxn ang="0">
                    <a:pos x="210" y="76"/>
                  </a:cxn>
                  <a:cxn ang="0">
                    <a:pos x="176" y="44"/>
                  </a:cxn>
                  <a:cxn ang="0">
                    <a:pos x="148" y="76"/>
                  </a:cxn>
                  <a:cxn ang="0">
                    <a:pos x="143" y="114"/>
                  </a:cxn>
                  <a:cxn ang="0">
                    <a:pos x="130" y="22"/>
                  </a:cxn>
                  <a:cxn ang="0">
                    <a:pos x="108" y="16"/>
                  </a:cxn>
                  <a:cxn ang="0">
                    <a:pos x="84" y="0"/>
                  </a:cxn>
                  <a:cxn ang="0">
                    <a:pos x="11" y="16"/>
                  </a:cxn>
                  <a:cxn ang="0">
                    <a:pos x="5" y="101"/>
                  </a:cxn>
                  <a:cxn ang="0">
                    <a:pos x="40" y="96"/>
                  </a:cxn>
                  <a:cxn ang="0">
                    <a:pos x="42" y="145"/>
                  </a:cxn>
                  <a:cxn ang="0">
                    <a:pos x="55" y="155"/>
                  </a:cxn>
                  <a:cxn ang="0">
                    <a:pos x="80" y="109"/>
                  </a:cxn>
                  <a:cxn ang="0">
                    <a:pos x="95" y="130"/>
                  </a:cxn>
                  <a:cxn ang="0">
                    <a:pos x="81" y="155"/>
                  </a:cxn>
                  <a:cxn ang="0">
                    <a:pos x="97" y="162"/>
                  </a:cxn>
                  <a:cxn ang="0">
                    <a:pos x="123" y="168"/>
                  </a:cxn>
                  <a:cxn ang="0">
                    <a:pos x="96" y="201"/>
                  </a:cxn>
                  <a:cxn ang="0">
                    <a:pos x="121" y="228"/>
                  </a:cxn>
                  <a:cxn ang="0">
                    <a:pos x="65" y="225"/>
                  </a:cxn>
                  <a:cxn ang="0">
                    <a:pos x="42" y="253"/>
                  </a:cxn>
                  <a:cxn ang="0">
                    <a:pos x="79" y="307"/>
                  </a:cxn>
                  <a:cxn ang="0">
                    <a:pos x="118" y="290"/>
                  </a:cxn>
                  <a:cxn ang="0">
                    <a:pos x="157" y="282"/>
                  </a:cxn>
                  <a:cxn ang="0">
                    <a:pos x="180" y="305"/>
                  </a:cxn>
                  <a:cxn ang="0">
                    <a:pos x="230" y="305"/>
                  </a:cxn>
                  <a:cxn ang="0">
                    <a:pos x="250" y="322"/>
                  </a:cxn>
                  <a:cxn ang="0">
                    <a:pos x="257" y="328"/>
                  </a:cxn>
                  <a:cxn ang="0">
                    <a:pos x="277" y="388"/>
                  </a:cxn>
                  <a:cxn ang="0">
                    <a:pos x="301" y="416"/>
                  </a:cxn>
                  <a:cxn ang="0">
                    <a:pos x="326" y="415"/>
                  </a:cxn>
                  <a:cxn ang="0">
                    <a:pos x="360" y="395"/>
                  </a:cxn>
                  <a:cxn ang="0">
                    <a:pos x="337" y="301"/>
                  </a:cxn>
                </a:cxnLst>
                <a:rect l="0" t="0" r="r" b="b"/>
                <a:pathLst>
                  <a:path w="368" h="430">
                    <a:moveTo>
                      <a:pt x="337" y="301"/>
                    </a:moveTo>
                    <a:lnTo>
                      <a:pt x="333" y="284"/>
                    </a:lnTo>
                    <a:lnTo>
                      <a:pt x="318" y="278"/>
                    </a:lnTo>
                    <a:lnTo>
                      <a:pt x="320" y="260"/>
                    </a:lnTo>
                    <a:lnTo>
                      <a:pt x="316" y="243"/>
                    </a:lnTo>
                    <a:lnTo>
                      <a:pt x="327" y="224"/>
                    </a:lnTo>
                    <a:lnTo>
                      <a:pt x="328" y="211"/>
                    </a:lnTo>
                    <a:lnTo>
                      <a:pt x="332" y="204"/>
                    </a:lnTo>
                    <a:lnTo>
                      <a:pt x="332" y="197"/>
                    </a:lnTo>
                    <a:lnTo>
                      <a:pt x="327" y="190"/>
                    </a:lnTo>
                    <a:lnTo>
                      <a:pt x="323" y="187"/>
                    </a:lnTo>
                    <a:lnTo>
                      <a:pt x="321" y="194"/>
                    </a:lnTo>
                    <a:lnTo>
                      <a:pt x="311" y="177"/>
                    </a:lnTo>
                    <a:lnTo>
                      <a:pt x="312" y="177"/>
                    </a:lnTo>
                    <a:lnTo>
                      <a:pt x="300" y="176"/>
                    </a:lnTo>
                    <a:lnTo>
                      <a:pt x="299" y="171"/>
                    </a:lnTo>
                    <a:lnTo>
                      <a:pt x="304" y="158"/>
                    </a:lnTo>
                    <a:lnTo>
                      <a:pt x="297" y="141"/>
                    </a:lnTo>
                    <a:lnTo>
                      <a:pt x="266" y="118"/>
                    </a:lnTo>
                    <a:lnTo>
                      <a:pt x="261" y="125"/>
                    </a:lnTo>
                    <a:lnTo>
                      <a:pt x="245" y="131"/>
                    </a:lnTo>
                    <a:lnTo>
                      <a:pt x="237" y="141"/>
                    </a:lnTo>
                    <a:lnTo>
                      <a:pt x="235" y="139"/>
                    </a:lnTo>
                    <a:lnTo>
                      <a:pt x="236" y="133"/>
                    </a:lnTo>
                    <a:lnTo>
                      <a:pt x="227" y="128"/>
                    </a:lnTo>
                    <a:lnTo>
                      <a:pt x="227" y="119"/>
                    </a:lnTo>
                    <a:lnTo>
                      <a:pt x="232" y="101"/>
                    </a:lnTo>
                    <a:lnTo>
                      <a:pt x="231" y="85"/>
                    </a:lnTo>
                    <a:lnTo>
                      <a:pt x="223" y="75"/>
                    </a:lnTo>
                    <a:lnTo>
                      <a:pt x="220" y="85"/>
                    </a:lnTo>
                    <a:lnTo>
                      <a:pt x="211" y="90"/>
                    </a:lnTo>
                    <a:lnTo>
                      <a:pt x="211" y="85"/>
                    </a:lnTo>
                    <a:lnTo>
                      <a:pt x="210" y="76"/>
                    </a:lnTo>
                    <a:lnTo>
                      <a:pt x="200" y="69"/>
                    </a:lnTo>
                    <a:lnTo>
                      <a:pt x="193" y="53"/>
                    </a:lnTo>
                    <a:lnTo>
                      <a:pt x="176" y="44"/>
                    </a:lnTo>
                    <a:lnTo>
                      <a:pt x="166" y="44"/>
                    </a:lnTo>
                    <a:lnTo>
                      <a:pt x="151" y="65"/>
                    </a:lnTo>
                    <a:lnTo>
                      <a:pt x="148" y="76"/>
                    </a:lnTo>
                    <a:lnTo>
                      <a:pt x="148" y="93"/>
                    </a:lnTo>
                    <a:lnTo>
                      <a:pt x="146" y="104"/>
                    </a:lnTo>
                    <a:lnTo>
                      <a:pt x="143" y="114"/>
                    </a:lnTo>
                    <a:lnTo>
                      <a:pt x="129" y="96"/>
                    </a:lnTo>
                    <a:lnTo>
                      <a:pt x="134" y="33"/>
                    </a:lnTo>
                    <a:lnTo>
                      <a:pt x="130" y="22"/>
                    </a:lnTo>
                    <a:lnTo>
                      <a:pt x="116" y="21"/>
                    </a:lnTo>
                    <a:lnTo>
                      <a:pt x="103" y="27"/>
                    </a:lnTo>
                    <a:lnTo>
                      <a:pt x="108" y="16"/>
                    </a:lnTo>
                    <a:lnTo>
                      <a:pt x="106" y="11"/>
                    </a:lnTo>
                    <a:lnTo>
                      <a:pt x="95" y="4"/>
                    </a:lnTo>
                    <a:lnTo>
                      <a:pt x="84" y="0"/>
                    </a:lnTo>
                    <a:lnTo>
                      <a:pt x="62" y="13"/>
                    </a:lnTo>
                    <a:lnTo>
                      <a:pt x="22" y="22"/>
                    </a:lnTo>
                    <a:lnTo>
                      <a:pt x="11" y="16"/>
                    </a:lnTo>
                    <a:lnTo>
                      <a:pt x="9" y="21"/>
                    </a:lnTo>
                    <a:lnTo>
                      <a:pt x="0" y="56"/>
                    </a:lnTo>
                    <a:lnTo>
                      <a:pt x="5" y="101"/>
                    </a:lnTo>
                    <a:lnTo>
                      <a:pt x="6" y="104"/>
                    </a:lnTo>
                    <a:lnTo>
                      <a:pt x="17" y="107"/>
                    </a:lnTo>
                    <a:lnTo>
                      <a:pt x="40" y="96"/>
                    </a:lnTo>
                    <a:lnTo>
                      <a:pt x="52" y="98"/>
                    </a:lnTo>
                    <a:lnTo>
                      <a:pt x="52" y="114"/>
                    </a:lnTo>
                    <a:lnTo>
                      <a:pt x="42" y="145"/>
                    </a:lnTo>
                    <a:lnTo>
                      <a:pt x="36" y="150"/>
                    </a:lnTo>
                    <a:lnTo>
                      <a:pt x="41" y="161"/>
                    </a:lnTo>
                    <a:lnTo>
                      <a:pt x="55" y="155"/>
                    </a:lnTo>
                    <a:lnTo>
                      <a:pt x="67" y="120"/>
                    </a:lnTo>
                    <a:lnTo>
                      <a:pt x="75" y="117"/>
                    </a:lnTo>
                    <a:lnTo>
                      <a:pt x="80" y="109"/>
                    </a:lnTo>
                    <a:lnTo>
                      <a:pt x="87" y="111"/>
                    </a:lnTo>
                    <a:lnTo>
                      <a:pt x="92" y="117"/>
                    </a:lnTo>
                    <a:lnTo>
                      <a:pt x="95" y="130"/>
                    </a:lnTo>
                    <a:lnTo>
                      <a:pt x="92" y="139"/>
                    </a:lnTo>
                    <a:lnTo>
                      <a:pt x="89" y="146"/>
                    </a:lnTo>
                    <a:lnTo>
                      <a:pt x="81" y="155"/>
                    </a:lnTo>
                    <a:lnTo>
                      <a:pt x="83" y="171"/>
                    </a:lnTo>
                    <a:lnTo>
                      <a:pt x="92" y="174"/>
                    </a:lnTo>
                    <a:lnTo>
                      <a:pt x="97" y="162"/>
                    </a:lnTo>
                    <a:lnTo>
                      <a:pt x="102" y="165"/>
                    </a:lnTo>
                    <a:lnTo>
                      <a:pt x="103" y="176"/>
                    </a:lnTo>
                    <a:lnTo>
                      <a:pt x="123" y="168"/>
                    </a:lnTo>
                    <a:lnTo>
                      <a:pt x="122" y="181"/>
                    </a:lnTo>
                    <a:lnTo>
                      <a:pt x="117" y="190"/>
                    </a:lnTo>
                    <a:lnTo>
                      <a:pt x="96" y="201"/>
                    </a:lnTo>
                    <a:lnTo>
                      <a:pt x="94" y="210"/>
                    </a:lnTo>
                    <a:lnTo>
                      <a:pt x="127" y="216"/>
                    </a:lnTo>
                    <a:lnTo>
                      <a:pt x="121" y="228"/>
                    </a:lnTo>
                    <a:lnTo>
                      <a:pt x="118" y="242"/>
                    </a:lnTo>
                    <a:lnTo>
                      <a:pt x="92" y="240"/>
                    </a:lnTo>
                    <a:lnTo>
                      <a:pt x="65" y="225"/>
                    </a:lnTo>
                    <a:lnTo>
                      <a:pt x="47" y="228"/>
                    </a:lnTo>
                    <a:lnTo>
                      <a:pt x="41" y="236"/>
                    </a:lnTo>
                    <a:lnTo>
                      <a:pt x="42" y="253"/>
                    </a:lnTo>
                    <a:lnTo>
                      <a:pt x="43" y="268"/>
                    </a:lnTo>
                    <a:lnTo>
                      <a:pt x="57" y="290"/>
                    </a:lnTo>
                    <a:lnTo>
                      <a:pt x="79" y="307"/>
                    </a:lnTo>
                    <a:lnTo>
                      <a:pt x="103" y="310"/>
                    </a:lnTo>
                    <a:lnTo>
                      <a:pt x="111" y="303"/>
                    </a:lnTo>
                    <a:lnTo>
                      <a:pt x="118" y="290"/>
                    </a:lnTo>
                    <a:lnTo>
                      <a:pt x="127" y="290"/>
                    </a:lnTo>
                    <a:lnTo>
                      <a:pt x="159" y="274"/>
                    </a:lnTo>
                    <a:lnTo>
                      <a:pt x="157" y="282"/>
                    </a:lnTo>
                    <a:lnTo>
                      <a:pt x="159" y="295"/>
                    </a:lnTo>
                    <a:lnTo>
                      <a:pt x="170" y="305"/>
                    </a:lnTo>
                    <a:lnTo>
                      <a:pt x="180" y="305"/>
                    </a:lnTo>
                    <a:lnTo>
                      <a:pt x="191" y="297"/>
                    </a:lnTo>
                    <a:lnTo>
                      <a:pt x="203" y="297"/>
                    </a:lnTo>
                    <a:lnTo>
                      <a:pt x="230" y="305"/>
                    </a:lnTo>
                    <a:lnTo>
                      <a:pt x="234" y="312"/>
                    </a:lnTo>
                    <a:lnTo>
                      <a:pt x="234" y="321"/>
                    </a:lnTo>
                    <a:lnTo>
                      <a:pt x="250" y="322"/>
                    </a:lnTo>
                    <a:lnTo>
                      <a:pt x="253" y="316"/>
                    </a:lnTo>
                    <a:lnTo>
                      <a:pt x="256" y="318"/>
                    </a:lnTo>
                    <a:lnTo>
                      <a:pt x="257" y="328"/>
                    </a:lnTo>
                    <a:lnTo>
                      <a:pt x="268" y="343"/>
                    </a:lnTo>
                    <a:lnTo>
                      <a:pt x="268" y="366"/>
                    </a:lnTo>
                    <a:lnTo>
                      <a:pt x="277" y="388"/>
                    </a:lnTo>
                    <a:lnTo>
                      <a:pt x="278" y="399"/>
                    </a:lnTo>
                    <a:lnTo>
                      <a:pt x="294" y="418"/>
                    </a:lnTo>
                    <a:lnTo>
                      <a:pt x="301" y="416"/>
                    </a:lnTo>
                    <a:lnTo>
                      <a:pt x="313" y="430"/>
                    </a:lnTo>
                    <a:lnTo>
                      <a:pt x="318" y="420"/>
                    </a:lnTo>
                    <a:lnTo>
                      <a:pt x="326" y="415"/>
                    </a:lnTo>
                    <a:lnTo>
                      <a:pt x="339" y="416"/>
                    </a:lnTo>
                    <a:lnTo>
                      <a:pt x="355" y="410"/>
                    </a:lnTo>
                    <a:lnTo>
                      <a:pt x="360" y="395"/>
                    </a:lnTo>
                    <a:lnTo>
                      <a:pt x="359" y="382"/>
                    </a:lnTo>
                    <a:lnTo>
                      <a:pt x="368" y="357"/>
                    </a:lnTo>
                    <a:lnTo>
                      <a:pt x="337" y="30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45" name="Freeform 307"/>
              <p:cNvSpPr>
                <a:spLocks noChangeAspect="1"/>
              </p:cNvSpPr>
              <p:nvPr/>
            </p:nvSpPr>
            <p:spPr bwMode="gray">
              <a:xfrm>
                <a:off x="1462" y="960"/>
                <a:ext cx="121" cy="112"/>
              </a:xfrm>
              <a:custGeom>
                <a:avLst/>
                <a:gdLst/>
                <a:ahLst/>
                <a:cxnLst>
                  <a:cxn ang="0">
                    <a:pos x="22" y="39"/>
                  </a:cxn>
                  <a:cxn ang="0">
                    <a:pos x="18" y="69"/>
                  </a:cxn>
                  <a:cxn ang="0">
                    <a:pos x="88" y="118"/>
                  </a:cxn>
                  <a:cxn ang="0">
                    <a:pos x="103" y="142"/>
                  </a:cxn>
                  <a:cxn ang="0">
                    <a:pos x="45" y="146"/>
                  </a:cxn>
                  <a:cxn ang="0">
                    <a:pos x="39" y="178"/>
                  </a:cxn>
                  <a:cxn ang="0">
                    <a:pos x="70" y="189"/>
                  </a:cxn>
                  <a:cxn ang="0">
                    <a:pos x="83" y="233"/>
                  </a:cxn>
                  <a:cxn ang="0">
                    <a:pos x="110" y="200"/>
                  </a:cxn>
                  <a:cxn ang="0">
                    <a:pos x="143" y="192"/>
                  </a:cxn>
                  <a:cxn ang="0">
                    <a:pos x="132" y="225"/>
                  </a:cxn>
                  <a:cxn ang="0">
                    <a:pos x="158" y="204"/>
                  </a:cxn>
                  <a:cxn ang="0">
                    <a:pos x="177" y="181"/>
                  </a:cxn>
                  <a:cxn ang="0">
                    <a:pos x="193" y="192"/>
                  </a:cxn>
                  <a:cxn ang="0">
                    <a:pos x="229" y="209"/>
                  </a:cxn>
                  <a:cxn ang="0">
                    <a:pos x="260" y="216"/>
                  </a:cxn>
                  <a:cxn ang="0">
                    <a:pos x="208" y="232"/>
                  </a:cxn>
                  <a:cxn ang="0">
                    <a:pos x="266" y="236"/>
                  </a:cxn>
                  <a:cxn ang="0">
                    <a:pos x="313" y="243"/>
                  </a:cxn>
                  <a:cxn ang="0">
                    <a:pos x="154" y="292"/>
                  </a:cxn>
                  <a:cxn ang="0">
                    <a:pos x="138" y="340"/>
                  </a:cxn>
                  <a:cxn ang="0">
                    <a:pos x="185" y="382"/>
                  </a:cxn>
                  <a:cxn ang="0">
                    <a:pos x="153" y="392"/>
                  </a:cxn>
                  <a:cxn ang="0">
                    <a:pos x="164" y="416"/>
                  </a:cxn>
                  <a:cxn ang="0">
                    <a:pos x="243" y="442"/>
                  </a:cxn>
                  <a:cxn ang="0">
                    <a:pos x="184" y="486"/>
                  </a:cxn>
                  <a:cxn ang="0">
                    <a:pos x="211" y="506"/>
                  </a:cxn>
                  <a:cxn ang="0">
                    <a:pos x="210" y="513"/>
                  </a:cxn>
                  <a:cxn ang="0">
                    <a:pos x="250" y="547"/>
                  </a:cxn>
                  <a:cxn ang="0">
                    <a:pos x="326" y="549"/>
                  </a:cxn>
                  <a:cxn ang="0">
                    <a:pos x="326" y="511"/>
                  </a:cxn>
                  <a:cxn ang="0">
                    <a:pos x="365" y="552"/>
                  </a:cxn>
                  <a:cxn ang="0">
                    <a:pos x="335" y="475"/>
                  </a:cxn>
                  <a:cxn ang="0">
                    <a:pos x="330" y="430"/>
                  </a:cxn>
                  <a:cxn ang="0">
                    <a:pos x="368" y="497"/>
                  </a:cxn>
                  <a:cxn ang="0">
                    <a:pos x="405" y="533"/>
                  </a:cxn>
                  <a:cxn ang="0">
                    <a:pos x="398" y="415"/>
                  </a:cxn>
                  <a:cxn ang="0">
                    <a:pos x="421" y="461"/>
                  </a:cxn>
                  <a:cxn ang="0">
                    <a:pos x="435" y="416"/>
                  </a:cxn>
                  <a:cxn ang="0">
                    <a:pos x="420" y="360"/>
                  </a:cxn>
                  <a:cxn ang="0">
                    <a:pos x="432" y="284"/>
                  </a:cxn>
                  <a:cxn ang="0">
                    <a:pos x="431" y="321"/>
                  </a:cxn>
                  <a:cxn ang="0">
                    <a:pos x="455" y="407"/>
                  </a:cxn>
                  <a:cxn ang="0">
                    <a:pos x="486" y="303"/>
                  </a:cxn>
                  <a:cxn ang="0">
                    <a:pos x="513" y="310"/>
                  </a:cxn>
                  <a:cxn ang="0">
                    <a:pos x="602" y="231"/>
                  </a:cxn>
                  <a:cxn ang="0">
                    <a:pos x="588" y="170"/>
                  </a:cxn>
                  <a:cxn ang="0">
                    <a:pos x="551" y="135"/>
                  </a:cxn>
                  <a:cxn ang="0">
                    <a:pos x="535" y="176"/>
                  </a:cxn>
                  <a:cxn ang="0">
                    <a:pos x="539" y="141"/>
                  </a:cxn>
                  <a:cxn ang="0">
                    <a:pos x="507" y="93"/>
                  </a:cxn>
                  <a:cxn ang="0">
                    <a:pos x="468" y="127"/>
                  </a:cxn>
                  <a:cxn ang="0">
                    <a:pos x="481" y="96"/>
                  </a:cxn>
                  <a:cxn ang="0">
                    <a:pos x="481" y="33"/>
                  </a:cxn>
                  <a:cxn ang="0">
                    <a:pos x="104" y="0"/>
                  </a:cxn>
                  <a:cxn ang="0">
                    <a:pos x="99" y="0"/>
                  </a:cxn>
                  <a:cxn ang="0">
                    <a:pos x="2" y="0"/>
                  </a:cxn>
                </a:cxnLst>
                <a:rect l="0" t="0" r="r" b="b"/>
                <a:pathLst>
                  <a:path w="603" h="558">
                    <a:moveTo>
                      <a:pt x="3" y="21"/>
                    </a:moveTo>
                    <a:lnTo>
                      <a:pt x="23" y="26"/>
                    </a:lnTo>
                    <a:lnTo>
                      <a:pt x="25" y="32"/>
                    </a:lnTo>
                    <a:lnTo>
                      <a:pt x="22" y="39"/>
                    </a:lnTo>
                    <a:lnTo>
                      <a:pt x="1" y="42"/>
                    </a:lnTo>
                    <a:lnTo>
                      <a:pt x="12" y="52"/>
                    </a:lnTo>
                    <a:lnTo>
                      <a:pt x="9" y="57"/>
                    </a:lnTo>
                    <a:lnTo>
                      <a:pt x="18" y="69"/>
                    </a:lnTo>
                    <a:lnTo>
                      <a:pt x="34" y="103"/>
                    </a:lnTo>
                    <a:lnTo>
                      <a:pt x="55" y="117"/>
                    </a:lnTo>
                    <a:lnTo>
                      <a:pt x="59" y="124"/>
                    </a:lnTo>
                    <a:lnTo>
                      <a:pt x="88" y="118"/>
                    </a:lnTo>
                    <a:lnTo>
                      <a:pt x="105" y="128"/>
                    </a:lnTo>
                    <a:lnTo>
                      <a:pt x="126" y="104"/>
                    </a:lnTo>
                    <a:lnTo>
                      <a:pt x="120" y="129"/>
                    </a:lnTo>
                    <a:lnTo>
                      <a:pt x="103" y="142"/>
                    </a:lnTo>
                    <a:lnTo>
                      <a:pt x="81" y="144"/>
                    </a:lnTo>
                    <a:lnTo>
                      <a:pt x="80" y="149"/>
                    </a:lnTo>
                    <a:lnTo>
                      <a:pt x="64" y="155"/>
                    </a:lnTo>
                    <a:lnTo>
                      <a:pt x="45" y="146"/>
                    </a:lnTo>
                    <a:lnTo>
                      <a:pt x="39" y="152"/>
                    </a:lnTo>
                    <a:lnTo>
                      <a:pt x="38" y="161"/>
                    </a:lnTo>
                    <a:lnTo>
                      <a:pt x="40" y="168"/>
                    </a:lnTo>
                    <a:lnTo>
                      <a:pt x="39" y="178"/>
                    </a:lnTo>
                    <a:lnTo>
                      <a:pt x="48" y="189"/>
                    </a:lnTo>
                    <a:lnTo>
                      <a:pt x="56" y="188"/>
                    </a:lnTo>
                    <a:lnTo>
                      <a:pt x="60" y="195"/>
                    </a:lnTo>
                    <a:lnTo>
                      <a:pt x="70" y="189"/>
                    </a:lnTo>
                    <a:lnTo>
                      <a:pt x="72" y="200"/>
                    </a:lnTo>
                    <a:lnTo>
                      <a:pt x="77" y="209"/>
                    </a:lnTo>
                    <a:lnTo>
                      <a:pt x="76" y="212"/>
                    </a:lnTo>
                    <a:lnTo>
                      <a:pt x="83" y="233"/>
                    </a:lnTo>
                    <a:lnTo>
                      <a:pt x="88" y="224"/>
                    </a:lnTo>
                    <a:lnTo>
                      <a:pt x="98" y="212"/>
                    </a:lnTo>
                    <a:lnTo>
                      <a:pt x="108" y="209"/>
                    </a:lnTo>
                    <a:lnTo>
                      <a:pt x="110" y="200"/>
                    </a:lnTo>
                    <a:lnTo>
                      <a:pt x="109" y="193"/>
                    </a:lnTo>
                    <a:lnTo>
                      <a:pt x="116" y="183"/>
                    </a:lnTo>
                    <a:lnTo>
                      <a:pt x="135" y="193"/>
                    </a:lnTo>
                    <a:lnTo>
                      <a:pt x="143" y="192"/>
                    </a:lnTo>
                    <a:lnTo>
                      <a:pt x="132" y="203"/>
                    </a:lnTo>
                    <a:lnTo>
                      <a:pt x="130" y="209"/>
                    </a:lnTo>
                    <a:lnTo>
                      <a:pt x="129" y="225"/>
                    </a:lnTo>
                    <a:lnTo>
                      <a:pt x="132" y="225"/>
                    </a:lnTo>
                    <a:lnTo>
                      <a:pt x="138" y="236"/>
                    </a:lnTo>
                    <a:lnTo>
                      <a:pt x="146" y="233"/>
                    </a:lnTo>
                    <a:lnTo>
                      <a:pt x="156" y="221"/>
                    </a:lnTo>
                    <a:lnTo>
                      <a:pt x="158" y="204"/>
                    </a:lnTo>
                    <a:lnTo>
                      <a:pt x="168" y="197"/>
                    </a:lnTo>
                    <a:lnTo>
                      <a:pt x="170" y="181"/>
                    </a:lnTo>
                    <a:lnTo>
                      <a:pt x="175" y="172"/>
                    </a:lnTo>
                    <a:lnTo>
                      <a:pt x="177" y="181"/>
                    </a:lnTo>
                    <a:lnTo>
                      <a:pt x="170" y="208"/>
                    </a:lnTo>
                    <a:lnTo>
                      <a:pt x="174" y="211"/>
                    </a:lnTo>
                    <a:lnTo>
                      <a:pt x="191" y="205"/>
                    </a:lnTo>
                    <a:lnTo>
                      <a:pt x="193" y="192"/>
                    </a:lnTo>
                    <a:lnTo>
                      <a:pt x="194" y="189"/>
                    </a:lnTo>
                    <a:lnTo>
                      <a:pt x="218" y="183"/>
                    </a:lnTo>
                    <a:lnTo>
                      <a:pt x="215" y="200"/>
                    </a:lnTo>
                    <a:lnTo>
                      <a:pt x="229" y="209"/>
                    </a:lnTo>
                    <a:lnTo>
                      <a:pt x="276" y="203"/>
                    </a:lnTo>
                    <a:lnTo>
                      <a:pt x="277" y="206"/>
                    </a:lnTo>
                    <a:lnTo>
                      <a:pt x="272" y="211"/>
                    </a:lnTo>
                    <a:lnTo>
                      <a:pt x="260" y="216"/>
                    </a:lnTo>
                    <a:lnTo>
                      <a:pt x="222" y="216"/>
                    </a:lnTo>
                    <a:lnTo>
                      <a:pt x="220" y="224"/>
                    </a:lnTo>
                    <a:lnTo>
                      <a:pt x="208" y="224"/>
                    </a:lnTo>
                    <a:lnTo>
                      <a:pt x="208" y="232"/>
                    </a:lnTo>
                    <a:lnTo>
                      <a:pt x="213" y="237"/>
                    </a:lnTo>
                    <a:lnTo>
                      <a:pt x="227" y="244"/>
                    </a:lnTo>
                    <a:lnTo>
                      <a:pt x="259" y="243"/>
                    </a:lnTo>
                    <a:lnTo>
                      <a:pt x="266" y="236"/>
                    </a:lnTo>
                    <a:lnTo>
                      <a:pt x="312" y="231"/>
                    </a:lnTo>
                    <a:lnTo>
                      <a:pt x="324" y="222"/>
                    </a:lnTo>
                    <a:lnTo>
                      <a:pt x="315" y="241"/>
                    </a:lnTo>
                    <a:lnTo>
                      <a:pt x="313" y="243"/>
                    </a:lnTo>
                    <a:lnTo>
                      <a:pt x="275" y="247"/>
                    </a:lnTo>
                    <a:lnTo>
                      <a:pt x="242" y="258"/>
                    </a:lnTo>
                    <a:lnTo>
                      <a:pt x="173" y="265"/>
                    </a:lnTo>
                    <a:lnTo>
                      <a:pt x="154" y="292"/>
                    </a:lnTo>
                    <a:lnTo>
                      <a:pt x="138" y="298"/>
                    </a:lnTo>
                    <a:lnTo>
                      <a:pt x="127" y="313"/>
                    </a:lnTo>
                    <a:lnTo>
                      <a:pt x="130" y="325"/>
                    </a:lnTo>
                    <a:lnTo>
                      <a:pt x="138" y="340"/>
                    </a:lnTo>
                    <a:lnTo>
                      <a:pt x="145" y="359"/>
                    </a:lnTo>
                    <a:lnTo>
                      <a:pt x="163" y="356"/>
                    </a:lnTo>
                    <a:lnTo>
                      <a:pt x="183" y="371"/>
                    </a:lnTo>
                    <a:lnTo>
                      <a:pt x="185" y="382"/>
                    </a:lnTo>
                    <a:lnTo>
                      <a:pt x="163" y="380"/>
                    </a:lnTo>
                    <a:lnTo>
                      <a:pt x="156" y="373"/>
                    </a:lnTo>
                    <a:lnTo>
                      <a:pt x="151" y="377"/>
                    </a:lnTo>
                    <a:lnTo>
                      <a:pt x="153" y="392"/>
                    </a:lnTo>
                    <a:lnTo>
                      <a:pt x="158" y="404"/>
                    </a:lnTo>
                    <a:lnTo>
                      <a:pt x="165" y="404"/>
                    </a:lnTo>
                    <a:lnTo>
                      <a:pt x="163" y="410"/>
                    </a:lnTo>
                    <a:lnTo>
                      <a:pt x="164" y="416"/>
                    </a:lnTo>
                    <a:lnTo>
                      <a:pt x="170" y="426"/>
                    </a:lnTo>
                    <a:lnTo>
                      <a:pt x="193" y="420"/>
                    </a:lnTo>
                    <a:lnTo>
                      <a:pt x="201" y="427"/>
                    </a:lnTo>
                    <a:lnTo>
                      <a:pt x="243" y="442"/>
                    </a:lnTo>
                    <a:lnTo>
                      <a:pt x="238" y="448"/>
                    </a:lnTo>
                    <a:lnTo>
                      <a:pt x="178" y="457"/>
                    </a:lnTo>
                    <a:lnTo>
                      <a:pt x="178" y="472"/>
                    </a:lnTo>
                    <a:lnTo>
                      <a:pt x="184" y="486"/>
                    </a:lnTo>
                    <a:lnTo>
                      <a:pt x="193" y="491"/>
                    </a:lnTo>
                    <a:lnTo>
                      <a:pt x="199" y="505"/>
                    </a:lnTo>
                    <a:lnTo>
                      <a:pt x="205" y="509"/>
                    </a:lnTo>
                    <a:lnTo>
                      <a:pt x="211" y="506"/>
                    </a:lnTo>
                    <a:lnTo>
                      <a:pt x="212" y="497"/>
                    </a:lnTo>
                    <a:lnTo>
                      <a:pt x="216" y="500"/>
                    </a:lnTo>
                    <a:lnTo>
                      <a:pt x="216" y="506"/>
                    </a:lnTo>
                    <a:lnTo>
                      <a:pt x="210" y="513"/>
                    </a:lnTo>
                    <a:lnTo>
                      <a:pt x="218" y="523"/>
                    </a:lnTo>
                    <a:lnTo>
                      <a:pt x="223" y="537"/>
                    </a:lnTo>
                    <a:lnTo>
                      <a:pt x="242" y="537"/>
                    </a:lnTo>
                    <a:lnTo>
                      <a:pt x="250" y="547"/>
                    </a:lnTo>
                    <a:lnTo>
                      <a:pt x="269" y="549"/>
                    </a:lnTo>
                    <a:lnTo>
                      <a:pt x="290" y="558"/>
                    </a:lnTo>
                    <a:lnTo>
                      <a:pt x="324" y="558"/>
                    </a:lnTo>
                    <a:lnTo>
                      <a:pt x="326" y="549"/>
                    </a:lnTo>
                    <a:lnTo>
                      <a:pt x="323" y="532"/>
                    </a:lnTo>
                    <a:lnTo>
                      <a:pt x="307" y="523"/>
                    </a:lnTo>
                    <a:lnTo>
                      <a:pt x="299" y="511"/>
                    </a:lnTo>
                    <a:lnTo>
                      <a:pt x="326" y="511"/>
                    </a:lnTo>
                    <a:lnTo>
                      <a:pt x="339" y="515"/>
                    </a:lnTo>
                    <a:lnTo>
                      <a:pt x="347" y="532"/>
                    </a:lnTo>
                    <a:lnTo>
                      <a:pt x="360" y="539"/>
                    </a:lnTo>
                    <a:lnTo>
                      <a:pt x="365" y="552"/>
                    </a:lnTo>
                    <a:lnTo>
                      <a:pt x="367" y="545"/>
                    </a:lnTo>
                    <a:lnTo>
                      <a:pt x="350" y="501"/>
                    </a:lnTo>
                    <a:lnTo>
                      <a:pt x="339" y="486"/>
                    </a:lnTo>
                    <a:lnTo>
                      <a:pt x="335" y="475"/>
                    </a:lnTo>
                    <a:lnTo>
                      <a:pt x="322" y="447"/>
                    </a:lnTo>
                    <a:lnTo>
                      <a:pt x="323" y="426"/>
                    </a:lnTo>
                    <a:lnTo>
                      <a:pt x="328" y="424"/>
                    </a:lnTo>
                    <a:lnTo>
                      <a:pt x="330" y="430"/>
                    </a:lnTo>
                    <a:lnTo>
                      <a:pt x="339" y="457"/>
                    </a:lnTo>
                    <a:lnTo>
                      <a:pt x="346" y="469"/>
                    </a:lnTo>
                    <a:lnTo>
                      <a:pt x="367" y="486"/>
                    </a:lnTo>
                    <a:lnTo>
                      <a:pt x="368" y="497"/>
                    </a:lnTo>
                    <a:lnTo>
                      <a:pt x="384" y="532"/>
                    </a:lnTo>
                    <a:lnTo>
                      <a:pt x="394" y="544"/>
                    </a:lnTo>
                    <a:lnTo>
                      <a:pt x="401" y="545"/>
                    </a:lnTo>
                    <a:lnTo>
                      <a:pt x="405" y="533"/>
                    </a:lnTo>
                    <a:lnTo>
                      <a:pt x="412" y="483"/>
                    </a:lnTo>
                    <a:lnTo>
                      <a:pt x="395" y="451"/>
                    </a:lnTo>
                    <a:lnTo>
                      <a:pt x="394" y="436"/>
                    </a:lnTo>
                    <a:lnTo>
                      <a:pt x="398" y="415"/>
                    </a:lnTo>
                    <a:lnTo>
                      <a:pt x="401" y="416"/>
                    </a:lnTo>
                    <a:lnTo>
                      <a:pt x="403" y="426"/>
                    </a:lnTo>
                    <a:lnTo>
                      <a:pt x="417" y="447"/>
                    </a:lnTo>
                    <a:lnTo>
                      <a:pt x="421" y="461"/>
                    </a:lnTo>
                    <a:lnTo>
                      <a:pt x="436" y="461"/>
                    </a:lnTo>
                    <a:lnTo>
                      <a:pt x="436" y="451"/>
                    </a:lnTo>
                    <a:lnTo>
                      <a:pt x="438" y="434"/>
                    </a:lnTo>
                    <a:lnTo>
                      <a:pt x="435" y="416"/>
                    </a:lnTo>
                    <a:lnTo>
                      <a:pt x="423" y="407"/>
                    </a:lnTo>
                    <a:lnTo>
                      <a:pt x="425" y="396"/>
                    </a:lnTo>
                    <a:lnTo>
                      <a:pt x="420" y="376"/>
                    </a:lnTo>
                    <a:lnTo>
                      <a:pt x="420" y="360"/>
                    </a:lnTo>
                    <a:lnTo>
                      <a:pt x="421" y="348"/>
                    </a:lnTo>
                    <a:lnTo>
                      <a:pt x="421" y="329"/>
                    </a:lnTo>
                    <a:lnTo>
                      <a:pt x="427" y="312"/>
                    </a:lnTo>
                    <a:lnTo>
                      <a:pt x="432" y="284"/>
                    </a:lnTo>
                    <a:lnTo>
                      <a:pt x="436" y="280"/>
                    </a:lnTo>
                    <a:lnTo>
                      <a:pt x="436" y="287"/>
                    </a:lnTo>
                    <a:lnTo>
                      <a:pt x="433" y="298"/>
                    </a:lnTo>
                    <a:lnTo>
                      <a:pt x="431" y="321"/>
                    </a:lnTo>
                    <a:lnTo>
                      <a:pt x="436" y="334"/>
                    </a:lnTo>
                    <a:lnTo>
                      <a:pt x="436" y="361"/>
                    </a:lnTo>
                    <a:lnTo>
                      <a:pt x="438" y="380"/>
                    </a:lnTo>
                    <a:lnTo>
                      <a:pt x="455" y="407"/>
                    </a:lnTo>
                    <a:lnTo>
                      <a:pt x="460" y="404"/>
                    </a:lnTo>
                    <a:lnTo>
                      <a:pt x="475" y="367"/>
                    </a:lnTo>
                    <a:lnTo>
                      <a:pt x="489" y="345"/>
                    </a:lnTo>
                    <a:lnTo>
                      <a:pt x="486" y="303"/>
                    </a:lnTo>
                    <a:lnTo>
                      <a:pt x="486" y="291"/>
                    </a:lnTo>
                    <a:lnTo>
                      <a:pt x="496" y="300"/>
                    </a:lnTo>
                    <a:lnTo>
                      <a:pt x="498" y="329"/>
                    </a:lnTo>
                    <a:lnTo>
                      <a:pt x="513" y="310"/>
                    </a:lnTo>
                    <a:lnTo>
                      <a:pt x="511" y="307"/>
                    </a:lnTo>
                    <a:lnTo>
                      <a:pt x="512" y="292"/>
                    </a:lnTo>
                    <a:lnTo>
                      <a:pt x="565" y="267"/>
                    </a:lnTo>
                    <a:lnTo>
                      <a:pt x="602" y="231"/>
                    </a:lnTo>
                    <a:lnTo>
                      <a:pt x="603" y="204"/>
                    </a:lnTo>
                    <a:lnTo>
                      <a:pt x="600" y="195"/>
                    </a:lnTo>
                    <a:lnTo>
                      <a:pt x="592" y="184"/>
                    </a:lnTo>
                    <a:lnTo>
                      <a:pt x="588" y="170"/>
                    </a:lnTo>
                    <a:lnTo>
                      <a:pt x="571" y="146"/>
                    </a:lnTo>
                    <a:lnTo>
                      <a:pt x="560" y="123"/>
                    </a:lnTo>
                    <a:lnTo>
                      <a:pt x="552" y="128"/>
                    </a:lnTo>
                    <a:lnTo>
                      <a:pt x="551" y="135"/>
                    </a:lnTo>
                    <a:lnTo>
                      <a:pt x="549" y="145"/>
                    </a:lnTo>
                    <a:lnTo>
                      <a:pt x="549" y="156"/>
                    </a:lnTo>
                    <a:lnTo>
                      <a:pt x="545" y="165"/>
                    </a:lnTo>
                    <a:lnTo>
                      <a:pt x="535" y="176"/>
                    </a:lnTo>
                    <a:lnTo>
                      <a:pt x="534" y="168"/>
                    </a:lnTo>
                    <a:lnTo>
                      <a:pt x="540" y="162"/>
                    </a:lnTo>
                    <a:lnTo>
                      <a:pt x="538" y="150"/>
                    </a:lnTo>
                    <a:lnTo>
                      <a:pt x="539" y="141"/>
                    </a:lnTo>
                    <a:lnTo>
                      <a:pt x="538" y="130"/>
                    </a:lnTo>
                    <a:lnTo>
                      <a:pt x="529" y="123"/>
                    </a:lnTo>
                    <a:lnTo>
                      <a:pt x="519" y="103"/>
                    </a:lnTo>
                    <a:lnTo>
                      <a:pt x="507" y="93"/>
                    </a:lnTo>
                    <a:lnTo>
                      <a:pt x="502" y="92"/>
                    </a:lnTo>
                    <a:lnTo>
                      <a:pt x="489" y="107"/>
                    </a:lnTo>
                    <a:lnTo>
                      <a:pt x="479" y="107"/>
                    </a:lnTo>
                    <a:lnTo>
                      <a:pt x="468" y="127"/>
                    </a:lnTo>
                    <a:lnTo>
                      <a:pt x="464" y="128"/>
                    </a:lnTo>
                    <a:lnTo>
                      <a:pt x="464" y="115"/>
                    </a:lnTo>
                    <a:lnTo>
                      <a:pt x="470" y="102"/>
                    </a:lnTo>
                    <a:lnTo>
                      <a:pt x="481" y="96"/>
                    </a:lnTo>
                    <a:lnTo>
                      <a:pt x="487" y="60"/>
                    </a:lnTo>
                    <a:lnTo>
                      <a:pt x="496" y="32"/>
                    </a:lnTo>
                    <a:lnTo>
                      <a:pt x="496" y="27"/>
                    </a:lnTo>
                    <a:lnTo>
                      <a:pt x="481" y="33"/>
                    </a:lnTo>
                    <a:lnTo>
                      <a:pt x="481" y="28"/>
                    </a:lnTo>
                    <a:lnTo>
                      <a:pt x="491" y="17"/>
                    </a:lnTo>
                    <a:lnTo>
                      <a:pt x="487" y="0"/>
                    </a:lnTo>
                    <a:lnTo>
                      <a:pt x="104" y="0"/>
                    </a:lnTo>
                    <a:lnTo>
                      <a:pt x="110" y="9"/>
                    </a:lnTo>
                    <a:lnTo>
                      <a:pt x="111" y="15"/>
                    </a:lnTo>
                    <a:lnTo>
                      <a:pt x="102" y="1"/>
                    </a:lnTo>
                    <a:lnTo>
                      <a:pt x="99" y="0"/>
                    </a:lnTo>
                    <a:lnTo>
                      <a:pt x="78" y="0"/>
                    </a:lnTo>
                    <a:lnTo>
                      <a:pt x="75" y="2"/>
                    </a:lnTo>
                    <a:lnTo>
                      <a:pt x="72" y="0"/>
                    </a:lnTo>
                    <a:lnTo>
                      <a:pt x="2" y="0"/>
                    </a:lnTo>
                    <a:lnTo>
                      <a:pt x="0" y="7"/>
                    </a:lnTo>
                    <a:lnTo>
                      <a:pt x="3" y="2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46" name="Freeform 308"/>
              <p:cNvSpPr>
                <a:spLocks noChangeAspect="1"/>
              </p:cNvSpPr>
              <p:nvPr/>
            </p:nvSpPr>
            <p:spPr bwMode="gray">
              <a:xfrm>
                <a:off x="1532" y="960"/>
                <a:ext cx="206" cy="207"/>
              </a:xfrm>
              <a:custGeom>
                <a:avLst/>
                <a:gdLst/>
                <a:ahLst/>
                <a:cxnLst>
                  <a:cxn ang="0">
                    <a:pos x="181" y="70"/>
                  </a:cxn>
                  <a:cxn ang="0">
                    <a:pos x="284" y="215"/>
                  </a:cxn>
                  <a:cxn ang="0">
                    <a:pos x="322" y="275"/>
                  </a:cxn>
                  <a:cxn ang="0">
                    <a:pos x="270" y="271"/>
                  </a:cxn>
                  <a:cxn ang="0">
                    <a:pos x="419" y="334"/>
                  </a:cxn>
                  <a:cxn ang="0">
                    <a:pos x="416" y="370"/>
                  </a:cxn>
                  <a:cxn ang="0">
                    <a:pos x="402" y="402"/>
                  </a:cxn>
                  <a:cxn ang="0">
                    <a:pos x="243" y="332"/>
                  </a:cxn>
                  <a:cxn ang="0">
                    <a:pos x="144" y="436"/>
                  </a:cxn>
                  <a:cxn ang="0">
                    <a:pos x="140" y="531"/>
                  </a:cxn>
                  <a:cxn ang="0">
                    <a:pos x="192" y="511"/>
                  </a:cxn>
                  <a:cxn ang="0">
                    <a:pos x="221" y="553"/>
                  </a:cxn>
                  <a:cxn ang="0">
                    <a:pos x="264" y="454"/>
                  </a:cxn>
                  <a:cxn ang="0">
                    <a:pos x="278" y="529"/>
                  </a:cxn>
                  <a:cxn ang="0">
                    <a:pos x="246" y="561"/>
                  </a:cxn>
                  <a:cxn ang="0">
                    <a:pos x="230" y="609"/>
                  </a:cxn>
                  <a:cxn ang="0">
                    <a:pos x="227" y="620"/>
                  </a:cxn>
                  <a:cxn ang="0">
                    <a:pos x="267" y="650"/>
                  </a:cxn>
                  <a:cxn ang="0">
                    <a:pos x="351" y="657"/>
                  </a:cxn>
                  <a:cxn ang="0">
                    <a:pos x="378" y="623"/>
                  </a:cxn>
                  <a:cxn ang="0">
                    <a:pos x="335" y="739"/>
                  </a:cxn>
                  <a:cxn ang="0">
                    <a:pos x="233" y="736"/>
                  </a:cxn>
                  <a:cxn ang="0">
                    <a:pos x="168" y="622"/>
                  </a:cxn>
                  <a:cxn ang="0">
                    <a:pos x="88" y="693"/>
                  </a:cxn>
                  <a:cxn ang="0">
                    <a:pos x="145" y="753"/>
                  </a:cxn>
                  <a:cxn ang="0">
                    <a:pos x="147" y="801"/>
                  </a:cxn>
                  <a:cxn ang="0">
                    <a:pos x="92" y="819"/>
                  </a:cxn>
                  <a:cxn ang="0">
                    <a:pos x="6" y="903"/>
                  </a:cxn>
                  <a:cxn ang="0">
                    <a:pos x="45" y="897"/>
                  </a:cxn>
                  <a:cxn ang="0">
                    <a:pos x="108" y="964"/>
                  </a:cxn>
                  <a:cxn ang="0">
                    <a:pos x="190" y="995"/>
                  </a:cxn>
                  <a:cxn ang="0">
                    <a:pos x="286" y="925"/>
                  </a:cxn>
                  <a:cxn ang="0">
                    <a:pos x="399" y="979"/>
                  </a:cxn>
                  <a:cxn ang="0">
                    <a:pos x="456" y="958"/>
                  </a:cxn>
                  <a:cxn ang="0">
                    <a:pos x="581" y="943"/>
                  </a:cxn>
                  <a:cxn ang="0">
                    <a:pos x="595" y="865"/>
                  </a:cxn>
                  <a:cxn ang="0">
                    <a:pos x="570" y="792"/>
                  </a:cxn>
                  <a:cxn ang="0">
                    <a:pos x="423" y="805"/>
                  </a:cxn>
                  <a:cxn ang="0">
                    <a:pos x="498" y="773"/>
                  </a:cxn>
                  <a:cxn ang="0">
                    <a:pos x="652" y="694"/>
                  </a:cxn>
                  <a:cxn ang="0">
                    <a:pos x="622" y="596"/>
                  </a:cxn>
                  <a:cxn ang="0">
                    <a:pos x="768" y="555"/>
                  </a:cxn>
                  <a:cxn ang="0">
                    <a:pos x="775" y="468"/>
                  </a:cxn>
                  <a:cxn ang="0">
                    <a:pos x="813" y="411"/>
                  </a:cxn>
                  <a:cxn ang="0">
                    <a:pos x="757" y="319"/>
                  </a:cxn>
                  <a:cxn ang="0">
                    <a:pos x="645" y="291"/>
                  </a:cxn>
                  <a:cxn ang="0">
                    <a:pos x="715" y="247"/>
                  </a:cxn>
                  <a:cxn ang="0">
                    <a:pos x="828" y="274"/>
                  </a:cxn>
                  <a:cxn ang="0">
                    <a:pos x="650" y="222"/>
                  </a:cxn>
                  <a:cxn ang="0">
                    <a:pos x="746" y="209"/>
                  </a:cxn>
                  <a:cxn ang="0">
                    <a:pos x="801" y="185"/>
                  </a:cxn>
                  <a:cxn ang="0">
                    <a:pos x="881" y="140"/>
                  </a:cxn>
                  <a:cxn ang="0">
                    <a:pos x="884" y="103"/>
                  </a:cxn>
                  <a:cxn ang="0">
                    <a:pos x="978" y="58"/>
                  </a:cxn>
                  <a:cxn ang="0">
                    <a:pos x="426" y="41"/>
                  </a:cxn>
                  <a:cxn ang="0">
                    <a:pos x="526" y="107"/>
                  </a:cxn>
                  <a:cxn ang="0">
                    <a:pos x="432" y="129"/>
                  </a:cxn>
                  <a:cxn ang="0">
                    <a:pos x="220" y="14"/>
                  </a:cxn>
                </a:cxnLst>
                <a:rect l="0" t="0" r="r" b="b"/>
                <a:pathLst>
                  <a:path w="1028" h="1037">
                    <a:moveTo>
                      <a:pt x="231" y="23"/>
                    </a:moveTo>
                    <a:lnTo>
                      <a:pt x="231" y="28"/>
                    </a:lnTo>
                    <a:lnTo>
                      <a:pt x="228" y="33"/>
                    </a:lnTo>
                    <a:lnTo>
                      <a:pt x="193" y="18"/>
                    </a:lnTo>
                    <a:lnTo>
                      <a:pt x="184" y="9"/>
                    </a:lnTo>
                    <a:lnTo>
                      <a:pt x="174" y="7"/>
                    </a:lnTo>
                    <a:lnTo>
                      <a:pt x="168" y="11"/>
                    </a:lnTo>
                    <a:lnTo>
                      <a:pt x="168" y="49"/>
                    </a:lnTo>
                    <a:lnTo>
                      <a:pt x="170" y="57"/>
                    </a:lnTo>
                    <a:lnTo>
                      <a:pt x="181" y="70"/>
                    </a:lnTo>
                    <a:lnTo>
                      <a:pt x="204" y="86"/>
                    </a:lnTo>
                    <a:lnTo>
                      <a:pt x="217" y="87"/>
                    </a:lnTo>
                    <a:lnTo>
                      <a:pt x="243" y="111"/>
                    </a:lnTo>
                    <a:lnTo>
                      <a:pt x="247" y="120"/>
                    </a:lnTo>
                    <a:lnTo>
                      <a:pt x="251" y="141"/>
                    </a:lnTo>
                    <a:lnTo>
                      <a:pt x="256" y="151"/>
                    </a:lnTo>
                    <a:lnTo>
                      <a:pt x="279" y="182"/>
                    </a:lnTo>
                    <a:lnTo>
                      <a:pt x="281" y="192"/>
                    </a:lnTo>
                    <a:lnTo>
                      <a:pt x="280" y="204"/>
                    </a:lnTo>
                    <a:lnTo>
                      <a:pt x="284" y="215"/>
                    </a:lnTo>
                    <a:lnTo>
                      <a:pt x="284" y="225"/>
                    </a:lnTo>
                    <a:lnTo>
                      <a:pt x="283" y="228"/>
                    </a:lnTo>
                    <a:lnTo>
                      <a:pt x="286" y="237"/>
                    </a:lnTo>
                    <a:lnTo>
                      <a:pt x="289" y="253"/>
                    </a:lnTo>
                    <a:lnTo>
                      <a:pt x="303" y="249"/>
                    </a:lnTo>
                    <a:lnTo>
                      <a:pt x="310" y="240"/>
                    </a:lnTo>
                    <a:lnTo>
                      <a:pt x="308" y="251"/>
                    </a:lnTo>
                    <a:lnTo>
                      <a:pt x="303" y="259"/>
                    </a:lnTo>
                    <a:lnTo>
                      <a:pt x="314" y="278"/>
                    </a:lnTo>
                    <a:lnTo>
                      <a:pt x="322" y="275"/>
                    </a:lnTo>
                    <a:lnTo>
                      <a:pt x="324" y="290"/>
                    </a:lnTo>
                    <a:lnTo>
                      <a:pt x="330" y="298"/>
                    </a:lnTo>
                    <a:lnTo>
                      <a:pt x="344" y="296"/>
                    </a:lnTo>
                    <a:lnTo>
                      <a:pt x="337" y="307"/>
                    </a:lnTo>
                    <a:lnTo>
                      <a:pt x="318" y="306"/>
                    </a:lnTo>
                    <a:lnTo>
                      <a:pt x="307" y="301"/>
                    </a:lnTo>
                    <a:lnTo>
                      <a:pt x="295" y="280"/>
                    </a:lnTo>
                    <a:lnTo>
                      <a:pt x="283" y="279"/>
                    </a:lnTo>
                    <a:lnTo>
                      <a:pt x="276" y="269"/>
                    </a:lnTo>
                    <a:lnTo>
                      <a:pt x="270" y="271"/>
                    </a:lnTo>
                    <a:lnTo>
                      <a:pt x="262" y="286"/>
                    </a:lnTo>
                    <a:lnTo>
                      <a:pt x="265" y="302"/>
                    </a:lnTo>
                    <a:lnTo>
                      <a:pt x="278" y="307"/>
                    </a:lnTo>
                    <a:lnTo>
                      <a:pt x="295" y="327"/>
                    </a:lnTo>
                    <a:lnTo>
                      <a:pt x="354" y="333"/>
                    </a:lnTo>
                    <a:lnTo>
                      <a:pt x="377" y="346"/>
                    </a:lnTo>
                    <a:lnTo>
                      <a:pt x="407" y="345"/>
                    </a:lnTo>
                    <a:lnTo>
                      <a:pt x="410" y="343"/>
                    </a:lnTo>
                    <a:lnTo>
                      <a:pt x="413" y="335"/>
                    </a:lnTo>
                    <a:lnTo>
                      <a:pt x="419" y="334"/>
                    </a:lnTo>
                    <a:lnTo>
                      <a:pt x="434" y="316"/>
                    </a:lnTo>
                    <a:lnTo>
                      <a:pt x="442" y="313"/>
                    </a:lnTo>
                    <a:lnTo>
                      <a:pt x="442" y="316"/>
                    </a:lnTo>
                    <a:lnTo>
                      <a:pt x="434" y="332"/>
                    </a:lnTo>
                    <a:lnTo>
                      <a:pt x="431" y="349"/>
                    </a:lnTo>
                    <a:lnTo>
                      <a:pt x="434" y="353"/>
                    </a:lnTo>
                    <a:lnTo>
                      <a:pt x="427" y="361"/>
                    </a:lnTo>
                    <a:lnTo>
                      <a:pt x="424" y="360"/>
                    </a:lnTo>
                    <a:lnTo>
                      <a:pt x="421" y="367"/>
                    </a:lnTo>
                    <a:lnTo>
                      <a:pt x="416" y="370"/>
                    </a:lnTo>
                    <a:lnTo>
                      <a:pt x="408" y="357"/>
                    </a:lnTo>
                    <a:lnTo>
                      <a:pt x="398" y="364"/>
                    </a:lnTo>
                    <a:lnTo>
                      <a:pt x="355" y="357"/>
                    </a:lnTo>
                    <a:lnTo>
                      <a:pt x="348" y="366"/>
                    </a:lnTo>
                    <a:lnTo>
                      <a:pt x="351" y="375"/>
                    </a:lnTo>
                    <a:lnTo>
                      <a:pt x="364" y="384"/>
                    </a:lnTo>
                    <a:lnTo>
                      <a:pt x="373" y="386"/>
                    </a:lnTo>
                    <a:lnTo>
                      <a:pt x="377" y="393"/>
                    </a:lnTo>
                    <a:lnTo>
                      <a:pt x="405" y="394"/>
                    </a:lnTo>
                    <a:lnTo>
                      <a:pt x="402" y="402"/>
                    </a:lnTo>
                    <a:lnTo>
                      <a:pt x="388" y="402"/>
                    </a:lnTo>
                    <a:lnTo>
                      <a:pt x="402" y="431"/>
                    </a:lnTo>
                    <a:lnTo>
                      <a:pt x="399" y="437"/>
                    </a:lnTo>
                    <a:lnTo>
                      <a:pt x="380" y="426"/>
                    </a:lnTo>
                    <a:lnTo>
                      <a:pt x="377" y="418"/>
                    </a:lnTo>
                    <a:lnTo>
                      <a:pt x="367" y="400"/>
                    </a:lnTo>
                    <a:lnTo>
                      <a:pt x="356" y="399"/>
                    </a:lnTo>
                    <a:lnTo>
                      <a:pt x="313" y="353"/>
                    </a:lnTo>
                    <a:lnTo>
                      <a:pt x="270" y="345"/>
                    </a:lnTo>
                    <a:lnTo>
                      <a:pt x="243" y="332"/>
                    </a:lnTo>
                    <a:lnTo>
                      <a:pt x="233" y="333"/>
                    </a:lnTo>
                    <a:lnTo>
                      <a:pt x="232" y="341"/>
                    </a:lnTo>
                    <a:lnTo>
                      <a:pt x="225" y="354"/>
                    </a:lnTo>
                    <a:lnTo>
                      <a:pt x="157" y="367"/>
                    </a:lnTo>
                    <a:lnTo>
                      <a:pt x="152" y="371"/>
                    </a:lnTo>
                    <a:lnTo>
                      <a:pt x="146" y="382"/>
                    </a:lnTo>
                    <a:lnTo>
                      <a:pt x="140" y="404"/>
                    </a:lnTo>
                    <a:lnTo>
                      <a:pt x="136" y="426"/>
                    </a:lnTo>
                    <a:lnTo>
                      <a:pt x="147" y="430"/>
                    </a:lnTo>
                    <a:lnTo>
                      <a:pt x="144" y="436"/>
                    </a:lnTo>
                    <a:lnTo>
                      <a:pt x="125" y="442"/>
                    </a:lnTo>
                    <a:lnTo>
                      <a:pt x="118" y="452"/>
                    </a:lnTo>
                    <a:lnTo>
                      <a:pt x="108" y="474"/>
                    </a:lnTo>
                    <a:lnTo>
                      <a:pt x="114" y="488"/>
                    </a:lnTo>
                    <a:lnTo>
                      <a:pt x="115" y="502"/>
                    </a:lnTo>
                    <a:lnTo>
                      <a:pt x="117" y="507"/>
                    </a:lnTo>
                    <a:lnTo>
                      <a:pt x="115" y="523"/>
                    </a:lnTo>
                    <a:lnTo>
                      <a:pt x="117" y="529"/>
                    </a:lnTo>
                    <a:lnTo>
                      <a:pt x="125" y="524"/>
                    </a:lnTo>
                    <a:lnTo>
                      <a:pt x="140" y="531"/>
                    </a:lnTo>
                    <a:lnTo>
                      <a:pt x="127" y="534"/>
                    </a:lnTo>
                    <a:lnTo>
                      <a:pt x="119" y="542"/>
                    </a:lnTo>
                    <a:lnTo>
                      <a:pt x="117" y="549"/>
                    </a:lnTo>
                    <a:lnTo>
                      <a:pt x="118" y="552"/>
                    </a:lnTo>
                    <a:lnTo>
                      <a:pt x="144" y="558"/>
                    </a:lnTo>
                    <a:lnTo>
                      <a:pt x="170" y="545"/>
                    </a:lnTo>
                    <a:lnTo>
                      <a:pt x="176" y="526"/>
                    </a:lnTo>
                    <a:lnTo>
                      <a:pt x="184" y="528"/>
                    </a:lnTo>
                    <a:lnTo>
                      <a:pt x="188" y="523"/>
                    </a:lnTo>
                    <a:lnTo>
                      <a:pt x="192" y="511"/>
                    </a:lnTo>
                    <a:lnTo>
                      <a:pt x="193" y="500"/>
                    </a:lnTo>
                    <a:lnTo>
                      <a:pt x="205" y="486"/>
                    </a:lnTo>
                    <a:lnTo>
                      <a:pt x="205" y="493"/>
                    </a:lnTo>
                    <a:lnTo>
                      <a:pt x="199" y="515"/>
                    </a:lnTo>
                    <a:lnTo>
                      <a:pt x="185" y="542"/>
                    </a:lnTo>
                    <a:lnTo>
                      <a:pt x="187" y="547"/>
                    </a:lnTo>
                    <a:lnTo>
                      <a:pt x="187" y="554"/>
                    </a:lnTo>
                    <a:lnTo>
                      <a:pt x="188" y="561"/>
                    </a:lnTo>
                    <a:lnTo>
                      <a:pt x="194" y="566"/>
                    </a:lnTo>
                    <a:lnTo>
                      <a:pt x="221" y="553"/>
                    </a:lnTo>
                    <a:lnTo>
                      <a:pt x="226" y="558"/>
                    </a:lnTo>
                    <a:lnTo>
                      <a:pt x="233" y="550"/>
                    </a:lnTo>
                    <a:lnTo>
                      <a:pt x="247" y="523"/>
                    </a:lnTo>
                    <a:lnTo>
                      <a:pt x="249" y="510"/>
                    </a:lnTo>
                    <a:lnTo>
                      <a:pt x="254" y="499"/>
                    </a:lnTo>
                    <a:lnTo>
                      <a:pt x="258" y="472"/>
                    </a:lnTo>
                    <a:lnTo>
                      <a:pt x="263" y="458"/>
                    </a:lnTo>
                    <a:lnTo>
                      <a:pt x="263" y="447"/>
                    </a:lnTo>
                    <a:lnTo>
                      <a:pt x="273" y="425"/>
                    </a:lnTo>
                    <a:lnTo>
                      <a:pt x="264" y="454"/>
                    </a:lnTo>
                    <a:lnTo>
                      <a:pt x="263" y="483"/>
                    </a:lnTo>
                    <a:lnTo>
                      <a:pt x="265" y="490"/>
                    </a:lnTo>
                    <a:lnTo>
                      <a:pt x="270" y="491"/>
                    </a:lnTo>
                    <a:lnTo>
                      <a:pt x="276" y="486"/>
                    </a:lnTo>
                    <a:lnTo>
                      <a:pt x="274" y="494"/>
                    </a:lnTo>
                    <a:lnTo>
                      <a:pt x="263" y="505"/>
                    </a:lnTo>
                    <a:lnTo>
                      <a:pt x="259" y="513"/>
                    </a:lnTo>
                    <a:lnTo>
                      <a:pt x="259" y="531"/>
                    </a:lnTo>
                    <a:lnTo>
                      <a:pt x="260" y="536"/>
                    </a:lnTo>
                    <a:lnTo>
                      <a:pt x="278" y="529"/>
                    </a:lnTo>
                    <a:lnTo>
                      <a:pt x="286" y="532"/>
                    </a:lnTo>
                    <a:lnTo>
                      <a:pt x="294" y="536"/>
                    </a:lnTo>
                    <a:lnTo>
                      <a:pt x="296" y="542"/>
                    </a:lnTo>
                    <a:lnTo>
                      <a:pt x="303" y="538"/>
                    </a:lnTo>
                    <a:lnTo>
                      <a:pt x="303" y="545"/>
                    </a:lnTo>
                    <a:lnTo>
                      <a:pt x="298" y="552"/>
                    </a:lnTo>
                    <a:lnTo>
                      <a:pt x="275" y="542"/>
                    </a:lnTo>
                    <a:lnTo>
                      <a:pt x="252" y="547"/>
                    </a:lnTo>
                    <a:lnTo>
                      <a:pt x="246" y="555"/>
                    </a:lnTo>
                    <a:lnTo>
                      <a:pt x="246" y="561"/>
                    </a:lnTo>
                    <a:lnTo>
                      <a:pt x="243" y="570"/>
                    </a:lnTo>
                    <a:lnTo>
                      <a:pt x="257" y="576"/>
                    </a:lnTo>
                    <a:lnTo>
                      <a:pt x="247" y="581"/>
                    </a:lnTo>
                    <a:lnTo>
                      <a:pt x="232" y="576"/>
                    </a:lnTo>
                    <a:lnTo>
                      <a:pt x="226" y="580"/>
                    </a:lnTo>
                    <a:lnTo>
                      <a:pt x="208" y="602"/>
                    </a:lnTo>
                    <a:lnTo>
                      <a:pt x="209" y="607"/>
                    </a:lnTo>
                    <a:lnTo>
                      <a:pt x="214" y="608"/>
                    </a:lnTo>
                    <a:lnTo>
                      <a:pt x="219" y="618"/>
                    </a:lnTo>
                    <a:lnTo>
                      <a:pt x="230" y="609"/>
                    </a:lnTo>
                    <a:lnTo>
                      <a:pt x="253" y="608"/>
                    </a:lnTo>
                    <a:lnTo>
                      <a:pt x="259" y="602"/>
                    </a:lnTo>
                    <a:lnTo>
                      <a:pt x="264" y="604"/>
                    </a:lnTo>
                    <a:lnTo>
                      <a:pt x="265" y="609"/>
                    </a:lnTo>
                    <a:lnTo>
                      <a:pt x="259" y="610"/>
                    </a:lnTo>
                    <a:lnTo>
                      <a:pt x="249" y="620"/>
                    </a:lnTo>
                    <a:lnTo>
                      <a:pt x="251" y="617"/>
                    </a:lnTo>
                    <a:lnTo>
                      <a:pt x="247" y="615"/>
                    </a:lnTo>
                    <a:lnTo>
                      <a:pt x="230" y="618"/>
                    </a:lnTo>
                    <a:lnTo>
                      <a:pt x="227" y="620"/>
                    </a:lnTo>
                    <a:lnTo>
                      <a:pt x="226" y="626"/>
                    </a:lnTo>
                    <a:lnTo>
                      <a:pt x="227" y="631"/>
                    </a:lnTo>
                    <a:lnTo>
                      <a:pt x="247" y="626"/>
                    </a:lnTo>
                    <a:lnTo>
                      <a:pt x="238" y="637"/>
                    </a:lnTo>
                    <a:lnTo>
                      <a:pt x="235" y="651"/>
                    </a:lnTo>
                    <a:lnTo>
                      <a:pt x="235" y="655"/>
                    </a:lnTo>
                    <a:lnTo>
                      <a:pt x="238" y="669"/>
                    </a:lnTo>
                    <a:lnTo>
                      <a:pt x="254" y="682"/>
                    </a:lnTo>
                    <a:lnTo>
                      <a:pt x="265" y="663"/>
                    </a:lnTo>
                    <a:lnTo>
                      <a:pt x="267" y="650"/>
                    </a:lnTo>
                    <a:lnTo>
                      <a:pt x="269" y="645"/>
                    </a:lnTo>
                    <a:lnTo>
                      <a:pt x="271" y="660"/>
                    </a:lnTo>
                    <a:lnTo>
                      <a:pt x="260" y="687"/>
                    </a:lnTo>
                    <a:lnTo>
                      <a:pt x="263" y="701"/>
                    </a:lnTo>
                    <a:lnTo>
                      <a:pt x="278" y="704"/>
                    </a:lnTo>
                    <a:lnTo>
                      <a:pt x="292" y="700"/>
                    </a:lnTo>
                    <a:lnTo>
                      <a:pt x="314" y="708"/>
                    </a:lnTo>
                    <a:lnTo>
                      <a:pt x="333" y="698"/>
                    </a:lnTo>
                    <a:lnTo>
                      <a:pt x="343" y="684"/>
                    </a:lnTo>
                    <a:lnTo>
                      <a:pt x="351" y="657"/>
                    </a:lnTo>
                    <a:lnTo>
                      <a:pt x="359" y="639"/>
                    </a:lnTo>
                    <a:lnTo>
                      <a:pt x="366" y="628"/>
                    </a:lnTo>
                    <a:lnTo>
                      <a:pt x="373" y="599"/>
                    </a:lnTo>
                    <a:lnTo>
                      <a:pt x="373" y="587"/>
                    </a:lnTo>
                    <a:lnTo>
                      <a:pt x="377" y="579"/>
                    </a:lnTo>
                    <a:lnTo>
                      <a:pt x="383" y="571"/>
                    </a:lnTo>
                    <a:lnTo>
                      <a:pt x="396" y="572"/>
                    </a:lnTo>
                    <a:lnTo>
                      <a:pt x="383" y="587"/>
                    </a:lnTo>
                    <a:lnTo>
                      <a:pt x="383" y="602"/>
                    </a:lnTo>
                    <a:lnTo>
                      <a:pt x="378" y="623"/>
                    </a:lnTo>
                    <a:lnTo>
                      <a:pt x="366" y="649"/>
                    </a:lnTo>
                    <a:lnTo>
                      <a:pt x="365" y="657"/>
                    </a:lnTo>
                    <a:lnTo>
                      <a:pt x="360" y="668"/>
                    </a:lnTo>
                    <a:lnTo>
                      <a:pt x="341" y="696"/>
                    </a:lnTo>
                    <a:lnTo>
                      <a:pt x="340" y="701"/>
                    </a:lnTo>
                    <a:lnTo>
                      <a:pt x="323" y="719"/>
                    </a:lnTo>
                    <a:lnTo>
                      <a:pt x="323" y="726"/>
                    </a:lnTo>
                    <a:lnTo>
                      <a:pt x="326" y="730"/>
                    </a:lnTo>
                    <a:lnTo>
                      <a:pt x="335" y="732"/>
                    </a:lnTo>
                    <a:lnTo>
                      <a:pt x="335" y="739"/>
                    </a:lnTo>
                    <a:lnTo>
                      <a:pt x="329" y="742"/>
                    </a:lnTo>
                    <a:lnTo>
                      <a:pt x="313" y="736"/>
                    </a:lnTo>
                    <a:lnTo>
                      <a:pt x="306" y="728"/>
                    </a:lnTo>
                    <a:lnTo>
                      <a:pt x="278" y="733"/>
                    </a:lnTo>
                    <a:lnTo>
                      <a:pt x="284" y="746"/>
                    </a:lnTo>
                    <a:lnTo>
                      <a:pt x="285" y="750"/>
                    </a:lnTo>
                    <a:lnTo>
                      <a:pt x="284" y="757"/>
                    </a:lnTo>
                    <a:lnTo>
                      <a:pt x="276" y="758"/>
                    </a:lnTo>
                    <a:lnTo>
                      <a:pt x="256" y="738"/>
                    </a:lnTo>
                    <a:lnTo>
                      <a:pt x="233" y="736"/>
                    </a:lnTo>
                    <a:lnTo>
                      <a:pt x="215" y="723"/>
                    </a:lnTo>
                    <a:lnTo>
                      <a:pt x="211" y="726"/>
                    </a:lnTo>
                    <a:lnTo>
                      <a:pt x="213" y="716"/>
                    </a:lnTo>
                    <a:lnTo>
                      <a:pt x="209" y="711"/>
                    </a:lnTo>
                    <a:lnTo>
                      <a:pt x="205" y="689"/>
                    </a:lnTo>
                    <a:lnTo>
                      <a:pt x="199" y="678"/>
                    </a:lnTo>
                    <a:lnTo>
                      <a:pt x="194" y="665"/>
                    </a:lnTo>
                    <a:lnTo>
                      <a:pt x="188" y="656"/>
                    </a:lnTo>
                    <a:lnTo>
                      <a:pt x="187" y="646"/>
                    </a:lnTo>
                    <a:lnTo>
                      <a:pt x="168" y="622"/>
                    </a:lnTo>
                    <a:lnTo>
                      <a:pt x="119" y="612"/>
                    </a:lnTo>
                    <a:lnTo>
                      <a:pt x="88" y="628"/>
                    </a:lnTo>
                    <a:lnTo>
                      <a:pt x="82" y="626"/>
                    </a:lnTo>
                    <a:lnTo>
                      <a:pt x="75" y="636"/>
                    </a:lnTo>
                    <a:lnTo>
                      <a:pt x="69" y="636"/>
                    </a:lnTo>
                    <a:lnTo>
                      <a:pt x="70" y="647"/>
                    </a:lnTo>
                    <a:lnTo>
                      <a:pt x="69" y="650"/>
                    </a:lnTo>
                    <a:lnTo>
                      <a:pt x="72" y="655"/>
                    </a:lnTo>
                    <a:lnTo>
                      <a:pt x="70" y="679"/>
                    </a:lnTo>
                    <a:lnTo>
                      <a:pt x="88" y="693"/>
                    </a:lnTo>
                    <a:lnTo>
                      <a:pt x="88" y="699"/>
                    </a:lnTo>
                    <a:lnTo>
                      <a:pt x="99" y="714"/>
                    </a:lnTo>
                    <a:lnTo>
                      <a:pt x="101" y="716"/>
                    </a:lnTo>
                    <a:lnTo>
                      <a:pt x="98" y="735"/>
                    </a:lnTo>
                    <a:lnTo>
                      <a:pt x="102" y="743"/>
                    </a:lnTo>
                    <a:lnTo>
                      <a:pt x="103" y="750"/>
                    </a:lnTo>
                    <a:lnTo>
                      <a:pt x="120" y="757"/>
                    </a:lnTo>
                    <a:lnTo>
                      <a:pt x="131" y="748"/>
                    </a:lnTo>
                    <a:lnTo>
                      <a:pt x="144" y="748"/>
                    </a:lnTo>
                    <a:lnTo>
                      <a:pt x="145" y="753"/>
                    </a:lnTo>
                    <a:lnTo>
                      <a:pt x="127" y="768"/>
                    </a:lnTo>
                    <a:lnTo>
                      <a:pt x="128" y="770"/>
                    </a:lnTo>
                    <a:lnTo>
                      <a:pt x="139" y="773"/>
                    </a:lnTo>
                    <a:lnTo>
                      <a:pt x="139" y="776"/>
                    </a:lnTo>
                    <a:lnTo>
                      <a:pt x="129" y="781"/>
                    </a:lnTo>
                    <a:lnTo>
                      <a:pt x="129" y="790"/>
                    </a:lnTo>
                    <a:lnTo>
                      <a:pt x="130" y="793"/>
                    </a:lnTo>
                    <a:lnTo>
                      <a:pt x="134" y="790"/>
                    </a:lnTo>
                    <a:lnTo>
                      <a:pt x="152" y="796"/>
                    </a:lnTo>
                    <a:lnTo>
                      <a:pt x="147" y="801"/>
                    </a:lnTo>
                    <a:lnTo>
                      <a:pt x="146" y="807"/>
                    </a:lnTo>
                    <a:lnTo>
                      <a:pt x="135" y="801"/>
                    </a:lnTo>
                    <a:lnTo>
                      <a:pt x="134" y="795"/>
                    </a:lnTo>
                    <a:lnTo>
                      <a:pt x="118" y="800"/>
                    </a:lnTo>
                    <a:lnTo>
                      <a:pt x="113" y="807"/>
                    </a:lnTo>
                    <a:lnTo>
                      <a:pt x="118" y="814"/>
                    </a:lnTo>
                    <a:lnTo>
                      <a:pt x="104" y="817"/>
                    </a:lnTo>
                    <a:lnTo>
                      <a:pt x="103" y="811"/>
                    </a:lnTo>
                    <a:lnTo>
                      <a:pt x="101" y="811"/>
                    </a:lnTo>
                    <a:lnTo>
                      <a:pt x="92" y="819"/>
                    </a:lnTo>
                    <a:lnTo>
                      <a:pt x="85" y="813"/>
                    </a:lnTo>
                    <a:lnTo>
                      <a:pt x="72" y="811"/>
                    </a:lnTo>
                    <a:lnTo>
                      <a:pt x="69" y="813"/>
                    </a:lnTo>
                    <a:lnTo>
                      <a:pt x="68" y="824"/>
                    </a:lnTo>
                    <a:lnTo>
                      <a:pt x="56" y="829"/>
                    </a:lnTo>
                    <a:lnTo>
                      <a:pt x="49" y="835"/>
                    </a:lnTo>
                    <a:lnTo>
                      <a:pt x="45" y="845"/>
                    </a:lnTo>
                    <a:lnTo>
                      <a:pt x="10" y="871"/>
                    </a:lnTo>
                    <a:lnTo>
                      <a:pt x="4" y="892"/>
                    </a:lnTo>
                    <a:lnTo>
                      <a:pt x="6" y="903"/>
                    </a:lnTo>
                    <a:lnTo>
                      <a:pt x="5" y="919"/>
                    </a:lnTo>
                    <a:lnTo>
                      <a:pt x="2" y="932"/>
                    </a:lnTo>
                    <a:lnTo>
                      <a:pt x="0" y="941"/>
                    </a:lnTo>
                    <a:lnTo>
                      <a:pt x="18" y="974"/>
                    </a:lnTo>
                    <a:lnTo>
                      <a:pt x="26" y="975"/>
                    </a:lnTo>
                    <a:lnTo>
                      <a:pt x="39" y="958"/>
                    </a:lnTo>
                    <a:lnTo>
                      <a:pt x="42" y="941"/>
                    </a:lnTo>
                    <a:lnTo>
                      <a:pt x="47" y="970"/>
                    </a:lnTo>
                    <a:lnTo>
                      <a:pt x="53" y="946"/>
                    </a:lnTo>
                    <a:lnTo>
                      <a:pt x="45" y="897"/>
                    </a:lnTo>
                    <a:lnTo>
                      <a:pt x="53" y="886"/>
                    </a:lnTo>
                    <a:lnTo>
                      <a:pt x="55" y="904"/>
                    </a:lnTo>
                    <a:lnTo>
                      <a:pt x="55" y="937"/>
                    </a:lnTo>
                    <a:lnTo>
                      <a:pt x="59" y="976"/>
                    </a:lnTo>
                    <a:lnTo>
                      <a:pt x="79" y="979"/>
                    </a:lnTo>
                    <a:lnTo>
                      <a:pt x="84" y="990"/>
                    </a:lnTo>
                    <a:lnTo>
                      <a:pt x="99" y="985"/>
                    </a:lnTo>
                    <a:lnTo>
                      <a:pt x="104" y="967"/>
                    </a:lnTo>
                    <a:lnTo>
                      <a:pt x="102" y="945"/>
                    </a:lnTo>
                    <a:lnTo>
                      <a:pt x="108" y="964"/>
                    </a:lnTo>
                    <a:lnTo>
                      <a:pt x="124" y="975"/>
                    </a:lnTo>
                    <a:lnTo>
                      <a:pt x="129" y="985"/>
                    </a:lnTo>
                    <a:lnTo>
                      <a:pt x="142" y="989"/>
                    </a:lnTo>
                    <a:lnTo>
                      <a:pt x="146" y="970"/>
                    </a:lnTo>
                    <a:lnTo>
                      <a:pt x="158" y="958"/>
                    </a:lnTo>
                    <a:lnTo>
                      <a:pt x="158" y="934"/>
                    </a:lnTo>
                    <a:lnTo>
                      <a:pt x="163" y="945"/>
                    </a:lnTo>
                    <a:lnTo>
                      <a:pt x="165" y="961"/>
                    </a:lnTo>
                    <a:lnTo>
                      <a:pt x="163" y="965"/>
                    </a:lnTo>
                    <a:lnTo>
                      <a:pt x="190" y="995"/>
                    </a:lnTo>
                    <a:lnTo>
                      <a:pt x="200" y="1004"/>
                    </a:lnTo>
                    <a:lnTo>
                      <a:pt x="225" y="1006"/>
                    </a:lnTo>
                    <a:lnTo>
                      <a:pt x="227" y="1016"/>
                    </a:lnTo>
                    <a:lnTo>
                      <a:pt x="274" y="1008"/>
                    </a:lnTo>
                    <a:lnTo>
                      <a:pt x="243" y="964"/>
                    </a:lnTo>
                    <a:lnTo>
                      <a:pt x="242" y="943"/>
                    </a:lnTo>
                    <a:lnTo>
                      <a:pt x="256" y="973"/>
                    </a:lnTo>
                    <a:lnTo>
                      <a:pt x="269" y="974"/>
                    </a:lnTo>
                    <a:lnTo>
                      <a:pt x="286" y="957"/>
                    </a:lnTo>
                    <a:lnTo>
                      <a:pt x="286" y="925"/>
                    </a:lnTo>
                    <a:lnTo>
                      <a:pt x="310" y="964"/>
                    </a:lnTo>
                    <a:lnTo>
                      <a:pt x="330" y="976"/>
                    </a:lnTo>
                    <a:lnTo>
                      <a:pt x="344" y="968"/>
                    </a:lnTo>
                    <a:lnTo>
                      <a:pt x="345" y="942"/>
                    </a:lnTo>
                    <a:lnTo>
                      <a:pt x="333" y="906"/>
                    </a:lnTo>
                    <a:lnTo>
                      <a:pt x="332" y="897"/>
                    </a:lnTo>
                    <a:lnTo>
                      <a:pt x="339" y="909"/>
                    </a:lnTo>
                    <a:lnTo>
                      <a:pt x="357" y="974"/>
                    </a:lnTo>
                    <a:lnTo>
                      <a:pt x="372" y="985"/>
                    </a:lnTo>
                    <a:lnTo>
                      <a:pt x="399" y="979"/>
                    </a:lnTo>
                    <a:lnTo>
                      <a:pt x="407" y="953"/>
                    </a:lnTo>
                    <a:lnTo>
                      <a:pt x="398" y="935"/>
                    </a:lnTo>
                    <a:lnTo>
                      <a:pt x="384" y="913"/>
                    </a:lnTo>
                    <a:lnTo>
                      <a:pt x="394" y="922"/>
                    </a:lnTo>
                    <a:lnTo>
                      <a:pt x="412" y="925"/>
                    </a:lnTo>
                    <a:lnTo>
                      <a:pt x="413" y="932"/>
                    </a:lnTo>
                    <a:lnTo>
                      <a:pt x="413" y="949"/>
                    </a:lnTo>
                    <a:lnTo>
                      <a:pt x="419" y="961"/>
                    </a:lnTo>
                    <a:lnTo>
                      <a:pt x="440" y="965"/>
                    </a:lnTo>
                    <a:lnTo>
                      <a:pt x="456" y="958"/>
                    </a:lnTo>
                    <a:lnTo>
                      <a:pt x="466" y="961"/>
                    </a:lnTo>
                    <a:lnTo>
                      <a:pt x="474" y="974"/>
                    </a:lnTo>
                    <a:lnTo>
                      <a:pt x="475" y="989"/>
                    </a:lnTo>
                    <a:lnTo>
                      <a:pt x="469" y="1012"/>
                    </a:lnTo>
                    <a:lnTo>
                      <a:pt x="463" y="1023"/>
                    </a:lnTo>
                    <a:lnTo>
                      <a:pt x="469" y="1037"/>
                    </a:lnTo>
                    <a:lnTo>
                      <a:pt x="513" y="1013"/>
                    </a:lnTo>
                    <a:lnTo>
                      <a:pt x="541" y="1005"/>
                    </a:lnTo>
                    <a:lnTo>
                      <a:pt x="559" y="985"/>
                    </a:lnTo>
                    <a:lnTo>
                      <a:pt x="581" y="943"/>
                    </a:lnTo>
                    <a:lnTo>
                      <a:pt x="586" y="973"/>
                    </a:lnTo>
                    <a:lnTo>
                      <a:pt x="608" y="957"/>
                    </a:lnTo>
                    <a:lnTo>
                      <a:pt x="612" y="941"/>
                    </a:lnTo>
                    <a:lnTo>
                      <a:pt x="633" y="934"/>
                    </a:lnTo>
                    <a:lnTo>
                      <a:pt x="635" y="919"/>
                    </a:lnTo>
                    <a:lnTo>
                      <a:pt x="638" y="892"/>
                    </a:lnTo>
                    <a:lnTo>
                      <a:pt x="634" y="863"/>
                    </a:lnTo>
                    <a:lnTo>
                      <a:pt x="625" y="844"/>
                    </a:lnTo>
                    <a:lnTo>
                      <a:pt x="606" y="850"/>
                    </a:lnTo>
                    <a:lnTo>
                      <a:pt x="595" y="865"/>
                    </a:lnTo>
                    <a:lnTo>
                      <a:pt x="586" y="879"/>
                    </a:lnTo>
                    <a:lnTo>
                      <a:pt x="575" y="877"/>
                    </a:lnTo>
                    <a:lnTo>
                      <a:pt x="576" y="861"/>
                    </a:lnTo>
                    <a:lnTo>
                      <a:pt x="555" y="849"/>
                    </a:lnTo>
                    <a:lnTo>
                      <a:pt x="558" y="843"/>
                    </a:lnTo>
                    <a:lnTo>
                      <a:pt x="565" y="836"/>
                    </a:lnTo>
                    <a:lnTo>
                      <a:pt x="576" y="829"/>
                    </a:lnTo>
                    <a:lnTo>
                      <a:pt x="581" y="816"/>
                    </a:lnTo>
                    <a:lnTo>
                      <a:pt x="579" y="807"/>
                    </a:lnTo>
                    <a:lnTo>
                      <a:pt x="570" y="792"/>
                    </a:lnTo>
                    <a:lnTo>
                      <a:pt x="556" y="789"/>
                    </a:lnTo>
                    <a:lnTo>
                      <a:pt x="539" y="790"/>
                    </a:lnTo>
                    <a:lnTo>
                      <a:pt x="512" y="821"/>
                    </a:lnTo>
                    <a:lnTo>
                      <a:pt x="506" y="819"/>
                    </a:lnTo>
                    <a:lnTo>
                      <a:pt x="518" y="801"/>
                    </a:lnTo>
                    <a:lnTo>
                      <a:pt x="517" y="789"/>
                    </a:lnTo>
                    <a:lnTo>
                      <a:pt x="473" y="781"/>
                    </a:lnTo>
                    <a:lnTo>
                      <a:pt x="452" y="785"/>
                    </a:lnTo>
                    <a:lnTo>
                      <a:pt x="426" y="818"/>
                    </a:lnTo>
                    <a:lnTo>
                      <a:pt x="423" y="805"/>
                    </a:lnTo>
                    <a:lnTo>
                      <a:pt x="420" y="786"/>
                    </a:lnTo>
                    <a:lnTo>
                      <a:pt x="414" y="776"/>
                    </a:lnTo>
                    <a:lnTo>
                      <a:pt x="429" y="779"/>
                    </a:lnTo>
                    <a:lnTo>
                      <a:pt x="458" y="766"/>
                    </a:lnTo>
                    <a:lnTo>
                      <a:pt x="458" y="760"/>
                    </a:lnTo>
                    <a:lnTo>
                      <a:pt x="441" y="748"/>
                    </a:lnTo>
                    <a:lnTo>
                      <a:pt x="437" y="732"/>
                    </a:lnTo>
                    <a:lnTo>
                      <a:pt x="439" y="722"/>
                    </a:lnTo>
                    <a:lnTo>
                      <a:pt x="467" y="754"/>
                    </a:lnTo>
                    <a:lnTo>
                      <a:pt x="498" y="773"/>
                    </a:lnTo>
                    <a:lnTo>
                      <a:pt x="577" y="770"/>
                    </a:lnTo>
                    <a:lnTo>
                      <a:pt x="585" y="758"/>
                    </a:lnTo>
                    <a:lnTo>
                      <a:pt x="593" y="762"/>
                    </a:lnTo>
                    <a:lnTo>
                      <a:pt x="592" y="768"/>
                    </a:lnTo>
                    <a:lnTo>
                      <a:pt x="592" y="770"/>
                    </a:lnTo>
                    <a:lnTo>
                      <a:pt x="622" y="753"/>
                    </a:lnTo>
                    <a:lnTo>
                      <a:pt x="635" y="725"/>
                    </a:lnTo>
                    <a:lnTo>
                      <a:pt x="638" y="709"/>
                    </a:lnTo>
                    <a:lnTo>
                      <a:pt x="636" y="701"/>
                    </a:lnTo>
                    <a:lnTo>
                      <a:pt x="652" y="694"/>
                    </a:lnTo>
                    <a:lnTo>
                      <a:pt x="654" y="687"/>
                    </a:lnTo>
                    <a:lnTo>
                      <a:pt x="634" y="668"/>
                    </a:lnTo>
                    <a:lnTo>
                      <a:pt x="634" y="658"/>
                    </a:lnTo>
                    <a:lnTo>
                      <a:pt x="636" y="650"/>
                    </a:lnTo>
                    <a:lnTo>
                      <a:pt x="630" y="633"/>
                    </a:lnTo>
                    <a:lnTo>
                      <a:pt x="623" y="628"/>
                    </a:lnTo>
                    <a:lnTo>
                      <a:pt x="624" y="625"/>
                    </a:lnTo>
                    <a:lnTo>
                      <a:pt x="624" y="614"/>
                    </a:lnTo>
                    <a:lnTo>
                      <a:pt x="622" y="603"/>
                    </a:lnTo>
                    <a:lnTo>
                      <a:pt x="622" y="596"/>
                    </a:lnTo>
                    <a:lnTo>
                      <a:pt x="634" y="603"/>
                    </a:lnTo>
                    <a:lnTo>
                      <a:pt x="679" y="604"/>
                    </a:lnTo>
                    <a:lnTo>
                      <a:pt x="687" y="613"/>
                    </a:lnTo>
                    <a:lnTo>
                      <a:pt x="706" y="607"/>
                    </a:lnTo>
                    <a:lnTo>
                      <a:pt x="727" y="583"/>
                    </a:lnTo>
                    <a:lnTo>
                      <a:pt x="743" y="591"/>
                    </a:lnTo>
                    <a:lnTo>
                      <a:pt x="746" y="599"/>
                    </a:lnTo>
                    <a:lnTo>
                      <a:pt x="760" y="574"/>
                    </a:lnTo>
                    <a:lnTo>
                      <a:pt x="760" y="570"/>
                    </a:lnTo>
                    <a:lnTo>
                      <a:pt x="768" y="555"/>
                    </a:lnTo>
                    <a:lnTo>
                      <a:pt x="714" y="545"/>
                    </a:lnTo>
                    <a:lnTo>
                      <a:pt x="690" y="537"/>
                    </a:lnTo>
                    <a:lnTo>
                      <a:pt x="709" y="522"/>
                    </a:lnTo>
                    <a:lnTo>
                      <a:pt x="728" y="523"/>
                    </a:lnTo>
                    <a:lnTo>
                      <a:pt x="764" y="539"/>
                    </a:lnTo>
                    <a:lnTo>
                      <a:pt x="776" y="511"/>
                    </a:lnTo>
                    <a:lnTo>
                      <a:pt x="795" y="501"/>
                    </a:lnTo>
                    <a:lnTo>
                      <a:pt x="797" y="493"/>
                    </a:lnTo>
                    <a:lnTo>
                      <a:pt x="787" y="477"/>
                    </a:lnTo>
                    <a:lnTo>
                      <a:pt x="775" y="468"/>
                    </a:lnTo>
                    <a:lnTo>
                      <a:pt x="751" y="463"/>
                    </a:lnTo>
                    <a:lnTo>
                      <a:pt x="738" y="453"/>
                    </a:lnTo>
                    <a:lnTo>
                      <a:pt x="725" y="450"/>
                    </a:lnTo>
                    <a:lnTo>
                      <a:pt x="733" y="445"/>
                    </a:lnTo>
                    <a:lnTo>
                      <a:pt x="749" y="447"/>
                    </a:lnTo>
                    <a:lnTo>
                      <a:pt x="786" y="443"/>
                    </a:lnTo>
                    <a:lnTo>
                      <a:pt x="798" y="439"/>
                    </a:lnTo>
                    <a:lnTo>
                      <a:pt x="805" y="430"/>
                    </a:lnTo>
                    <a:lnTo>
                      <a:pt x="819" y="420"/>
                    </a:lnTo>
                    <a:lnTo>
                      <a:pt x="813" y="411"/>
                    </a:lnTo>
                    <a:lnTo>
                      <a:pt x="813" y="402"/>
                    </a:lnTo>
                    <a:lnTo>
                      <a:pt x="817" y="392"/>
                    </a:lnTo>
                    <a:lnTo>
                      <a:pt x="816" y="375"/>
                    </a:lnTo>
                    <a:lnTo>
                      <a:pt x="813" y="354"/>
                    </a:lnTo>
                    <a:lnTo>
                      <a:pt x="802" y="344"/>
                    </a:lnTo>
                    <a:lnTo>
                      <a:pt x="774" y="334"/>
                    </a:lnTo>
                    <a:lnTo>
                      <a:pt x="733" y="340"/>
                    </a:lnTo>
                    <a:lnTo>
                      <a:pt x="733" y="332"/>
                    </a:lnTo>
                    <a:lnTo>
                      <a:pt x="748" y="327"/>
                    </a:lnTo>
                    <a:lnTo>
                      <a:pt x="757" y="319"/>
                    </a:lnTo>
                    <a:lnTo>
                      <a:pt x="757" y="313"/>
                    </a:lnTo>
                    <a:lnTo>
                      <a:pt x="749" y="303"/>
                    </a:lnTo>
                    <a:lnTo>
                      <a:pt x="678" y="310"/>
                    </a:lnTo>
                    <a:lnTo>
                      <a:pt x="665" y="316"/>
                    </a:lnTo>
                    <a:lnTo>
                      <a:pt x="655" y="329"/>
                    </a:lnTo>
                    <a:lnTo>
                      <a:pt x="647" y="330"/>
                    </a:lnTo>
                    <a:lnTo>
                      <a:pt x="656" y="314"/>
                    </a:lnTo>
                    <a:lnTo>
                      <a:pt x="658" y="302"/>
                    </a:lnTo>
                    <a:lnTo>
                      <a:pt x="647" y="300"/>
                    </a:lnTo>
                    <a:lnTo>
                      <a:pt x="645" y="291"/>
                    </a:lnTo>
                    <a:lnTo>
                      <a:pt x="669" y="298"/>
                    </a:lnTo>
                    <a:lnTo>
                      <a:pt x="712" y="284"/>
                    </a:lnTo>
                    <a:lnTo>
                      <a:pt x="740" y="287"/>
                    </a:lnTo>
                    <a:lnTo>
                      <a:pt x="740" y="279"/>
                    </a:lnTo>
                    <a:lnTo>
                      <a:pt x="716" y="269"/>
                    </a:lnTo>
                    <a:lnTo>
                      <a:pt x="652" y="267"/>
                    </a:lnTo>
                    <a:lnTo>
                      <a:pt x="644" y="260"/>
                    </a:lnTo>
                    <a:lnTo>
                      <a:pt x="658" y="255"/>
                    </a:lnTo>
                    <a:lnTo>
                      <a:pt x="704" y="255"/>
                    </a:lnTo>
                    <a:lnTo>
                      <a:pt x="715" y="247"/>
                    </a:lnTo>
                    <a:lnTo>
                      <a:pt x="732" y="249"/>
                    </a:lnTo>
                    <a:lnTo>
                      <a:pt x="748" y="255"/>
                    </a:lnTo>
                    <a:lnTo>
                      <a:pt x="754" y="263"/>
                    </a:lnTo>
                    <a:lnTo>
                      <a:pt x="753" y="276"/>
                    </a:lnTo>
                    <a:lnTo>
                      <a:pt x="758" y="289"/>
                    </a:lnTo>
                    <a:lnTo>
                      <a:pt x="769" y="295"/>
                    </a:lnTo>
                    <a:lnTo>
                      <a:pt x="819" y="302"/>
                    </a:lnTo>
                    <a:lnTo>
                      <a:pt x="827" y="298"/>
                    </a:lnTo>
                    <a:lnTo>
                      <a:pt x="829" y="287"/>
                    </a:lnTo>
                    <a:lnTo>
                      <a:pt x="828" y="274"/>
                    </a:lnTo>
                    <a:lnTo>
                      <a:pt x="814" y="257"/>
                    </a:lnTo>
                    <a:lnTo>
                      <a:pt x="825" y="240"/>
                    </a:lnTo>
                    <a:lnTo>
                      <a:pt x="818" y="232"/>
                    </a:lnTo>
                    <a:lnTo>
                      <a:pt x="752" y="236"/>
                    </a:lnTo>
                    <a:lnTo>
                      <a:pt x="746" y="228"/>
                    </a:lnTo>
                    <a:lnTo>
                      <a:pt x="687" y="236"/>
                    </a:lnTo>
                    <a:lnTo>
                      <a:pt x="661" y="243"/>
                    </a:lnTo>
                    <a:lnTo>
                      <a:pt x="671" y="236"/>
                    </a:lnTo>
                    <a:lnTo>
                      <a:pt x="672" y="228"/>
                    </a:lnTo>
                    <a:lnTo>
                      <a:pt x="650" y="222"/>
                    </a:lnTo>
                    <a:lnTo>
                      <a:pt x="641" y="214"/>
                    </a:lnTo>
                    <a:lnTo>
                      <a:pt x="657" y="209"/>
                    </a:lnTo>
                    <a:lnTo>
                      <a:pt x="683" y="212"/>
                    </a:lnTo>
                    <a:lnTo>
                      <a:pt x="677" y="187"/>
                    </a:lnTo>
                    <a:lnTo>
                      <a:pt x="672" y="181"/>
                    </a:lnTo>
                    <a:lnTo>
                      <a:pt x="679" y="178"/>
                    </a:lnTo>
                    <a:lnTo>
                      <a:pt x="684" y="184"/>
                    </a:lnTo>
                    <a:lnTo>
                      <a:pt x="689" y="198"/>
                    </a:lnTo>
                    <a:lnTo>
                      <a:pt x="698" y="204"/>
                    </a:lnTo>
                    <a:lnTo>
                      <a:pt x="746" y="209"/>
                    </a:lnTo>
                    <a:lnTo>
                      <a:pt x="749" y="200"/>
                    </a:lnTo>
                    <a:lnTo>
                      <a:pt x="740" y="188"/>
                    </a:lnTo>
                    <a:lnTo>
                      <a:pt x="737" y="181"/>
                    </a:lnTo>
                    <a:lnTo>
                      <a:pt x="687" y="171"/>
                    </a:lnTo>
                    <a:lnTo>
                      <a:pt x="679" y="158"/>
                    </a:lnTo>
                    <a:lnTo>
                      <a:pt x="687" y="156"/>
                    </a:lnTo>
                    <a:lnTo>
                      <a:pt x="722" y="162"/>
                    </a:lnTo>
                    <a:lnTo>
                      <a:pt x="764" y="189"/>
                    </a:lnTo>
                    <a:lnTo>
                      <a:pt x="794" y="194"/>
                    </a:lnTo>
                    <a:lnTo>
                      <a:pt x="801" y="185"/>
                    </a:lnTo>
                    <a:lnTo>
                      <a:pt x="797" y="170"/>
                    </a:lnTo>
                    <a:lnTo>
                      <a:pt x="810" y="176"/>
                    </a:lnTo>
                    <a:lnTo>
                      <a:pt x="838" y="178"/>
                    </a:lnTo>
                    <a:lnTo>
                      <a:pt x="846" y="165"/>
                    </a:lnTo>
                    <a:lnTo>
                      <a:pt x="845" y="155"/>
                    </a:lnTo>
                    <a:lnTo>
                      <a:pt x="850" y="157"/>
                    </a:lnTo>
                    <a:lnTo>
                      <a:pt x="855" y="146"/>
                    </a:lnTo>
                    <a:lnTo>
                      <a:pt x="861" y="160"/>
                    </a:lnTo>
                    <a:lnTo>
                      <a:pt x="876" y="156"/>
                    </a:lnTo>
                    <a:lnTo>
                      <a:pt x="881" y="140"/>
                    </a:lnTo>
                    <a:lnTo>
                      <a:pt x="880" y="125"/>
                    </a:lnTo>
                    <a:lnTo>
                      <a:pt x="873" y="106"/>
                    </a:lnTo>
                    <a:lnTo>
                      <a:pt x="871" y="91"/>
                    </a:lnTo>
                    <a:lnTo>
                      <a:pt x="813" y="80"/>
                    </a:lnTo>
                    <a:lnTo>
                      <a:pt x="817" y="66"/>
                    </a:lnTo>
                    <a:lnTo>
                      <a:pt x="834" y="61"/>
                    </a:lnTo>
                    <a:lnTo>
                      <a:pt x="856" y="74"/>
                    </a:lnTo>
                    <a:lnTo>
                      <a:pt x="884" y="79"/>
                    </a:lnTo>
                    <a:lnTo>
                      <a:pt x="882" y="91"/>
                    </a:lnTo>
                    <a:lnTo>
                      <a:pt x="884" y="103"/>
                    </a:lnTo>
                    <a:lnTo>
                      <a:pt x="899" y="112"/>
                    </a:lnTo>
                    <a:lnTo>
                      <a:pt x="914" y="111"/>
                    </a:lnTo>
                    <a:lnTo>
                      <a:pt x="914" y="115"/>
                    </a:lnTo>
                    <a:lnTo>
                      <a:pt x="937" y="108"/>
                    </a:lnTo>
                    <a:lnTo>
                      <a:pt x="961" y="109"/>
                    </a:lnTo>
                    <a:lnTo>
                      <a:pt x="969" y="101"/>
                    </a:lnTo>
                    <a:lnTo>
                      <a:pt x="982" y="98"/>
                    </a:lnTo>
                    <a:lnTo>
                      <a:pt x="1004" y="59"/>
                    </a:lnTo>
                    <a:lnTo>
                      <a:pt x="995" y="54"/>
                    </a:lnTo>
                    <a:lnTo>
                      <a:pt x="978" y="58"/>
                    </a:lnTo>
                    <a:lnTo>
                      <a:pt x="980" y="44"/>
                    </a:lnTo>
                    <a:lnTo>
                      <a:pt x="990" y="29"/>
                    </a:lnTo>
                    <a:lnTo>
                      <a:pt x="1011" y="21"/>
                    </a:lnTo>
                    <a:lnTo>
                      <a:pt x="1015" y="12"/>
                    </a:lnTo>
                    <a:lnTo>
                      <a:pt x="1028" y="0"/>
                    </a:lnTo>
                    <a:lnTo>
                      <a:pt x="393" y="0"/>
                    </a:lnTo>
                    <a:lnTo>
                      <a:pt x="394" y="1"/>
                    </a:lnTo>
                    <a:lnTo>
                      <a:pt x="440" y="28"/>
                    </a:lnTo>
                    <a:lnTo>
                      <a:pt x="439" y="33"/>
                    </a:lnTo>
                    <a:lnTo>
                      <a:pt x="426" y="41"/>
                    </a:lnTo>
                    <a:lnTo>
                      <a:pt x="430" y="48"/>
                    </a:lnTo>
                    <a:lnTo>
                      <a:pt x="432" y="72"/>
                    </a:lnTo>
                    <a:lnTo>
                      <a:pt x="432" y="87"/>
                    </a:lnTo>
                    <a:lnTo>
                      <a:pt x="437" y="87"/>
                    </a:lnTo>
                    <a:lnTo>
                      <a:pt x="437" y="92"/>
                    </a:lnTo>
                    <a:lnTo>
                      <a:pt x="441" y="102"/>
                    </a:lnTo>
                    <a:lnTo>
                      <a:pt x="462" y="108"/>
                    </a:lnTo>
                    <a:lnTo>
                      <a:pt x="479" y="123"/>
                    </a:lnTo>
                    <a:lnTo>
                      <a:pt x="515" y="107"/>
                    </a:lnTo>
                    <a:lnTo>
                      <a:pt x="526" y="107"/>
                    </a:lnTo>
                    <a:lnTo>
                      <a:pt x="527" y="113"/>
                    </a:lnTo>
                    <a:lnTo>
                      <a:pt x="525" y="120"/>
                    </a:lnTo>
                    <a:lnTo>
                      <a:pt x="513" y="120"/>
                    </a:lnTo>
                    <a:lnTo>
                      <a:pt x="482" y="136"/>
                    </a:lnTo>
                    <a:lnTo>
                      <a:pt x="478" y="142"/>
                    </a:lnTo>
                    <a:lnTo>
                      <a:pt x="478" y="149"/>
                    </a:lnTo>
                    <a:lnTo>
                      <a:pt x="480" y="154"/>
                    </a:lnTo>
                    <a:lnTo>
                      <a:pt x="479" y="155"/>
                    </a:lnTo>
                    <a:lnTo>
                      <a:pt x="445" y="130"/>
                    </a:lnTo>
                    <a:lnTo>
                      <a:pt x="432" y="129"/>
                    </a:lnTo>
                    <a:lnTo>
                      <a:pt x="423" y="139"/>
                    </a:lnTo>
                    <a:lnTo>
                      <a:pt x="421" y="111"/>
                    </a:lnTo>
                    <a:lnTo>
                      <a:pt x="415" y="111"/>
                    </a:lnTo>
                    <a:lnTo>
                      <a:pt x="412" y="102"/>
                    </a:lnTo>
                    <a:lnTo>
                      <a:pt x="410" y="87"/>
                    </a:lnTo>
                    <a:lnTo>
                      <a:pt x="405" y="82"/>
                    </a:lnTo>
                    <a:lnTo>
                      <a:pt x="405" y="68"/>
                    </a:lnTo>
                    <a:lnTo>
                      <a:pt x="357" y="0"/>
                    </a:lnTo>
                    <a:lnTo>
                      <a:pt x="183" y="0"/>
                    </a:lnTo>
                    <a:lnTo>
                      <a:pt x="220" y="14"/>
                    </a:lnTo>
                    <a:lnTo>
                      <a:pt x="231" y="2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47" name="Freeform 309"/>
              <p:cNvSpPr>
                <a:spLocks noChangeAspect="1"/>
              </p:cNvSpPr>
              <p:nvPr/>
            </p:nvSpPr>
            <p:spPr bwMode="gray">
              <a:xfrm>
                <a:off x="1564" y="1153"/>
                <a:ext cx="6" cy="6"/>
              </a:xfrm>
              <a:custGeom>
                <a:avLst/>
                <a:gdLst/>
                <a:ahLst/>
                <a:cxnLst>
                  <a:cxn ang="0">
                    <a:pos x="0" y="16"/>
                  </a:cxn>
                  <a:cxn ang="0">
                    <a:pos x="0" y="21"/>
                  </a:cxn>
                  <a:cxn ang="0">
                    <a:pos x="30" y="30"/>
                  </a:cxn>
                  <a:cxn ang="0">
                    <a:pos x="3" y="0"/>
                  </a:cxn>
                  <a:cxn ang="0">
                    <a:pos x="0" y="16"/>
                  </a:cxn>
                </a:cxnLst>
                <a:rect l="0" t="0" r="r" b="b"/>
                <a:pathLst>
                  <a:path w="30" h="30">
                    <a:moveTo>
                      <a:pt x="0" y="16"/>
                    </a:moveTo>
                    <a:lnTo>
                      <a:pt x="0" y="21"/>
                    </a:lnTo>
                    <a:lnTo>
                      <a:pt x="30" y="30"/>
                    </a:lnTo>
                    <a:lnTo>
                      <a:pt x="3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48" name="Freeform 310"/>
              <p:cNvSpPr>
                <a:spLocks noChangeAspect="1"/>
              </p:cNvSpPr>
              <p:nvPr/>
            </p:nvSpPr>
            <p:spPr bwMode="gray">
              <a:xfrm>
                <a:off x="1564" y="1147"/>
                <a:ext cx="1" cy="6"/>
              </a:xfrm>
              <a:custGeom>
                <a:avLst/>
                <a:gdLst/>
                <a:ahLst/>
                <a:cxnLst>
                  <a:cxn ang="0">
                    <a:pos x="5" y="11"/>
                  </a:cxn>
                  <a:cxn ang="0">
                    <a:pos x="0" y="0"/>
                  </a:cxn>
                  <a:cxn ang="0">
                    <a:pos x="0" y="24"/>
                  </a:cxn>
                  <a:cxn ang="0">
                    <a:pos x="5" y="31"/>
                  </a:cxn>
                  <a:cxn ang="0">
                    <a:pos x="7" y="27"/>
                  </a:cxn>
                  <a:cxn ang="0">
                    <a:pos x="5" y="11"/>
                  </a:cxn>
                </a:cxnLst>
                <a:rect l="0" t="0" r="r" b="b"/>
                <a:pathLst>
                  <a:path w="7" h="31">
                    <a:moveTo>
                      <a:pt x="5" y="11"/>
                    </a:moveTo>
                    <a:lnTo>
                      <a:pt x="0" y="0"/>
                    </a:lnTo>
                    <a:lnTo>
                      <a:pt x="0" y="24"/>
                    </a:lnTo>
                    <a:lnTo>
                      <a:pt x="5" y="31"/>
                    </a:lnTo>
                    <a:lnTo>
                      <a:pt x="7" y="27"/>
                    </a:lnTo>
                    <a:lnTo>
                      <a:pt x="5" y="1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49" name="Freeform 311"/>
              <p:cNvSpPr>
                <a:spLocks noChangeAspect="1"/>
              </p:cNvSpPr>
              <p:nvPr/>
            </p:nvSpPr>
            <p:spPr bwMode="gray">
              <a:xfrm>
                <a:off x="1031" y="1408"/>
                <a:ext cx="17" cy="23"/>
              </a:xfrm>
              <a:custGeom>
                <a:avLst/>
                <a:gdLst/>
                <a:ahLst/>
                <a:cxnLst>
                  <a:cxn ang="0">
                    <a:pos x="16" y="58"/>
                  </a:cxn>
                  <a:cxn ang="0">
                    <a:pos x="22" y="61"/>
                  </a:cxn>
                  <a:cxn ang="0">
                    <a:pos x="25" y="56"/>
                  </a:cxn>
                  <a:cxn ang="0">
                    <a:pos x="19" y="46"/>
                  </a:cxn>
                  <a:cxn ang="0">
                    <a:pos x="24" y="46"/>
                  </a:cxn>
                  <a:cxn ang="0">
                    <a:pos x="30" y="52"/>
                  </a:cxn>
                  <a:cxn ang="0">
                    <a:pos x="35" y="47"/>
                  </a:cxn>
                  <a:cxn ang="0">
                    <a:pos x="38" y="52"/>
                  </a:cxn>
                  <a:cxn ang="0">
                    <a:pos x="46" y="46"/>
                  </a:cxn>
                  <a:cxn ang="0">
                    <a:pos x="47" y="37"/>
                  </a:cxn>
                  <a:cxn ang="0">
                    <a:pos x="43" y="41"/>
                  </a:cxn>
                  <a:cxn ang="0">
                    <a:pos x="38" y="37"/>
                  </a:cxn>
                  <a:cxn ang="0">
                    <a:pos x="43" y="32"/>
                  </a:cxn>
                  <a:cxn ang="0">
                    <a:pos x="48" y="19"/>
                  </a:cxn>
                  <a:cxn ang="0">
                    <a:pos x="44" y="11"/>
                  </a:cxn>
                  <a:cxn ang="0">
                    <a:pos x="43" y="3"/>
                  </a:cxn>
                  <a:cxn ang="0">
                    <a:pos x="47" y="0"/>
                  </a:cxn>
                  <a:cxn ang="0">
                    <a:pos x="47" y="10"/>
                  </a:cxn>
                  <a:cxn ang="0">
                    <a:pos x="58" y="18"/>
                  </a:cxn>
                  <a:cxn ang="0">
                    <a:pos x="57" y="26"/>
                  </a:cxn>
                  <a:cxn ang="0">
                    <a:pos x="60" y="32"/>
                  </a:cxn>
                  <a:cxn ang="0">
                    <a:pos x="67" y="35"/>
                  </a:cxn>
                  <a:cxn ang="0">
                    <a:pos x="76" y="24"/>
                  </a:cxn>
                  <a:cxn ang="0">
                    <a:pos x="81" y="30"/>
                  </a:cxn>
                  <a:cxn ang="0">
                    <a:pos x="81" y="41"/>
                  </a:cxn>
                  <a:cxn ang="0">
                    <a:pos x="79" y="50"/>
                  </a:cxn>
                  <a:cxn ang="0">
                    <a:pos x="70" y="58"/>
                  </a:cxn>
                  <a:cxn ang="0">
                    <a:pos x="49" y="94"/>
                  </a:cxn>
                  <a:cxn ang="0">
                    <a:pos x="35" y="110"/>
                  </a:cxn>
                  <a:cxn ang="0">
                    <a:pos x="24" y="106"/>
                  </a:cxn>
                  <a:cxn ang="0">
                    <a:pos x="22" y="110"/>
                  </a:cxn>
                  <a:cxn ang="0">
                    <a:pos x="22" y="113"/>
                  </a:cxn>
                  <a:cxn ang="0">
                    <a:pos x="16" y="106"/>
                  </a:cxn>
                  <a:cxn ang="0">
                    <a:pos x="17" y="101"/>
                  </a:cxn>
                  <a:cxn ang="0">
                    <a:pos x="27" y="104"/>
                  </a:cxn>
                  <a:cxn ang="0">
                    <a:pos x="33" y="96"/>
                  </a:cxn>
                  <a:cxn ang="0">
                    <a:pos x="38" y="85"/>
                  </a:cxn>
                  <a:cxn ang="0">
                    <a:pos x="26" y="96"/>
                  </a:cxn>
                  <a:cxn ang="0">
                    <a:pos x="12" y="86"/>
                  </a:cxn>
                  <a:cxn ang="0">
                    <a:pos x="8" y="73"/>
                  </a:cxn>
                  <a:cxn ang="0">
                    <a:pos x="6" y="61"/>
                  </a:cxn>
                  <a:cxn ang="0">
                    <a:pos x="1" y="57"/>
                  </a:cxn>
                  <a:cxn ang="0">
                    <a:pos x="0" y="52"/>
                  </a:cxn>
                  <a:cxn ang="0">
                    <a:pos x="3" y="46"/>
                  </a:cxn>
                  <a:cxn ang="0">
                    <a:pos x="6" y="46"/>
                  </a:cxn>
                  <a:cxn ang="0">
                    <a:pos x="16" y="58"/>
                  </a:cxn>
                </a:cxnLst>
                <a:rect l="0" t="0" r="r" b="b"/>
                <a:pathLst>
                  <a:path w="81" h="113">
                    <a:moveTo>
                      <a:pt x="16" y="58"/>
                    </a:moveTo>
                    <a:lnTo>
                      <a:pt x="22" y="61"/>
                    </a:lnTo>
                    <a:lnTo>
                      <a:pt x="25" y="56"/>
                    </a:lnTo>
                    <a:lnTo>
                      <a:pt x="19" y="46"/>
                    </a:lnTo>
                    <a:lnTo>
                      <a:pt x="24" y="46"/>
                    </a:lnTo>
                    <a:lnTo>
                      <a:pt x="30" y="52"/>
                    </a:lnTo>
                    <a:lnTo>
                      <a:pt x="35" y="47"/>
                    </a:lnTo>
                    <a:lnTo>
                      <a:pt x="38" y="52"/>
                    </a:lnTo>
                    <a:lnTo>
                      <a:pt x="46" y="46"/>
                    </a:lnTo>
                    <a:lnTo>
                      <a:pt x="47" y="37"/>
                    </a:lnTo>
                    <a:lnTo>
                      <a:pt x="43" y="41"/>
                    </a:lnTo>
                    <a:lnTo>
                      <a:pt x="38" y="37"/>
                    </a:lnTo>
                    <a:lnTo>
                      <a:pt x="43" y="32"/>
                    </a:lnTo>
                    <a:lnTo>
                      <a:pt x="48" y="19"/>
                    </a:lnTo>
                    <a:lnTo>
                      <a:pt x="44" y="11"/>
                    </a:lnTo>
                    <a:lnTo>
                      <a:pt x="43" y="3"/>
                    </a:lnTo>
                    <a:lnTo>
                      <a:pt x="47" y="0"/>
                    </a:lnTo>
                    <a:lnTo>
                      <a:pt x="47" y="10"/>
                    </a:lnTo>
                    <a:lnTo>
                      <a:pt x="58" y="18"/>
                    </a:lnTo>
                    <a:lnTo>
                      <a:pt x="57" y="26"/>
                    </a:lnTo>
                    <a:lnTo>
                      <a:pt x="60" y="32"/>
                    </a:lnTo>
                    <a:lnTo>
                      <a:pt x="67" y="35"/>
                    </a:lnTo>
                    <a:lnTo>
                      <a:pt x="76" y="24"/>
                    </a:lnTo>
                    <a:lnTo>
                      <a:pt x="81" y="30"/>
                    </a:lnTo>
                    <a:lnTo>
                      <a:pt x="81" y="41"/>
                    </a:lnTo>
                    <a:lnTo>
                      <a:pt x="79" y="50"/>
                    </a:lnTo>
                    <a:lnTo>
                      <a:pt x="70" y="58"/>
                    </a:lnTo>
                    <a:lnTo>
                      <a:pt x="49" y="94"/>
                    </a:lnTo>
                    <a:lnTo>
                      <a:pt x="35" y="110"/>
                    </a:lnTo>
                    <a:lnTo>
                      <a:pt x="24" y="106"/>
                    </a:lnTo>
                    <a:lnTo>
                      <a:pt x="22" y="110"/>
                    </a:lnTo>
                    <a:lnTo>
                      <a:pt x="22" y="113"/>
                    </a:lnTo>
                    <a:lnTo>
                      <a:pt x="16" y="106"/>
                    </a:lnTo>
                    <a:lnTo>
                      <a:pt x="17" y="101"/>
                    </a:lnTo>
                    <a:lnTo>
                      <a:pt x="27" y="104"/>
                    </a:lnTo>
                    <a:lnTo>
                      <a:pt x="33" y="96"/>
                    </a:lnTo>
                    <a:lnTo>
                      <a:pt x="38" y="85"/>
                    </a:lnTo>
                    <a:lnTo>
                      <a:pt x="26" y="96"/>
                    </a:lnTo>
                    <a:lnTo>
                      <a:pt x="12" y="86"/>
                    </a:lnTo>
                    <a:lnTo>
                      <a:pt x="8" y="73"/>
                    </a:lnTo>
                    <a:lnTo>
                      <a:pt x="6" y="61"/>
                    </a:lnTo>
                    <a:lnTo>
                      <a:pt x="1" y="57"/>
                    </a:lnTo>
                    <a:lnTo>
                      <a:pt x="0" y="52"/>
                    </a:lnTo>
                    <a:lnTo>
                      <a:pt x="3" y="46"/>
                    </a:lnTo>
                    <a:lnTo>
                      <a:pt x="6" y="46"/>
                    </a:lnTo>
                    <a:lnTo>
                      <a:pt x="16" y="5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50" name="Freeform 312"/>
              <p:cNvSpPr>
                <a:spLocks noChangeAspect="1"/>
              </p:cNvSpPr>
              <p:nvPr/>
            </p:nvSpPr>
            <p:spPr bwMode="gray">
              <a:xfrm>
                <a:off x="1024" y="1423"/>
                <a:ext cx="11" cy="11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1" y="4"/>
                  </a:cxn>
                  <a:cxn ang="0">
                    <a:pos x="0" y="8"/>
                  </a:cxn>
                  <a:cxn ang="0">
                    <a:pos x="1" y="22"/>
                  </a:cxn>
                  <a:cxn ang="0">
                    <a:pos x="9" y="28"/>
                  </a:cxn>
                  <a:cxn ang="0">
                    <a:pos x="12" y="38"/>
                  </a:cxn>
                  <a:cxn ang="0">
                    <a:pos x="23" y="39"/>
                  </a:cxn>
                  <a:cxn ang="0">
                    <a:pos x="32" y="49"/>
                  </a:cxn>
                  <a:cxn ang="0">
                    <a:pos x="41" y="50"/>
                  </a:cxn>
                  <a:cxn ang="0">
                    <a:pos x="44" y="55"/>
                  </a:cxn>
                  <a:cxn ang="0">
                    <a:pos x="47" y="58"/>
                  </a:cxn>
                  <a:cxn ang="0">
                    <a:pos x="52" y="56"/>
                  </a:cxn>
                  <a:cxn ang="0">
                    <a:pos x="54" y="50"/>
                  </a:cxn>
                  <a:cxn ang="0">
                    <a:pos x="45" y="39"/>
                  </a:cxn>
                  <a:cxn ang="0">
                    <a:pos x="30" y="28"/>
                  </a:cxn>
                  <a:cxn ang="0">
                    <a:pos x="33" y="22"/>
                  </a:cxn>
                  <a:cxn ang="0">
                    <a:pos x="19" y="15"/>
                  </a:cxn>
                  <a:cxn ang="0">
                    <a:pos x="14" y="4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2" y="4"/>
                  </a:cxn>
                </a:cxnLst>
                <a:rect l="0" t="0" r="r" b="b"/>
                <a:pathLst>
                  <a:path w="54" h="57">
                    <a:moveTo>
                      <a:pt x="2" y="4"/>
                    </a:moveTo>
                    <a:lnTo>
                      <a:pt x="1" y="4"/>
                    </a:lnTo>
                    <a:lnTo>
                      <a:pt x="0" y="8"/>
                    </a:lnTo>
                    <a:lnTo>
                      <a:pt x="1" y="22"/>
                    </a:lnTo>
                    <a:lnTo>
                      <a:pt x="9" y="28"/>
                    </a:lnTo>
                    <a:lnTo>
                      <a:pt x="12" y="38"/>
                    </a:lnTo>
                    <a:lnTo>
                      <a:pt x="23" y="39"/>
                    </a:lnTo>
                    <a:lnTo>
                      <a:pt x="32" y="49"/>
                    </a:lnTo>
                    <a:lnTo>
                      <a:pt x="41" y="50"/>
                    </a:lnTo>
                    <a:lnTo>
                      <a:pt x="44" y="55"/>
                    </a:lnTo>
                    <a:lnTo>
                      <a:pt x="47" y="58"/>
                    </a:lnTo>
                    <a:lnTo>
                      <a:pt x="52" y="56"/>
                    </a:lnTo>
                    <a:lnTo>
                      <a:pt x="54" y="50"/>
                    </a:lnTo>
                    <a:lnTo>
                      <a:pt x="45" y="39"/>
                    </a:lnTo>
                    <a:lnTo>
                      <a:pt x="30" y="28"/>
                    </a:lnTo>
                    <a:lnTo>
                      <a:pt x="33" y="22"/>
                    </a:lnTo>
                    <a:lnTo>
                      <a:pt x="19" y="15"/>
                    </a:lnTo>
                    <a:lnTo>
                      <a:pt x="14" y="4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</p:grpSp>
        <p:sp>
          <p:nvSpPr>
            <p:cNvPr id="78" name="Freeform 313"/>
            <p:cNvSpPr>
              <a:spLocks noChangeAspect="1"/>
            </p:cNvSpPr>
            <p:nvPr/>
          </p:nvSpPr>
          <p:spPr bwMode="gray">
            <a:xfrm rot="21085607">
              <a:off x="4534484" y="3703338"/>
              <a:ext cx="12721" cy="6985"/>
            </a:xfrm>
            <a:custGeom>
              <a:avLst/>
              <a:gdLst/>
              <a:ahLst/>
              <a:cxnLst>
                <a:cxn ang="0">
                  <a:pos x="291" y="10"/>
                </a:cxn>
                <a:cxn ang="0">
                  <a:pos x="281" y="6"/>
                </a:cxn>
                <a:cxn ang="0">
                  <a:pos x="289" y="25"/>
                </a:cxn>
                <a:cxn ang="0">
                  <a:pos x="298" y="25"/>
                </a:cxn>
                <a:cxn ang="0">
                  <a:pos x="326" y="50"/>
                </a:cxn>
                <a:cxn ang="0">
                  <a:pos x="336" y="96"/>
                </a:cxn>
                <a:cxn ang="0">
                  <a:pos x="312" y="69"/>
                </a:cxn>
                <a:cxn ang="0">
                  <a:pos x="274" y="50"/>
                </a:cxn>
                <a:cxn ang="0">
                  <a:pos x="230" y="52"/>
                </a:cxn>
                <a:cxn ang="0">
                  <a:pos x="98" y="96"/>
                </a:cxn>
                <a:cxn ang="0">
                  <a:pos x="21" y="93"/>
                </a:cxn>
                <a:cxn ang="0">
                  <a:pos x="0" y="52"/>
                </a:cxn>
                <a:cxn ang="0">
                  <a:pos x="87" y="45"/>
                </a:cxn>
                <a:cxn ang="0">
                  <a:pos x="208" y="0"/>
                </a:cxn>
                <a:cxn ang="0">
                  <a:pos x="257" y="0"/>
                </a:cxn>
                <a:cxn ang="0">
                  <a:pos x="291" y="10"/>
                </a:cxn>
              </a:cxnLst>
              <a:rect l="0" t="0" r="r" b="b"/>
              <a:pathLst>
                <a:path w="336" h="96">
                  <a:moveTo>
                    <a:pt x="291" y="10"/>
                  </a:moveTo>
                  <a:lnTo>
                    <a:pt x="281" y="6"/>
                  </a:lnTo>
                  <a:lnTo>
                    <a:pt x="289" y="25"/>
                  </a:lnTo>
                  <a:lnTo>
                    <a:pt x="298" y="25"/>
                  </a:lnTo>
                  <a:lnTo>
                    <a:pt x="326" y="50"/>
                  </a:lnTo>
                  <a:lnTo>
                    <a:pt x="336" y="96"/>
                  </a:lnTo>
                  <a:lnTo>
                    <a:pt x="312" y="69"/>
                  </a:lnTo>
                  <a:lnTo>
                    <a:pt x="274" y="50"/>
                  </a:lnTo>
                  <a:lnTo>
                    <a:pt x="230" y="52"/>
                  </a:lnTo>
                  <a:lnTo>
                    <a:pt x="98" y="96"/>
                  </a:lnTo>
                  <a:lnTo>
                    <a:pt x="21" y="93"/>
                  </a:lnTo>
                  <a:lnTo>
                    <a:pt x="0" y="52"/>
                  </a:lnTo>
                  <a:lnTo>
                    <a:pt x="87" y="45"/>
                  </a:lnTo>
                  <a:lnTo>
                    <a:pt x="208" y="0"/>
                  </a:lnTo>
                  <a:lnTo>
                    <a:pt x="257" y="0"/>
                  </a:lnTo>
                  <a:lnTo>
                    <a:pt x="291" y="1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9" name="Freeform 314"/>
            <p:cNvSpPr>
              <a:spLocks noChangeAspect="1"/>
            </p:cNvSpPr>
            <p:nvPr/>
          </p:nvSpPr>
          <p:spPr bwMode="gray">
            <a:xfrm rot="21085607">
              <a:off x="4555155" y="3705084"/>
              <a:ext cx="1591" cy="17461"/>
            </a:xfrm>
            <a:custGeom>
              <a:avLst/>
              <a:gdLst/>
              <a:ahLst/>
              <a:cxnLst>
                <a:cxn ang="0">
                  <a:pos x="76" y="83"/>
                </a:cxn>
                <a:cxn ang="0">
                  <a:pos x="86" y="6"/>
                </a:cxn>
                <a:cxn ang="0">
                  <a:pos x="86" y="62"/>
                </a:cxn>
                <a:cxn ang="0">
                  <a:pos x="53" y="146"/>
                </a:cxn>
                <a:cxn ang="0">
                  <a:pos x="39" y="232"/>
                </a:cxn>
                <a:cxn ang="0">
                  <a:pos x="0" y="173"/>
                </a:cxn>
                <a:cxn ang="0">
                  <a:pos x="14" y="159"/>
                </a:cxn>
                <a:cxn ang="0">
                  <a:pos x="21" y="135"/>
                </a:cxn>
                <a:cxn ang="0">
                  <a:pos x="18" y="95"/>
                </a:cxn>
                <a:cxn ang="0">
                  <a:pos x="42" y="6"/>
                </a:cxn>
                <a:cxn ang="0">
                  <a:pos x="53" y="0"/>
                </a:cxn>
                <a:cxn ang="0">
                  <a:pos x="72" y="41"/>
                </a:cxn>
                <a:cxn ang="0">
                  <a:pos x="76" y="83"/>
                </a:cxn>
              </a:cxnLst>
              <a:rect l="0" t="0" r="r" b="b"/>
              <a:pathLst>
                <a:path w="86" h="231">
                  <a:moveTo>
                    <a:pt x="76" y="83"/>
                  </a:moveTo>
                  <a:lnTo>
                    <a:pt x="86" y="6"/>
                  </a:lnTo>
                  <a:lnTo>
                    <a:pt x="86" y="62"/>
                  </a:lnTo>
                  <a:lnTo>
                    <a:pt x="53" y="146"/>
                  </a:lnTo>
                  <a:lnTo>
                    <a:pt x="39" y="232"/>
                  </a:lnTo>
                  <a:lnTo>
                    <a:pt x="0" y="173"/>
                  </a:lnTo>
                  <a:lnTo>
                    <a:pt x="14" y="159"/>
                  </a:lnTo>
                  <a:lnTo>
                    <a:pt x="21" y="135"/>
                  </a:lnTo>
                  <a:lnTo>
                    <a:pt x="18" y="95"/>
                  </a:lnTo>
                  <a:lnTo>
                    <a:pt x="42" y="6"/>
                  </a:lnTo>
                  <a:lnTo>
                    <a:pt x="53" y="0"/>
                  </a:lnTo>
                  <a:lnTo>
                    <a:pt x="72" y="41"/>
                  </a:lnTo>
                  <a:lnTo>
                    <a:pt x="76" y="8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80" name="Freeform 315"/>
            <p:cNvSpPr>
              <a:spLocks noChangeAspect="1"/>
            </p:cNvSpPr>
            <p:nvPr/>
          </p:nvSpPr>
          <p:spPr bwMode="gray">
            <a:xfrm rot="21085607">
              <a:off x="4555155" y="3745245"/>
              <a:ext cx="3180" cy="1747"/>
            </a:xfrm>
            <a:custGeom>
              <a:avLst/>
              <a:gdLst/>
              <a:ahLst/>
              <a:cxnLst>
                <a:cxn ang="0">
                  <a:pos x="55" y="25"/>
                </a:cxn>
                <a:cxn ang="0">
                  <a:pos x="73" y="7"/>
                </a:cxn>
                <a:cxn ang="0">
                  <a:pos x="73" y="0"/>
                </a:cxn>
                <a:cxn ang="0">
                  <a:pos x="48" y="0"/>
                </a:cxn>
                <a:cxn ang="0">
                  <a:pos x="8" y="4"/>
                </a:cxn>
                <a:cxn ang="0">
                  <a:pos x="0" y="28"/>
                </a:cxn>
                <a:cxn ang="0">
                  <a:pos x="55" y="25"/>
                </a:cxn>
              </a:cxnLst>
              <a:rect l="0" t="0" r="r" b="b"/>
              <a:pathLst>
                <a:path w="73" h="28">
                  <a:moveTo>
                    <a:pt x="55" y="25"/>
                  </a:moveTo>
                  <a:lnTo>
                    <a:pt x="73" y="7"/>
                  </a:lnTo>
                  <a:lnTo>
                    <a:pt x="73" y="0"/>
                  </a:lnTo>
                  <a:lnTo>
                    <a:pt x="48" y="0"/>
                  </a:lnTo>
                  <a:lnTo>
                    <a:pt x="8" y="4"/>
                  </a:lnTo>
                  <a:lnTo>
                    <a:pt x="0" y="28"/>
                  </a:lnTo>
                  <a:lnTo>
                    <a:pt x="55" y="2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81" name="Freeform 316"/>
            <p:cNvSpPr>
              <a:spLocks noChangeAspect="1"/>
            </p:cNvSpPr>
            <p:nvPr/>
          </p:nvSpPr>
          <p:spPr bwMode="gray">
            <a:xfrm rot="21085607">
              <a:off x="4547205" y="3743499"/>
              <a:ext cx="6361" cy="20954"/>
            </a:xfrm>
            <a:custGeom>
              <a:avLst/>
              <a:gdLst/>
              <a:ahLst/>
              <a:cxnLst>
                <a:cxn ang="0">
                  <a:pos x="93" y="46"/>
                </a:cxn>
                <a:cxn ang="0">
                  <a:pos x="107" y="50"/>
                </a:cxn>
                <a:cxn ang="0">
                  <a:pos x="114" y="81"/>
                </a:cxn>
                <a:cxn ang="0">
                  <a:pos x="175" y="163"/>
                </a:cxn>
                <a:cxn ang="0">
                  <a:pos x="175" y="244"/>
                </a:cxn>
                <a:cxn ang="0">
                  <a:pos x="168" y="268"/>
                </a:cxn>
                <a:cxn ang="0">
                  <a:pos x="141" y="288"/>
                </a:cxn>
                <a:cxn ang="0">
                  <a:pos x="101" y="291"/>
                </a:cxn>
                <a:cxn ang="0">
                  <a:pos x="59" y="244"/>
                </a:cxn>
                <a:cxn ang="0">
                  <a:pos x="10" y="212"/>
                </a:cxn>
                <a:cxn ang="0">
                  <a:pos x="0" y="167"/>
                </a:cxn>
                <a:cxn ang="0">
                  <a:pos x="28" y="84"/>
                </a:cxn>
                <a:cxn ang="0">
                  <a:pos x="35" y="39"/>
                </a:cxn>
                <a:cxn ang="0">
                  <a:pos x="30" y="8"/>
                </a:cxn>
                <a:cxn ang="0">
                  <a:pos x="79" y="0"/>
                </a:cxn>
                <a:cxn ang="0">
                  <a:pos x="93" y="46"/>
                </a:cxn>
              </a:cxnLst>
              <a:rect l="0" t="0" r="r" b="b"/>
              <a:pathLst>
                <a:path w="175" h="291">
                  <a:moveTo>
                    <a:pt x="93" y="46"/>
                  </a:moveTo>
                  <a:lnTo>
                    <a:pt x="107" y="50"/>
                  </a:lnTo>
                  <a:lnTo>
                    <a:pt x="114" y="81"/>
                  </a:lnTo>
                  <a:lnTo>
                    <a:pt x="175" y="163"/>
                  </a:lnTo>
                  <a:lnTo>
                    <a:pt x="175" y="244"/>
                  </a:lnTo>
                  <a:lnTo>
                    <a:pt x="168" y="268"/>
                  </a:lnTo>
                  <a:lnTo>
                    <a:pt x="141" y="288"/>
                  </a:lnTo>
                  <a:lnTo>
                    <a:pt x="101" y="291"/>
                  </a:lnTo>
                  <a:lnTo>
                    <a:pt x="59" y="244"/>
                  </a:lnTo>
                  <a:lnTo>
                    <a:pt x="10" y="212"/>
                  </a:lnTo>
                  <a:lnTo>
                    <a:pt x="0" y="167"/>
                  </a:lnTo>
                  <a:lnTo>
                    <a:pt x="28" y="84"/>
                  </a:lnTo>
                  <a:lnTo>
                    <a:pt x="35" y="39"/>
                  </a:lnTo>
                  <a:lnTo>
                    <a:pt x="30" y="8"/>
                  </a:lnTo>
                  <a:lnTo>
                    <a:pt x="79" y="0"/>
                  </a:lnTo>
                  <a:lnTo>
                    <a:pt x="93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82" name="Freeform 317"/>
            <p:cNvSpPr>
              <a:spLocks noChangeAspect="1"/>
            </p:cNvSpPr>
            <p:nvPr/>
          </p:nvSpPr>
          <p:spPr bwMode="gray">
            <a:xfrm rot="21085607">
              <a:off x="4555155" y="3767945"/>
              <a:ext cx="1591" cy="10477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47" y="0"/>
                </a:cxn>
                <a:cxn ang="0">
                  <a:pos x="69" y="118"/>
                </a:cxn>
                <a:cxn ang="0">
                  <a:pos x="59" y="144"/>
                </a:cxn>
                <a:cxn ang="0">
                  <a:pos x="17" y="128"/>
                </a:cxn>
                <a:cxn ang="0">
                  <a:pos x="0" y="70"/>
                </a:cxn>
              </a:cxnLst>
              <a:rect l="0" t="0" r="r" b="b"/>
              <a:pathLst>
                <a:path w="69" h="144">
                  <a:moveTo>
                    <a:pt x="0" y="70"/>
                  </a:moveTo>
                  <a:lnTo>
                    <a:pt x="47" y="0"/>
                  </a:lnTo>
                  <a:lnTo>
                    <a:pt x="69" y="118"/>
                  </a:lnTo>
                  <a:lnTo>
                    <a:pt x="59" y="144"/>
                  </a:lnTo>
                  <a:lnTo>
                    <a:pt x="17" y="128"/>
                  </a:lnTo>
                  <a:lnTo>
                    <a:pt x="0" y="7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83" name="Freeform 318"/>
            <p:cNvSpPr>
              <a:spLocks noChangeAspect="1"/>
            </p:cNvSpPr>
            <p:nvPr/>
          </p:nvSpPr>
          <p:spPr bwMode="gray">
            <a:xfrm rot="21085607">
              <a:off x="4569467" y="3738260"/>
              <a:ext cx="1591" cy="13969"/>
            </a:xfrm>
            <a:custGeom>
              <a:avLst/>
              <a:gdLst/>
              <a:ahLst/>
              <a:cxnLst>
                <a:cxn ang="0">
                  <a:pos x="37" y="20"/>
                </a:cxn>
                <a:cxn ang="0">
                  <a:pos x="37" y="0"/>
                </a:cxn>
                <a:cxn ang="0">
                  <a:pos x="52" y="45"/>
                </a:cxn>
                <a:cxn ang="0">
                  <a:pos x="47" y="192"/>
                </a:cxn>
                <a:cxn ang="0">
                  <a:pos x="10" y="160"/>
                </a:cxn>
                <a:cxn ang="0">
                  <a:pos x="0" y="120"/>
                </a:cxn>
                <a:cxn ang="0">
                  <a:pos x="20" y="99"/>
                </a:cxn>
                <a:cxn ang="0">
                  <a:pos x="37" y="20"/>
                </a:cxn>
              </a:cxnLst>
              <a:rect l="0" t="0" r="r" b="b"/>
              <a:pathLst>
                <a:path w="52" h="192">
                  <a:moveTo>
                    <a:pt x="37" y="20"/>
                  </a:moveTo>
                  <a:lnTo>
                    <a:pt x="37" y="0"/>
                  </a:lnTo>
                  <a:lnTo>
                    <a:pt x="52" y="45"/>
                  </a:lnTo>
                  <a:lnTo>
                    <a:pt x="47" y="192"/>
                  </a:lnTo>
                  <a:lnTo>
                    <a:pt x="10" y="160"/>
                  </a:lnTo>
                  <a:lnTo>
                    <a:pt x="0" y="120"/>
                  </a:lnTo>
                  <a:lnTo>
                    <a:pt x="20" y="99"/>
                  </a:lnTo>
                  <a:lnTo>
                    <a:pt x="37" y="2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84" name="Freeform 319"/>
            <p:cNvSpPr>
              <a:spLocks noChangeAspect="1"/>
            </p:cNvSpPr>
            <p:nvPr/>
          </p:nvSpPr>
          <p:spPr bwMode="gray">
            <a:xfrm rot="21085607">
              <a:off x="4577417" y="3750484"/>
              <a:ext cx="4771" cy="15716"/>
            </a:xfrm>
            <a:custGeom>
              <a:avLst/>
              <a:gdLst/>
              <a:ahLst/>
              <a:cxnLst>
                <a:cxn ang="0">
                  <a:pos x="115" y="147"/>
                </a:cxn>
                <a:cxn ang="0">
                  <a:pos x="132" y="142"/>
                </a:cxn>
                <a:cxn ang="0">
                  <a:pos x="146" y="205"/>
                </a:cxn>
                <a:cxn ang="0">
                  <a:pos x="121" y="212"/>
                </a:cxn>
                <a:cxn ang="0">
                  <a:pos x="87" y="202"/>
                </a:cxn>
                <a:cxn ang="0">
                  <a:pos x="101" y="157"/>
                </a:cxn>
                <a:cxn ang="0">
                  <a:pos x="56" y="76"/>
                </a:cxn>
                <a:cxn ang="0">
                  <a:pos x="0" y="0"/>
                </a:cxn>
                <a:cxn ang="0">
                  <a:pos x="24" y="4"/>
                </a:cxn>
                <a:cxn ang="0">
                  <a:pos x="52" y="35"/>
                </a:cxn>
                <a:cxn ang="0">
                  <a:pos x="115" y="147"/>
                </a:cxn>
              </a:cxnLst>
              <a:rect l="0" t="0" r="r" b="b"/>
              <a:pathLst>
                <a:path w="146" h="211">
                  <a:moveTo>
                    <a:pt x="115" y="147"/>
                  </a:moveTo>
                  <a:lnTo>
                    <a:pt x="132" y="142"/>
                  </a:lnTo>
                  <a:lnTo>
                    <a:pt x="146" y="205"/>
                  </a:lnTo>
                  <a:lnTo>
                    <a:pt x="121" y="212"/>
                  </a:lnTo>
                  <a:lnTo>
                    <a:pt x="87" y="202"/>
                  </a:lnTo>
                  <a:lnTo>
                    <a:pt x="101" y="157"/>
                  </a:lnTo>
                  <a:lnTo>
                    <a:pt x="56" y="76"/>
                  </a:lnTo>
                  <a:lnTo>
                    <a:pt x="0" y="0"/>
                  </a:lnTo>
                  <a:lnTo>
                    <a:pt x="24" y="4"/>
                  </a:lnTo>
                  <a:lnTo>
                    <a:pt x="52" y="35"/>
                  </a:lnTo>
                  <a:lnTo>
                    <a:pt x="115" y="14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85" name="Freeform 320"/>
            <p:cNvSpPr>
              <a:spLocks noChangeAspect="1"/>
            </p:cNvSpPr>
            <p:nvPr/>
          </p:nvSpPr>
          <p:spPr bwMode="gray">
            <a:xfrm rot="21085607">
              <a:off x="4591729" y="3762706"/>
              <a:ext cx="3180" cy="3492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3" y="28"/>
                </a:cxn>
                <a:cxn ang="0">
                  <a:pos x="0" y="55"/>
                </a:cxn>
                <a:cxn ang="0">
                  <a:pos x="35" y="52"/>
                </a:cxn>
                <a:cxn ang="0">
                  <a:pos x="52" y="0"/>
                </a:cxn>
                <a:cxn ang="0">
                  <a:pos x="20" y="0"/>
                </a:cxn>
              </a:cxnLst>
              <a:rect l="0" t="0" r="r" b="b"/>
              <a:pathLst>
                <a:path w="52" h="55">
                  <a:moveTo>
                    <a:pt x="20" y="0"/>
                  </a:moveTo>
                  <a:lnTo>
                    <a:pt x="3" y="28"/>
                  </a:lnTo>
                  <a:lnTo>
                    <a:pt x="0" y="55"/>
                  </a:lnTo>
                  <a:lnTo>
                    <a:pt x="35" y="52"/>
                  </a:lnTo>
                  <a:lnTo>
                    <a:pt x="52" y="0"/>
                  </a:lnTo>
                  <a:lnTo>
                    <a:pt x="2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86" name="Freeform 321"/>
            <p:cNvSpPr>
              <a:spLocks noChangeAspect="1"/>
            </p:cNvSpPr>
            <p:nvPr/>
          </p:nvSpPr>
          <p:spPr bwMode="gray">
            <a:xfrm rot="21085607">
              <a:off x="4585368" y="3778422"/>
              <a:ext cx="4771" cy="1746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" y="17"/>
                </a:cxn>
                <a:cxn ang="0">
                  <a:pos x="37" y="105"/>
                </a:cxn>
                <a:cxn ang="0">
                  <a:pos x="55" y="135"/>
                </a:cxn>
                <a:cxn ang="0">
                  <a:pos x="93" y="149"/>
                </a:cxn>
                <a:cxn ang="0">
                  <a:pos x="117" y="204"/>
                </a:cxn>
                <a:cxn ang="0">
                  <a:pos x="117" y="232"/>
                </a:cxn>
                <a:cxn ang="0">
                  <a:pos x="96" y="191"/>
                </a:cxn>
                <a:cxn ang="0">
                  <a:pos x="52" y="162"/>
                </a:cxn>
                <a:cxn ang="0">
                  <a:pos x="35" y="118"/>
                </a:cxn>
                <a:cxn ang="0">
                  <a:pos x="24" y="44"/>
                </a:cxn>
                <a:cxn ang="0">
                  <a:pos x="0" y="0"/>
                </a:cxn>
              </a:cxnLst>
              <a:rect l="0" t="0" r="r" b="b"/>
              <a:pathLst>
                <a:path w="117" h="231">
                  <a:moveTo>
                    <a:pt x="0" y="0"/>
                  </a:moveTo>
                  <a:lnTo>
                    <a:pt x="10" y="17"/>
                  </a:lnTo>
                  <a:lnTo>
                    <a:pt x="37" y="105"/>
                  </a:lnTo>
                  <a:lnTo>
                    <a:pt x="55" y="135"/>
                  </a:lnTo>
                  <a:lnTo>
                    <a:pt x="93" y="149"/>
                  </a:lnTo>
                  <a:lnTo>
                    <a:pt x="117" y="204"/>
                  </a:lnTo>
                  <a:lnTo>
                    <a:pt x="117" y="232"/>
                  </a:lnTo>
                  <a:lnTo>
                    <a:pt x="96" y="191"/>
                  </a:lnTo>
                  <a:lnTo>
                    <a:pt x="52" y="162"/>
                  </a:lnTo>
                  <a:lnTo>
                    <a:pt x="35" y="118"/>
                  </a:lnTo>
                  <a:lnTo>
                    <a:pt x="24" y="4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87" name="Freeform 322"/>
            <p:cNvSpPr>
              <a:spLocks noChangeAspect="1"/>
            </p:cNvSpPr>
            <p:nvPr/>
          </p:nvSpPr>
          <p:spPr bwMode="gray">
            <a:xfrm rot="21085607">
              <a:off x="4599679" y="3794137"/>
              <a:ext cx="4771" cy="15716"/>
            </a:xfrm>
            <a:custGeom>
              <a:avLst/>
              <a:gdLst/>
              <a:ahLst/>
              <a:cxnLst>
                <a:cxn ang="0">
                  <a:pos x="101" y="73"/>
                </a:cxn>
                <a:cxn ang="0">
                  <a:pos x="101" y="48"/>
                </a:cxn>
                <a:cxn ang="0">
                  <a:pos x="101" y="56"/>
                </a:cxn>
                <a:cxn ang="0">
                  <a:pos x="90" y="48"/>
                </a:cxn>
                <a:cxn ang="0">
                  <a:pos x="31" y="48"/>
                </a:cxn>
                <a:cxn ang="0">
                  <a:pos x="4" y="27"/>
                </a:cxn>
                <a:cxn ang="0">
                  <a:pos x="0" y="14"/>
                </a:cxn>
                <a:cxn ang="0">
                  <a:pos x="11" y="0"/>
                </a:cxn>
                <a:cxn ang="0">
                  <a:pos x="46" y="14"/>
                </a:cxn>
                <a:cxn ang="0">
                  <a:pos x="83" y="41"/>
                </a:cxn>
                <a:cxn ang="0">
                  <a:pos x="125" y="41"/>
                </a:cxn>
                <a:cxn ang="0">
                  <a:pos x="145" y="61"/>
                </a:cxn>
                <a:cxn ang="0">
                  <a:pos x="149" y="113"/>
                </a:cxn>
                <a:cxn ang="0">
                  <a:pos x="103" y="172"/>
                </a:cxn>
                <a:cxn ang="0">
                  <a:pos x="49" y="218"/>
                </a:cxn>
                <a:cxn ang="0">
                  <a:pos x="35" y="182"/>
                </a:cxn>
                <a:cxn ang="0">
                  <a:pos x="111" y="100"/>
                </a:cxn>
                <a:cxn ang="0">
                  <a:pos x="101" y="73"/>
                </a:cxn>
              </a:cxnLst>
              <a:rect l="0" t="0" r="r" b="b"/>
              <a:pathLst>
                <a:path w="149" h="218">
                  <a:moveTo>
                    <a:pt x="101" y="73"/>
                  </a:moveTo>
                  <a:lnTo>
                    <a:pt x="101" y="48"/>
                  </a:lnTo>
                  <a:lnTo>
                    <a:pt x="101" y="56"/>
                  </a:lnTo>
                  <a:lnTo>
                    <a:pt x="90" y="48"/>
                  </a:lnTo>
                  <a:lnTo>
                    <a:pt x="31" y="48"/>
                  </a:lnTo>
                  <a:lnTo>
                    <a:pt x="4" y="27"/>
                  </a:lnTo>
                  <a:lnTo>
                    <a:pt x="0" y="14"/>
                  </a:lnTo>
                  <a:lnTo>
                    <a:pt x="11" y="0"/>
                  </a:lnTo>
                  <a:lnTo>
                    <a:pt x="46" y="14"/>
                  </a:lnTo>
                  <a:lnTo>
                    <a:pt x="83" y="41"/>
                  </a:lnTo>
                  <a:lnTo>
                    <a:pt x="125" y="41"/>
                  </a:lnTo>
                  <a:lnTo>
                    <a:pt x="145" y="61"/>
                  </a:lnTo>
                  <a:lnTo>
                    <a:pt x="149" y="113"/>
                  </a:lnTo>
                  <a:lnTo>
                    <a:pt x="103" y="172"/>
                  </a:lnTo>
                  <a:lnTo>
                    <a:pt x="49" y="218"/>
                  </a:lnTo>
                  <a:lnTo>
                    <a:pt x="35" y="182"/>
                  </a:lnTo>
                  <a:lnTo>
                    <a:pt x="111" y="100"/>
                  </a:lnTo>
                  <a:lnTo>
                    <a:pt x="101" y="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88" name="Freeform 323"/>
            <p:cNvSpPr>
              <a:spLocks noChangeAspect="1"/>
            </p:cNvSpPr>
            <p:nvPr/>
          </p:nvSpPr>
          <p:spPr bwMode="gray">
            <a:xfrm rot="21085607">
              <a:off x="4612400" y="3804613"/>
              <a:ext cx="4771" cy="1747"/>
            </a:xfrm>
            <a:custGeom>
              <a:avLst/>
              <a:gdLst/>
              <a:ahLst/>
              <a:cxnLst>
                <a:cxn ang="0">
                  <a:pos x="118" y="34"/>
                </a:cxn>
                <a:cxn ang="0">
                  <a:pos x="100" y="3"/>
                </a:cxn>
                <a:cxn ang="0">
                  <a:pos x="56" y="0"/>
                </a:cxn>
                <a:cxn ang="0">
                  <a:pos x="0" y="24"/>
                </a:cxn>
                <a:cxn ang="0">
                  <a:pos x="52" y="17"/>
                </a:cxn>
                <a:cxn ang="0">
                  <a:pos x="90" y="34"/>
                </a:cxn>
                <a:cxn ang="0">
                  <a:pos x="118" y="34"/>
                </a:cxn>
              </a:cxnLst>
              <a:rect l="0" t="0" r="r" b="b"/>
              <a:pathLst>
                <a:path w="118" h="34">
                  <a:moveTo>
                    <a:pt x="118" y="34"/>
                  </a:moveTo>
                  <a:lnTo>
                    <a:pt x="100" y="3"/>
                  </a:lnTo>
                  <a:lnTo>
                    <a:pt x="56" y="0"/>
                  </a:lnTo>
                  <a:lnTo>
                    <a:pt x="0" y="24"/>
                  </a:lnTo>
                  <a:lnTo>
                    <a:pt x="52" y="17"/>
                  </a:lnTo>
                  <a:lnTo>
                    <a:pt x="90" y="34"/>
                  </a:lnTo>
                  <a:lnTo>
                    <a:pt x="118" y="3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89" name="Freeform 324"/>
            <p:cNvSpPr>
              <a:spLocks noChangeAspect="1"/>
            </p:cNvSpPr>
            <p:nvPr/>
          </p:nvSpPr>
          <p:spPr bwMode="gray">
            <a:xfrm rot="21085607">
              <a:off x="4623532" y="3811598"/>
              <a:ext cx="9541" cy="6985"/>
            </a:xfrm>
            <a:custGeom>
              <a:avLst/>
              <a:gdLst/>
              <a:ahLst/>
              <a:cxnLst>
                <a:cxn ang="0">
                  <a:pos x="48" y="19"/>
                </a:cxn>
                <a:cxn ang="0">
                  <a:pos x="86" y="0"/>
                </a:cxn>
                <a:cxn ang="0">
                  <a:pos x="114" y="25"/>
                </a:cxn>
                <a:cxn ang="0">
                  <a:pos x="192" y="61"/>
                </a:cxn>
                <a:cxn ang="0">
                  <a:pos x="241" y="92"/>
                </a:cxn>
                <a:cxn ang="0">
                  <a:pos x="248" y="103"/>
                </a:cxn>
                <a:cxn ang="0">
                  <a:pos x="210" y="98"/>
                </a:cxn>
                <a:cxn ang="0">
                  <a:pos x="148" y="52"/>
                </a:cxn>
                <a:cxn ang="0">
                  <a:pos x="100" y="34"/>
                </a:cxn>
                <a:cxn ang="0">
                  <a:pos x="41" y="73"/>
                </a:cxn>
                <a:cxn ang="0">
                  <a:pos x="0" y="76"/>
                </a:cxn>
                <a:cxn ang="0">
                  <a:pos x="13" y="48"/>
                </a:cxn>
                <a:cxn ang="0">
                  <a:pos x="48" y="19"/>
                </a:cxn>
              </a:cxnLst>
              <a:rect l="0" t="0" r="r" b="b"/>
              <a:pathLst>
                <a:path w="248" h="103">
                  <a:moveTo>
                    <a:pt x="48" y="19"/>
                  </a:moveTo>
                  <a:lnTo>
                    <a:pt x="86" y="0"/>
                  </a:lnTo>
                  <a:lnTo>
                    <a:pt x="114" y="25"/>
                  </a:lnTo>
                  <a:lnTo>
                    <a:pt x="192" y="61"/>
                  </a:lnTo>
                  <a:lnTo>
                    <a:pt x="241" y="92"/>
                  </a:lnTo>
                  <a:lnTo>
                    <a:pt x="248" y="103"/>
                  </a:lnTo>
                  <a:lnTo>
                    <a:pt x="210" y="98"/>
                  </a:lnTo>
                  <a:lnTo>
                    <a:pt x="148" y="52"/>
                  </a:lnTo>
                  <a:lnTo>
                    <a:pt x="100" y="34"/>
                  </a:lnTo>
                  <a:lnTo>
                    <a:pt x="41" y="73"/>
                  </a:lnTo>
                  <a:lnTo>
                    <a:pt x="0" y="76"/>
                  </a:lnTo>
                  <a:lnTo>
                    <a:pt x="13" y="48"/>
                  </a:lnTo>
                  <a:lnTo>
                    <a:pt x="48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90" name="Freeform 325"/>
            <p:cNvSpPr>
              <a:spLocks noChangeAspect="1"/>
            </p:cNvSpPr>
            <p:nvPr/>
          </p:nvSpPr>
          <p:spPr bwMode="gray">
            <a:xfrm rot="21085607">
              <a:off x="4610810" y="3830806"/>
              <a:ext cx="6361" cy="10477"/>
            </a:xfrm>
            <a:custGeom>
              <a:avLst/>
              <a:gdLst/>
              <a:ahLst/>
              <a:cxnLst>
                <a:cxn ang="0">
                  <a:pos x="192" y="0"/>
                </a:cxn>
                <a:cxn ang="0">
                  <a:pos x="184" y="0"/>
                </a:cxn>
                <a:cxn ang="0">
                  <a:pos x="184" y="56"/>
                </a:cxn>
                <a:cxn ang="0">
                  <a:pos x="175" y="104"/>
                </a:cxn>
                <a:cxn ang="0">
                  <a:pos x="132" y="132"/>
                </a:cxn>
                <a:cxn ang="0">
                  <a:pos x="0" y="146"/>
                </a:cxn>
                <a:cxn ang="0">
                  <a:pos x="4" y="76"/>
                </a:cxn>
                <a:cxn ang="0">
                  <a:pos x="62" y="49"/>
                </a:cxn>
                <a:cxn ang="0">
                  <a:pos x="114" y="67"/>
                </a:cxn>
                <a:cxn ang="0">
                  <a:pos x="192" y="0"/>
                </a:cxn>
              </a:cxnLst>
              <a:rect l="0" t="0" r="r" b="b"/>
              <a:pathLst>
                <a:path w="192" h="146">
                  <a:moveTo>
                    <a:pt x="192" y="0"/>
                  </a:moveTo>
                  <a:lnTo>
                    <a:pt x="184" y="0"/>
                  </a:lnTo>
                  <a:lnTo>
                    <a:pt x="184" y="56"/>
                  </a:lnTo>
                  <a:lnTo>
                    <a:pt x="175" y="104"/>
                  </a:lnTo>
                  <a:lnTo>
                    <a:pt x="132" y="132"/>
                  </a:lnTo>
                  <a:lnTo>
                    <a:pt x="0" y="146"/>
                  </a:lnTo>
                  <a:lnTo>
                    <a:pt x="4" y="76"/>
                  </a:lnTo>
                  <a:lnTo>
                    <a:pt x="62" y="49"/>
                  </a:lnTo>
                  <a:lnTo>
                    <a:pt x="114" y="67"/>
                  </a:lnTo>
                  <a:lnTo>
                    <a:pt x="192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91" name="Freeform 326"/>
            <p:cNvSpPr>
              <a:spLocks noChangeAspect="1"/>
            </p:cNvSpPr>
            <p:nvPr/>
          </p:nvSpPr>
          <p:spPr bwMode="gray">
            <a:xfrm rot="21085607">
              <a:off x="4553565" y="3766198"/>
              <a:ext cx="3180" cy="5239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0" y="55"/>
                </a:cxn>
                <a:cxn ang="0">
                  <a:pos x="4" y="80"/>
                </a:cxn>
                <a:cxn ang="0">
                  <a:pos x="42" y="57"/>
                </a:cxn>
                <a:cxn ang="0">
                  <a:pos x="70" y="9"/>
                </a:cxn>
                <a:cxn ang="0">
                  <a:pos x="42" y="0"/>
                </a:cxn>
              </a:cxnLst>
              <a:rect l="0" t="0" r="r" b="b"/>
              <a:pathLst>
                <a:path w="70" h="80">
                  <a:moveTo>
                    <a:pt x="42" y="0"/>
                  </a:moveTo>
                  <a:lnTo>
                    <a:pt x="0" y="55"/>
                  </a:lnTo>
                  <a:lnTo>
                    <a:pt x="4" y="80"/>
                  </a:lnTo>
                  <a:lnTo>
                    <a:pt x="42" y="57"/>
                  </a:lnTo>
                  <a:lnTo>
                    <a:pt x="70" y="9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92" name="Freeform 327"/>
            <p:cNvSpPr>
              <a:spLocks noChangeAspect="1"/>
            </p:cNvSpPr>
            <p:nvPr/>
          </p:nvSpPr>
          <p:spPr bwMode="gray">
            <a:xfrm rot="21085607">
              <a:off x="4521763" y="3748737"/>
              <a:ext cx="1591" cy="6985"/>
            </a:xfrm>
            <a:custGeom>
              <a:avLst/>
              <a:gdLst/>
              <a:ahLst/>
              <a:cxnLst>
                <a:cxn ang="0">
                  <a:pos x="72" y="7"/>
                </a:cxn>
                <a:cxn ang="0">
                  <a:pos x="57" y="0"/>
                </a:cxn>
                <a:cxn ang="0">
                  <a:pos x="0" y="79"/>
                </a:cxn>
                <a:cxn ang="0">
                  <a:pos x="7" y="93"/>
                </a:cxn>
                <a:cxn ang="0">
                  <a:pos x="72" y="7"/>
                </a:cxn>
              </a:cxnLst>
              <a:rect l="0" t="0" r="r" b="b"/>
              <a:pathLst>
                <a:path w="72" h="93">
                  <a:moveTo>
                    <a:pt x="72" y="7"/>
                  </a:moveTo>
                  <a:lnTo>
                    <a:pt x="57" y="0"/>
                  </a:lnTo>
                  <a:lnTo>
                    <a:pt x="0" y="79"/>
                  </a:lnTo>
                  <a:lnTo>
                    <a:pt x="7" y="93"/>
                  </a:lnTo>
                  <a:lnTo>
                    <a:pt x="72" y="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93" name="Freeform 328"/>
            <p:cNvSpPr>
              <a:spLocks noChangeAspect="1"/>
            </p:cNvSpPr>
            <p:nvPr/>
          </p:nvSpPr>
          <p:spPr bwMode="gray">
            <a:xfrm rot="21085607">
              <a:off x="4518582" y="3757468"/>
              <a:ext cx="3180" cy="3492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0" y="26"/>
                </a:cxn>
                <a:cxn ang="0">
                  <a:pos x="4" y="36"/>
                </a:cxn>
                <a:cxn ang="0">
                  <a:pos x="53" y="18"/>
                </a:cxn>
                <a:cxn ang="0">
                  <a:pos x="56" y="0"/>
                </a:cxn>
              </a:cxnLst>
              <a:rect l="0" t="0" r="r" b="b"/>
              <a:pathLst>
                <a:path w="56" h="36">
                  <a:moveTo>
                    <a:pt x="56" y="0"/>
                  </a:moveTo>
                  <a:lnTo>
                    <a:pt x="0" y="26"/>
                  </a:lnTo>
                  <a:lnTo>
                    <a:pt x="4" y="36"/>
                  </a:lnTo>
                  <a:lnTo>
                    <a:pt x="53" y="18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94" name="Freeform 329"/>
            <p:cNvSpPr>
              <a:spLocks noChangeAspect="1"/>
            </p:cNvSpPr>
            <p:nvPr/>
          </p:nvSpPr>
          <p:spPr bwMode="gray">
            <a:xfrm rot="21085607">
              <a:off x="4509041" y="3760961"/>
              <a:ext cx="6361" cy="6985"/>
            </a:xfrm>
            <a:custGeom>
              <a:avLst/>
              <a:gdLst/>
              <a:ahLst/>
              <a:cxnLst>
                <a:cxn ang="0">
                  <a:pos x="152" y="40"/>
                </a:cxn>
                <a:cxn ang="0">
                  <a:pos x="109" y="36"/>
                </a:cxn>
                <a:cxn ang="0">
                  <a:pos x="44" y="67"/>
                </a:cxn>
                <a:cxn ang="0">
                  <a:pos x="0" y="70"/>
                </a:cxn>
                <a:cxn ang="0">
                  <a:pos x="9" y="50"/>
                </a:cxn>
                <a:cxn ang="0">
                  <a:pos x="59" y="36"/>
                </a:cxn>
                <a:cxn ang="0">
                  <a:pos x="119" y="0"/>
                </a:cxn>
                <a:cxn ang="0">
                  <a:pos x="155" y="9"/>
                </a:cxn>
                <a:cxn ang="0">
                  <a:pos x="152" y="40"/>
                </a:cxn>
              </a:cxnLst>
              <a:rect l="0" t="0" r="r" b="b"/>
              <a:pathLst>
                <a:path w="155" h="70">
                  <a:moveTo>
                    <a:pt x="152" y="40"/>
                  </a:moveTo>
                  <a:lnTo>
                    <a:pt x="109" y="36"/>
                  </a:lnTo>
                  <a:lnTo>
                    <a:pt x="44" y="67"/>
                  </a:lnTo>
                  <a:lnTo>
                    <a:pt x="0" y="70"/>
                  </a:lnTo>
                  <a:lnTo>
                    <a:pt x="9" y="50"/>
                  </a:lnTo>
                  <a:lnTo>
                    <a:pt x="59" y="36"/>
                  </a:lnTo>
                  <a:lnTo>
                    <a:pt x="119" y="0"/>
                  </a:lnTo>
                  <a:lnTo>
                    <a:pt x="155" y="9"/>
                  </a:lnTo>
                  <a:lnTo>
                    <a:pt x="152" y="4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95" name="Freeform 330"/>
            <p:cNvSpPr>
              <a:spLocks noChangeAspect="1"/>
            </p:cNvSpPr>
            <p:nvPr/>
          </p:nvSpPr>
          <p:spPr bwMode="gray">
            <a:xfrm rot="20552047">
              <a:off x="4551975" y="3911128"/>
              <a:ext cx="23853" cy="19208"/>
            </a:xfrm>
            <a:custGeom>
              <a:avLst/>
              <a:gdLst/>
              <a:ahLst/>
              <a:cxnLst>
                <a:cxn ang="0">
                  <a:pos x="373" y="31"/>
                </a:cxn>
                <a:cxn ang="0">
                  <a:pos x="397" y="35"/>
                </a:cxn>
                <a:cxn ang="0">
                  <a:pos x="450" y="63"/>
                </a:cxn>
                <a:cxn ang="0">
                  <a:pos x="483" y="101"/>
                </a:cxn>
                <a:cxn ang="0">
                  <a:pos x="600" y="104"/>
                </a:cxn>
                <a:cxn ang="0">
                  <a:pos x="642" y="212"/>
                </a:cxn>
                <a:cxn ang="0">
                  <a:pos x="588" y="222"/>
                </a:cxn>
                <a:cxn ang="0">
                  <a:pos x="504" y="197"/>
                </a:cxn>
                <a:cxn ang="0">
                  <a:pos x="442" y="222"/>
                </a:cxn>
                <a:cxn ang="0">
                  <a:pos x="390" y="222"/>
                </a:cxn>
                <a:cxn ang="0">
                  <a:pos x="369" y="260"/>
                </a:cxn>
                <a:cxn ang="0">
                  <a:pos x="304" y="256"/>
                </a:cxn>
                <a:cxn ang="0">
                  <a:pos x="273" y="228"/>
                </a:cxn>
                <a:cxn ang="0">
                  <a:pos x="194" y="222"/>
                </a:cxn>
                <a:cxn ang="0">
                  <a:pos x="101" y="135"/>
                </a:cxn>
                <a:cxn ang="0">
                  <a:pos x="39" y="115"/>
                </a:cxn>
                <a:cxn ang="0">
                  <a:pos x="0" y="73"/>
                </a:cxn>
                <a:cxn ang="0">
                  <a:pos x="10" y="44"/>
                </a:cxn>
                <a:cxn ang="0">
                  <a:pos x="138" y="0"/>
                </a:cxn>
                <a:cxn ang="0">
                  <a:pos x="194" y="4"/>
                </a:cxn>
                <a:cxn ang="0">
                  <a:pos x="279" y="21"/>
                </a:cxn>
                <a:cxn ang="0">
                  <a:pos x="373" y="31"/>
                </a:cxn>
              </a:cxnLst>
              <a:rect l="0" t="0" r="r" b="b"/>
              <a:pathLst>
                <a:path w="642" h="260">
                  <a:moveTo>
                    <a:pt x="373" y="31"/>
                  </a:moveTo>
                  <a:lnTo>
                    <a:pt x="397" y="35"/>
                  </a:lnTo>
                  <a:lnTo>
                    <a:pt x="450" y="63"/>
                  </a:lnTo>
                  <a:lnTo>
                    <a:pt x="483" y="101"/>
                  </a:lnTo>
                  <a:lnTo>
                    <a:pt x="600" y="104"/>
                  </a:lnTo>
                  <a:lnTo>
                    <a:pt x="642" y="212"/>
                  </a:lnTo>
                  <a:lnTo>
                    <a:pt x="588" y="222"/>
                  </a:lnTo>
                  <a:lnTo>
                    <a:pt x="504" y="197"/>
                  </a:lnTo>
                  <a:lnTo>
                    <a:pt x="442" y="222"/>
                  </a:lnTo>
                  <a:lnTo>
                    <a:pt x="390" y="222"/>
                  </a:lnTo>
                  <a:lnTo>
                    <a:pt x="369" y="260"/>
                  </a:lnTo>
                  <a:lnTo>
                    <a:pt x="304" y="256"/>
                  </a:lnTo>
                  <a:lnTo>
                    <a:pt x="273" y="228"/>
                  </a:lnTo>
                  <a:lnTo>
                    <a:pt x="194" y="222"/>
                  </a:lnTo>
                  <a:lnTo>
                    <a:pt x="101" y="135"/>
                  </a:lnTo>
                  <a:lnTo>
                    <a:pt x="39" y="115"/>
                  </a:lnTo>
                  <a:lnTo>
                    <a:pt x="0" y="73"/>
                  </a:lnTo>
                  <a:lnTo>
                    <a:pt x="10" y="44"/>
                  </a:lnTo>
                  <a:lnTo>
                    <a:pt x="138" y="0"/>
                  </a:lnTo>
                  <a:lnTo>
                    <a:pt x="194" y="4"/>
                  </a:lnTo>
                  <a:lnTo>
                    <a:pt x="279" y="21"/>
                  </a:lnTo>
                  <a:lnTo>
                    <a:pt x="373" y="3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96" name="Freeform 331"/>
            <p:cNvSpPr>
              <a:spLocks noChangeAspect="1"/>
            </p:cNvSpPr>
            <p:nvPr/>
          </p:nvSpPr>
          <p:spPr bwMode="gray">
            <a:xfrm rot="20552047">
              <a:off x="4617171" y="3848267"/>
              <a:ext cx="38163" cy="57623"/>
            </a:xfrm>
            <a:custGeom>
              <a:avLst/>
              <a:gdLst/>
              <a:ahLst/>
              <a:cxnLst>
                <a:cxn ang="0">
                  <a:pos x="25" y="17"/>
                </a:cxn>
                <a:cxn ang="0">
                  <a:pos x="119" y="0"/>
                </a:cxn>
                <a:cxn ang="0">
                  <a:pos x="338" y="4"/>
                </a:cxn>
                <a:cxn ang="0">
                  <a:pos x="512" y="76"/>
                </a:cxn>
                <a:cxn ang="0">
                  <a:pos x="614" y="110"/>
                </a:cxn>
                <a:cxn ang="0">
                  <a:pos x="643" y="181"/>
                </a:cxn>
                <a:cxn ang="0">
                  <a:pos x="805" y="193"/>
                </a:cxn>
                <a:cxn ang="0">
                  <a:pos x="825" y="227"/>
                </a:cxn>
                <a:cxn ang="0">
                  <a:pos x="728" y="244"/>
                </a:cxn>
                <a:cxn ang="0">
                  <a:pos x="796" y="294"/>
                </a:cxn>
                <a:cxn ang="0">
                  <a:pos x="977" y="336"/>
                </a:cxn>
                <a:cxn ang="0">
                  <a:pos x="1076" y="404"/>
                </a:cxn>
                <a:cxn ang="0">
                  <a:pos x="1080" y="462"/>
                </a:cxn>
                <a:cxn ang="0">
                  <a:pos x="1012" y="547"/>
                </a:cxn>
                <a:cxn ang="0">
                  <a:pos x="940" y="522"/>
                </a:cxn>
                <a:cxn ang="0">
                  <a:pos x="706" y="483"/>
                </a:cxn>
                <a:cxn ang="0">
                  <a:pos x="551" y="522"/>
                </a:cxn>
                <a:cxn ang="0">
                  <a:pos x="525" y="556"/>
                </a:cxn>
                <a:cxn ang="0">
                  <a:pos x="406" y="589"/>
                </a:cxn>
                <a:cxn ang="0">
                  <a:pos x="369" y="509"/>
                </a:cxn>
                <a:cxn ang="0">
                  <a:pos x="292" y="517"/>
                </a:cxn>
                <a:cxn ang="0">
                  <a:pos x="233" y="584"/>
                </a:cxn>
                <a:cxn ang="0">
                  <a:pos x="174" y="673"/>
                </a:cxn>
                <a:cxn ang="0">
                  <a:pos x="110" y="745"/>
                </a:cxn>
                <a:cxn ang="0">
                  <a:pos x="85" y="733"/>
                </a:cxn>
                <a:cxn ang="0">
                  <a:pos x="42" y="694"/>
                </a:cxn>
                <a:cxn ang="0">
                  <a:pos x="25" y="619"/>
                </a:cxn>
                <a:cxn ang="0">
                  <a:pos x="42" y="531"/>
                </a:cxn>
                <a:cxn ang="0">
                  <a:pos x="0" y="458"/>
                </a:cxn>
                <a:cxn ang="0">
                  <a:pos x="8" y="417"/>
                </a:cxn>
                <a:cxn ang="0">
                  <a:pos x="46" y="290"/>
                </a:cxn>
                <a:cxn ang="0">
                  <a:pos x="77" y="235"/>
                </a:cxn>
                <a:cxn ang="0">
                  <a:pos x="59" y="127"/>
                </a:cxn>
                <a:cxn ang="0">
                  <a:pos x="12" y="38"/>
                </a:cxn>
              </a:cxnLst>
              <a:rect l="0" t="0" r="r" b="b"/>
              <a:pathLst>
                <a:path w="1080" h="745">
                  <a:moveTo>
                    <a:pt x="17" y="29"/>
                  </a:moveTo>
                  <a:lnTo>
                    <a:pt x="25" y="17"/>
                  </a:lnTo>
                  <a:lnTo>
                    <a:pt x="51" y="0"/>
                  </a:lnTo>
                  <a:lnTo>
                    <a:pt x="119" y="0"/>
                  </a:lnTo>
                  <a:lnTo>
                    <a:pt x="183" y="9"/>
                  </a:lnTo>
                  <a:lnTo>
                    <a:pt x="338" y="4"/>
                  </a:lnTo>
                  <a:lnTo>
                    <a:pt x="423" y="29"/>
                  </a:lnTo>
                  <a:lnTo>
                    <a:pt x="512" y="76"/>
                  </a:lnTo>
                  <a:lnTo>
                    <a:pt x="589" y="84"/>
                  </a:lnTo>
                  <a:lnTo>
                    <a:pt x="614" y="110"/>
                  </a:lnTo>
                  <a:lnTo>
                    <a:pt x="632" y="169"/>
                  </a:lnTo>
                  <a:lnTo>
                    <a:pt x="643" y="181"/>
                  </a:lnTo>
                  <a:lnTo>
                    <a:pt x="699" y="193"/>
                  </a:lnTo>
                  <a:lnTo>
                    <a:pt x="805" y="193"/>
                  </a:lnTo>
                  <a:lnTo>
                    <a:pt x="822" y="203"/>
                  </a:lnTo>
                  <a:lnTo>
                    <a:pt x="825" y="227"/>
                  </a:lnTo>
                  <a:lnTo>
                    <a:pt x="779" y="244"/>
                  </a:lnTo>
                  <a:lnTo>
                    <a:pt x="728" y="244"/>
                  </a:lnTo>
                  <a:lnTo>
                    <a:pt x="723" y="269"/>
                  </a:lnTo>
                  <a:lnTo>
                    <a:pt x="796" y="294"/>
                  </a:lnTo>
                  <a:lnTo>
                    <a:pt x="944" y="298"/>
                  </a:lnTo>
                  <a:lnTo>
                    <a:pt x="977" y="336"/>
                  </a:lnTo>
                  <a:lnTo>
                    <a:pt x="1038" y="387"/>
                  </a:lnTo>
                  <a:lnTo>
                    <a:pt x="1076" y="404"/>
                  </a:lnTo>
                  <a:lnTo>
                    <a:pt x="1080" y="417"/>
                  </a:lnTo>
                  <a:lnTo>
                    <a:pt x="1080" y="462"/>
                  </a:lnTo>
                  <a:lnTo>
                    <a:pt x="1055" y="509"/>
                  </a:lnTo>
                  <a:lnTo>
                    <a:pt x="1012" y="547"/>
                  </a:lnTo>
                  <a:lnTo>
                    <a:pt x="969" y="547"/>
                  </a:lnTo>
                  <a:lnTo>
                    <a:pt x="940" y="522"/>
                  </a:lnTo>
                  <a:lnTo>
                    <a:pt x="872" y="496"/>
                  </a:lnTo>
                  <a:lnTo>
                    <a:pt x="706" y="483"/>
                  </a:lnTo>
                  <a:lnTo>
                    <a:pt x="589" y="500"/>
                  </a:lnTo>
                  <a:lnTo>
                    <a:pt x="551" y="522"/>
                  </a:lnTo>
                  <a:lnTo>
                    <a:pt x="538" y="547"/>
                  </a:lnTo>
                  <a:lnTo>
                    <a:pt x="525" y="556"/>
                  </a:lnTo>
                  <a:lnTo>
                    <a:pt x="474" y="576"/>
                  </a:lnTo>
                  <a:lnTo>
                    <a:pt x="406" y="589"/>
                  </a:lnTo>
                  <a:lnTo>
                    <a:pt x="369" y="522"/>
                  </a:lnTo>
                  <a:lnTo>
                    <a:pt x="369" y="509"/>
                  </a:lnTo>
                  <a:lnTo>
                    <a:pt x="322" y="504"/>
                  </a:lnTo>
                  <a:lnTo>
                    <a:pt x="292" y="517"/>
                  </a:lnTo>
                  <a:lnTo>
                    <a:pt x="271" y="534"/>
                  </a:lnTo>
                  <a:lnTo>
                    <a:pt x="233" y="584"/>
                  </a:lnTo>
                  <a:lnTo>
                    <a:pt x="191" y="656"/>
                  </a:lnTo>
                  <a:lnTo>
                    <a:pt x="174" y="673"/>
                  </a:lnTo>
                  <a:lnTo>
                    <a:pt x="170" y="690"/>
                  </a:lnTo>
                  <a:lnTo>
                    <a:pt x="110" y="745"/>
                  </a:lnTo>
                  <a:lnTo>
                    <a:pt x="88" y="745"/>
                  </a:lnTo>
                  <a:lnTo>
                    <a:pt x="85" y="733"/>
                  </a:lnTo>
                  <a:lnTo>
                    <a:pt x="46" y="702"/>
                  </a:lnTo>
                  <a:lnTo>
                    <a:pt x="42" y="694"/>
                  </a:lnTo>
                  <a:lnTo>
                    <a:pt x="42" y="640"/>
                  </a:lnTo>
                  <a:lnTo>
                    <a:pt x="25" y="619"/>
                  </a:lnTo>
                  <a:lnTo>
                    <a:pt x="34" y="606"/>
                  </a:lnTo>
                  <a:lnTo>
                    <a:pt x="42" y="531"/>
                  </a:lnTo>
                  <a:lnTo>
                    <a:pt x="34" y="496"/>
                  </a:lnTo>
                  <a:lnTo>
                    <a:pt x="0" y="458"/>
                  </a:lnTo>
                  <a:lnTo>
                    <a:pt x="0" y="434"/>
                  </a:lnTo>
                  <a:lnTo>
                    <a:pt x="8" y="417"/>
                  </a:lnTo>
                  <a:lnTo>
                    <a:pt x="51" y="384"/>
                  </a:lnTo>
                  <a:lnTo>
                    <a:pt x="46" y="290"/>
                  </a:lnTo>
                  <a:lnTo>
                    <a:pt x="68" y="269"/>
                  </a:lnTo>
                  <a:lnTo>
                    <a:pt x="77" y="235"/>
                  </a:lnTo>
                  <a:lnTo>
                    <a:pt x="51" y="206"/>
                  </a:lnTo>
                  <a:lnTo>
                    <a:pt x="59" y="127"/>
                  </a:lnTo>
                  <a:lnTo>
                    <a:pt x="46" y="80"/>
                  </a:lnTo>
                  <a:lnTo>
                    <a:pt x="12" y="38"/>
                  </a:lnTo>
                  <a:lnTo>
                    <a:pt x="17" y="2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97" name="Freeform 332"/>
            <p:cNvSpPr>
              <a:spLocks noChangeAspect="1"/>
            </p:cNvSpPr>
            <p:nvPr/>
          </p:nvSpPr>
          <p:spPr bwMode="gray">
            <a:xfrm rot="20552047">
              <a:off x="4731661" y="3883190"/>
              <a:ext cx="1591" cy="1747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11" y="4"/>
                </a:cxn>
                <a:cxn ang="0">
                  <a:pos x="0" y="28"/>
                </a:cxn>
                <a:cxn ang="0">
                  <a:pos x="4" y="48"/>
                </a:cxn>
                <a:cxn ang="0">
                  <a:pos x="24" y="53"/>
                </a:cxn>
                <a:cxn ang="0">
                  <a:pos x="52" y="34"/>
                </a:cxn>
                <a:cxn ang="0">
                  <a:pos x="56" y="22"/>
                </a:cxn>
                <a:cxn ang="0">
                  <a:pos x="18" y="0"/>
                </a:cxn>
              </a:cxnLst>
              <a:rect l="0" t="0" r="r" b="b"/>
              <a:pathLst>
                <a:path w="56" h="52">
                  <a:moveTo>
                    <a:pt x="18" y="0"/>
                  </a:moveTo>
                  <a:lnTo>
                    <a:pt x="11" y="4"/>
                  </a:lnTo>
                  <a:lnTo>
                    <a:pt x="0" y="28"/>
                  </a:lnTo>
                  <a:lnTo>
                    <a:pt x="4" y="48"/>
                  </a:lnTo>
                  <a:lnTo>
                    <a:pt x="24" y="53"/>
                  </a:lnTo>
                  <a:lnTo>
                    <a:pt x="52" y="34"/>
                  </a:lnTo>
                  <a:lnTo>
                    <a:pt x="56" y="22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98" name="Freeform 333"/>
            <p:cNvSpPr>
              <a:spLocks noChangeAspect="1"/>
            </p:cNvSpPr>
            <p:nvPr/>
          </p:nvSpPr>
          <p:spPr bwMode="gray">
            <a:xfrm rot="20552047">
              <a:off x="4753923" y="3930335"/>
              <a:ext cx="3180" cy="12223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32" y="7"/>
                </a:cxn>
                <a:cxn ang="0">
                  <a:pos x="66" y="41"/>
                </a:cxn>
                <a:cxn ang="0">
                  <a:pos x="111" y="138"/>
                </a:cxn>
                <a:cxn ang="0">
                  <a:pos x="105" y="145"/>
                </a:cxn>
                <a:cxn ang="0">
                  <a:pos x="66" y="152"/>
                </a:cxn>
                <a:cxn ang="0">
                  <a:pos x="49" y="138"/>
                </a:cxn>
                <a:cxn ang="0">
                  <a:pos x="7" y="47"/>
                </a:cxn>
                <a:cxn ang="0">
                  <a:pos x="0" y="23"/>
                </a:cxn>
                <a:cxn ang="0">
                  <a:pos x="4" y="0"/>
                </a:cxn>
              </a:cxnLst>
              <a:rect l="0" t="0" r="r" b="b"/>
              <a:pathLst>
                <a:path w="110" h="152">
                  <a:moveTo>
                    <a:pt x="4" y="0"/>
                  </a:moveTo>
                  <a:lnTo>
                    <a:pt x="32" y="7"/>
                  </a:lnTo>
                  <a:lnTo>
                    <a:pt x="66" y="41"/>
                  </a:lnTo>
                  <a:lnTo>
                    <a:pt x="111" y="138"/>
                  </a:lnTo>
                  <a:lnTo>
                    <a:pt x="105" y="145"/>
                  </a:lnTo>
                  <a:lnTo>
                    <a:pt x="66" y="152"/>
                  </a:lnTo>
                  <a:lnTo>
                    <a:pt x="49" y="138"/>
                  </a:lnTo>
                  <a:lnTo>
                    <a:pt x="7" y="47"/>
                  </a:lnTo>
                  <a:lnTo>
                    <a:pt x="0" y="23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99" name="Freeform 334"/>
            <p:cNvSpPr>
              <a:spLocks noChangeAspect="1"/>
            </p:cNvSpPr>
            <p:nvPr/>
          </p:nvSpPr>
          <p:spPr bwMode="gray">
            <a:xfrm rot="20552047">
              <a:off x="4777775" y="4015896"/>
              <a:ext cx="3180" cy="5239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51" y="11"/>
                </a:cxn>
                <a:cxn ang="0">
                  <a:pos x="0" y="52"/>
                </a:cxn>
                <a:cxn ang="0">
                  <a:pos x="14" y="63"/>
                </a:cxn>
                <a:cxn ang="0">
                  <a:pos x="62" y="31"/>
                </a:cxn>
                <a:cxn ang="0">
                  <a:pos x="86" y="0"/>
                </a:cxn>
              </a:cxnLst>
              <a:rect l="0" t="0" r="r" b="b"/>
              <a:pathLst>
                <a:path w="86" h="62">
                  <a:moveTo>
                    <a:pt x="86" y="0"/>
                  </a:moveTo>
                  <a:lnTo>
                    <a:pt x="51" y="11"/>
                  </a:lnTo>
                  <a:lnTo>
                    <a:pt x="0" y="52"/>
                  </a:lnTo>
                  <a:lnTo>
                    <a:pt x="14" y="63"/>
                  </a:lnTo>
                  <a:lnTo>
                    <a:pt x="62" y="31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00" name="Freeform 335"/>
            <p:cNvSpPr>
              <a:spLocks noChangeAspect="1"/>
            </p:cNvSpPr>
            <p:nvPr/>
          </p:nvSpPr>
          <p:spPr bwMode="gray">
            <a:xfrm rot="20552047">
              <a:off x="4771414" y="4031611"/>
              <a:ext cx="9541" cy="17461"/>
            </a:xfrm>
            <a:custGeom>
              <a:avLst/>
              <a:gdLst/>
              <a:ahLst/>
              <a:cxnLst>
                <a:cxn ang="0">
                  <a:pos x="287" y="26"/>
                </a:cxn>
                <a:cxn ang="0">
                  <a:pos x="267" y="48"/>
                </a:cxn>
                <a:cxn ang="0">
                  <a:pos x="259" y="106"/>
                </a:cxn>
                <a:cxn ang="0">
                  <a:pos x="267" y="144"/>
                </a:cxn>
                <a:cxn ang="0">
                  <a:pos x="276" y="153"/>
                </a:cxn>
                <a:cxn ang="0">
                  <a:pos x="270" y="204"/>
                </a:cxn>
                <a:cxn ang="0">
                  <a:pos x="233" y="232"/>
                </a:cxn>
                <a:cxn ang="0">
                  <a:pos x="173" y="245"/>
                </a:cxn>
                <a:cxn ang="0">
                  <a:pos x="3" y="245"/>
                </a:cxn>
                <a:cxn ang="0">
                  <a:pos x="0" y="232"/>
                </a:cxn>
                <a:cxn ang="0">
                  <a:pos x="102" y="194"/>
                </a:cxn>
                <a:cxn ang="0">
                  <a:pos x="118" y="156"/>
                </a:cxn>
                <a:cxn ang="0">
                  <a:pos x="128" y="85"/>
                </a:cxn>
                <a:cxn ang="0">
                  <a:pos x="123" y="72"/>
                </a:cxn>
                <a:cxn ang="0">
                  <a:pos x="111" y="65"/>
                </a:cxn>
                <a:cxn ang="0">
                  <a:pos x="77" y="60"/>
                </a:cxn>
                <a:cxn ang="0">
                  <a:pos x="72" y="34"/>
                </a:cxn>
                <a:cxn ang="0">
                  <a:pos x="85" y="34"/>
                </a:cxn>
                <a:cxn ang="0">
                  <a:pos x="111" y="23"/>
                </a:cxn>
                <a:cxn ang="0">
                  <a:pos x="207" y="18"/>
                </a:cxn>
                <a:cxn ang="0">
                  <a:pos x="276" y="0"/>
                </a:cxn>
                <a:cxn ang="0">
                  <a:pos x="287" y="0"/>
                </a:cxn>
                <a:cxn ang="0">
                  <a:pos x="287" y="26"/>
                </a:cxn>
              </a:cxnLst>
              <a:rect l="0" t="0" r="r" b="b"/>
              <a:pathLst>
                <a:path w="287" h="245">
                  <a:moveTo>
                    <a:pt x="287" y="26"/>
                  </a:moveTo>
                  <a:lnTo>
                    <a:pt x="267" y="48"/>
                  </a:lnTo>
                  <a:lnTo>
                    <a:pt x="259" y="106"/>
                  </a:lnTo>
                  <a:lnTo>
                    <a:pt x="267" y="144"/>
                  </a:lnTo>
                  <a:lnTo>
                    <a:pt x="276" y="153"/>
                  </a:lnTo>
                  <a:lnTo>
                    <a:pt x="270" y="204"/>
                  </a:lnTo>
                  <a:lnTo>
                    <a:pt x="233" y="232"/>
                  </a:lnTo>
                  <a:lnTo>
                    <a:pt x="173" y="245"/>
                  </a:lnTo>
                  <a:lnTo>
                    <a:pt x="3" y="245"/>
                  </a:lnTo>
                  <a:lnTo>
                    <a:pt x="0" y="232"/>
                  </a:lnTo>
                  <a:lnTo>
                    <a:pt x="102" y="194"/>
                  </a:lnTo>
                  <a:lnTo>
                    <a:pt x="118" y="156"/>
                  </a:lnTo>
                  <a:lnTo>
                    <a:pt x="128" y="85"/>
                  </a:lnTo>
                  <a:lnTo>
                    <a:pt x="123" y="72"/>
                  </a:lnTo>
                  <a:lnTo>
                    <a:pt x="111" y="65"/>
                  </a:lnTo>
                  <a:lnTo>
                    <a:pt x="77" y="60"/>
                  </a:lnTo>
                  <a:lnTo>
                    <a:pt x="72" y="34"/>
                  </a:lnTo>
                  <a:lnTo>
                    <a:pt x="85" y="34"/>
                  </a:lnTo>
                  <a:lnTo>
                    <a:pt x="111" y="23"/>
                  </a:lnTo>
                  <a:lnTo>
                    <a:pt x="207" y="18"/>
                  </a:lnTo>
                  <a:lnTo>
                    <a:pt x="276" y="0"/>
                  </a:lnTo>
                  <a:lnTo>
                    <a:pt x="287" y="0"/>
                  </a:lnTo>
                  <a:lnTo>
                    <a:pt x="287" y="2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01" name="Freeform 336"/>
            <p:cNvSpPr>
              <a:spLocks noChangeAspect="1"/>
            </p:cNvSpPr>
            <p:nvPr/>
          </p:nvSpPr>
          <p:spPr bwMode="gray">
            <a:xfrm rot="20552047">
              <a:off x="4598089" y="3855252"/>
              <a:ext cx="1591" cy="3492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39" y="0"/>
                </a:cxn>
                <a:cxn ang="0">
                  <a:pos x="68" y="20"/>
                </a:cxn>
                <a:cxn ang="0">
                  <a:pos x="63" y="42"/>
                </a:cxn>
                <a:cxn ang="0">
                  <a:pos x="14" y="42"/>
                </a:cxn>
                <a:cxn ang="0">
                  <a:pos x="5" y="34"/>
                </a:cxn>
                <a:cxn ang="0">
                  <a:pos x="0" y="20"/>
                </a:cxn>
                <a:cxn ang="0">
                  <a:pos x="5" y="9"/>
                </a:cxn>
                <a:cxn ang="0">
                  <a:pos x="17" y="9"/>
                </a:cxn>
                <a:cxn ang="0">
                  <a:pos x="26" y="0"/>
                </a:cxn>
              </a:cxnLst>
              <a:rect l="0" t="0" r="r" b="b"/>
              <a:pathLst>
                <a:path w="68" h="42">
                  <a:moveTo>
                    <a:pt x="26" y="0"/>
                  </a:moveTo>
                  <a:lnTo>
                    <a:pt x="39" y="0"/>
                  </a:lnTo>
                  <a:lnTo>
                    <a:pt x="68" y="20"/>
                  </a:lnTo>
                  <a:lnTo>
                    <a:pt x="63" y="42"/>
                  </a:lnTo>
                  <a:lnTo>
                    <a:pt x="14" y="42"/>
                  </a:lnTo>
                  <a:lnTo>
                    <a:pt x="5" y="34"/>
                  </a:lnTo>
                  <a:lnTo>
                    <a:pt x="0" y="20"/>
                  </a:lnTo>
                  <a:lnTo>
                    <a:pt x="5" y="9"/>
                  </a:lnTo>
                  <a:lnTo>
                    <a:pt x="17" y="9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grpSp>
          <p:nvGrpSpPr>
            <p:cNvPr id="102" name="Group 337"/>
            <p:cNvGrpSpPr>
              <a:grpSpLocks noChangeAspect="1"/>
            </p:cNvGrpSpPr>
            <p:nvPr/>
          </p:nvGrpSpPr>
          <p:grpSpPr>
            <a:xfrm>
              <a:off x="4590138" y="3858744"/>
              <a:ext cx="28623" cy="48892"/>
              <a:chOff x="1694" y="2257"/>
              <a:chExt cx="18" cy="28"/>
            </a:xfrm>
            <a:grpFill/>
          </p:grpSpPr>
          <p:sp>
            <p:nvSpPr>
              <p:cNvPr id="220" name="Freeform 338"/>
              <p:cNvSpPr>
                <a:spLocks noChangeAspect="1"/>
              </p:cNvSpPr>
              <p:nvPr/>
            </p:nvSpPr>
            <p:spPr bwMode="gray">
              <a:xfrm rot="-1047951">
                <a:off x="1701" y="2270"/>
                <a:ext cx="3" cy="4"/>
              </a:xfrm>
              <a:custGeom>
                <a:avLst/>
                <a:gdLst/>
                <a:ahLst/>
                <a:cxnLst>
                  <a:cxn ang="0">
                    <a:pos x="89" y="8"/>
                  </a:cxn>
                  <a:cxn ang="0">
                    <a:pos x="138" y="32"/>
                  </a:cxn>
                  <a:cxn ang="0">
                    <a:pos x="147" y="83"/>
                  </a:cxn>
                  <a:cxn ang="0">
                    <a:pos x="105" y="62"/>
                  </a:cxn>
                  <a:cxn ang="0">
                    <a:pos x="29" y="56"/>
                  </a:cxn>
                  <a:cxn ang="0">
                    <a:pos x="0" y="14"/>
                  </a:cxn>
                  <a:cxn ang="0">
                    <a:pos x="32" y="0"/>
                  </a:cxn>
                  <a:cxn ang="0">
                    <a:pos x="89" y="8"/>
                  </a:cxn>
                </a:cxnLst>
                <a:rect l="0" t="0" r="r" b="b"/>
                <a:pathLst>
                  <a:path w="147" h="83">
                    <a:moveTo>
                      <a:pt x="89" y="8"/>
                    </a:moveTo>
                    <a:lnTo>
                      <a:pt x="138" y="32"/>
                    </a:lnTo>
                    <a:lnTo>
                      <a:pt x="147" y="83"/>
                    </a:lnTo>
                    <a:lnTo>
                      <a:pt x="105" y="62"/>
                    </a:lnTo>
                    <a:lnTo>
                      <a:pt x="29" y="56"/>
                    </a:lnTo>
                    <a:lnTo>
                      <a:pt x="0" y="14"/>
                    </a:lnTo>
                    <a:lnTo>
                      <a:pt x="32" y="0"/>
                    </a:lnTo>
                    <a:lnTo>
                      <a:pt x="89" y="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21" name="Freeform 339"/>
              <p:cNvSpPr>
                <a:spLocks noChangeAspect="1"/>
              </p:cNvSpPr>
              <p:nvPr/>
            </p:nvSpPr>
            <p:spPr bwMode="gray">
              <a:xfrm rot="-1047951">
                <a:off x="1694" y="2257"/>
                <a:ext cx="18" cy="28"/>
              </a:xfrm>
              <a:custGeom>
                <a:avLst/>
                <a:gdLst/>
                <a:ahLst/>
                <a:cxnLst>
                  <a:cxn ang="0">
                    <a:pos x="826" y="627"/>
                  </a:cxn>
                  <a:cxn ang="0">
                    <a:pos x="835" y="614"/>
                  </a:cxn>
                  <a:cxn ang="0">
                    <a:pos x="843" y="539"/>
                  </a:cxn>
                  <a:cxn ang="0">
                    <a:pos x="835" y="504"/>
                  </a:cxn>
                  <a:cxn ang="0">
                    <a:pos x="801" y="466"/>
                  </a:cxn>
                  <a:cxn ang="0">
                    <a:pos x="801" y="442"/>
                  </a:cxn>
                  <a:cxn ang="0">
                    <a:pos x="809" y="425"/>
                  </a:cxn>
                  <a:cxn ang="0">
                    <a:pos x="852" y="392"/>
                  </a:cxn>
                  <a:cxn ang="0">
                    <a:pos x="847" y="298"/>
                  </a:cxn>
                  <a:cxn ang="0">
                    <a:pos x="868" y="277"/>
                  </a:cxn>
                  <a:cxn ang="0">
                    <a:pos x="877" y="243"/>
                  </a:cxn>
                  <a:cxn ang="0">
                    <a:pos x="852" y="214"/>
                  </a:cxn>
                  <a:cxn ang="0">
                    <a:pos x="860" y="135"/>
                  </a:cxn>
                  <a:cxn ang="0">
                    <a:pos x="847" y="88"/>
                  </a:cxn>
                  <a:cxn ang="0">
                    <a:pos x="813" y="46"/>
                  </a:cxn>
                  <a:cxn ang="0">
                    <a:pos x="818" y="37"/>
                  </a:cxn>
                  <a:cxn ang="0">
                    <a:pos x="809" y="37"/>
                  </a:cxn>
                  <a:cxn ang="0">
                    <a:pos x="775" y="63"/>
                  </a:cxn>
                  <a:cxn ang="0">
                    <a:pos x="639" y="67"/>
                  </a:cxn>
                  <a:cxn ang="0">
                    <a:pos x="606" y="59"/>
                  </a:cxn>
                  <a:cxn ang="0">
                    <a:pos x="564" y="29"/>
                  </a:cxn>
                  <a:cxn ang="0">
                    <a:pos x="513" y="8"/>
                  </a:cxn>
                  <a:cxn ang="0">
                    <a:pos x="445" y="0"/>
                  </a:cxn>
                  <a:cxn ang="0">
                    <a:pos x="356" y="17"/>
                  </a:cxn>
                  <a:cxn ang="0">
                    <a:pos x="317" y="37"/>
                  </a:cxn>
                  <a:cxn ang="0">
                    <a:pos x="300" y="63"/>
                  </a:cxn>
                  <a:cxn ang="0">
                    <a:pos x="305" y="101"/>
                  </a:cxn>
                  <a:cxn ang="0">
                    <a:pos x="326" y="109"/>
                  </a:cxn>
                  <a:cxn ang="0">
                    <a:pos x="445" y="109"/>
                  </a:cxn>
                  <a:cxn ang="0">
                    <a:pos x="492" y="135"/>
                  </a:cxn>
                  <a:cxn ang="0">
                    <a:pos x="504" y="172"/>
                  </a:cxn>
                  <a:cxn ang="0">
                    <a:pos x="504" y="298"/>
                  </a:cxn>
                  <a:cxn ang="0">
                    <a:pos x="513" y="327"/>
                  </a:cxn>
                  <a:cxn ang="0">
                    <a:pos x="584" y="387"/>
                  </a:cxn>
                  <a:cxn ang="0">
                    <a:pos x="631" y="412"/>
                  </a:cxn>
                  <a:cxn ang="0">
                    <a:pos x="635" y="442"/>
                  </a:cxn>
                  <a:cxn ang="0">
                    <a:pos x="618" y="459"/>
                  </a:cxn>
                  <a:cxn ang="0">
                    <a:pos x="581" y="459"/>
                  </a:cxn>
                  <a:cxn ang="0">
                    <a:pos x="516" y="476"/>
                  </a:cxn>
                  <a:cxn ang="0">
                    <a:pos x="377" y="479"/>
                  </a:cxn>
                  <a:cxn ang="0">
                    <a:pos x="262" y="466"/>
                  </a:cxn>
                  <a:cxn ang="0">
                    <a:pos x="186" y="445"/>
                  </a:cxn>
                  <a:cxn ang="0">
                    <a:pos x="8" y="445"/>
                  </a:cxn>
                  <a:cxn ang="0">
                    <a:pos x="0" y="459"/>
                  </a:cxn>
                  <a:cxn ang="0">
                    <a:pos x="0" y="491"/>
                  </a:cxn>
                  <a:cxn ang="0">
                    <a:pos x="42" y="550"/>
                  </a:cxn>
                  <a:cxn ang="0">
                    <a:pos x="131" y="589"/>
                  </a:cxn>
                  <a:cxn ang="0">
                    <a:pos x="164" y="623"/>
                  </a:cxn>
                  <a:cxn ang="0">
                    <a:pos x="186" y="614"/>
                  </a:cxn>
                  <a:cxn ang="0">
                    <a:pos x="181" y="584"/>
                  </a:cxn>
                  <a:cxn ang="0">
                    <a:pos x="198" y="567"/>
                  </a:cxn>
                  <a:cxn ang="0">
                    <a:pos x="224" y="555"/>
                  </a:cxn>
                  <a:cxn ang="0">
                    <a:pos x="249" y="555"/>
                  </a:cxn>
                  <a:cxn ang="0">
                    <a:pos x="339" y="559"/>
                  </a:cxn>
                  <a:cxn ang="0">
                    <a:pos x="504" y="601"/>
                  </a:cxn>
                  <a:cxn ang="0">
                    <a:pos x="547" y="597"/>
                  </a:cxn>
                  <a:cxn ang="0">
                    <a:pos x="648" y="567"/>
                  </a:cxn>
                  <a:cxn ang="0">
                    <a:pos x="690" y="567"/>
                  </a:cxn>
                  <a:cxn ang="0">
                    <a:pos x="729" y="575"/>
                  </a:cxn>
                  <a:cxn ang="0">
                    <a:pos x="758" y="592"/>
                  </a:cxn>
                  <a:cxn ang="0">
                    <a:pos x="787" y="601"/>
                  </a:cxn>
                  <a:cxn ang="0">
                    <a:pos x="821" y="617"/>
                  </a:cxn>
                  <a:cxn ang="0">
                    <a:pos x="826" y="627"/>
                  </a:cxn>
                </a:cxnLst>
                <a:rect l="0" t="0" r="r" b="b"/>
                <a:pathLst>
                  <a:path w="877" h="627">
                    <a:moveTo>
                      <a:pt x="826" y="627"/>
                    </a:moveTo>
                    <a:lnTo>
                      <a:pt x="835" y="614"/>
                    </a:lnTo>
                    <a:lnTo>
                      <a:pt x="843" y="539"/>
                    </a:lnTo>
                    <a:lnTo>
                      <a:pt x="835" y="504"/>
                    </a:lnTo>
                    <a:lnTo>
                      <a:pt x="801" y="466"/>
                    </a:lnTo>
                    <a:lnTo>
                      <a:pt x="801" y="442"/>
                    </a:lnTo>
                    <a:lnTo>
                      <a:pt x="809" y="425"/>
                    </a:lnTo>
                    <a:lnTo>
                      <a:pt x="852" y="392"/>
                    </a:lnTo>
                    <a:lnTo>
                      <a:pt x="847" y="298"/>
                    </a:lnTo>
                    <a:lnTo>
                      <a:pt x="868" y="277"/>
                    </a:lnTo>
                    <a:lnTo>
                      <a:pt x="877" y="243"/>
                    </a:lnTo>
                    <a:lnTo>
                      <a:pt x="852" y="214"/>
                    </a:lnTo>
                    <a:lnTo>
                      <a:pt x="860" y="135"/>
                    </a:lnTo>
                    <a:lnTo>
                      <a:pt x="847" y="88"/>
                    </a:lnTo>
                    <a:lnTo>
                      <a:pt x="813" y="46"/>
                    </a:lnTo>
                    <a:lnTo>
                      <a:pt x="818" y="37"/>
                    </a:lnTo>
                    <a:lnTo>
                      <a:pt x="809" y="37"/>
                    </a:lnTo>
                    <a:lnTo>
                      <a:pt x="775" y="63"/>
                    </a:lnTo>
                    <a:lnTo>
                      <a:pt x="639" y="67"/>
                    </a:lnTo>
                    <a:lnTo>
                      <a:pt x="606" y="59"/>
                    </a:lnTo>
                    <a:lnTo>
                      <a:pt x="564" y="29"/>
                    </a:lnTo>
                    <a:lnTo>
                      <a:pt x="513" y="8"/>
                    </a:lnTo>
                    <a:lnTo>
                      <a:pt x="445" y="0"/>
                    </a:lnTo>
                    <a:lnTo>
                      <a:pt x="356" y="17"/>
                    </a:lnTo>
                    <a:lnTo>
                      <a:pt x="317" y="37"/>
                    </a:lnTo>
                    <a:lnTo>
                      <a:pt x="300" y="63"/>
                    </a:lnTo>
                    <a:lnTo>
                      <a:pt x="305" y="101"/>
                    </a:lnTo>
                    <a:lnTo>
                      <a:pt x="326" y="109"/>
                    </a:lnTo>
                    <a:lnTo>
                      <a:pt x="445" y="109"/>
                    </a:lnTo>
                    <a:lnTo>
                      <a:pt x="492" y="135"/>
                    </a:lnTo>
                    <a:lnTo>
                      <a:pt x="504" y="172"/>
                    </a:lnTo>
                    <a:lnTo>
                      <a:pt x="504" y="298"/>
                    </a:lnTo>
                    <a:lnTo>
                      <a:pt x="513" y="327"/>
                    </a:lnTo>
                    <a:lnTo>
                      <a:pt x="584" y="387"/>
                    </a:lnTo>
                    <a:lnTo>
                      <a:pt x="631" y="412"/>
                    </a:lnTo>
                    <a:lnTo>
                      <a:pt x="635" y="442"/>
                    </a:lnTo>
                    <a:lnTo>
                      <a:pt x="618" y="459"/>
                    </a:lnTo>
                    <a:lnTo>
                      <a:pt x="581" y="459"/>
                    </a:lnTo>
                    <a:lnTo>
                      <a:pt x="516" y="476"/>
                    </a:lnTo>
                    <a:lnTo>
                      <a:pt x="377" y="479"/>
                    </a:lnTo>
                    <a:lnTo>
                      <a:pt x="262" y="466"/>
                    </a:lnTo>
                    <a:lnTo>
                      <a:pt x="186" y="445"/>
                    </a:lnTo>
                    <a:lnTo>
                      <a:pt x="8" y="445"/>
                    </a:lnTo>
                    <a:lnTo>
                      <a:pt x="0" y="459"/>
                    </a:lnTo>
                    <a:lnTo>
                      <a:pt x="0" y="491"/>
                    </a:lnTo>
                    <a:lnTo>
                      <a:pt x="42" y="550"/>
                    </a:lnTo>
                    <a:lnTo>
                      <a:pt x="131" y="589"/>
                    </a:lnTo>
                    <a:lnTo>
                      <a:pt x="164" y="623"/>
                    </a:lnTo>
                    <a:lnTo>
                      <a:pt x="186" y="614"/>
                    </a:lnTo>
                    <a:lnTo>
                      <a:pt x="181" y="584"/>
                    </a:lnTo>
                    <a:lnTo>
                      <a:pt x="198" y="567"/>
                    </a:lnTo>
                    <a:lnTo>
                      <a:pt x="224" y="555"/>
                    </a:lnTo>
                    <a:lnTo>
                      <a:pt x="249" y="555"/>
                    </a:lnTo>
                    <a:lnTo>
                      <a:pt x="339" y="559"/>
                    </a:lnTo>
                    <a:lnTo>
                      <a:pt x="504" y="601"/>
                    </a:lnTo>
                    <a:lnTo>
                      <a:pt x="547" y="597"/>
                    </a:lnTo>
                    <a:lnTo>
                      <a:pt x="648" y="567"/>
                    </a:lnTo>
                    <a:lnTo>
                      <a:pt x="690" y="567"/>
                    </a:lnTo>
                    <a:lnTo>
                      <a:pt x="729" y="575"/>
                    </a:lnTo>
                    <a:lnTo>
                      <a:pt x="758" y="592"/>
                    </a:lnTo>
                    <a:lnTo>
                      <a:pt x="787" y="601"/>
                    </a:lnTo>
                    <a:lnTo>
                      <a:pt x="821" y="617"/>
                    </a:lnTo>
                    <a:lnTo>
                      <a:pt x="826" y="62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</p:grpSp>
        <p:sp>
          <p:nvSpPr>
            <p:cNvPr id="103" name="Freeform 340"/>
            <p:cNvSpPr>
              <a:spLocks noChangeAspect="1"/>
            </p:cNvSpPr>
            <p:nvPr/>
          </p:nvSpPr>
          <p:spPr bwMode="gray">
            <a:xfrm rot="20552047">
              <a:off x="4668055" y="3869221"/>
              <a:ext cx="15901" cy="13969"/>
            </a:xfrm>
            <a:custGeom>
              <a:avLst/>
              <a:gdLst/>
              <a:ahLst/>
              <a:cxnLst>
                <a:cxn ang="0">
                  <a:pos x="442" y="20"/>
                </a:cxn>
                <a:cxn ang="0">
                  <a:pos x="462" y="54"/>
                </a:cxn>
                <a:cxn ang="0">
                  <a:pos x="471" y="99"/>
                </a:cxn>
                <a:cxn ang="0">
                  <a:pos x="425" y="141"/>
                </a:cxn>
                <a:cxn ang="0">
                  <a:pos x="393" y="159"/>
                </a:cxn>
                <a:cxn ang="0">
                  <a:pos x="292" y="180"/>
                </a:cxn>
                <a:cxn ang="0">
                  <a:pos x="224" y="180"/>
                </a:cxn>
                <a:cxn ang="0">
                  <a:pos x="156" y="172"/>
                </a:cxn>
                <a:cxn ang="0">
                  <a:pos x="51" y="176"/>
                </a:cxn>
                <a:cxn ang="0">
                  <a:pos x="42" y="172"/>
                </a:cxn>
                <a:cxn ang="0">
                  <a:pos x="30" y="113"/>
                </a:cxn>
                <a:cxn ang="0">
                  <a:pos x="0" y="66"/>
                </a:cxn>
                <a:cxn ang="0">
                  <a:pos x="0" y="23"/>
                </a:cxn>
                <a:cxn ang="0">
                  <a:pos x="30" y="0"/>
                </a:cxn>
                <a:cxn ang="0">
                  <a:pos x="385" y="0"/>
                </a:cxn>
                <a:cxn ang="0">
                  <a:pos x="416" y="3"/>
                </a:cxn>
                <a:cxn ang="0">
                  <a:pos x="437" y="11"/>
                </a:cxn>
                <a:cxn ang="0">
                  <a:pos x="442" y="20"/>
                </a:cxn>
              </a:cxnLst>
              <a:rect l="0" t="0" r="r" b="b"/>
              <a:pathLst>
                <a:path w="471" h="180">
                  <a:moveTo>
                    <a:pt x="442" y="20"/>
                  </a:moveTo>
                  <a:lnTo>
                    <a:pt x="462" y="54"/>
                  </a:lnTo>
                  <a:lnTo>
                    <a:pt x="471" y="99"/>
                  </a:lnTo>
                  <a:lnTo>
                    <a:pt x="425" y="141"/>
                  </a:lnTo>
                  <a:lnTo>
                    <a:pt x="393" y="159"/>
                  </a:lnTo>
                  <a:lnTo>
                    <a:pt x="292" y="180"/>
                  </a:lnTo>
                  <a:lnTo>
                    <a:pt x="224" y="180"/>
                  </a:lnTo>
                  <a:lnTo>
                    <a:pt x="156" y="172"/>
                  </a:lnTo>
                  <a:lnTo>
                    <a:pt x="51" y="176"/>
                  </a:lnTo>
                  <a:lnTo>
                    <a:pt x="42" y="172"/>
                  </a:lnTo>
                  <a:lnTo>
                    <a:pt x="30" y="113"/>
                  </a:lnTo>
                  <a:lnTo>
                    <a:pt x="0" y="66"/>
                  </a:lnTo>
                  <a:lnTo>
                    <a:pt x="0" y="23"/>
                  </a:lnTo>
                  <a:lnTo>
                    <a:pt x="30" y="0"/>
                  </a:lnTo>
                  <a:lnTo>
                    <a:pt x="385" y="0"/>
                  </a:lnTo>
                  <a:lnTo>
                    <a:pt x="416" y="3"/>
                  </a:lnTo>
                  <a:lnTo>
                    <a:pt x="437" y="11"/>
                  </a:lnTo>
                  <a:lnTo>
                    <a:pt x="442" y="2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04" name="Freeform 341"/>
            <p:cNvSpPr>
              <a:spLocks noChangeAspect="1"/>
            </p:cNvSpPr>
            <p:nvPr/>
          </p:nvSpPr>
          <p:spPr bwMode="gray">
            <a:xfrm rot="20552047" flipH="1">
              <a:off x="4765054" y="3970497"/>
              <a:ext cx="0" cy="5239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0" y="7"/>
                </a:cxn>
                <a:cxn ang="0">
                  <a:pos x="0" y="76"/>
                </a:cxn>
                <a:cxn ang="0">
                  <a:pos x="14" y="59"/>
                </a:cxn>
                <a:cxn ang="0">
                  <a:pos x="14" y="0"/>
                </a:cxn>
              </a:cxnLst>
              <a:rect l="0" t="0" r="r" b="b"/>
              <a:pathLst>
                <a:path w="14" h="76">
                  <a:moveTo>
                    <a:pt x="14" y="0"/>
                  </a:moveTo>
                  <a:lnTo>
                    <a:pt x="0" y="7"/>
                  </a:lnTo>
                  <a:lnTo>
                    <a:pt x="0" y="76"/>
                  </a:lnTo>
                  <a:lnTo>
                    <a:pt x="14" y="59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05" name="Freeform 342"/>
            <p:cNvSpPr>
              <a:spLocks noChangeAspect="1"/>
            </p:cNvSpPr>
            <p:nvPr/>
          </p:nvSpPr>
          <p:spPr bwMode="gray">
            <a:xfrm rot="20552047">
              <a:off x="4738022" y="3897159"/>
              <a:ext cx="4771" cy="12223"/>
            </a:xfrm>
            <a:custGeom>
              <a:avLst/>
              <a:gdLst/>
              <a:ahLst/>
              <a:cxnLst>
                <a:cxn ang="0">
                  <a:pos x="122" y="0"/>
                </a:cxn>
                <a:cxn ang="0">
                  <a:pos x="98" y="4"/>
                </a:cxn>
                <a:cxn ang="0">
                  <a:pos x="81" y="52"/>
                </a:cxn>
                <a:cxn ang="0">
                  <a:pos x="17" y="45"/>
                </a:cxn>
                <a:cxn ang="0">
                  <a:pos x="0" y="104"/>
                </a:cxn>
                <a:cxn ang="0">
                  <a:pos x="8" y="160"/>
                </a:cxn>
                <a:cxn ang="0">
                  <a:pos x="53" y="163"/>
                </a:cxn>
                <a:cxn ang="0">
                  <a:pos x="70" y="104"/>
                </a:cxn>
                <a:cxn ang="0">
                  <a:pos x="83" y="93"/>
                </a:cxn>
                <a:cxn ang="0">
                  <a:pos x="132" y="91"/>
                </a:cxn>
                <a:cxn ang="0">
                  <a:pos x="173" y="74"/>
                </a:cxn>
                <a:cxn ang="0">
                  <a:pos x="166" y="52"/>
                </a:cxn>
                <a:cxn ang="0">
                  <a:pos x="135" y="38"/>
                </a:cxn>
                <a:cxn ang="0">
                  <a:pos x="122" y="0"/>
                </a:cxn>
              </a:cxnLst>
              <a:rect l="0" t="0" r="r" b="b"/>
              <a:pathLst>
                <a:path w="173" h="163">
                  <a:moveTo>
                    <a:pt x="122" y="0"/>
                  </a:moveTo>
                  <a:lnTo>
                    <a:pt x="98" y="4"/>
                  </a:lnTo>
                  <a:lnTo>
                    <a:pt x="81" y="52"/>
                  </a:lnTo>
                  <a:lnTo>
                    <a:pt x="17" y="45"/>
                  </a:lnTo>
                  <a:lnTo>
                    <a:pt x="0" y="104"/>
                  </a:lnTo>
                  <a:lnTo>
                    <a:pt x="8" y="160"/>
                  </a:lnTo>
                  <a:lnTo>
                    <a:pt x="53" y="163"/>
                  </a:lnTo>
                  <a:lnTo>
                    <a:pt x="70" y="104"/>
                  </a:lnTo>
                  <a:lnTo>
                    <a:pt x="83" y="93"/>
                  </a:lnTo>
                  <a:lnTo>
                    <a:pt x="132" y="91"/>
                  </a:lnTo>
                  <a:lnTo>
                    <a:pt x="173" y="74"/>
                  </a:lnTo>
                  <a:lnTo>
                    <a:pt x="166" y="52"/>
                  </a:lnTo>
                  <a:lnTo>
                    <a:pt x="135" y="38"/>
                  </a:lnTo>
                  <a:lnTo>
                    <a:pt x="122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06" name="Freeform 343"/>
            <p:cNvSpPr>
              <a:spLocks noChangeAspect="1"/>
            </p:cNvSpPr>
            <p:nvPr/>
          </p:nvSpPr>
          <p:spPr bwMode="gray">
            <a:xfrm rot="20552047" flipH="1">
              <a:off x="4691907" y="3865729"/>
              <a:ext cx="0" cy="1747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0" y="21"/>
                </a:cxn>
                <a:cxn ang="0">
                  <a:pos x="3" y="39"/>
                </a:cxn>
                <a:cxn ang="0">
                  <a:pos x="28" y="32"/>
                </a:cxn>
                <a:cxn ang="0">
                  <a:pos x="28" y="0"/>
                </a:cxn>
              </a:cxnLst>
              <a:rect l="0" t="0" r="r" b="b"/>
              <a:pathLst>
                <a:path w="28" h="39">
                  <a:moveTo>
                    <a:pt x="28" y="0"/>
                  </a:moveTo>
                  <a:lnTo>
                    <a:pt x="0" y="21"/>
                  </a:lnTo>
                  <a:lnTo>
                    <a:pt x="3" y="39"/>
                  </a:lnTo>
                  <a:lnTo>
                    <a:pt x="28" y="32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07" name="Freeform 344"/>
            <p:cNvSpPr>
              <a:spLocks noChangeAspect="1"/>
            </p:cNvSpPr>
            <p:nvPr/>
          </p:nvSpPr>
          <p:spPr bwMode="gray">
            <a:xfrm rot="20552047">
              <a:off x="4695087" y="3879698"/>
              <a:ext cx="1591" cy="3492"/>
            </a:xfrm>
            <a:custGeom>
              <a:avLst/>
              <a:gdLst/>
              <a:ahLst/>
              <a:cxnLst>
                <a:cxn ang="0">
                  <a:pos x="6" y="8"/>
                </a:cxn>
                <a:cxn ang="0">
                  <a:pos x="0" y="17"/>
                </a:cxn>
                <a:cxn ang="0">
                  <a:pos x="6" y="34"/>
                </a:cxn>
                <a:cxn ang="0">
                  <a:pos x="42" y="0"/>
                </a:cxn>
                <a:cxn ang="0">
                  <a:pos x="6" y="8"/>
                </a:cxn>
              </a:cxnLst>
              <a:rect l="0" t="0" r="r" b="b"/>
              <a:pathLst>
                <a:path w="42" h="34">
                  <a:moveTo>
                    <a:pt x="6" y="8"/>
                  </a:moveTo>
                  <a:lnTo>
                    <a:pt x="0" y="17"/>
                  </a:lnTo>
                  <a:lnTo>
                    <a:pt x="6" y="34"/>
                  </a:lnTo>
                  <a:lnTo>
                    <a:pt x="42" y="0"/>
                  </a:lnTo>
                  <a:lnTo>
                    <a:pt x="6" y="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08" name="Freeform 345"/>
            <p:cNvSpPr>
              <a:spLocks noChangeAspect="1"/>
            </p:cNvSpPr>
            <p:nvPr/>
          </p:nvSpPr>
          <p:spPr bwMode="gray">
            <a:xfrm rot="20552047">
              <a:off x="4745972" y="3916366"/>
              <a:ext cx="3180" cy="8731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0" y="0"/>
                </a:cxn>
                <a:cxn ang="0">
                  <a:pos x="0" y="86"/>
                </a:cxn>
                <a:cxn ang="0">
                  <a:pos x="14" y="124"/>
                </a:cxn>
                <a:cxn ang="0">
                  <a:pos x="42" y="124"/>
                </a:cxn>
                <a:cxn ang="0">
                  <a:pos x="52" y="90"/>
                </a:cxn>
                <a:cxn ang="0">
                  <a:pos x="49" y="20"/>
                </a:cxn>
                <a:cxn ang="0">
                  <a:pos x="18" y="0"/>
                </a:cxn>
              </a:cxnLst>
              <a:rect l="0" t="0" r="r" b="b"/>
              <a:pathLst>
                <a:path w="52" h="124">
                  <a:moveTo>
                    <a:pt x="18" y="0"/>
                  </a:moveTo>
                  <a:lnTo>
                    <a:pt x="0" y="0"/>
                  </a:lnTo>
                  <a:lnTo>
                    <a:pt x="0" y="86"/>
                  </a:lnTo>
                  <a:lnTo>
                    <a:pt x="14" y="124"/>
                  </a:lnTo>
                  <a:lnTo>
                    <a:pt x="42" y="124"/>
                  </a:lnTo>
                  <a:lnTo>
                    <a:pt x="52" y="90"/>
                  </a:lnTo>
                  <a:lnTo>
                    <a:pt x="49" y="2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09" name="Freeform 346"/>
            <p:cNvSpPr>
              <a:spLocks noChangeAspect="1"/>
            </p:cNvSpPr>
            <p:nvPr/>
          </p:nvSpPr>
          <p:spPr bwMode="gray">
            <a:xfrm rot="20552047">
              <a:off x="4765054" y="3998435"/>
              <a:ext cx="1591" cy="5239"/>
            </a:xfrm>
            <a:custGeom>
              <a:avLst/>
              <a:gdLst/>
              <a:ahLst/>
              <a:cxnLst>
                <a:cxn ang="0">
                  <a:pos x="49" y="0"/>
                </a:cxn>
                <a:cxn ang="0">
                  <a:pos x="17" y="14"/>
                </a:cxn>
                <a:cxn ang="0">
                  <a:pos x="0" y="62"/>
                </a:cxn>
                <a:cxn ang="0">
                  <a:pos x="38" y="41"/>
                </a:cxn>
                <a:cxn ang="0">
                  <a:pos x="49" y="0"/>
                </a:cxn>
              </a:cxnLst>
              <a:rect l="0" t="0" r="r" b="b"/>
              <a:pathLst>
                <a:path w="49" h="62">
                  <a:moveTo>
                    <a:pt x="49" y="0"/>
                  </a:moveTo>
                  <a:lnTo>
                    <a:pt x="17" y="14"/>
                  </a:lnTo>
                  <a:lnTo>
                    <a:pt x="0" y="62"/>
                  </a:lnTo>
                  <a:lnTo>
                    <a:pt x="38" y="41"/>
                  </a:lnTo>
                  <a:lnTo>
                    <a:pt x="49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10" name="Freeform 347"/>
            <p:cNvSpPr>
              <a:spLocks noChangeAspect="1"/>
            </p:cNvSpPr>
            <p:nvPr/>
          </p:nvSpPr>
          <p:spPr bwMode="gray">
            <a:xfrm rot="20552047">
              <a:off x="4459747" y="3806360"/>
              <a:ext cx="117670" cy="85561"/>
            </a:xfrm>
            <a:custGeom>
              <a:avLst/>
              <a:gdLst/>
              <a:ahLst/>
              <a:cxnLst>
                <a:cxn ang="0">
                  <a:pos x="2488" y="571"/>
                </a:cxn>
                <a:cxn ang="0">
                  <a:pos x="2639" y="644"/>
                </a:cxn>
                <a:cxn ang="0">
                  <a:pos x="2750" y="689"/>
                </a:cxn>
                <a:cxn ang="0">
                  <a:pos x="2869" y="689"/>
                </a:cxn>
                <a:cxn ang="0">
                  <a:pos x="2865" y="787"/>
                </a:cxn>
                <a:cxn ang="0">
                  <a:pos x="2916" y="820"/>
                </a:cxn>
                <a:cxn ang="0">
                  <a:pos x="3170" y="871"/>
                </a:cxn>
                <a:cxn ang="0">
                  <a:pos x="3309" y="951"/>
                </a:cxn>
                <a:cxn ang="0">
                  <a:pos x="3137" y="1073"/>
                </a:cxn>
                <a:cxn ang="0">
                  <a:pos x="2908" y="1111"/>
                </a:cxn>
                <a:cxn ang="0">
                  <a:pos x="2531" y="1086"/>
                </a:cxn>
                <a:cxn ang="0">
                  <a:pos x="2269" y="1123"/>
                </a:cxn>
                <a:cxn ang="0">
                  <a:pos x="2255" y="1069"/>
                </a:cxn>
                <a:cxn ang="0">
                  <a:pos x="2449" y="951"/>
                </a:cxn>
                <a:cxn ang="0">
                  <a:pos x="2416" y="880"/>
                </a:cxn>
                <a:cxn ang="0">
                  <a:pos x="2107" y="803"/>
                </a:cxn>
                <a:cxn ang="0">
                  <a:pos x="1989" y="660"/>
                </a:cxn>
                <a:cxn ang="0">
                  <a:pos x="1832" y="547"/>
                </a:cxn>
                <a:cxn ang="0">
                  <a:pos x="1675" y="534"/>
                </a:cxn>
                <a:cxn ang="0">
                  <a:pos x="1405" y="412"/>
                </a:cxn>
                <a:cxn ang="0">
                  <a:pos x="1184" y="366"/>
                </a:cxn>
                <a:cxn ang="0">
                  <a:pos x="1091" y="383"/>
                </a:cxn>
                <a:cxn ang="0">
                  <a:pos x="955" y="353"/>
                </a:cxn>
                <a:cxn ang="0">
                  <a:pos x="870" y="293"/>
                </a:cxn>
                <a:cxn ang="0">
                  <a:pos x="990" y="231"/>
                </a:cxn>
                <a:cxn ang="0">
                  <a:pos x="929" y="189"/>
                </a:cxn>
                <a:cxn ang="0">
                  <a:pos x="604" y="205"/>
                </a:cxn>
                <a:cxn ang="0">
                  <a:pos x="451" y="325"/>
                </a:cxn>
                <a:cxn ang="0">
                  <a:pos x="281" y="403"/>
                </a:cxn>
                <a:cxn ang="0">
                  <a:pos x="129" y="482"/>
                </a:cxn>
                <a:cxn ang="0">
                  <a:pos x="99" y="449"/>
                </a:cxn>
                <a:cxn ang="0">
                  <a:pos x="78" y="396"/>
                </a:cxn>
                <a:cxn ang="0">
                  <a:pos x="147" y="366"/>
                </a:cxn>
                <a:cxn ang="0">
                  <a:pos x="238" y="176"/>
                </a:cxn>
                <a:cxn ang="0">
                  <a:pos x="454" y="79"/>
                </a:cxn>
                <a:cxn ang="0">
                  <a:pos x="1003" y="0"/>
                </a:cxn>
                <a:cxn ang="0">
                  <a:pos x="1295" y="20"/>
                </a:cxn>
                <a:cxn ang="0">
                  <a:pos x="1490" y="62"/>
                </a:cxn>
                <a:cxn ang="0">
                  <a:pos x="1637" y="189"/>
                </a:cxn>
                <a:cxn ang="0">
                  <a:pos x="1879" y="251"/>
                </a:cxn>
                <a:cxn ang="0">
                  <a:pos x="1985" y="293"/>
                </a:cxn>
                <a:cxn ang="0">
                  <a:pos x="1989" y="325"/>
                </a:cxn>
                <a:cxn ang="0">
                  <a:pos x="2167" y="429"/>
                </a:cxn>
                <a:cxn ang="0">
                  <a:pos x="2394" y="508"/>
                </a:cxn>
              </a:cxnLst>
              <a:rect l="0" t="0" r="r" b="b"/>
              <a:pathLst>
                <a:path w="3347" h="1123">
                  <a:moveTo>
                    <a:pt x="2394" y="508"/>
                  </a:moveTo>
                  <a:lnTo>
                    <a:pt x="2399" y="517"/>
                  </a:lnTo>
                  <a:lnTo>
                    <a:pt x="2488" y="571"/>
                  </a:lnTo>
                  <a:lnTo>
                    <a:pt x="2559" y="627"/>
                  </a:lnTo>
                  <a:lnTo>
                    <a:pt x="2605" y="644"/>
                  </a:lnTo>
                  <a:lnTo>
                    <a:pt x="2639" y="644"/>
                  </a:lnTo>
                  <a:lnTo>
                    <a:pt x="2665" y="652"/>
                  </a:lnTo>
                  <a:lnTo>
                    <a:pt x="2687" y="669"/>
                  </a:lnTo>
                  <a:lnTo>
                    <a:pt x="2750" y="689"/>
                  </a:lnTo>
                  <a:lnTo>
                    <a:pt x="2793" y="689"/>
                  </a:lnTo>
                  <a:lnTo>
                    <a:pt x="2835" y="680"/>
                  </a:lnTo>
                  <a:lnTo>
                    <a:pt x="2869" y="689"/>
                  </a:lnTo>
                  <a:lnTo>
                    <a:pt x="2886" y="719"/>
                  </a:lnTo>
                  <a:lnTo>
                    <a:pt x="2886" y="744"/>
                  </a:lnTo>
                  <a:lnTo>
                    <a:pt x="2865" y="787"/>
                  </a:lnTo>
                  <a:lnTo>
                    <a:pt x="2865" y="803"/>
                  </a:lnTo>
                  <a:lnTo>
                    <a:pt x="2874" y="811"/>
                  </a:lnTo>
                  <a:lnTo>
                    <a:pt x="2916" y="820"/>
                  </a:lnTo>
                  <a:lnTo>
                    <a:pt x="3094" y="816"/>
                  </a:lnTo>
                  <a:lnTo>
                    <a:pt x="3128" y="828"/>
                  </a:lnTo>
                  <a:lnTo>
                    <a:pt x="3170" y="871"/>
                  </a:lnTo>
                  <a:lnTo>
                    <a:pt x="3182" y="891"/>
                  </a:lnTo>
                  <a:lnTo>
                    <a:pt x="3259" y="947"/>
                  </a:lnTo>
                  <a:lnTo>
                    <a:pt x="3309" y="951"/>
                  </a:lnTo>
                  <a:lnTo>
                    <a:pt x="3343" y="964"/>
                  </a:lnTo>
                  <a:lnTo>
                    <a:pt x="3347" y="1002"/>
                  </a:lnTo>
                  <a:lnTo>
                    <a:pt x="3137" y="1073"/>
                  </a:lnTo>
                  <a:lnTo>
                    <a:pt x="3072" y="1103"/>
                  </a:lnTo>
                  <a:lnTo>
                    <a:pt x="2996" y="1115"/>
                  </a:lnTo>
                  <a:lnTo>
                    <a:pt x="2908" y="1111"/>
                  </a:lnTo>
                  <a:lnTo>
                    <a:pt x="2852" y="1094"/>
                  </a:lnTo>
                  <a:lnTo>
                    <a:pt x="2793" y="1090"/>
                  </a:lnTo>
                  <a:lnTo>
                    <a:pt x="2531" y="1086"/>
                  </a:lnTo>
                  <a:lnTo>
                    <a:pt x="2394" y="1103"/>
                  </a:lnTo>
                  <a:lnTo>
                    <a:pt x="2314" y="1123"/>
                  </a:lnTo>
                  <a:lnTo>
                    <a:pt x="2269" y="1123"/>
                  </a:lnTo>
                  <a:lnTo>
                    <a:pt x="2243" y="1115"/>
                  </a:lnTo>
                  <a:lnTo>
                    <a:pt x="2235" y="1094"/>
                  </a:lnTo>
                  <a:lnTo>
                    <a:pt x="2255" y="1069"/>
                  </a:lnTo>
                  <a:lnTo>
                    <a:pt x="2314" y="1019"/>
                  </a:lnTo>
                  <a:lnTo>
                    <a:pt x="2373" y="985"/>
                  </a:lnTo>
                  <a:lnTo>
                    <a:pt x="2449" y="951"/>
                  </a:lnTo>
                  <a:lnTo>
                    <a:pt x="2457" y="917"/>
                  </a:lnTo>
                  <a:lnTo>
                    <a:pt x="2454" y="900"/>
                  </a:lnTo>
                  <a:lnTo>
                    <a:pt x="2416" y="880"/>
                  </a:lnTo>
                  <a:lnTo>
                    <a:pt x="2319" y="849"/>
                  </a:lnTo>
                  <a:lnTo>
                    <a:pt x="2141" y="837"/>
                  </a:lnTo>
                  <a:lnTo>
                    <a:pt x="2107" y="803"/>
                  </a:lnTo>
                  <a:lnTo>
                    <a:pt x="2056" y="770"/>
                  </a:lnTo>
                  <a:lnTo>
                    <a:pt x="2019" y="727"/>
                  </a:lnTo>
                  <a:lnTo>
                    <a:pt x="1989" y="660"/>
                  </a:lnTo>
                  <a:lnTo>
                    <a:pt x="1977" y="606"/>
                  </a:lnTo>
                  <a:lnTo>
                    <a:pt x="1938" y="560"/>
                  </a:lnTo>
                  <a:lnTo>
                    <a:pt x="1832" y="547"/>
                  </a:lnTo>
                  <a:lnTo>
                    <a:pt x="1734" y="551"/>
                  </a:lnTo>
                  <a:lnTo>
                    <a:pt x="1700" y="547"/>
                  </a:lnTo>
                  <a:lnTo>
                    <a:pt x="1675" y="534"/>
                  </a:lnTo>
                  <a:lnTo>
                    <a:pt x="1564" y="513"/>
                  </a:lnTo>
                  <a:lnTo>
                    <a:pt x="1473" y="472"/>
                  </a:lnTo>
                  <a:lnTo>
                    <a:pt x="1405" y="412"/>
                  </a:lnTo>
                  <a:lnTo>
                    <a:pt x="1354" y="387"/>
                  </a:lnTo>
                  <a:lnTo>
                    <a:pt x="1222" y="383"/>
                  </a:lnTo>
                  <a:lnTo>
                    <a:pt x="1184" y="366"/>
                  </a:lnTo>
                  <a:lnTo>
                    <a:pt x="1159" y="366"/>
                  </a:lnTo>
                  <a:lnTo>
                    <a:pt x="1129" y="378"/>
                  </a:lnTo>
                  <a:lnTo>
                    <a:pt x="1091" y="383"/>
                  </a:lnTo>
                  <a:lnTo>
                    <a:pt x="1049" y="370"/>
                  </a:lnTo>
                  <a:lnTo>
                    <a:pt x="1037" y="358"/>
                  </a:lnTo>
                  <a:lnTo>
                    <a:pt x="955" y="353"/>
                  </a:lnTo>
                  <a:lnTo>
                    <a:pt x="904" y="341"/>
                  </a:lnTo>
                  <a:lnTo>
                    <a:pt x="887" y="327"/>
                  </a:lnTo>
                  <a:lnTo>
                    <a:pt x="870" y="293"/>
                  </a:lnTo>
                  <a:lnTo>
                    <a:pt x="870" y="276"/>
                  </a:lnTo>
                  <a:lnTo>
                    <a:pt x="972" y="251"/>
                  </a:lnTo>
                  <a:lnTo>
                    <a:pt x="990" y="231"/>
                  </a:lnTo>
                  <a:lnTo>
                    <a:pt x="981" y="209"/>
                  </a:lnTo>
                  <a:lnTo>
                    <a:pt x="943" y="201"/>
                  </a:lnTo>
                  <a:lnTo>
                    <a:pt x="929" y="189"/>
                  </a:lnTo>
                  <a:lnTo>
                    <a:pt x="718" y="167"/>
                  </a:lnTo>
                  <a:lnTo>
                    <a:pt x="658" y="172"/>
                  </a:lnTo>
                  <a:lnTo>
                    <a:pt x="604" y="205"/>
                  </a:lnTo>
                  <a:lnTo>
                    <a:pt x="557" y="251"/>
                  </a:lnTo>
                  <a:lnTo>
                    <a:pt x="519" y="302"/>
                  </a:lnTo>
                  <a:lnTo>
                    <a:pt x="451" y="325"/>
                  </a:lnTo>
                  <a:lnTo>
                    <a:pt x="370" y="332"/>
                  </a:lnTo>
                  <a:lnTo>
                    <a:pt x="323" y="349"/>
                  </a:lnTo>
                  <a:lnTo>
                    <a:pt x="281" y="403"/>
                  </a:lnTo>
                  <a:lnTo>
                    <a:pt x="230" y="412"/>
                  </a:lnTo>
                  <a:lnTo>
                    <a:pt x="213" y="420"/>
                  </a:lnTo>
                  <a:lnTo>
                    <a:pt x="129" y="482"/>
                  </a:lnTo>
                  <a:lnTo>
                    <a:pt x="120" y="482"/>
                  </a:lnTo>
                  <a:lnTo>
                    <a:pt x="117" y="466"/>
                  </a:lnTo>
                  <a:lnTo>
                    <a:pt x="99" y="449"/>
                  </a:lnTo>
                  <a:lnTo>
                    <a:pt x="0" y="455"/>
                  </a:lnTo>
                  <a:lnTo>
                    <a:pt x="0" y="441"/>
                  </a:lnTo>
                  <a:lnTo>
                    <a:pt x="78" y="396"/>
                  </a:lnTo>
                  <a:lnTo>
                    <a:pt x="133" y="390"/>
                  </a:lnTo>
                  <a:lnTo>
                    <a:pt x="141" y="383"/>
                  </a:lnTo>
                  <a:lnTo>
                    <a:pt x="147" y="366"/>
                  </a:lnTo>
                  <a:lnTo>
                    <a:pt x="147" y="257"/>
                  </a:lnTo>
                  <a:lnTo>
                    <a:pt x="163" y="226"/>
                  </a:lnTo>
                  <a:lnTo>
                    <a:pt x="238" y="176"/>
                  </a:lnTo>
                  <a:lnTo>
                    <a:pt x="337" y="130"/>
                  </a:lnTo>
                  <a:lnTo>
                    <a:pt x="358" y="125"/>
                  </a:lnTo>
                  <a:lnTo>
                    <a:pt x="454" y="79"/>
                  </a:lnTo>
                  <a:lnTo>
                    <a:pt x="675" y="29"/>
                  </a:lnTo>
                  <a:lnTo>
                    <a:pt x="752" y="3"/>
                  </a:lnTo>
                  <a:lnTo>
                    <a:pt x="1003" y="0"/>
                  </a:lnTo>
                  <a:lnTo>
                    <a:pt x="1112" y="20"/>
                  </a:lnTo>
                  <a:lnTo>
                    <a:pt x="1227" y="25"/>
                  </a:lnTo>
                  <a:lnTo>
                    <a:pt x="1295" y="20"/>
                  </a:lnTo>
                  <a:lnTo>
                    <a:pt x="1336" y="54"/>
                  </a:lnTo>
                  <a:lnTo>
                    <a:pt x="1366" y="67"/>
                  </a:lnTo>
                  <a:lnTo>
                    <a:pt x="1490" y="62"/>
                  </a:lnTo>
                  <a:lnTo>
                    <a:pt x="1524" y="79"/>
                  </a:lnTo>
                  <a:lnTo>
                    <a:pt x="1612" y="150"/>
                  </a:lnTo>
                  <a:lnTo>
                    <a:pt x="1637" y="189"/>
                  </a:lnTo>
                  <a:lnTo>
                    <a:pt x="1700" y="240"/>
                  </a:lnTo>
                  <a:lnTo>
                    <a:pt x="1751" y="257"/>
                  </a:lnTo>
                  <a:lnTo>
                    <a:pt x="1879" y="251"/>
                  </a:lnTo>
                  <a:lnTo>
                    <a:pt x="1913" y="273"/>
                  </a:lnTo>
                  <a:lnTo>
                    <a:pt x="1968" y="273"/>
                  </a:lnTo>
                  <a:lnTo>
                    <a:pt x="1985" y="293"/>
                  </a:lnTo>
                  <a:lnTo>
                    <a:pt x="1968" y="293"/>
                  </a:lnTo>
                  <a:lnTo>
                    <a:pt x="1964" y="311"/>
                  </a:lnTo>
                  <a:lnTo>
                    <a:pt x="1989" y="325"/>
                  </a:lnTo>
                  <a:lnTo>
                    <a:pt x="2056" y="335"/>
                  </a:lnTo>
                  <a:lnTo>
                    <a:pt x="2099" y="358"/>
                  </a:lnTo>
                  <a:lnTo>
                    <a:pt x="2167" y="429"/>
                  </a:lnTo>
                  <a:lnTo>
                    <a:pt x="2269" y="458"/>
                  </a:lnTo>
                  <a:lnTo>
                    <a:pt x="2344" y="496"/>
                  </a:lnTo>
                  <a:lnTo>
                    <a:pt x="2394" y="50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11" name="Freeform 348"/>
            <p:cNvSpPr>
              <a:spLocks noChangeAspect="1"/>
            </p:cNvSpPr>
            <p:nvPr/>
          </p:nvSpPr>
          <p:spPr bwMode="gray">
            <a:xfrm rot="20552047">
              <a:off x="4478828" y="3851760"/>
              <a:ext cx="4771" cy="10477"/>
            </a:xfrm>
            <a:custGeom>
              <a:avLst/>
              <a:gdLst/>
              <a:ahLst/>
              <a:cxnLst>
                <a:cxn ang="0">
                  <a:pos x="128" y="5"/>
                </a:cxn>
                <a:cxn ang="0">
                  <a:pos x="136" y="42"/>
                </a:cxn>
                <a:cxn ang="0">
                  <a:pos x="153" y="64"/>
                </a:cxn>
                <a:cxn ang="0">
                  <a:pos x="165" y="128"/>
                </a:cxn>
                <a:cxn ang="0">
                  <a:pos x="77" y="156"/>
                </a:cxn>
                <a:cxn ang="0">
                  <a:pos x="38" y="156"/>
                </a:cxn>
                <a:cxn ang="0">
                  <a:pos x="22" y="144"/>
                </a:cxn>
                <a:cxn ang="0">
                  <a:pos x="8" y="131"/>
                </a:cxn>
                <a:cxn ang="0">
                  <a:pos x="0" y="98"/>
                </a:cxn>
                <a:cxn ang="0">
                  <a:pos x="51" y="123"/>
                </a:cxn>
                <a:cxn ang="0">
                  <a:pos x="63" y="89"/>
                </a:cxn>
                <a:cxn ang="0">
                  <a:pos x="51" y="68"/>
                </a:cxn>
                <a:cxn ang="0">
                  <a:pos x="47" y="42"/>
                </a:cxn>
                <a:cxn ang="0">
                  <a:pos x="51" y="9"/>
                </a:cxn>
                <a:cxn ang="0">
                  <a:pos x="89" y="0"/>
                </a:cxn>
                <a:cxn ang="0">
                  <a:pos x="114" y="5"/>
                </a:cxn>
                <a:cxn ang="0">
                  <a:pos x="128" y="14"/>
                </a:cxn>
                <a:cxn ang="0">
                  <a:pos x="128" y="5"/>
                </a:cxn>
              </a:cxnLst>
              <a:rect l="0" t="0" r="r" b="b"/>
              <a:pathLst>
                <a:path w="165" h="156">
                  <a:moveTo>
                    <a:pt x="128" y="5"/>
                  </a:moveTo>
                  <a:lnTo>
                    <a:pt x="136" y="42"/>
                  </a:lnTo>
                  <a:lnTo>
                    <a:pt x="153" y="64"/>
                  </a:lnTo>
                  <a:lnTo>
                    <a:pt x="165" y="128"/>
                  </a:lnTo>
                  <a:lnTo>
                    <a:pt x="77" y="156"/>
                  </a:lnTo>
                  <a:lnTo>
                    <a:pt x="38" y="156"/>
                  </a:lnTo>
                  <a:lnTo>
                    <a:pt x="22" y="144"/>
                  </a:lnTo>
                  <a:lnTo>
                    <a:pt x="8" y="131"/>
                  </a:lnTo>
                  <a:lnTo>
                    <a:pt x="0" y="98"/>
                  </a:lnTo>
                  <a:lnTo>
                    <a:pt x="51" y="123"/>
                  </a:lnTo>
                  <a:lnTo>
                    <a:pt x="63" y="89"/>
                  </a:lnTo>
                  <a:lnTo>
                    <a:pt x="51" y="68"/>
                  </a:lnTo>
                  <a:lnTo>
                    <a:pt x="47" y="42"/>
                  </a:lnTo>
                  <a:lnTo>
                    <a:pt x="51" y="9"/>
                  </a:lnTo>
                  <a:lnTo>
                    <a:pt x="89" y="0"/>
                  </a:lnTo>
                  <a:lnTo>
                    <a:pt x="114" y="5"/>
                  </a:lnTo>
                  <a:lnTo>
                    <a:pt x="128" y="14"/>
                  </a:lnTo>
                  <a:lnTo>
                    <a:pt x="128" y="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12" name="Freeform 349"/>
            <p:cNvSpPr>
              <a:spLocks noChangeAspect="1"/>
            </p:cNvSpPr>
            <p:nvPr/>
          </p:nvSpPr>
          <p:spPr bwMode="gray">
            <a:xfrm rot="20552047">
              <a:off x="4521763" y="3816837"/>
              <a:ext cx="11131" cy="15716"/>
            </a:xfrm>
            <a:custGeom>
              <a:avLst/>
              <a:gdLst/>
              <a:ahLst/>
              <a:cxnLst>
                <a:cxn ang="0">
                  <a:pos x="211" y="85"/>
                </a:cxn>
                <a:cxn ang="0">
                  <a:pos x="283" y="127"/>
                </a:cxn>
                <a:cxn ang="0">
                  <a:pos x="308" y="156"/>
                </a:cxn>
                <a:cxn ang="0">
                  <a:pos x="317" y="201"/>
                </a:cxn>
                <a:cxn ang="0">
                  <a:pos x="266" y="198"/>
                </a:cxn>
                <a:cxn ang="0">
                  <a:pos x="208" y="156"/>
                </a:cxn>
                <a:cxn ang="0">
                  <a:pos x="169" y="97"/>
                </a:cxn>
                <a:cxn ang="0">
                  <a:pos x="135" y="68"/>
                </a:cxn>
                <a:cxn ang="0">
                  <a:pos x="59" y="59"/>
                </a:cxn>
                <a:cxn ang="0">
                  <a:pos x="38" y="50"/>
                </a:cxn>
                <a:cxn ang="0">
                  <a:pos x="8" y="29"/>
                </a:cxn>
                <a:cxn ang="0">
                  <a:pos x="0" y="17"/>
                </a:cxn>
                <a:cxn ang="0">
                  <a:pos x="0" y="0"/>
                </a:cxn>
                <a:cxn ang="0">
                  <a:pos x="85" y="4"/>
                </a:cxn>
                <a:cxn ang="0">
                  <a:pos x="211" y="85"/>
                </a:cxn>
              </a:cxnLst>
              <a:rect l="0" t="0" r="r" b="b"/>
              <a:pathLst>
                <a:path w="317" h="201">
                  <a:moveTo>
                    <a:pt x="211" y="85"/>
                  </a:moveTo>
                  <a:lnTo>
                    <a:pt x="283" y="127"/>
                  </a:lnTo>
                  <a:lnTo>
                    <a:pt x="308" y="156"/>
                  </a:lnTo>
                  <a:lnTo>
                    <a:pt x="317" y="201"/>
                  </a:lnTo>
                  <a:lnTo>
                    <a:pt x="266" y="198"/>
                  </a:lnTo>
                  <a:lnTo>
                    <a:pt x="208" y="156"/>
                  </a:lnTo>
                  <a:lnTo>
                    <a:pt x="169" y="97"/>
                  </a:lnTo>
                  <a:lnTo>
                    <a:pt x="135" y="68"/>
                  </a:lnTo>
                  <a:lnTo>
                    <a:pt x="59" y="59"/>
                  </a:lnTo>
                  <a:lnTo>
                    <a:pt x="38" y="50"/>
                  </a:lnTo>
                  <a:lnTo>
                    <a:pt x="8" y="29"/>
                  </a:lnTo>
                  <a:lnTo>
                    <a:pt x="0" y="17"/>
                  </a:lnTo>
                  <a:lnTo>
                    <a:pt x="0" y="0"/>
                  </a:lnTo>
                  <a:lnTo>
                    <a:pt x="85" y="4"/>
                  </a:lnTo>
                  <a:lnTo>
                    <a:pt x="211" y="8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13" name="Freeform 350"/>
            <p:cNvSpPr>
              <a:spLocks noChangeAspect="1"/>
            </p:cNvSpPr>
            <p:nvPr/>
          </p:nvSpPr>
          <p:spPr bwMode="gray">
            <a:xfrm rot="20552047" flipH="1">
              <a:off x="4720530" y="3879698"/>
              <a:ext cx="0" cy="5239"/>
            </a:xfrm>
            <a:custGeom>
              <a:avLst/>
              <a:gdLst/>
              <a:ahLst/>
              <a:cxnLst>
                <a:cxn ang="0">
                  <a:pos x="34" y="2"/>
                </a:cxn>
                <a:cxn ang="0">
                  <a:pos x="0" y="0"/>
                </a:cxn>
                <a:cxn ang="0">
                  <a:pos x="11" y="30"/>
                </a:cxn>
                <a:cxn ang="0">
                  <a:pos x="31" y="47"/>
                </a:cxn>
                <a:cxn ang="0">
                  <a:pos x="46" y="42"/>
                </a:cxn>
                <a:cxn ang="0">
                  <a:pos x="46" y="10"/>
                </a:cxn>
                <a:cxn ang="0">
                  <a:pos x="34" y="2"/>
                </a:cxn>
              </a:cxnLst>
              <a:rect l="0" t="0" r="r" b="b"/>
              <a:pathLst>
                <a:path w="46" h="47">
                  <a:moveTo>
                    <a:pt x="34" y="2"/>
                  </a:moveTo>
                  <a:lnTo>
                    <a:pt x="0" y="0"/>
                  </a:lnTo>
                  <a:lnTo>
                    <a:pt x="11" y="30"/>
                  </a:lnTo>
                  <a:lnTo>
                    <a:pt x="31" y="47"/>
                  </a:lnTo>
                  <a:lnTo>
                    <a:pt x="46" y="42"/>
                  </a:lnTo>
                  <a:lnTo>
                    <a:pt x="46" y="10"/>
                  </a:lnTo>
                  <a:lnTo>
                    <a:pt x="34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14" name="Freeform 351"/>
            <p:cNvSpPr>
              <a:spLocks noChangeAspect="1"/>
            </p:cNvSpPr>
            <p:nvPr/>
          </p:nvSpPr>
          <p:spPr bwMode="gray">
            <a:xfrm rot="20552047">
              <a:off x="4761873" y="3953035"/>
              <a:ext cx="1591" cy="6985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0" y="97"/>
                </a:cxn>
                <a:cxn ang="0">
                  <a:pos x="25" y="103"/>
                </a:cxn>
                <a:cxn ang="0">
                  <a:pos x="45" y="94"/>
                </a:cxn>
                <a:cxn ang="0">
                  <a:pos x="45" y="62"/>
                </a:cxn>
                <a:cxn ang="0">
                  <a:pos x="39" y="20"/>
                </a:cxn>
                <a:cxn ang="0">
                  <a:pos x="25" y="0"/>
                </a:cxn>
              </a:cxnLst>
              <a:rect l="0" t="0" r="r" b="b"/>
              <a:pathLst>
                <a:path w="45" h="103">
                  <a:moveTo>
                    <a:pt x="25" y="0"/>
                  </a:moveTo>
                  <a:lnTo>
                    <a:pt x="0" y="97"/>
                  </a:lnTo>
                  <a:lnTo>
                    <a:pt x="25" y="103"/>
                  </a:lnTo>
                  <a:lnTo>
                    <a:pt x="45" y="94"/>
                  </a:lnTo>
                  <a:lnTo>
                    <a:pt x="45" y="62"/>
                  </a:lnTo>
                  <a:lnTo>
                    <a:pt x="39" y="20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grpSp>
          <p:nvGrpSpPr>
            <p:cNvPr id="115" name="Group 362"/>
            <p:cNvGrpSpPr/>
            <p:nvPr/>
          </p:nvGrpSpPr>
          <p:grpSpPr>
            <a:xfrm>
              <a:off x="5717548" y="2301193"/>
              <a:ext cx="880939" cy="1220548"/>
              <a:chOff x="4580731" y="1911697"/>
              <a:chExt cx="879476" cy="1109663"/>
            </a:xfrm>
            <a:grpFill/>
          </p:grpSpPr>
          <p:sp>
            <p:nvSpPr>
              <p:cNvPr id="171" name="Freeform 175"/>
              <p:cNvSpPr>
                <a:spLocks noChangeAspect="1"/>
              </p:cNvSpPr>
              <p:nvPr/>
            </p:nvSpPr>
            <p:spPr bwMode="gray">
              <a:xfrm>
                <a:off x="4923631" y="2716560"/>
                <a:ext cx="133350" cy="65088"/>
              </a:xfrm>
              <a:custGeom>
                <a:avLst/>
                <a:gdLst/>
                <a:ahLst/>
                <a:cxnLst>
                  <a:cxn ang="0">
                    <a:pos x="234" y="27"/>
                  </a:cxn>
                  <a:cxn ang="0">
                    <a:pos x="213" y="43"/>
                  </a:cxn>
                  <a:cxn ang="0">
                    <a:pos x="188" y="62"/>
                  </a:cxn>
                  <a:cxn ang="0">
                    <a:pos x="184" y="90"/>
                  </a:cxn>
                  <a:cxn ang="0">
                    <a:pos x="191" y="113"/>
                  </a:cxn>
                  <a:cxn ang="0">
                    <a:pos x="179" y="110"/>
                  </a:cxn>
                  <a:cxn ang="0">
                    <a:pos x="153" y="106"/>
                  </a:cxn>
                  <a:cxn ang="0">
                    <a:pos x="116" y="114"/>
                  </a:cxn>
                  <a:cxn ang="0">
                    <a:pos x="83" y="127"/>
                  </a:cxn>
                  <a:cxn ang="0">
                    <a:pos x="59" y="118"/>
                  </a:cxn>
                  <a:cxn ang="0">
                    <a:pos x="49" y="132"/>
                  </a:cxn>
                  <a:cxn ang="0">
                    <a:pos x="34" y="129"/>
                  </a:cxn>
                  <a:cxn ang="0">
                    <a:pos x="19" y="119"/>
                  </a:cxn>
                  <a:cxn ang="0">
                    <a:pos x="0" y="123"/>
                  </a:cxn>
                  <a:cxn ang="0">
                    <a:pos x="16" y="137"/>
                  </a:cxn>
                  <a:cxn ang="0">
                    <a:pos x="17" y="155"/>
                  </a:cxn>
                  <a:cxn ang="0">
                    <a:pos x="17" y="167"/>
                  </a:cxn>
                  <a:cxn ang="0">
                    <a:pos x="36" y="172"/>
                  </a:cxn>
                  <a:cxn ang="0">
                    <a:pos x="51" y="173"/>
                  </a:cxn>
                  <a:cxn ang="0">
                    <a:pos x="68" y="177"/>
                  </a:cxn>
                  <a:cxn ang="0">
                    <a:pos x="104" y="165"/>
                  </a:cxn>
                  <a:cxn ang="0">
                    <a:pos x="132" y="161"/>
                  </a:cxn>
                  <a:cxn ang="0">
                    <a:pos x="143" y="156"/>
                  </a:cxn>
                  <a:cxn ang="0">
                    <a:pos x="146" y="164"/>
                  </a:cxn>
                  <a:cxn ang="0">
                    <a:pos x="152" y="178"/>
                  </a:cxn>
                  <a:cxn ang="0">
                    <a:pos x="168" y="187"/>
                  </a:cxn>
                  <a:cxn ang="0">
                    <a:pos x="208" y="198"/>
                  </a:cxn>
                  <a:cxn ang="0">
                    <a:pos x="231" y="203"/>
                  </a:cxn>
                  <a:cxn ang="0">
                    <a:pos x="275" y="205"/>
                  </a:cxn>
                  <a:cxn ang="0">
                    <a:pos x="292" y="189"/>
                  </a:cxn>
                  <a:cxn ang="0">
                    <a:pos x="325" y="191"/>
                  </a:cxn>
                  <a:cxn ang="0">
                    <a:pos x="334" y="182"/>
                  </a:cxn>
                  <a:cxn ang="0">
                    <a:pos x="353" y="176"/>
                  </a:cxn>
                  <a:cxn ang="0">
                    <a:pos x="372" y="161"/>
                  </a:cxn>
                  <a:cxn ang="0">
                    <a:pos x="382" y="148"/>
                  </a:cxn>
                  <a:cxn ang="0">
                    <a:pos x="390" y="119"/>
                  </a:cxn>
                  <a:cxn ang="0">
                    <a:pos x="388" y="103"/>
                  </a:cxn>
                  <a:cxn ang="0">
                    <a:pos x="420" y="95"/>
                  </a:cxn>
                  <a:cxn ang="0">
                    <a:pos x="412" y="62"/>
                  </a:cxn>
                  <a:cxn ang="0">
                    <a:pos x="406" y="26"/>
                  </a:cxn>
                  <a:cxn ang="0">
                    <a:pos x="362" y="19"/>
                  </a:cxn>
                  <a:cxn ang="0">
                    <a:pos x="340" y="1"/>
                  </a:cxn>
                  <a:cxn ang="0">
                    <a:pos x="301" y="10"/>
                  </a:cxn>
                  <a:cxn ang="0">
                    <a:pos x="287" y="27"/>
                  </a:cxn>
                  <a:cxn ang="0">
                    <a:pos x="267" y="32"/>
                  </a:cxn>
                  <a:cxn ang="0">
                    <a:pos x="249" y="25"/>
                  </a:cxn>
                </a:cxnLst>
                <a:rect l="0" t="0" r="r" b="b"/>
                <a:pathLst>
                  <a:path w="420" h="205">
                    <a:moveTo>
                      <a:pt x="235" y="20"/>
                    </a:moveTo>
                    <a:lnTo>
                      <a:pt x="234" y="27"/>
                    </a:lnTo>
                    <a:lnTo>
                      <a:pt x="217" y="35"/>
                    </a:lnTo>
                    <a:lnTo>
                      <a:pt x="213" y="43"/>
                    </a:lnTo>
                    <a:lnTo>
                      <a:pt x="210" y="53"/>
                    </a:lnTo>
                    <a:lnTo>
                      <a:pt x="188" y="62"/>
                    </a:lnTo>
                    <a:lnTo>
                      <a:pt x="183" y="74"/>
                    </a:lnTo>
                    <a:lnTo>
                      <a:pt x="184" y="90"/>
                    </a:lnTo>
                    <a:lnTo>
                      <a:pt x="191" y="106"/>
                    </a:lnTo>
                    <a:lnTo>
                      <a:pt x="191" y="113"/>
                    </a:lnTo>
                    <a:lnTo>
                      <a:pt x="184" y="117"/>
                    </a:lnTo>
                    <a:lnTo>
                      <a:pt x="179" y="110"/>
                    </a:lnTo>
                    <a:lnTo>
                      <a:pt x="164" y="110"/>
                    </a:lnTo>
                    <a:lnTo>
                      <a:pt x="153" y="106"/>
                    </a:lnTo>
                    <a:lnTo>
                      <a:pt x="149" y="111"/>
                    </a:lnTo>
                    <a:lnTo>
                      <a:pt x="116" y="114"/>
                    </a:lnTo>
                    <a:lnTo>
                      <a:pt x="97" y="127"/>
                    </a:lnTo>
                    <a:lnTo>
                      <a:pt x="83" y="127"/>
                    </a:lnTo>
                    <a:lnTo>
                      <a:pt x="70" y="119"/>
                    </a:lnTo>
                    <a:lnTo>
                      <a:pt x="59" y="118"/>
                    </a:lnTo>
                    <a:lnTo>
                      <a:pt x="51" y="124"/>
                    </a:lnTo>
                    <a:lnTo>
                      <a:pt x="49" y="132"/>
                    </a:lnTo>
                    <a:lnTo>
                      <a:pt x="44" y="134"/>
                    </a:lnTo>
                    <a:lnTo>
                      <a:pt x="34" y="129"/>
                    </a:lnTo>
                    <a:lnTo>
                      <a:pt x="28" y="121"/>
                    </a:lnTo>
                    <a:lnTo>
                      <a:pt x="19" y="119"/>
                    </a:lnTo>
                    <a:lnTo>
                      <a:pt x="11" y="119"/>
                    </a:lnTo>
                    <a:lnTo>
                      <a:pt x="0" y="123"/>
                    </a:lnTo>
                    <a:lnTo>
                      <a:pt x="7" y="132"/>
                    </a:lnTo>
                    <a:lnTo>
                      <a:pt x="16" y="137"/>
                    </a:lnTo>
                    <a:lnTo>
                      <a:pt x="17" y="144"/>
                    </a:lnTo>
                    <a:lnTo>
                      <a:pt x="17" y="155"/>
                    </a:lnTo>
                    <a:lnTo>
                      <a:pt x="11" y="162"/>
                    </a:lnTo>
                    <a:lnTo>
                      <a:pt x="17" y="167"/>
                    </a:lnTo>
                    <a:lnTo>
                      <a:pt x="27" y="171"/>
                    </a:lnTo>
                    <a:lnTo>
                      <a:pt x="36" y="172"/>
                    </a:lnTo>
                    <a:lnTo>
                      <a:pt x="44" y="168"/>
                    </a:lnTo>
                    <a:lnTo>
                      <a:pt x="51" y="173"/>
                    </a:lnTo>
                    <a:lnTo>
                      <a:pt x="65" y="178"/>
                    </a:lnTo>
                    <a:lnTo>
                      <a:pt x="68" y="177"/>
                    </a:lnTo>
                    <a:lnTo>
                      <a:pt x="84" y="172"/>
                    </a:lnTo>
                    <a:lnTo>
                      <a:pt x="104" y="165"/>
                    </a:lnTo>
                    <a:lnTo>
                      <a:pt x="122" y="164"/>
                    </a:lnTo>
                    <a:lnTo>
                      <a:pt x="132" y="161"/>
                    </a:lnTo>
                    <a:lnTo>
                      <a:pt x="137" y="157"/>
                    </a:lnTo>
                    <a:lnTo>
                      <a:pt x="143" y="156"/>
                    </a:lnTo>
                    <a:lnTo>
                      <a:pt x="146" y="159"/>
                    </a:lnTo>
                    <a:lnTo>
                      <a:pt x="146" y="164"/>
                    </a:lnTo>
                    <a:lnTo>
                      <a:pt x="148" y="171"/>
                    </a:lnTo>
                    <a:lnTo>
                      <a:pt x="152" y="178"/>
                    </a:lnTo>
                    <a:lnTo>
                      <a:pt x="163" y="187"/>
                    </a:lnTo>
                    <a:lnTo>
                      <a:pt x="168" y="187"/>
                    </a:lnTo>
                    <a:lnTo>
                      <a:pt x="178" y="193"/>
                    </a:lnTo>
                    <a:lnTo>
                      <a:pt x="208" y="198"/>
                    </a:lnTo>
                    <a:lnTo>
                      <a:pt x="222" y="203"/>
                    </a:lnTo>
                    <a:lnTo>
                      <a:pt x="231" y="203"/>
                    </a:lnTo>
                    <a:lnTo>
                      <a:pt x="247" y="203"/>
                    </a:lnTo>
                    <a:lnTo>
                      <a:pt x="275" y="205"/>
                    </a:lnTo>
                    <a:lnTo>
                      <a:pt x="283" y="200"/>
                    </a:lnTo>
                    <a:lnTo>
                      <a:pt x="292" y="189"/>
                    </a:lnTo>
                    <a:lnTo>
                      <a:pt x="305" y="187"/>
                    </a:lnTo>
                    <a:lnTo>
                      <a:pt x="325" y="191"/>
                    </a:lnTo>
                    <a:lnTo>
                      <a:pt x="330" y="182"/>
                    </a:lnTo>
                    <a:lnTo>
                      <a:pt x="334" y="182"/>
                    </a:lnTo>
                    <a:lnTo>
                      <a:pt x="351" y="184"/>
                    </a:lnTo>
                    <a:lnTo>
                      <a:pt x="353" y="176"/>
                    </a:lnTo>
                    <a:lnTo>
                      <a:pt x="362" y="172"/>
                    </a:lnTo>
                    <a:lnTo>
                      <a:pt x="372" y="161"/>
                    </a:lnTo>
                    <a:lnTo>
                      <a:pt x="383" y="159"/>
                    </a:lnTo>
                    <a:lnTo>
                      <a:pt x="382" y="148"/>
                    </a:lnTo>
                    <a:lnTo>
                      <a:pt x="382" y="138"/>
                    </a:lnTo>
                    <a:lnTo>
                      <a:pt x="390" y="119"/>
                    </a:lnTo>
                    <a:lnTo>
                      <a:pt x="384" y="111"/>
                    </a:lnTo>
                    <a:lnTo>
                      <a:pt x="388" y="103"/>
                    </a:lnTo>
                    <a:lnTo>
                      <a:pt x="415" y="103"/>
                    </a:lnTo>
                    <a:lnTo>
                      <a:pt x="420" y="95"/>
                    </a:lnTo>
                    <a:lnTo>
                      <a:pt x="420" y="75"/>
                    </a:lnTo>
                    <a:lnTo>
                      <a:pt x="412" y="62"/>
                    </a:lnTo>
                    <a:lnTo>
                      <a:pt x="406" y="40"/>
                    </a:lnTo>
                    <a:lnTo>
                      <a:pt x="406" y="26"/>
                    </a:lnTo>
                    <a:lnTo>
                      <a:pt x="398" y="15"/>
                    </a:lnTo>
                    <a:lnTo>
                      <a:pt x="362" y="19"/>
                    </a:lnTo>
                    <a:lnTo>
                      <a:pt x="348" y="6"/>
                    </a:lnTo>
                    <a:lnTo>
                      <a:pt x="340" y="1"/>
                    </a:lnTo>
                    <a:lnTo>
                      <a:pt x="307" y="0"/>
                    </a:lnTo>
                    <a:lnTo>
                      <a:pt x="301" y="10"/>
                    </a:lnTo>
                    <a:lnTo>
                      <a:pt x="297" y="19"/>
                    </a:lnTo>
                    <a:lnTo>
                      <a:pt x="287" y="27"/>
                    </a:lnTo>
                    <a:lnTo>
                      <a:pt x="278" y="31"/>
                    </a:lnTo>
                    <a:lnTo>
                      <a:pt x="267" y="32"/>
                    </a:lnTo>
                    <a:lnTo>
                      <a:pt x="256" y="31"/>
                    </a:lnTo>
                    <a:lnTo>
                      <a:pt x="249" y="25"/>
                    </a:lnTo>
                    <a:lnTo>
                      <a:pt x="235" y="2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72" name="Freeform 176"/>
              <p:cNvSpPr>
                <a:spLocks noChangeAspect="1"/>
              </p:cNvSpPr>
              <p:nvPr/>
            </p:nvSpPr>
            <p:spPr bwMode="gray">
              <a:xfrm>
                <a:off x="4783931" y="2875310"/>
                <a:ext cx="7938" cy="4763"/>
              </a:xfrm>
              <a:custGeom>
                <a:avLst/>
                <a:gdLst/>
                <a:ahLst/>
                <a:cxnLst>
                  <a:cxn ang="0">
                    <a:pos x="18" y="7"/>
                  </a:cxn>
                  <a:cxn ang="0">
                    <a:pos x="21" y="11"/>
                  </a:cxn>
                  <a:cxn ang="0">
                    <a:pos x="16" y="13"/>
                  </a:cxn>
                  <a:cxn ang="0">
                    <a:pos x="10" y="12"/>
                  </a:cxn>
                  <a:cxn ang="0">
                    <a:pos x="6" y="7"/>
                  </a:cxn>
                  <a:cxn ang="0">
                    <a:pos x="0" y="0"/>
                  </a:cxn>
                  <a:cxn ang="0">
                    <a:pos x="13" y="1"/>
                  </a:cxn>
                  <a:cxn ang="0">
                    <a:pos x="18" y="7"/>
                  </a:cxn>
                </a:cxnLst>
                <a:rect l="0" t="0" r="r" b="b"/>
                <a:pathLst>
                  <a:path w="21" h="13">
                    <a:moveTo>
                      <a:pt x="18" y="7"/>
                    </a:moveTo>
                    <a:lnTo>
                      <a:pt x="21" y="11"/>
                    </a:lnTo>
                    <a:lnTo>
                      <a:pt x="16" y="13"/>
                    </a:lnTo>
                    <a:lnTo>
                      <a:pt x="10" y="12"/>
                    </a:lnTo>
                    <a:lnTo>
                      <a:pt x="6" y="7"/>
                    </a:lnTo>
                    <a:lnTo>
                      <a:pt x="0" y="0"/>
                    </a:lnTo>
                    <a:lnTo>
                      <a:pt x="13" y="1"/>
                    </a:lnTo>
                    <a:lnTo>
                      <a:pt x="18" y="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73" name="Freeform 177"/>
              <p:cNvSpPr>
                <a:spLocks noChangeAspect="1"/>
              </p:cNvSpPr>
              <p:nvPr/>
            </p:nvSpPr>
            <p:spPr bwMode="gray">
              <a:xfrm>
                <a:off x="4925219" y="2757835"/>
                <a:ext cx="4763" cy="9525"/>
              </a:xfrm>
              <a:custGeom>
                <a:avLst/>
                <a:gdLst/>
                <a:ahLst/>
                <a:cxnLst>
                  <a:cxn ang="0">
                    <a:pos x="8" y="30"/>
                  </a:cxn>
                  <a:cxn ang="0">
                    <a:pos x="14" y="23"/>
                  </a:cxn>
                  <a:cxn ang="0">
                    <a:pos x="14" y="12"/>
                  </a:cxn>
                  <a:cxn ang="0">
                    <a:pos x="13" y="5"/>
                  </a:cxn>
                  <a:cxn ang="0">
                    <a:pos x="4" y="0"/>
                  </a:cxn>
                  <a:cxn ang="0">
                    <a:pos x="2" y="8"/>
                  </a:cxn>
                  <a:cxn ang="0">
                    <a:pos x="0" y="18"/>
                  </a:cxn>
                  <a:cxn ang="0">
                    <a:pos x="8" y="30"/>
                  </a:cxn>
                </a:cxnLst>
                <a:rect l="0" t="0" r="r" b="b"/>
                <a:pathLst>
                  <a:path w="14" h="30">
                    <a:moveTo>
                      <a:pt x="8" y="30"/>
                    </a:moveTo>
                    <a:lnTo>
                      <a:pt x="14" y="23"/>
                    </a:lnTo>
                    <a:lnTo>
                      <a:pt x="14" y="12"/>
                    </a:lnTo>
                    <a:lnTo>
                      <a:pt x="13" y="5"/>
                    </a:lnTo>
                    <a:lnTo>
                      <a:pt x="4" y="0"/>
                    </a:lnTo>
                    <a:lnTo>
                      <a:pt x="2" y="8"/>
                    </a:lnTo>
                    <a:lnTo>
                      <a:pt x="0" y="18"/>
                    </a:lnTo>
                    <a:lnTo>
                      <a:pt x="8" y="3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grpSp>
            <p:nvGrpSpPr>
              <p:cNvPr id="174" name="Group 178"/>
              <p:cNvGrpSpPr>
                <a:grpSpLocks noChangeAspect="1"/>
              </p:cNvGrpSpPr>
              <p:nvPr/>
            </p:nvGrpSpPr>
            <p:grpSpPr>
              <a:xfrm>
                <a:off x="4876006" y="2765772"/>
                <a:ext cx="204788" cy="242888"/>
                <a:chOff x="2589" y="1903"/>
                <a:chExt cx="129" cy="153"/>
              </a:xfrm>
              <a:grpFill/>
            </p:grpSpPr>
            <p:sp>
              <p:nvSpPr>
                <p:cNvPr id="217" name="Freeform 179"/>
                <p:cNvSpPr>
                  <a:spLocks noChangeAspect="1"/>
                </p:cNvSpPr>
                <p:nvPr/>
              </p:nvSpPr>
              <p:spPr bwMode="gray">
                <a:xfrm>
                  <a:off x="2653" y="2034"/>
                  <a:ext cx="34" cy="22"/>
                </a:xfrm>
                <a:custGeom>
                  <a:avLst/>
                  <a:gdLst/>
                  <a:ahLst/>
                  <a:cxnLst>
                    <a:cxn ang="0">
                      <a:pos x="172" y="0"/>
                    </a:cxn>
                    <a:cxn ang="0">
                      <a:pos x="168" y="1"/>
                    </a:cxn>
                    <a:cxn ang="0">
                      <a:pos x="168" y="2"/>
                    </a:cxn>
                    <a:cxn ang="0">
                      <a:pos x="167" y="12"/>
                    </a:cxn>
                    <a:cxn ang="0">
                      <a:pos x="153" y="34"/>
                    </a:cxn>
                    <a:cxn ang="0">
                      <a:pos x="143" y="60"/>
                    </a:cxn>
                    <a:cxn ang="0">
                      <a:pos x="142" y="66"/>
                    </a:cxn>
                    <a:cxn ang="0">
                      <a:pos x="146" y="70"/>
                    </a:cxn>
                    <a:cxn ang="0">
                      <a:pos x="147" y="75"/>
                    </a:cxn>
                    <a:cxn ang="0">
                      <a:pos x="152" y="87"/>
                    </a:cxn>
                    <a:cxn ang="0">
                      <a:pos x="146" y="103"/>
                    </a:cxn>
                    <a:cxn ang="0">
                      <a:pos x="145" y="110"/>
                    </a:cxn>
                    <a:cxn ang="0">
                      <a:pos x="130" y="110"/>
                    </a:cxn>
                    <a:cxn ang="0">
                      <a:pos x="118" y="108"/>
                    </a:cxn>
                    <a:cxn ang="0">
                      <a:pos x="108" y="98"/>
                    </a:cxn>
                    <a:cxn ang="0">
                      <a:pos x="99" y="88"/>
                    </a:cxn>
                    <a:cxn ang="0">
                      <a:pos x="84" y="83"/>
                    </a:cxn>
                    <a:cxn ang="0">
                      <a:pos x="76" y="82"/>
                    </a:cxn>
                    <a:cxn ang="0">
                      <a:pos x="67" y="79"/>
                    </a:cxn>
                    <a:cxn ang="0">
                      <a:pos x="61" y="71"/>
                    </a:cxn>
                    <a:cxn ang="0">
                      <a:pos x="49" y="66"/>
                    </a:cxn>
                    <a:cxn ang="0">
                      <a:pos x="37" y="56"/>
                    </a:cxn>
                    <a:cxn ang="0">
                      <a:pos x="25" y="51"/>
                    </a:cxn>
                    <a:cxn ang="0">
                      <a:pos x="8" y="48"/>
                    </a:cxn>
                    <a:cxn ang="0">
                      <a:pos x="2" y="40"/>
                    </a:cxn>
                    <a:cxn ang="0">
                      <a:pos x="0" y="26"/>
                    </a:cxn>
                    <a:cxn ang="0">
                      <a:pos x="1" y="18"/>
                    </a:cxn>
                    <a:cxn ang="0">
                      <a:pos x="3" y="15"/>
                    </a:cxn>
                    <a:cxn ang="0">
                      <a:pos x="6" y="10"/>
                    </a:cxn>
                    <a:cxn ang="0">
                      <a:pos x="9" y="8"/>
                    </a:cxn>
                    <a:cxn ang="0">
                      <a:pos x="19" y="15"/>
                    </a:cxn>
                    <a:cxn ang="0">
                      <a:pos x="25" y="15"/>
                    </a:cxn>
                    <a:cxn ang="0">
                      <a:pos x="41" y="5"/>
                    </a:cxn>
                    <a:cxn ang="0">
                      <a:pos x="62" y="15"/>
                    </a:cxn>
                    <a:cxn ang="0">
                      <a:pos x="66" y="22"/>
                    </a:cxn>
                    <a:cxn ang="0">
                      <a:pos x="73" y="22"/>
                    </a:cxn>
                    <a:cxn ang="0">
                      <a:pos x="80" y="20"/>
                    </a:cxn>
                    <a:cxn ang="0">
                      <a:pos x="110" y="16"/>
                    </a:cxn>
                    <a:cxn ang="0">
                      <a:pos x="119" y="13"/>
                    </a:cxn>
                    <a:cxn ang="0">
                      <a:pos x="127" y="8"/>
                    </a:cxn>
                    <a:cxn ang="0">
                      <a:pos x="146" y="8"/>
                    </a:cxn>
                    <a:cxn ang="0">
                      <a:pos x="152" y="4"/>
                    </a:cxn>
                    <a:cxn ang="0">
                      <a:pos x="163" y="2"/>
                    </a:cxn>
                    <a:cxn ang="0">
                      <a:pos x="172" y="0"/>
                    </a:cxn>
                  </a:cxnLst>
                  <a:rect l="0" t="0" r="r" b="b"/>
                  <a:pathLst>
                    <a:path w="172" h="110">
                      <a:moveTo>
                        <a:pt x="172" y="0"/>
                      </a:moveTo>
                      <a:lnTo>
                        <a:pt x="168" y="1"/>
                      </a:lnTo>
                      <a:lnTo>
                        <a:pt x="168" y="2"/>
                      </a:lnTo>
                      <a:lnTo>
                        <a:pt x="167" y="12"/>
                      </a:lnTo>
                      <a:lnTo>
                        <a:pt x="153" y="34"/>
                      </a:lnTo>
                      <a:lnTo>
                        <a:pt x="143" y="60"/>
                      </a:lnTo>
                      <a:lnTo>
                        <a:pt x="142" y="66"/>
                      </a:lnTo>
                      <a:lnTo>
                        <a:pt x="146" y="70"/>
                      </a:lnTo>
                      <a:lnTo>
                        <a:pt x="147" y="75"/>
                      </a:lnTo>
                      <a:lnTo>
                        <a:pt x="152" y="87"/>
                      </a:lnTo>
                      <a:lnTo>
                        <a:pt x="146" y="103"/>
                      </a:lnTo>
                      <a:lnTo>
                        <a:pt x="145" y="110"/>
                      </a:lnTo>
                      <a:lnTo>
                        <a:pt x="130" y="110"/>
                      </a:lnTo>
                      <a:lnTo>
                        <a:pt x="118" y="108"/>
                      </a:lnTo>
                      <a:lnTo>
                        <a:pt x="108" y="98"/>
                      </a:lnTo>
                      <a:lnTo>
                        <a:pt x="99" y="88"/>
                      </a:lnTo>
                      <a:lnTo>
                        <a:pt x="84" y="83"/>
                      </a:lnTo>
                      <a:lnTo>
                        <a:pt x="76" y="82"/>
                      </a:lnTo>
                      <a:lnTo>
                        <a:pt x="67" y="79"/>
                      </a:lnTo>
                      <a:lnTo>
                        <a:pt x="61" y="71"/>
                      </a:lnTo>
                      <a:lnTo>
                        <a:pt x="49" y="66"/>
                      </a:lnTo>
                      <a:lnTo>
                        <a:pt x="37" y="56"/>
                      </a:lnTo>
                      <a:lnTo>
                        <a:pt x="25" y="51"/>
                      </a:lnTo>
                      <a:lnTo>
                        <a:pt x="8" y="48"/>
                      </a:lnTo>
                      <a:lnTo>
                        <a:pt x="2" y="40"/>
                      </a:lnTo>
                      <a:lnTo>
                        <a:pt x="0" y="26"/>
                      </a:lnTo>
                      <a:lnTo>
                        <a:pt x="1" y="18"/>
                      </a:lnTo>
                      <a:lnTo>
                        <a:pt x="3" y="15"/>
                      </a:lnTo>
                      <a:lnTo>
                        <a:pt x="6" y="10"/>
                      </a:lnTo>
                      <a:lnTo>
                        <a:pt x="9" y="8"/>
                      </a:lnTo>
                      <a:lnTo>
                        <a:pt x="19" y="15"/>
                      </a:lnTo>
                      <a:lnTo>
                        <a:pt x="25" y="15"/>
                      </a:lnTo>
                      <a:lnTo>
                        <a:pt x="41" y="5"/>
                      </a:lnTo>
                      <a:lnTo>
                        <a:pt x="62" y="15"/>
                      </a:lnTo>
                      <a:lnTo>
                        <a:pt x="66" y="22"/>
                      </a:lnTo>
                      <a:lnTo>
                        <a:pt x="73" y="22"/>
                      </a:lnTo>
                      <a:lnTo>
                        <a:pt x="80" y="20"/>
                      </a:lnTo>
                      <a:lnTo>
                        <a:pt x="110" y="16"/>
                      </a:lnTo>
                      <a:lnTo>
                        <a:pt x="119" y="13"/>
                      </a:lnTo>
                      <a:lnTo>
                        <a:pt x="127" y="8"/>
                      </a:lnTo>
                      <a:lnTo>
                        <a:pt x="146" y="8"/>
                      </a:lnTo>
                      <a:lnTo>
                        <a:pt x="152" y="4"/>
                      </a:lnTo>
                      <a:lnTo>
                        <a:pt x="163" y="2"/>
                      </a:lnTo>
                      <a:lnTo>
                        <a:pt x="172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218" name="Freeform 180"/>
                <p:cNvSpPr>
                  <a:spLocks noChangeAspect="1"/>
                </p:cNvSpPr>
                <p:nvPr/>
              </p:nvSpPr>
              <p:spPr bwMode="gray">
                <a:xfrm>
                  <a:off x="2606" y="1991"/>
                  <a:ext cx="16" cy="35"/>
                </a:xfrm>
                <a:custGeom>
                  <a:avLst/>
                  <a:gdLst/>
                  <a:ahLst/>
                  <a:cxnLst>
                    <a:cxn ang="0">
                      <a:pos x="50" y="0"/>
                    </a:cxn>
                    <a:cxn ang="0">
                      <a:pos x="63" y="5"/>
                    </a:cxn>
                    <a:cxn ang="0">
                      <a:pos x="64" y="8"/>
                    </a:cxn>
                    <a:cxn ang="0">
                      <a:pos x="70" y="12"/>
                    </a:cxn>
                    <a:cxn ang="0">
                      <a:pos x="75" y="24"/>
                    </a:cxn>
                    <a:cxn ang="0">
                      <a:pos x="81" y="43"/>
                    </a:cxn>
                    <a:cxn ang="0">
                      <a:pos x="82" y="63"/>
                    </a:cxn>
                    <a:cxn ang="0">
                      <a:pos x="80" y="79"/>
                    </a:cxn>
                    <a:cxn ang="0">
                      <a:pos x="81" y="111"/>
                    </a:cxn>
                    <a:cxn ang="0">
                      <a:pos x="80" y="138"/>
                    </a:cxn>
                    <a:cxn ang="0">
                      <a:pos x="76" y="144"/>
                    </a:cxn>
                    <a:cxn ang="0">
                      <a:pos x="76" y="149"/>
                    </a:cxn>
                    <a:cxn ang="0">
                      <a:pos x="70" y="154"/>
                    </a:cxn>
                    <a:cxn ang="0">
                      <a:pos x="57" y="150"/>
                    </a:cxn>
                    <a:cxn ang="0">
                      <a:pos x="52" y="155"/>
                    </a:cxn>
                    <a:cxn ang="0">
                      <a:pos x="47" y="165"/>
                    </a:cxn>
                    <a:cxn ang="0">
                      <a:pos x="41" y="171"/>
                    </a:cxn>
                    <a:cxn ang="0">
                      <a:pos x="31" y="173"/>
                    </a:cxn>
                    <a:cxn ang="0">
                      <a:pos x="26" y="168"/>
                    </a:cxn>
                    <a:cxn ang="0">
                      <a:pos x="15" y="152"/>
                    </a:cxn>
                    <a:cxn ang="0">
                      <a:pos x="14" y="144"/>
                    </a:cxn>
                    <a:cxn ang="0">
                      <a:pos x="14" y="139"/>
                    </a:cxn>
                    <a:cxn ang="0">
                      <a:pos x="11" y="130"/>
                    </a:cxn>
                    <a:cxn ang="0">
                      <a:pos x="14" y="109"/>
                    </a:cxn>
                    <a:cxn ang="0">
                      <a:pos x="17" y="106"/>
                    </a:cxn>
                    <a:cxn ang="0">
                      <a:pos x="18" y="101"/>
                    </a:cxn>
                    <a:cxn ang="0">
                      <a:pos x="16" y="97"/>
                    </a:cxn>
                    <a:cxn ang="0">
                      <a:pos x="14" y="89"/>
                    </a:cxn>
                    <a:cxn ang="0">
                      <a:pos x="15" y="80"/>
                    </a:cxn>
                    <a:cxn ang="0">
                      <a:pos x="15" y="70"/>
                    </a:cxn>
                    <a:cxn ang="0">
                      <a:pos x="12" y="63"/>
                    </a:cxn>
                    <a:cxn ang="0">
                      <a:pos x="10" y="54"/>
                    </a:cxn>
                    <a:cxn ang="0">
                      <a:pos x="7" y="53"/>
                    </a:cxn>
                    <a:cxn ang="0">
                      <a:pos x="4" y="53"/>
                    </a:cxn>
                    <a:cxn ang="0">
                      <a:pos x="0" y="47"/>
                    </a:cxn>
                    <a:cxn ang="0">
                      <a:pos x="0" y="26"/>
                    </a:cxn>
                    <a:cxn ang="0">
                      <a:pos x="1" y="25"/>
                    </a:cxn>
                    <a:cxn ang="0">
                      <a:pos x="10" y="33"/>
                    </a:cxn>
                    <a:cxn ang="0">
                      <a:pos x="20" y="32"/>
                    </a:cxn>
                    <a:cxn ang="0">
                      <a:pos x="39" y="12"/>
                    </a:cxn>
                    <a:cxn ang="0">
                      <a:pos x="45" y="1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82" h="173">
                      <a:moveTo>
                        <a:pt x="50" y="0"/>
                      </a:moveTo>
                      <a:lnTo>
                        <a:pt x="63" y="5"/>
                      </a:lnTo>
                      <a:lnTo>
                        <a:pt x="64" y="8"/>
                      </a:lnTo>
                      <a:lnTo>
                        <a:pt x="70" y="12"/>
                      </a:lnTo>
                      <a:lnTo>
                        <a:pt x="75" y="24"/>
                      </a:lnTo>
                      <a:lnTo>
                        <a:pt x="81" y="43"/>
                      </a:lnTo>
                      <a:lnTo>
                        <a:pt x="82" y="63"/>
                      </a:lnTo>
                      <a:lnTo>
                        <a:pt x="80" y="79"/>
                      </a:lnTo>
                      <a:lnTo>
                        <a:pt x="81" y="111"/>
                      </a:lnTo>
                      <a:lnTo>
                        <a:pt x="80" y="138"/>
                      </a:lnTo>
                      <a:lnTo>
                        <a:pt x="76" y="144"/>
                      </a:lnTo>
                      <a:lnTo>
                        <a:pt x="76" y="149"/>
                      </a:lnTo>
                      <a:lnTo>
                        <a:pt x="70" y="154"/>
                      </a:lnTo>
                      <a:lnTo>
                        <a:pt x="57" y="150"/>
                      </a:lnTo>
                      <a:lnTo>
                        <a:pt x="52" y="155"/>
                      </a:lnTo>
                      <a:lnTo>
                        <a:pt x="47" y="165"/>
                      </a:lnTo>
                      <a:lnTo>
                        <a:pt x="41" y="171"/>
                      </a:lnTo>
                      <a:lnTo>
                        <a:pt x="31" y="173"/>
                      </a:lnTo>
                      <a:lnTo>
                        <a:pt x="26" y="168"/>
                      </a:lnTo>
                      <a:lnTo>
                        <a:pt x="15" y="152"/>
                      </a:lnTo>
                      <a:lnTo>
                        <a:pt x="14" y="144"/>
                      </a:lnTo>
                      <a:lnTo>
                        <a:pt x="14" y="139"/>
                      </a:lnTo>
                      <a:lnTo>
                        <a:pt x="11" y="130"/>
                      </a:lnTo>
                      <a:lnTo>
                        <a:pt x="14" y="109"/>
                      </a:lnTo>
                      <a:lnTo>
                        <a:pt x="17" y="106"/>
                      </a:lnTo>
                      <a:lnTo>
                        <a:pt x="18" y="101"/>
                      </a:lnTo>
                      <a:lnTo>
                        <a:pt x="16" y="97"/>
                      </a:lnTo>
                      <a:lnTo>
                        <a:pt x="14" y="89"/>
                      </a:lnTo>
                      <a:lnTo>
                        <a:pt x="15" y="80"/>
                      </a:lnTo>
                      <a:lnTo>
                        <a:pt x="15" y="70"/>
                      </a:lnTo>
                      <a:lnTo>
                        <a:pt x="12" y="63"/>
                      </a:lnTo>
                      <a:lnTo>
                        <a:pt x="10" y="54"/>
                      </a:lnTo>
                      <a:lnTo>
                        <a:pt x="7" y="53"/>
                      </a:lnTo>
                      <a:lnTo>
                        <a:pt x="4" y="53"/>
                      </a:lnTo>
                      <a:lnTo>
                        <a:pt x="0" y="47"/>
                      </a:lnTo>
                      <a:lnTo>
                        <a:pt x="0" y="26"/>
                      </a:lnTo>
                      <a:lnTo>
                        <a:pt x="1" y="25"/>
                      </a:lnTo>
                      <a:lnTo>
                        <a:pt x="10" y="33"/>
                      </a:lnTo>
                      <a:lnTo>
                        <a:pt x="20" y="32"/>
                      </a:lnTo>
                      <a:lnTo>
                        <a:pt x="39" y="12"/>
                      </a:lnTo>
                      <a:lnTo>
                        <a:pt x="45" y="10"/>
                      </a:lnTo>
                      <a:lnTo>
                        <a:pt x="50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219" name="Freeform 181"/>
                <p:cNvSpPr>
                  <a:spLocks noChangeAspect="1"/>
                </p:cNvSpPr>
                <p:nvPr/>
              </p:nvSpPr>
              <p:spPr bwMode="gray">
                <a:xfrm>
                  <a:off x="2589" y="1903"/>
                  <a:ext cx="129" cy="136"/>
                </a:xfrm>
                <a:custGeom>
                  <a:avLst/>
                  <a:gdLst/>
                  <a:ahLst/>
                  <a:cxnLst>
                    <a:cxn ang="0">
                      <a:pos x="195" y="38"/>
                    </a:cxn>
                    <a:cxn ang="0">
                      <a:pos x="186" y="59"/>
                    </a:cxn>
                    <a:cxn ang="0">
                      <a:pos x="147" y="53"/>
                    </a:cxn>
                    <a:cxn ang="0">
                      <a:pos x="125" y="89"/>
                    </a:cxn>
                    <a:cxn ang="0">
                      <a:pos x="98" y="73"/>
                    </a:cxn>
                    <a:cxn ang="0">
                      <a:pos x="75" y="76"/>
                    </a:cxn>
                    <a:cxn ang="0">
                      <a:pos x="23" y="96"/>
                    </a:cxn>
                    <a:cxn ang="0">
                      <a:pos x="5" y="107"/>
                    </a:cxn>
                    <a:cxn ang="0">
                      <a:pos x="2" y="156"/>
                    </a:cxn>
                    <a:cxn ang="0">
                      <a:pos x="11" y="177"/>
                    </a:cxn>
                    <a:cxn ang="0">
                      <a:pos x="13" y="216"/>
                    </a:cxn>
                    <a:cxn ang="0">
                      <a:pos x="48" y="245"/>
                    </a:cxn>
                    <a:cxn ang="0">
                      <a:pos x="64" y="254"/>
                    </a:cxn>
                    <a:cxn ang="0">
                      <a:pos x="94" y="224"/>
                    </a:cxn>
                    <a:cxn ang="0">
                      <a:pos x="132" y="213"/>
                    </a:cxn>
                    <a:cxn ang="0">
                      <a:pos x="195" y="259"/>
                    </a:cxn>
                    <a:cxn ang="0">
                      <a:pos x="231" y="333"/>
                    </a:cxn>
                    <a:cxn ang="0">
                      <a:pos x="259" y="358"/>
                    </a:cxn>
                    <a:cxn ang="0">
                      <a:pos x="309" y="410"/>
                    </a:cxn>
                    <a:cxn ang="0">
                      <a:pos x="379" y="444"/>
                    </a:cxn>
                    <a:cxn ang="0">
                      <a:pos x="421" y="479"/>
                    </a:cxn>
                    <a:cxn ang="0">
                      <a:pos x="444" y="488"/>
                    </a:cxn>
                    <a:cxn ang="0">
                      <a:pos x="455" y="520"/>
                    </a:cxn>
                    <a:cxn ang="0">
                      <a:pos x="483" y="527"/>
                    </a:cxn>
                    <a:cxn ang="0">
                      <a:pos x="498" y="559"/>
                    </a:cxn>
                    <a:cxn ang="0">
                      <a:pos x="507" y="624"/>
                    </a:cxn>
                    <a:cxn ang="0">
                      <a:pos x="492" y="661"/>
                    </a:cxn>
                    <a:cxn ang="0">
                      <a:pos x="496" y="681"/>
                    </a:cxn>
                    <a:cxn ang="0">
                      <a:pos x="522" y="661"/>
                    </a:cxn>
                    <a:cxn ang="0">
                      <a:pos x="540" y="643"/>
                    </a:cxn>
                    <a:cxn ang="0">
                      <a:pos x="562" y="607"/>
                    </a:cxn>
                    <a:cxn ang="0">
                      <a:pos x="568" y="585"/>
                    </a:cxn>
                    <a:cxn ang="0">
                      <a:pos x="549" y="558"/>
                    </a:cxn>
                    <a:cxn ang="0">
                      <a:pos x="551" y="511"/>
                    </a:cxn>
                    <a:cxn ang="0">
                      <a:pos x="604" y="512"/>
                    </a:cxn>
                    <a:cxn ang="0">
                      <a:pos x="637" y="546"/>
                    </a:cxn>
                    <a:cxn ang="0">
                      <a:pos x="636" y="511"/>
                    </a:cxn>
                    <a:cxn ang="0">
                      <a:pos x="572" y="460"/>
                    </a:cxn>
                    <a:cxn ang="0">
                      <a:pos x="510" y="430"/>
                    </a:cxn>
                    <a:cxn ang="0">
                      <a:pos x="508" y="414"/>
                    </a:cxn>
                    <a:cxn ang="0">
                      <a:pos x="500" y="392"/>
                    </a:cxn>
                    <a:cxn ang="0">
                      <a:pos x="465" y="394"/>
                    </a:cxn>
                    <a:cxn ang="0">
                      <a:pos x="437" y="382"/>
                    </a:cxn>
                    <a:cxn ang="0">
                      <a:pos x="405" y="345"/>
                    </a:cxn>
                    <a:cxn ang="0">
                      <a:pos x="382" y="285"/>
                    </a:cxn>
                    <a:cxn ang="0">
                      <a:pos x="362" y="263"/>
                    </a:cxn>
                    <a:cxn ang="0">
                      <a:pos x="314" y="230"/>
                    </a:cxn>
                    <a:cxn ang="0">
                      <a:pos x="308" y="177"/>
                    </a:cxn>
                    <a:cxn ang="0">
                      <a:pos x="304" y="156"/>
                    </a:cxn>
                    <a:cxn ang="0">
                      <a:pos x="318" y="126"/>
                    </a:cxn>
                    <a:cxn ang="0">
                      <a:pos x="366" y="111"/>
                    </a:cxn>
                    <a:cxn ang="0">
                      <a:pos x="379" y="121"/>
                    </a:cxn>
                    <a:cxn ang="0">
                      <a:pos x="393" y="119"/>
                    </a:cxn>
                    <a:cxn ang="0">
                      <a:pos x="385" y="105"/>
                    </a:cxn>
                    <a:cxn ang="0">
                      <a:pos x="371" y="84"/>
                    </a:cxn>
                    <a:cxn ang="0">
                      <a:pos x="367" y="69"/>
                    </a:cxn>
                    <a:cxn ang="0">
                      <a:pos x="372" y="47"/>
                    </a:cxn>
                    <a:cxn ang="0">
                      <a:pos x="313" y="31"/>
                    </a:cxn>
                    <a:cxn ang="0">
                      <a:pos x="296" y="3"/>
                    </a:cxn>
                    <a:cxn ang="0">
                      <a:pos x="272" y="8"/>
                    </a:cxn>
                    <a:cxn ang="0">
                      <a:pos x="215" y="22"/>
                    </a:cxn>
                  </a:cxnLst>
                  <a:rect l="0" t="0" r="r" b="b"/>
                  <a:pathLst>
                    <a:path w="645" h="681">
                      <a:moveTo>
                        <a:pt x="201" y="17"/>
                      </a:moveTo>
                      <a:lnTo>
                        <a:pt x="199" y="28"/>
                      </a:lnTo>
                      <a:lnTo>
                        <a:pt x="199" y="36"/>
                      </a:lnTo>
                      <a:lnTo>
                        <a:pt x="195" y="38"/>
                      </a:lnTo>
                      <a:lnTo>
                        <a:pt x="184" y="40"/>
                      </a:lnTo>
                      <a:lnTo>
                        <a:pt x="183" y="46"/>
                      </a:lnTo>
                      <a:lnTo>
                        <a:pt x="184" y="53"/>
                      </a:lnTo>
                      <a:lnTo>
                        <a:pt x="186" y="59"/>
                      </a:lnTo>
                      <a:lnTo>
                        <a:pt x="185" y="63"/>
                      </a:lnTo>
                      <a:lnTo>
                        <a:pt x="164" y="59"/>
                      </a:lnTo>
                      <a:lnTo>
                        <a:pt x="153" y="58"/>
                      </a:lnTo>
                      <a:lnTo>
                        <a:pt x="147" y="53"/>
                      </a:lnTo>
                      <a:lnTo>
                        <a:pt x="140" y="49"/>
                      </a:lnTo>
                      <a:lnTo>
                        <a:pt x="137" y="60"/>
                      </a:lnTo>
                      <a:lnTo>
                        <a:pt x="126" y="79"/>
                      </a:lnTo>
                      <a:lnTo>
                        <a:pt x="125" y="89"/>
                      </a:lnTo>
                      <a:lnTo>
                        <a:pt x="123" y="94"/>
                      </a:lnTo>
                      <a:lnTo>
                        <a:pt x="115" y="89"/>
                      </a:lnTo>
                      <a:lnTo>
                        <a:pt x="109" y="81"/>
                      </a:lnTo>
                      <a:lnTo>
                        <a:pt x="98" y="73"/>
                      </a:lnTo>
                      <a:lnTo>
                        <a:pt x="92" y="53"/>
                      </a:lnTo>
                      <a:lnTo>
                        <a:pt x="81" y="59"/>
                      </a:lnTo>
                      <a:lnTo>
                        <a:pt x="75" y="68"/>
                      </a:lnTo>
                      <a:lnTo>
                        <a:pt x="75" y="76"/>
                      </a:lnTo>
                      <a:lnTo>
                        <a:pt x="71" y="81"/>
                      </a:lnTo>
                      <a:lnTo>
                        <a:pt x="60" y="90"/>
                      </a:lnTo>
                      <a:lnTo>
                        <a:pt x="48" y="90"/>
                      </a:lnTo>
                      <a:lnTo>
                        <a:pt x="23" y="96"/>
                      </a:lnTo>
                      <a:lnTo>
                        <a:pt x="14" y="96"/>
                      </a:lnTo>
                      <a:lnTo>
                        <a:pt x="5" y="97"/>
                      </a:lnTo>
                      <a:lnTo>
                        <a:pt x="3" y="102"/>
                      </a:lnTo>
                      <a:lnTo>
                        <a:pt x="5" y="107"/>
                      </a:lnTo>
                      <a:lnTo>
                        <a:pt x="16" y="133"/>
                      </a:lnTo>
                      <a:lnTo>
                        <a:pt x="18" y="143"/>
                      </a:lnTo>
                      <a:lnTo>
                        <a:pt x="7" y="150"/>
                      </a:lnTo>
                      <a:lnTo>
                        <a:pt x="2" y="156"/>
                      </a:lnTo>
                      <a:lnTo>
                        <a:pt x="0" y="165"/>
                      </a:lnTo>
                      <a:lnTo>
                        <a:pt x="1" y="170"/>
                      </a:lnTo>
                      <a:lnTo>
                        <a:pt x="2" y="175"/>
                      </a:lnTo>
                      <a:lnTo>
                        <a:pt x="11" y="177"/>
                      </a:lnTo>
                      <a:lnTo>
                        <a:pt x="12" y="186"/>
                      </a:lnTo>
                      <a:lnTo>
                        <a:pt x="10" y="194"/>
                      </a:lnTo>
                      <a:lnTo>
                        <a:pt x="11" y="205"/>
                      </a:lnTo>
                      <a:lnTo>
                        <a:pt x="13" y="216"/>
                      </a:lnTo>
                      <a:lnTo>
                        <a:pt x="19" y="225"/>
                      </a:lnTo>
                      <a:lnTo>
                        <a:pt x="44" y="227"/>
                      </a:lnTo>
                      <a:lnTo>
                        <a:pt x="48" y="236"/>
                      </a:lnTo>
                      <a:lnTo>
                        <a:pt x="48" y="245"/>
                      </a:lnTo>
                      <a:lnTo>
                        <a:pt x="45" y="251"/>
                      </a:lnTo>
                      <a:lnTo>
                        <a:pt x="46" y="254"/>
                      </a:lnTo>
                      <a:lnTo>
                        <a:pt x="54" y="254"/>
                      </a:lnTo>
                      <a:lnTo>
                        <a:pt x="64" y="254"/>
                      </a:lnTo>
                      <a:lnTo>
                        <a:pt x="80" y="247"/>
                      </a:lnTo>
                      <a:lnTo>
                        <a:pt x="81" y="240"/>
                      </a:lnTo>
                      <a:lnTo>
                        <a:pt x="89" y="226"/>
                      </a:lnTo>
                      <a:lnTo>
                        <a:pt x="94" y="224"/>
                      </a:lnTo>
                      <a:lnTo>
                        <a:pt x="97" y="218"/>
                      </a:lnTo>
                      <a:lnTo>
                        <a:pt x="114" y="210"/>
                      </a:lnTo>
                      <a:lnTo>
                        <a:pt x="123" y="210"/>
                      </a:lnTo>
                      <a:lnTo>
                        <a:pt x="132" y="213"/>
                      </a:lnTo>
                      <a:lnTo>
                        <a:pt x="173" y="236"/>
                      </a:lnTo>
                      <a:lnTo>
                        <a:pt x="190" y="243"/>
                      </a:lnTo>
                      <a:lnTo>
                        <a:pt x="193" y="248"/>
                      </a:lnTo>
                      <a:lnTo>
                        <a:pt x="195" y="259"/>
                      </a:lnTo>
                      <a:lnTo>
                        <a:pt x="207" y="294"/>
                      </a:lnTo>
                      <a:lnTo>
                        <a:pt x="211" y="306"/>
                      </a:lnTo>
                      <a:lnTo>
                        <a:pt x="210" y="313"/>
                      </a:lnTo>
                      <a:lnTo>
                        <a:pt x="231" y="333"/>
                      </a:lnTo>
                      <a:lnTo>
                        <a:pt x="241" y="345"/>
                      </a:lnTo>
                      <a:lnTo>
                        <a:pt x="244" y="361"/>
                      </a:lnTo>
                      <a:lnTo>
                        <a:pt x="252" y="358"/>
                      </a:lnTo>
                      <a:lnTo>
                        <a:pt x="259" y="358"/>
                      </a:lnTo>
                      <a:lnTo>
                        <a:pt x="269" y="365"/>
                      </a:lnTo>
                      <a:lnTo>
                        <a:pt x="282" y="386"/>
                      </a:lnTo>
                      <a:lnTo>
                        <a:pt x="292" y="387"/>
                      </a:lnTo>
                      <a:lnTo>
                        <a:pt x="309" y="410"/>
                      </a:lnTo>
                      <a:lnTo>
                        <a:pt x="323" y="424"/>
                      </a:lnTo>
                      <a:lnTo>
                        <a:pt x="347" y="444"/>
                      </a:lnTo>
                      <a:lnTo>
                        <a:pt x="352" y="442"/>
                      </a:lnTo>
                      <a:lnTo>
                        <a:pt x="379" y="444"/>
                      </a:lnTo>
                      <a:lnTo>
                        <a:pt x="385" y="445"/>
                      </a:lnTo>
                      <a:lnTo>
                        <a:pt x="400" y="462"/>
                      </a:lnTo>
                      <a:lnTo>
                        <a:pt x="404" y="472"/>
                      </a:lnTo>
                      <a:lnTo>
                        <a:pt x="421" y="479"/>
                      </a:lnTo>
                      <a:lnTo>
                        <a:pt x="422" y="482"/>
                      </a:lnTo>
                      <a:lnTo>
                        <a:pt x="421" y="490"/>
                      </a:lnTo>
                      <a:lnTo>
                        <a:pt x="440" y="487"/>
                      </a:lnTo>
                      <a:lnTo>
                        <a:pt x="444" y="488"/>
                      </a:lnTo>
                      <a:lnTo>
                        <a:pt x="449" y="494"/>
                      </a:lnTo>
                      <a:lnTo>
                        <a:pt x="453" y="505"/>
                      </a:lnTo>
                      <a:lnTo>
                        <a:pt x="451" y="512"/>
                      </a:lnTo>
                      <a:lnTo>
                        <a:pt x="455" y="520"/>
                      </a:lnTo>
                      <a:lnTo>
                        <a:pt x="467" y="525"/>
                      </a:lnTo>
                      <a:lnTo>
                        <a:pt x="473" y="530"/>
                      </a:lnTo>
                      <a:lnTo>
                        <a:pt x="478" y="537"/>
                      </a:lnTo>
                      <a:lnTo>
                        <a:pt x="483" y="527"/>
                      </a:lnTo>
                      <a:lnTo>
                        <a:pt x="487" y="527"/>
                      </a:lnTo>
                      <a:lnTo>
                        <a:pt x="495" y="539"/>
                      </a:lnTo>
                      <a:lnTo>
                        <a:pt x="495" y="546"/>
                      </a:lnTo>
                      <a:lnTo>
                        <a:pt x="498" y="559"/>
                      </a:lnTo>
                      <a:lnTo>
                        <a:pt x="510" y="578"/>
                      </a:lnTo>
                      <a:lnTo>
                        <a:pt x="513" y="596"/>
                      </a:lnTo>
                      <a:lnTo>
                        <a:pt x="522" y="617"/>
                      </a:lnTo>
                      <a:lnTo>
                        <a:pt x="507" y="624"/>
                      </a:lnTo>
                      <a:lnTo>
                        <a:pt x="500" y="629"/>
                      </a:lnTo>
                      <a:lnTo>
                        <a:pt x="503" y="640"/>
                      </a:lnTo>
                      <a:lnTo>
                        <a:pt x="496" y="651"/>
                      </a:lnTo>
                      <a:lnTo>
                        <a:pt x="492" y="661"/>
                      </a:lnTo>
                      <a:lnTo>
                        <a:pt x="494" y="673"/>
                      </a:lnTo>
                      <a:lnTo>
                        <a:pt x="496" y="681"/>
                      </a:lnTo>
                      <a:lnTo>
                        <a:pt x="496" y="678"/>
                      </a:lnTo>
                      <a:lnTo>
                        <a:pt x="496" y="681"/>
                      </a:lnTo>
                      <a:lnTo>
                        <a:pt x="503" y="681"/>
                      </a:lnTo>
                      <a:lnTo>
                        <a:pt x="511" y="681"/>
                      </a:lnTo>
                      <a:lnTo>
                        <a:pt x="514" y="678"/>
                      </a:lnTo>
                      <a:lnTo>
                        <a:pt x="522" y="661"/>
                      </a:lnTo>
                      <a:lnTo>
                        <a:pt x="525" y="656"/>
                      </a:lnTo>
                      <a:lnTo>
                        <a:pt x="532" y="651"/>
                      </a:lnTo>
                      <a:lnTo>
                        <a:pt x="538" y="649"/>
                      </a:lnTo>
                      <a:lnTo>
                        <a:pt x="540" y="643"/>
                      </a:lnTo>
                      <a:lnTo>
                        <a:pt x="541" y="621"/>
                      </a:lnTo>
                      <a:lnTo>
                        <a:pt x="544" y="616"/>
                      </a:lnTo>
                      <a:lnTo>
                        <a:pt x="553" y="613"/>
                      </a:lnTo>
                      <a:lnTo>
                        <a:pt x="562" y="607"/>
                      </a:lnTo>
                      <a:lnTo>
                        <a:pt x="567" y="607"/>
                      </a:lnTo>
                      <a:lnTo>
                        <a:pt x="570" y="603"/>
                      </a:lnTo>
                      <a:lnTo>
                        <a:pt x="570" y="590"/>
                      </a:lnTo>
                      <a:lnTo>
                        <a:pt x="568" y="585"/>
                      </a:lnTo>
                      <a:lnTo>
                        <a:pt x="567" y="575"/>
                      </a:lnTo>
                      <a:lnTo>
                        <a:pt x="564" y="570"/>
                      </a:lnTo>
                      <a:lnTo>
                        <a:pt x="554" y="564"/>
                      </a:lnTo>
                      <a:lnTo>
                        <a:pt x="549" y="558"/>
                      </a:lnTo>
                      <a:lnTo>
                        <a:pt x="538" y="553"/>
                      </a:lnTo>
                      <a:lnTo>
                        <a:pt x="538" y="543"/>
                      </a:lnTo>
                      <a:lnTo>
                        <a:pt x="543" y="523"/>
                      </a:lnTo>
                      <a:lnTo>
                        <a:pt x="551" y="511"/>
                      </a:lnTo>
                      <a:lnTo>
                        <a:pt x="564" y="499"/>
                      </a:lnTo>
                      <a:lnTo>
                        <a:pt x="575" y="496"/>
                      </a:lnTo>
                      <a:lnTo>
                        <a:pt x="591" y="509"/>
                      </a:lnTo>
                      <a:lnTo>
                        <a:pt x="604" y="512"/>
                      </a:lnTo>
                      <a:lnTo>
                        <a:pt x="615" y="519"/>
                      </a:lnTo>
                      <a:lnTo>
                        <a:pt x="619" y="527"/>
                      </a:lnTo>
                      <a:lnTo>
                        <a:pt x="626" y="539"/>
                      </a:lnTo>
                      <a:lnTo>
                        <a:pt x="637" y="546"/>
                      </a:lnTo>
                      <a:lnTo>
                        <a:pt x="637" y="543"/>
                      </a:lnTo>
                      <a:lnTo>
                        <a:pt x="645" y="527"/>
                      </a:lnTo>
                      <a:lnTo>
                        <a:pt x="642" y="520"/>
                      </a:lnTo>
                      <a:lnTo>
                        <a:pt x="636" y="511"/>
                      </a:lnTo>
                      <a:lnTo>
                        <a:pt x="626" y="500"/>
                      </a:lnTo>
                      <a:lnTo>
                        <a:pt x="615" y="482"/>
                      </a:lnTo>
                      <a:lnTo>
                        <a:pt x="580" y="468"/>
                      </a:lnTo>
                      <a:lnTo>
                        <a:pt x="572" y="460"/>
                      </a:lnTo>
                      <a:lnTo>
                        <a:pt x="560" y="452"/>
                      </a:lnTo>
                      <a:lnTo>
                        <a:pt x="524" y="437"/>
                      </a:lnTo>
                      <a:lnTo>
                        <a:pt x="516" y="433"/>
                      </a:lnTo>
                      <a:lnTo>
                        <a:pt x="510" y="430"/>
                      </a:lnTo>
                      <a:lnTo>
                        <a:pt x="506" y="430"/>
                      </a:lnTo>
                      <a:lnTo>
                        <a:pt x="502" y="426"/>
                      </a:lnTo>
                      <a:lnTo>
                        <a:pt x="502" y="420"/>
                      </a:lnTo>
                      <a:lnTo>
                        <a:pt x="508" y="414"/>
                      </a:lnTo>
                      <a:lnTo>
                        <a:pt x="516" y="409"/>
                      </a:lnTo>
                      <a:lnTo>
                        <a:pt x="517" y="401"/>
                      </a:lnTo>
                      <a:lnTo>
                        <a:pt x="511" y="392"/>
                      </a:lnTo>
                      <a:lnTo>
                        <a:pt x="500" y="392"/>
                      </a:lnTo>
                      <a:lnTo>
                        <a:pt x="496" y="394"/>
                      </a:lnTo>
                      <a:lnTo>
                        <a:pt x="503" y="392"/>
                      </a:lnTo>
                      <a:lnTo>
                        <a:pt x="496" y="394"/>
                      </a:lnTo>
                      <a:lnTo>
                        <a:pt x="465" y="394"/>
                      </a:lnTo>
                      <a:lnTo>
                        <a:pt x="465" y="403"/>
                      </a:lnTo>
                      <a:lnTo>
                        <a:pt x="453" y="390"/>
                      </a:lnTo>
                      <a:lnTo>
                        <a:pt x="442" y="382"/>
                      </a:lnTo>
                      <a:lnTo>
                        <a:pt x="437" y="382"/>
                      </a:lnTo>
                      <a:lnTo>
                        <a:pt x="435" y="374"/>
                      </a:lnTo>
                      <a:lnTo>
                        <a:pt x="431" y="374"/>
                      </a:lnTo>
                      <a:lnTo>
                        <a:pt x="410" y="354"/>
                      </a:lnTo>
                      <a:lnTo>
                        <a:pt x="405" y="345"/>
                      </a:lnTo>
                      <a:lnTo>
                        <a:pt x="398" y="332"/>
                      </a:lnTo>
                      <a:lnTo>
                        <a:pt x="392" y="313"/>
                      </a:lnTo>
                      <a:lnTo>
                        <a:pt x="388" y="309"/>
                      </a:lnTo>
                      <a:lnTo>
                        <a:pt x="382" y="285"/>
                      </a:lnTo>
                      <a:lnTo>
                        <a:pt x="374" y="270"/>
                      </a:lnTo>
                      <a:lnTo>
                        <a:pt x="369" y="267"/>
                      </a:lnTo>
                      <a:lnTo>
                        <a:pt x="363" y="267"/>
                      </a:lnTo>
                      <a:lnTo>
                        <a:pt x="362" y="263"/>
                      </a:lnTo>
                      <a:lnTo>
                        <a:pt x="347" y="254"/>
                      </a:lnTo>
                      <a:lnTo>
                        <a:pt x="341" y="247"/>
                      </a:lnTo>
                      <a:lnTo>
                        <a:pt x="320" y="237"/>
                      </a:lnTo>
                      <a:lnTo>
                        <a:pt x="314" y="230"/>
                      </a:lnTo>
                      <a:lnTo>
                        <a:pt x="309" y="220"/>
                      </a:lnTo>
                      <a:lnTo>
                        <a:pt x="306" y="211"/>
                      </a:lnTo>
                      <a:lnTo>
                        <a:pt x="306" y="193"/>
                      </a:lnTo>
                      <a:lnTo>
                        <a:pt x="308" y="177"/>
                      </a:lnTo>
                      <a:lnTo>
                        <a:pt x="313" y="172"/>
                      </a:lnTo>
                      <a:lnTo>
                        <a:pt x="314" y="165"/>
                      </a:lnTo>
                      <a:lnTo>
                        <a:pt x="312" y="159"/>
                      </a:lnTo>
                      <a:lnTo>
                        <a:pt x="304" y="156"/>
                      </a:lnTo>
                      <a:lnTo>
                        <a:pt x="302" y="141"/>
                      </a:lnTo>
                      <a:lnTo>
                        <a:pt x="304" y="134"/>
                      </a:lnTo>
                      <a:lnTo>
                        <a:pt x="314" y="126"/>
                      </a:lnTo>
                      <a:lnTo>
                        <a:pt x="318" y="126"/>
                      </a:lnTo>
                      <a:lnTo>
                        <a:pt x="319" y="127"/>
                      </a:lnTo>
                      <a:lnTo>
                        <a:pt x="324" y="126"/>
                      </a:lnTo>
                      <a:lnTo>
                        <a:pt x="357" y="108"/>
                      </a:lnTo>
                      <a:lnTo>
                        <a:pt x="366" y="111"/>
                      </a:lnTo>
                      <a:lnTo>
                        <a:pt x="376" y="106"/>
                      </a:lnTo>
                      <a:lnTo>
                        <a:pt x="382" y="107"/>
                      </a:lnTo>
                      <a:lnTo>
                        <a:pt x="383" y="113"/>
                      </a:lnTo>
                      <a:lnTo>
                        <a:pt x="379" y="121"/>
                      </a:lnTo>
                      <a:lnTo>
                        <a:pt x="379" y="122"/>
                      </a:lnTo>
                      <a:lnTo>
                        <a:pt x="384" y="123"/>
                      </a:lnTo>
                      <a:lnTo>
                        <a:pt x="389" y="122"/>
                      </a:lnTo>
                      <a:lnTo>
                        <a:pt x="393" y="119"/>
                      </a:lnTo>
                      <a:lnTo>
                        <a:pt x="394" y="114"/>
                      </a:lnTo>
                      <a:lnTo>
                        <a:pt x="392" y="111"/>
                      </a:lnTo>
                      <a:lnTo>
                        <a:pt x="388" y="110"/>
                      </a:lnTo>
                      <a:lnTo>
                        <a:pt x="385" y="105"/>
                      </a:lnTo>
                      <a:lnTo>
                        <a:pt x="378" y="101"/>
                      </a:lnTo>
                      <a:lnTo>
                        <a:pt x="376" y="98"/>
                      </a:lnTo>
                      <a:lnTo>
                        <a:pt x="376" y="90"/>
                      </a:lnTo>
                      <a:lnTo>
                        <a:pt x="371" y="84"/>
                      </a:lnTo>
                      <a:lnTo>
                        <a:pt x="372" y="76"/>
                      </a:lnTo>
                      <a:lnTo>
                        <a:pt x="374" y="69"/>
                      </a:lnTo>
                      <a:lnTo>
                        <a:pt x="369" y="70"/>
                      </a:lnTo>
                      <a:lnTo>
                        <a:pt x="367" y="69"/>
                      </a:lnTo>
                      <a:lnTo>
                        <a:pt x="367" y="64"/>
                      </a:lnTo>
                      <a:lnTo>
                        <a:pt x="369" y="57"/>
                      </a:lnTo>
                      <a:lnTo>
                        <a:pt x="381" y="47"/>
                      </a:lnTo>
                      <a:lnTo>
                        <a:pt x="372" y="47"/>
                      </a:lnTo>
                      <a:lnTo>
                        <a:pt x="358" y="42"/>
                      </a:lnTo>
                      <a:lnTo>
                        <a:pt x="328" y="37"/>
                      </a:lnTo>
                      <a:lnTo>
                        <a:pt x="318" y="31"/>
                      </a:lnTo>
                      <a:lnTo>
                        <a:pt x="313" y="31"/>
                      </a:lnTo>
                      <a:lnTo>
                        <a:pt x="302" y="22"/>
                      </a:lnTo>
                      <a:lnTo>
                        <a:pt x="298" y="15"/>
                      </a:lnTo>
                      <a:lnTo>
                        <a:pt x="296" y="8"/>
                      </a:lnTo>
                      <a:lnTo>
                        <a:pt x="296" y="3"/>
                      </a:lnTo>
                      <a:lnTo>
                        <a:pt x="293" y="0"/>
                      </a:lnTo>
                      <a:lnTo>
                        <a:pt x="287" y="1"/>
                      </a:lnTo>
                      <a:lnTo>
                        <a:pt x="282" y="5"/>
                      </a:lnTo>
                      <a:lnTo>
                        <a:pt x="272" y="8"/>
                      </a:lnTo>
                      <a:lnTo>
                        <a:pt x="254" y="9"/>
                      </a:lnTo>
                      <a:lnTo>
                        <a:pt x="234" y="16"/>
                      </a:lnTo>
                      <a:lnTo>
                        <a:pt x="218" y="21"/>
                      </a:lnTo>
                      <a:lnTo>
                        <a:pt x="215" y="22"/>
                      </a:lnTo>
                      <a:lnTo>
                        <a:pt x="201" y="1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</p:grpSp>
          <p:sp>
            <p:nvSpPr>
              <p:cNvPr id="175" name="Freeform 174"/>
              <p:cNvSpPr>
                <a:spLocks noChangeAspect="1"/>
              </p:cNvSpPr>
              <p:nvPr/>
            </p:nvSpPr>
            <p:spPr bwMode="gray">
              <a:xfrm>
                <a:off x="4858544" y="2684810"/>
                <a:ext cx="11113" cy="17463"/>
              </a:xfrm>
              <a:custGeom>
                <a:avLst/>
                <a:gdLst/>
                <a:ahLst/>
                <a:cxnLst>
                  <a:cxn ang="0">
                    <a:pos x="21" y="53"/>
                  </a:cxn>
                  <a:cxn ang="0">
                    <a:pos x="33" y="52"/>
                  </a:cxn>
                  <a:cxn ang="0">
                    <a:pos x="38" y="45"/>
                  </a:cxn>
                  <a:cxn ang="0">
                    <a:pos x="37" y="33"/>
                  </a:cxn>
                  <a:cxn ang="0">
                    <a:pos x="33" y="26"/>
                  </a:cxn>
                  <a:cxn ang="0">
                    <a:pos x="28" y="18"/>
                  </a:cxn>
                  <a:cxn ang="0">
                    <a:pos x="28" y="11"/>
                  </a:cxn>
                  <a:cxn ang="0">
                    <a:pos x="30" y="4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6" y="7"/>
                  </a:cxn>
                  <a:cxn ang="0">
                    <a:pos x="0" y="20"/>
                  </a:cxn>
                  <a:cxn ang="0">
                    <a:pos x="3" y="33"/>
                  </a:cxn>
                  <a:cxn ang="0">
                    <a:pos x="3" y="48"/>
                  </a:cxn>
                  <a:cxn ang="0">
                    <a:pos x="21" y="53"/>
                  </a:cxn>
                </a:cxnLst>
                <a:rect l="0" t="0" r="r" b="b"/>
                <a:pathLst>
                  <a:path w="38" h="52">
                    <a:moveTo>
                      <a:pt x="21" y="53"/>
                    </a:moveTo>
                    <a:lnTo>
                      <a:pt x="33" y="52"/>
                    </a:lnTo>
                    <a:lnTo>
                      <a:pt x="38" y="45"/>
                    </a:lnTo>
                    <a:lnTo>
                      <a:pt x="37" y="33"/>
                    </a:lnTo>
                    <a:lnTo>
                      <a:pt x="33" y="26"/>
                    </a:lnTo>
                    <a:lnTo>
                      <a:pt x="28" y="18"/>
                    </a:lnTo>
                    <a:lnTo>
                      <a:pt x="28" y="11"/>
                    </a:lnTo>
                    <a:lnTo>
                      <a:pt x="30" y="4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6" y="7"/>
                    </a:lnTo>
                    <a:lnTo>
                      <a:pt x="0" y="20"/>
                    </a:lnTo>
                    <a:lnTo>
                      <a:pt x="3" y="33"/>
                    </a:lnTo>
                    <a:lnTo>
                      <a:pt x="3" y="48"/>
                    </a:lnTo>
                    <a:lnTo>
                      <a:pt x="21" y="5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76" name="Freeform 175"/>
              <p:cNvSpPr>
                <a:spLocks noChangeAspect="1"/>
              </p:cNvSpPr>
              <p:nvPr/>
            </p:nvSpPr>
            <p:spPr bwMode="gray">
              <a:xfrm>
                <a:off x="4863306" y="2751485"/>
                <a:ext cx="77788" cy="44450"/>
              </a:xfrm>
              <a:custGeom>
                <a:avLst/>
                <a:gdLst/>
                <a:ahLst/>
                <a:cxnLst>
                  <a:cxn ang="0">
                    <a:pos x="52" y="131"/>
                  </a:cxn>
                  <a:cxn ang="0">
                    <a:pos x="42" y="119"/>
                  </a:cxn>
                  <a:cxn ang="0">
                    <a:pos x="38" y="100"/>
                  </a:cxn>
                  <a:cxn ang="0">
                    <a:pos x="10" y="117"/>
                  </a:cxn>
                  <a:cxn ang="0">
                    <a:pos x="0" y="119"/>
                  </a:cxn>
                  <a:cxn ang="0">
                    <a:pos x="5" y="84"/>
                  </a:cxn>
                  <a:cxn ang="0">
                    <a:pos x="13" y="74"/>
                  </a:cxn>
                  <a:cxn ang="0">
                    <a:pos x="21" y="67"/>
                  </a:cxn>
                  <a:cxn ang="0">
                    <a:pos x="30" y="49"/>
                  </a:cxn>
                  <a:cxn ang="0">
                    <a:pos x="50" y="18"/>
                  </a:cxn>
                  <a:cxn ang="0">
                    <a:pos x="70" y="13"/>
                  </a:cxn>
                  <a:cxn ang="0">
                    <a:pos x="85" y="3"/>
                  </a:cxn>
                  <a:cxn ang="0">
                    <a:pos x="127" y="6"/>
                  </a:cxn>
                  <a:cxn ang="0">
                    <a:pos x="172" y="6"/>
                  </a:cxn>
                  <a:cxn ang="0">
                    <a:pos x="197" y="22"/>
                  </a:cxn>
                  <a:cxn ang="0">
                    <a:pos x="193" y="40"/>
                  </a:cxn>
                  <a:cxn ang="0">
                    <a:pos x="207" y="57"/>
                  </a:cxn>
                  <a:cxn ang="0">
                    <a:pos x="226" y="63"/>
                  </a:cxn>
                  <a:cxn ang="0">
                    <a:pos x="241" y="63"/>
                  </a:cxn>
                  <a:cxn ang="0">
                    <a:pos x="239" y="82"/>
                  </a:cxn>
                  <a:cxn ang="0">
                    <a:pos x="224" y="86"/>
                  </a:cxn>
                  <a:cxn ang="0">
                    <a:pos x="224" y="99"/>
                  </a:cxn>
                  <a:cxn ang="0">
                    <a:pos x="225" y="109"/>
                  </a:cxn>
                  <a:cxn ang="0">
                    <a:pos x="193" y="104"/>
                  </a:cxn>
                  <a:cxn ang="0">
                    <a:pos x="180" y="95"/>
                  </a:cxn>
                  <a:cxn ang="0">
                    <a:pos x="166" y="126"/>
                  </a:cxn>
                  <a:cxn ang="0">
                    <a:pos x="163" y="140"/>
                  </a:cxn>
                  <a:cxn ang="0">
                    <a:pos x="149" y="127"/>
                  </a:cxn>
                  <a:cxn ang="0">
                    <a:pos x="132" y="99"/>
                  </a:cxn>
                  <a:cxn ang="0">
                    <a:pos x="115" y="114"/>
                  </a:cxn>
                  <a:cxn ang="0">
                    <a:pos x="111" y="127"/>
                  </a:cxn>
                  <a:cxn ang="0">
                    <a:pos x="88" y="136"/>
                  </a:cxn>
                  <a:cxn ang="0">
                    <a:pos x="54" y="142"/>
                  </a:cxn>
                </a:cxnLst>
                <a:rect l="0" t="0" r="r" b="b"/>
                <a:pathLst>
                  <a:path w="241" h="142">
                    <a:moveTo>
                      <a:pt x="54" y="142"/>
                    </a:moveTo>
                    <a:lnTo>
                      <a:pt x="52" y="131"/>
                    </a:lnTo>
                    <a:lnTo>
                      <a:pt x="45" y="130"/>
                    </a:lnTo>
                    <a:lnTo>
                      <a:pt x="42" y="119"/>
                    </a:lnTo>
                    <a:lnTo>
                      <a:pt x="42" y="101"/>
                    </a:lnTo>
                    <a:lnTo>
                      <a:pt x="38" y="100"/>
                    </a:lnTo>
                    <a:lnTo>
                      <a:pt x="21" y="100"/>
                    </a:lnTo>
                    <a:lnTo>
                      <a:pt x="10" y="117"/>
                    </a:lnTo>
                    <a:lnTo>
                      <a:pt x="4" y="121"/>
                    </a:lnTo>
                    <a:lnTo>
                      <a:pt x="0" y="119"/>
                    </a:lnTo>
                    <a:lnTo>
                      <a:pt x="2" y="97"/>
                    </a:lnTo>
                    <a:lnTo>
                      <a:pt x="5" y="84"/>
                    </a:lnTo>
                    <a:lnTo>
                      <a:pt x="9" y="81"/>
                    </a:lnTo>
                    <a:lnTo>
                      <a:pt x="13" y="74"/>
                    </a:lnTo>
                    <a:lnTo>
                      <a:pt x="20" y="70"/>
                    </a:lnTo>
                    <a:lnTo>
                      <a:pt x="21" y="67"/>
                    </a:lnTo>
                    <a:lnTo>
                      <a:pt x="24" y="57"/>
                    </a:lnTo>
                    <a:lnTo>
                      <a:pt x="30" y="49"/>
                    </a:lnTo>
                    <a:lnTo>
                      <a:pt x="53" y="23"/>
                    </a:lnTo>
                    <a:lnTo>
                      <a:pt x="50" y="18"/>
                    </a:lnTo>
                    <a:lnTo>
                      <a:pt x="53" y="11"/>
                    </a:lnTo>
                    <a:lnTo>
                      <a:pt x="70" y="13"/>
                    </a:lnTo>
                    <a:lnTo>
                      <a:pt x="78" y="9"/>
                    </a:lnTo>
                    <a:lnTo>
                      <a:pt x="85" y="3"/>
                    </a:lnTo>
                    <a:lnTo>
                      <a:pt x="91" y="9"/>
                    </a:lnTo>
                    <a:lnTo>
                      <a:pt x="127" y="6"/>
                    </a:lnTo>
                    <a:lnTo>
                      <a:pt x="153" y="0"/>
                    </a:lnTo>
                    <a:lnTo>
                      <a:pt x="172" y="6"/>
                    </a:lnTo>
                    <a:lnTo>
                      <a:pt x="190" y="13"/>
                    </a:lnTo>
                    <a:lnTo>
                      <a:pt x="197" y="22"/>
                    </a:lnTo>
                    <a:lnTo>
                      <a:pt x="195" y="30"/>
                    </a:lnTo>
                    <a:lnTo>
                      <a:pt x="193" y="40"/>
                    </a:lnTo>
                    <a:lnTo>
                      <a:pt x="201" y="52"/>
                    </a:lnTo>
                    <a:lnTo>
                      <a:pt x="207" y="57"/>
                    </a:lnTo>
                    <a:lnTo>
                      <a:pt x="217" y="62"/>
                    </a:lnTo>
                    <a:lnTo>
                      <a:pt x="226" y="63"/>
                    </a:lnTo>
                    <a:lnTo>
                      <a:pt x="234" y="58"/>
                    </a:lnTo>
                    <a:lnTo>
                      <a:pt x="241" y="63"/>
                    </a:lnTo>
                    <a:lnTo>
                      <a:pt x="239" y="74"/>
                    </a:lnTo>
                    <a:lnTo>
                      <a:pt x="239" y="82"/>
                    </a:lnTo>
                    <a:lnTo>
                      <a:pt x="235" y="84"/>
                    </a:lnTo>
                    <a:lnTo>
                      <a:pt x="224" y="86"/>
                    </a:lnTo>
                    <a:lnTo>
                      <a:pt x="223" y="92"/>
                    </a:lnTo>
                    <a:lnTo>
                      <a:pt x="224" y="99"/>
                    </a:lnTo>
                    <a:lnTo>
                      <a:pt x="226" y="105"/>
                    </a:lnTo>
                    <a:lnTo>
                      <a:pt x="225" y="109"/>
                    </a:lnTo>
                    <a:lnTo>
                      <a:pt x="204" y="105"/>
                    </a:lnTo>
                    <a:lnTo>
                      <a:pt x="193" y="104"/>
                    </a:lnTo>
                    <a:lnTo>
                      <a:pt x="187" y="99"/>
                    </a:lnTo>
                    <a:lnTo>
                      <a:pt x="180" y="95"/>
                    </a:lnTo>
                    <a:lnTo>
                      <a:pt x="177" y="106"/>
                    </a:lnTo>
                    <a:lnTo>
                      <a:pt x="166" y="126"/>
                    </a:lnTo>
                    <a:lnTo>
                      <a:pt x="165" y="135"/>
                    </a:lnTo>
                    <a:lnTo>
                      <a:pt x="163" y="140"/>
                    </a:lnTo>
                    <a:lnTo>
                      <a:pt x="155" y="135"/>
                    </a:lnTo>
                    <a:lnTo>
                      <a:pt x="149" y="127"/>
                    </a:lnTo>
                    <a:lnTo>
                      <a:pt x="138" y="119"/>
                    </a:lnTo>
                    <a:lnTo>
                      <a:pt x="132" y="99"/>
                    </a:lnTo>
                    <a:lnTo>
                      <a:pt x="121" y="105"/>
                    </a:lnTo>
                    <a:lnTo>
                      <a:pt x="115" y="114"/>
                    </a:lnTo>
                    <a:lnTo>
                      <a:pt x="115" y="122"/>
                    </a:lnTo>
                    <a:lnTo>
                      <a:pt x="111" y="127"/>
                    </a:lnTo>
                    <a:lnTo>
                      <a:pt x="100" y="136"/>
                    </a:lnTo>
                    <a:lnTo>
                      <a:pt x="88" y="136"/>
                    </a:lnTo>
                    <a:lnTo>
                      <a:pt x="63" y="142"/>
                    </a:lnTo>
                    <a:lnTo>
                      <a:pt x="54" y="14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77" name="Freeform 176"/>
              <p:cNvSpPr>
                <a:spLocks noChangeAspect="1"/>
              </p:cNvSpPr>
              <p:nvPr/>
            </p:nvSpPr>
            <p:spPr bwMode="gray">
              <a:xfrm>
                <a:off x="4809331" y="2649885"/>
                <a:ext cx="58738" cy="50800"/>
              </a:xfrm>
              <a:custGeom>
                <a:avLst/>
                <a:gdLst/>
                <a:ahLst/>
                <a:cxnLst>
                  <a:cxn ang="0">
                    <a:pos x="158" y="160"/>
                  </a:cxn>
                  <a:cxn ang="0">
                    <a:pos x="150" y="161"/>
                  </a:cxn>
                  <a:cxn ang="0">
                    <a:pos x="140" y="159"/>
                  </a:cxn>
                  <a:cxn ang="0">
                    <a:pos x="131" y="152"/>
                  </a:cxn>
                  <a:cxn ang="0">
                    <a:pos x="120" y="146"/>
                  </a:cxn>
                  <a:cxn ang="0">
                    <a:pos x="123" y="140"/>
                  </a:cxn>
                  <a:cxn ang="0">
                    <a:pos x="118" y="138"/>
                  </a:cxn>
                  <a:cxn ang="0">
                    <a:pos x="118" y="114"/>
                  </a:cxn>
                  <a:cxn ang="0">
                    <a:pos x="112" y="114"/>
                  </a:cxn>
                  <a:cxn ang="0">
                    <a:pos x="106" y="122"/>
                  </a:cxn>
                  <a:cxn ang="0">
                    <a:pos x="101" y="129"/>
                  </a:cxn>
                  <a:cxn ang="0">
                    <a:pos x="91" y="129"/>
                  </a:cxn>
                  <a:cxn ang="0">
                    <a:pos x="81" y="125"/>
                  </a:cxn>
                  <a:cxn ang="0">
                    <a:pos x="79" y="110"/>
                  </a:cxn>
                  <a:cxn ang="0">
                    <a:pos x="76" y="101"/>
                  </a:cxn>
                  <a:cxn ang="0">
                    <a:pos x="70" y="96"/>
                  </a:cxn>
                  <a:cxn ang="0">
                    <a:pos x="58" y="92"/>
                  </a:cxn>
                  <a:cxn ang="0">
                    <a:pos x="44" y="84"/>
                  </a:cxn>
                  <a:cxn ang="0">
                    <a:pos x="34" y="80"/>
                  </a:cxn>
                  <a:cxn ang="0">
                    <a:pos x="25" y="62"/>
                  </a:cxn>
                  <a:cxn ang="0">
                    <a:pos x="13" y="63"/>
                  </a:cxn>
                  <a:cxn ang="0">
                    <a:pos x="2" y="58"/>
                  </a:cxn>
                  <a:cxn ang="0">
                    <a:pos x="0" y="48"/>
                  </a:cxn>
                  <a:cxn ang="0">
                    <a:pos x="0" y="32"/>
                  </a:cxn>
                  <a:cxn ang="0">
                    <a:pos x="0" y="28"/>
                  </a:cxn>
                  <a:cxn ang="0">
                    <a:pos x="23" y="15"/>
                  </a:cxn>
                  <a:cxn ang="0">
                    <a:pos x="33" y="11"/>
                  </a:cxn>
                  <a:cxn ang="0">
                    <a:pos x="39" y="10"/>
                  </a:cxn>
                  <a:cxn ang="0">
                    <a:pos x="39" y="11"/>
                  </a:cxn>
                  <a:cxn ang="0">
                    <a:pos x="56" y="20"/>
                  </a:cxn>
                  <a:cxn ang="0">
                    <a:pos x="76" y="14"/>
                  </a:cxn>
                  <a:cxn ang="0">
                    <a:pos x="91" y="4"/>
                  </a:cxn>
                  <a:cxn ang="0">
                    <a:pos x="103" y="1"/>
                  </a:cxn>
                  <a:cxn ang="0">
                    <a:pos x="118" y="0"/>
                  </a:cxn>
                  <a:cxn ang="0">
                    <a:pos x="124" y="6"/>
                  </a:cxn>
                  <a:cxn ang="0">
                    <a:pos x="127" y="6"/>
                  </a:cxn>
                  <a:cxn ang="0">
                    <a:pos x="129" y="14"/>
                  </a:cxn>
                  <a:cxn ang="0">
                    <a:pos x="138" y="17"/>
                  </a:cxn>
                  <a:cxn ang="0">
                    <a:pos x="146" y="19"/>
                  </a:cxn>
                  <a:cxn ang="0">
                    <a:pos x="155" y="24"/>
                  </a:cxn>
                  <a:cxn ang="0">
                    <a:pos x="155" y="35"/>
                  </a:cxn>
                  <a:cxn ang="0">
                    <a:pos x="154" y="44"/>
                  </a:cxn>
                  <a:cxn ang="0">
                    <a:pos x="156" y="55"/>
                  </a:cxn>
                  <a:cxn ang="0">
                    <a:pos x="163" y="62"/>
                  </a:cxn>
                  <a:cxn ang="0">
                    <a:pos x="176" y="62"/>
                  </a:cxn>
                  <a:cxn ang="0">
                    <a:pos x="181" y="68"/>
                  </a:cxn>
                  <a:cxn ang="0">
                    <a:pos x="182" y="79"/>
                  </a:cxn>
                  <a:cxn ang="0">
                    <a:pos x="188" y="87"/>
                  </a:cxn>
                  <a:cxn ang="0">
                    <a:pos x="188" y="96"/>
                  </a:cxn>
                  <a:cxn ang="0">
                    <a:pos x="177" y="112"/>
                  </a:cxn>
                  <a:cxn ang="0">
                    <a:pos x="171" y="112"/>
                  </a:cxn>
                  <a:cxn ang="0">
                    <a:pos x="161" y="119"/>
                  </a:cxn>
                  <a:cxn ang="0">
                    <a:pos x="155" y="132"/>
                  </a:cxn>
                  <a:cxn ang="0">
                    <a:pos x="158" y="145"/>
                  </a:cxn>
                  <a:cxn ang="0">
                    <a:pos x="158" y="160"/>
                  </a:cxn>
                </a:cxnLst>
                <a:rect l="0" t="0" r="r" b="b"/>
                <a:pathLst>
                  <a:path w="188" h="161">
                    <a:moveTo>
                      <a:pt x="158" y="160"/>
                    </a:moveTo>
                    <a:lnTo>
                      <a:pt x="150" y="161"/>
                    </a:lnTo>
                    <a:lnTo>
                      <a:pt x="140" y="159"/>
                    </a:lnTo>
                    <a:lnTo>
                      <a:pt x="131" y="152"/>
                    </a:lnTo>
                    <a:lnTo>
                      <a:pt x="120" y="146"/>
                    </a:lnTo>
                    <a:lnTo>
                      <a:pt x="123" y="140"/>
                    </a:lnTo>
                    <a:lnTo>
                      <a:pt x="118" y="138"/>
                    </a:lnTo>
                    <a:lnTo>
                      <a:pt x="118" y="114"/>
                    </a:lnTo>
                    <a:lnTo>
                      <a:pt x="112" y="114"/>
                    </a:lnTo>
                    <a:lnTo>
                      <a:pt x="106" y="122"/>
                    </a:lnTo>
                    <a:lnTo>
                      <a:pt x="101" y="129"/>
                    </a:lnTo>
                    <a:lnTo>
                      <a:pt x="91" y="129"/>
                    </a:lnTo>
                    <a:lnTo>
                      <a:pt x="81" y="125"/>
                    </a:lnTo>
                    <a:lnTo>
                      <a:pt x="79" y="110"/>
                    </a:lnTo>
                    <a:lnTo>
                      <a:pt x="76" y="101"/>
                    </a:lnTo>
                    <a:lnTo>
                      <a:pt x="70" y="96"/>
                    </a:lnTo>
                    <a:lnTo>
                      <a:pt x="58" y="92"/>
                    </a:lnTo>
                    <a:lnTo>
                      <a:pt x="44" y="84"/>
                    </a:lnTo>
                    <a:lnTo>
                      <a:pt x="34" y="80"/>
                    </a:lnTo>
                    <a:lnTo>
                      <a:pt x="25" y="62"/>
                    </a:lnTo>
                    <a:lnTo>
                      <a:pt x="13" y="63"/>
                    </a:lnTo>
                    <a:lnTo>
                      <a:pt x="2" y="58"/>
                    </a:lnTo>
                    <a:lnTo>
                      <a:pt x="0" y="48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23" y="15"/>
                    </a:lnTo>
                    <a:lnTo>
                      <a:pt x="33" y="11"/>
                    </a:lnTo>
                    <a:lnTo>
                      <a:pt x="39" y="10"/>
                    </a:lnTo>
                    <a:lnTo>
                      <a:pt x="39" y="11"/>
                    </a:lnTo>
                    <a:lnTo>
                      <a:pt x="56" y="20"/>
                    </a:lnTo>
                    <a:lnTo>
                      <a:pt x="76" y="14"/>
                    </a:lnTo>
                    <a:lnTo>
                      <a:pt x="91" y="4"/>
                    </a:lnTo>
                    <a:lnTo>
                      <a:pt x="103" y="1"/>
                    </a:lnTo>
                    <a:lnTo>
                      <a:pt x="118" y="0"/>
                    </a:lnTo>
                    <a:lnTo>
                      <a:pt x="124" y="6"/>
                    </a:lnTo>
                    <a:lnTo>
                      <a:pt x="127" y="6"/>
                    </a:lnTo>
                    <a:lnTo>
                      <a:pt x="129" y="14"/>
                    </a:lnTo>
                    <a:lnTo>
                      <a:pt x="138" y="17"/>
                    </a:lnTo>
                    <a:lnTo>
                      <a:pt x="146" y="19"/>
                    </a:lnTo>
                    <a:lnTo>
                      <a:pt x="155" y="24"/>
                    </a:lnTo>
                    <a:lnTo>
                      <a:pt x="155" y="35"/>
                    </a:lnTo>
                    <a:lnTo>
                      <a:pt x="154" y="44"/>
                    </a:lnTo>
                    <a:lnTo>
                      <a:pt x="156" y="55"/>
                    </a:lnTo>
                    <a:lnTo>
                      <a:pt x="163" y="62"/>
                    </a:lnTo>
                    <a:lnTo>
                      <a:pt x="176" y="62"/>
                    </a:lnTo>
                    <a:lnTo>
                      <a:pt x="181" y="68"/>
                    </a:lnTo>
                    <a:lnTo>
                      <a:pt x="182" y="79"/>
                    </a:lnTo>
                    <a:lnTo>
                      <a:pt x="188" y="87"/>
                    </a:lnTo>
                    <a:lnTo>
                      <a:pt x="188" y="96"/>
                    </a:lnTo>
                    <a:lnTo>
                      <a:pt x="177" y="112"/>
                    </a:lnTo>
                    <a:lnTo>
                      <a:pt x="171" y="112"/>
                    </a:lnTo>
                    <a:lnTo>
                      <a:pt x="161" y="119"/>
                    </a:lnTo>
                    <a:lnTo>
                      <a:pt x="155" y="132"/>
                    </a:lnTo>
                    <a:lnTo>
                      <a:pt x="158" y="145"/>
                    </a:lnTo>
                    <a:lnTo>
                      <a:pt x="158" y="16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78" name="Freeform 177"/>
              <p:cNvSpPr>
                <a:spLocks noChangeAspect="1"/>
              </p:cNvSpPr>
              <p:nvPr/>
            </p:nvSpPr>
            <p:spPr bwMode="gray">
              <a:xfrm>
                <a:off x="4601369" y="2848322"/>
                <a:ext cx="217488" cy="173038"/>
              </a:xfrm>
              <a:custGeom>
                <a:avLst/>
                <a:gdLst/>
                <a:ahLst/>
                <a:cxnLst>
                  <a:cxn ang="0">
                    <a:pos x="100" y="440"/>
                  </a:cxn>
                  <a:cxn ang="0">
                    <a:pos x="128" y="410"/>
                  </a:cxn>
                  <a:cxn ang="0">
                    <a:pos x="112" y="376"/>
                  </a:cxn>
                  <a:cxn ang="0">
                    <a:pos x="124" y="340"/>
                  </a:cxn>
                  <a:cxn ang="0">
                    <a:pos x="106" y="301"/>
                  </a:cxn>
                  <a:cxn ang="0">
                    <a:pos x="135" y="280"/>
                  </a:cxn>
                  <a:cxn ang="0">
                    <a:pos x="129" y="253"/>
                  </a:cxn>
                  <a:cxn ang="0">
                    <a:pos x="138" y="210"/>
                  </a:cxn>
                  <a:cxn ang="0">
                    <a:pos x="169" y="165"/>
                  </a:cxn>
                  <a:cxn ang="0">
                    <a:pos x="155" y="138"/>
                  </a:cxn>
                  <a:cxn ang="0">
                    <a:pos x="110" y="140"/>
                  </a:cxn>
                  <a:cxn ang="0">
                    <a:pos x="65" y="135"/>
                  </a:cxn>
                  <a:cxn ang="0">
                    <a:pos x="36" y="131"/>
                  </a:cxn>
                  <a:cxn ang="0">
                    <a:pos x="25" y="128"/>
                  </a:cxn>
                  <a:cxn ang="0">
                    <a:pos x="26" y="108"/>
                  </a:cxn>
                  <a:cxn ang="0">
                    <a:pos x="27" y="82"/>
                  </a:cxn>
                  <a:cxn ang="0">
                    <a:pos x="16" y="70"/>
                  </a:cxn>
                  <a:cxn ang="0">
                    <a:pos x="17" y="34"/>
                  </a:cxn>
                  <a:cxn ang="0">
                    <a:pos x="56" y="22"/>
                  </a:cxn>
                  <a:cxn ang="0">
                    <a:pos x="84" y="0"/>
                  </a:cxn>
                  <a:cxn ang="0">
                    <a:pos x="129" y="14"/>
                  </a:cxn>
                  <a:cxn ang="0">
                    <a:pos x="192" y="9"/>
                  </a:cxn>
                  <a:cxn ang="0">
                    <a:pos x="256" y="22"/>
                  </a:cxn>
                  <a:cxn ang="0">
                    <a:pos x="306" y="18"/>
                  </a:cxn>
                  <a:cxn ang="0">
                    <a:pos x="366" y="23"/>
                  </a:cxn>
                  <a:cxn ang="0">
                    <a:pos x="408" y="27"/>
                  </a:cxn>
                  <a:cxn ang="0">
                    <a:pos x="440" y="54"/>
                  </a:cxn>
                  <a:cxn ang="0">
                    <a:pos x="469" y="69"/>
                  </a:cxn>
                  <a:cxn ang="0">
                    <a:pos x="537" y="81"/>
                  </a:cxn>
                  <a:cxn ang="0">
                    <a:pos x="564" y="75"/>
                  </a:cxn>
                  <a:cxn ang="0">
                    <a:pos x="589" y="97"/>
                  </a:cxn>
                  <a:cxn ang="0">
                    <a:pos x="597" y="92"/>
                  </a:cxn>
                  <a:cxn ang="0">
                    <a:pos x="644" y="101"/>
                  </a:cxn>
                  <a:cxn ang="0">
                    <a:pos x="678" y="100"/>
                  </a:cxn>
                  <a:cxn ang="0">
                    <a:pos x="678" y="114"/>
                  </a:cxn>
                  <a:cxn ang="0">
                    <a:pos x="675" y="144"/>
                  </a:cxn>
                  <a:cxn ang="0">
                    <a:pos x="564" y="203"/>
                  </a:cxn>
                  <a:cxn ang="0">
                    <a:pos x="543" y="232"/>
                  </a:cxn>
                  <a:cxn ang="0">
                    <a:pos x="495" y="300"/>
                  </a:cxn>
                  <a:cxn ang="0">
                    <a:pos x="489" y="321"/>
                  </a:cxn>
                  <a:cxn ang="0">
                    <a:pos x="497" y="343"/>
                  </a:cxn>
                  <a:cxn ang="0">
                    <a:pos x="515" y="354"/>
                  </a:cxn>
                  <a:cxn ang="0">
                    <a:pos x="500" y="378"/>
                  </a:cxn>
                  <a:cxn ang="0">
                    <a:pos x="474" y="409"/>
                  </a:cxn>
                  <a:cxn ang="0">
                    <a:pos x="465" y="435"/>
                  </a:cxn>
                  <a:cxn ang="0">
                    <a:pos x="415" y="463"/>
                  </a:cxn>
                  <a:cxn ang="0">
                    <a:pos x="398" y="496"/>
                  </a:cxn>
                  <a:cxn ang="0">
                    <a:pos x="364" y="501"/>
                  </a:cxn>
                  <a:cxn ang="0">
                    <a:pos x="318" y="500"/>
                  </a:cxn>
                  <a:cxn ang="0">
                    <a:pos x="258" y="515"/>
                  </a:cxn>
                  <a:cxn ang="0">
                    <a:pos x="226" y="529"/>
                  </a:cxn>
                  <a:cxn ang="0">
                    <a:pos x="210" y="545"/>
                  </a:cxn>
                  <a:cxn ang="0">
                    <a:pos x="170" y="517"/>
                  </a:cxn>
                  <a:cxn ang="0">
                    <a:pos x="161" y="491"/>
                  </a:cxn>
                  <a:cxn ang="0">
                    <a:pos x="148" y="477"/>
                  </a:cxn>
                  <a:cxn ang="0">
                    <a:pos x="105" y="468"/>
                  </a:cxn>
                </a:cxnLst>
                <a:rect l="0" t="0" r="r" b="b"/>
                <a:pathLst>
                  <a:path w="687" h="545">
                    <a:moveTo>
                      <a:pt x="105" y="468"/>
                    </a:moveTo>
                    <a:lnTo>
                      <a:pt x="101" y="451"/>
                    </a:lnTo>
                    <a:lnTo>
                      <a:pt x="100" y="440"/>
                    </a:lnTo>
                    <a:lnTo>
                      <a:pt x="107" y="430"/>
                    </a:lnTo>
                    <a:lnTo>
                      <a:pt x="122" y="419"/>
                    </a:lnTo>
                    <a:lnTo>
                      <a:pt x="128" y="410"/>
                    </a:lnTo>
                    <a:lnTo>
                      <a:pt x="126" y="399"/>
                    </a:lnTo>
                    <a:lnTo>
                      <a:pt x="116" y="388"/>
                    </a:lnTo>
                    <a:lnTo>
                      <a:pt x="112" y="376"/>
                    </a:lnTo>
                    <a:lnTo>
                      <a:pt x="113" y="361"/>
                    </a:lnTo>
                    <a:lnTo>
                      <a:pt x="121" y="349"/>
                    </a:lnTo>
                    <a:lnTo>
                      <a:pt x="124" y="340"/>
                    </a:lnTo>
                    <a:lnTo>
                      <a:pt x="122" y="335"/>
                    </a:lnTo>
                    <a:lnTo>
                      <a:pt x="110" y="317"/>
                    </a:lnTo>
                    <a:lnTo>
                      <a:pt x="106" y="301"/>
                    </a:lnTo>
                    <a:lnTo>
                      <a:pt x="114" y="295"/>
                    </a:lnTo>
                    <a:lnTo>
                      <a:pt x="126" y="291"/>
                    </a:lnTo>
                    <a:lnTo>
                      <a:pt x="135" y="280"/>
                    </a:lnTo>
                    <a:lnTo>
                      <a:pt x="137" y="270"/>
                    </a:lnTo>
                    <a:lnTo>
                      <a:pt x="129" y="260"/>
                    </a:lnTo>
                    <a:lnTo>
                      <a:pt x="129" y="253"/>
                    </a:lnTo>
                    <a:lnTo>
                      <a:pt x="135" y="238"/>
                    </a:lnTo>
                    <a:lnTo>
                      <a:pt x="138" y="224"/>
                    </a:lnTo>
                    <a:lnTo>
                      <a:pt x="138" y="210"/>
                    </a:lnTo>
                    <a:lnTo>
                      <a:pt x="139" y="200"/>
                    </a:lnTo>
                    <a:lnTo>
                      <a:pt x="161" y="178"/>
                    </a:lnTo>
                    <a:lnTo>
                      <a:pt x="169" y="165"/>
                    </a:lnTo>
                    <a:lnTo>
                      <a:pt x="169" y="156"/>
                    </a:lnTo>
                    <a:lnTo>
                      <a:pt x="161" y="147"/>
                    </a:lnTo>
                    <a:lnTo>
                      <a:pt x="155" y="138"/>
                    </a:lnTo>
                    <a:lnTo>
                      <a:pt x="140" y="134"/>
                    </a:lnTo>
                    <a:lnTo>
                      <a:pt x="123" y="134"/>
                    </a:lnTo>
                    <a:lnTo>
                      <a:pt x="110" y="140"/>
                    </a:lnTo>
                    <a:lnTo>
                      <a:pt x="86" y="138"/>
                    </a:lnTo>
                    <a:lnTo>
                      <a:pt x="73" y="140"/>
                    </a:lnTo>
                    <a:lnTo>
                      <a:pt x="65" y="135"/>
                    </a:lnTo>
                    <a:lnTo>
                      <a:pt x="64" y="123"/>
                    </a:lnTo>
                    <a:lnTo>
                      <a:pt x="51" y="125"/>
                    </a:lnTo>
                    <a:lnTo>
                      <a:pt x="36" y="131"/>
                    </a:lnTo>
                    <a:lnTo>
                      <a:pt x="27" y="141"/>
                    </a:lnTo>
                    <a:lnTo>
                      <a:pt x="25" y="136"/>
                    </a:lnTo>
                    <a:lnTo>
                      <a:pt x="25" y="128"/>
                    </a:lnTo>
                    <a:lnTo>
                      <a:pt x="28" y="116"/>
                    </a:lnTo>
                    <a:lnTo>
                      <a:pt x="35" y="107"/>
                    </a:lnTo>
                    <a:lnTo>
                      <a:pt x="26" y="108"/>
                    </a:lnTo>
                    <a:lnTo>
                      <a:pt x="30" y="100"/>
                    </a:lnTo>
                    <a:lnTo>
                      <a:pt x="20" y="95"/>
                    </a:lnTo>
                    <a:lnTo>
                      <a:pt x="27" y="82"/>
                    </a:lnTo>
                    <a:lnTo>
                      <a:pt x="22" y="82"/>
                    </a:lnTo>
                    <a:lnTo>
                      <a:pt x="15" y="79"/>
                    </a:lnTo>
                    <a:lnTo>
                      <a:pt x="16" y="70"/>
                    </a:lnTo>
                    <a:lnTo>
                      <a:pt x="0" y="57"/>
                    </a:lnTo>
                    <a:lnTo>
                      <a:pt x="5" y="43"/>
                    </a:lnTo>
                    <a:lnTo>
                      <a:pt x="17" y="34"/>
                    </a:lnTo>
                    <a:lnTo>
                      <a:pt x="28" y="31"/>
                    </a:lnTo>
                    <a:lnTo>
                      <a:pt x="47" y="31"/>
                    </a:lnTo>
                    <a:lnTo>
                      <a:pt x="56" y="22"/>
                    </a:lnTo>
                    <a:lnTo>
                      <a:pt x="54" y="16"/>
                    </a:lnTo>
                    <a:lnTo>
                      <a:pt x="62" y="5"/>
                    </a:lnTo>
                    <a:lnTo>
                      <a:pt x="84" y="0"/>
                    </a:lnTo>
                    <a:lnTo>
                      <a:pt x="95" y="3"/>
                    </a:lnTo>
                    <a:lnTo>
                      <a:pt x="110" y="10"/>
                    </a:lnTo>
                    <a:lnTo>
                      <a:pt x="129" y="14"/>
                    </a:lnTo>
                    <a:lnTo>
                      <a:pt x="170" y="12"/>
                    </a:lnTo>
                    <a:lnTo>
                      <a:pt x="180" y="7"/>
                    </a:lnTo>
                    <a:lnTo>
                      <a:pt x="192" y="9"/>
                    </a:lnTo>
                    <a:lnTo>
                      <a:pt x="212" y="15"/>
                    </a:lnTo>
                    <a:lnTo>
                      <a:pt x="223" y="15"/>
                    </a:lnTo>
                    <a:lnTo>
                      <a:pt x="256" y="22"/>
                    </a:lnTo>
                    <a:lnTo>
                      <a:pt x="273" y="23"/>
                    </a:lnTo>
                    <a:lnTo>
                      <a:pt x="293" y="22"/>
                    </a:lnTo>
                    <a:lnTo>
                      <a:pt x="306" y="18"/>
                    </a:lnTo>
                    <a:lnTo>
                      <a:pt x="317" y="22"/>
                    </a:lnTo>
                    <a:lnTo>
                      <a:pt x="337" y="25"/>
                    </a:lnTo>
                    <a:lnTo>
                      <a:pt x="366" y="23"/>
                    </a:lnTo>
                    <a:lnTo>
                      <a:pt x="381" y="28"/>
                    </a:lnTo>
                    <a:lnTo>
                      <a:pt x="398" y="30"/>
                    </a:lnTo>
                    <a:lnTo>
                      <a:pt x="408" y="27"/>
                    </a:lnTo>
                    <a:lnTo>
                      <a:pt x="409" y="31"/>
                    </a:lnTo>
                    <a:lnTo>
                      <a:pt x="431" y="49"/>
                    </a:lnTo>
                    <a:lnTo>
                      <a:pt x="440" y="54"/>
                    </a:lnTo>
                    <a:lnTo>
                      <a:pt x="451" y="57"/>
                    </a:lnTo>
                    <a:lnTo>
                      <a:pt x="462" y="63"/>
                    </a:lnTo>
                    <a:lnTo>
                      <a:pt x="469" y="69"/>
                    </a:lnTo>
                    <a:lnTo>
                      <a:pt x="515" y="81"/>
                    </a:lnTo>
                    <a:lnTo>
                      <a:pt x="531" y="82"/>
                    </a:lnTo>
                    <a:lnTo>
                      <a:pt x="537" y="81"/>
                    </a:lnTo>
                    <a:lnTo>
                      <a:pt x="547" y="74"/>
                    </a:lnTo>
                    <a:lnTo>
                      <a:pt x="555" y="73"/>
                    </a:lnTo>
                    <a:lnTo>
                      <a:pt x="564" y="75"/>
                    </a:lnTo>
                    <a:lnTo>
                      <a:pt x="579" y="85"/>
                    </a:lnTo>
                    <a:lnTo>
                      <a:pt x="585" y="92"/>
                    </a:lnTo>
                    <a:lnTo>
                      <a:pt x="589" y="97"/>
                    </a:lnTo>
                    <a:lnTo>
                      <a:pt x="595" y="98"/>
                    </a:lnTo>
                    <a:lnTo>
                      <a:pt x="600" y="96"/>
                    </a:lnTo>
                    <a:lnTo>
                      <a:pt x="597" y="92"/>
                    </a:lnTo>
                    <a:lnTo>
                      <a:pt x="608" y="101"/>
                    </a:lnTo>
                    <a:lnTo>
                      <a:pt x="616" y="103"/>
                    </a:lnTo>
                    <a:lnTo>
                      <a:pt x="644" y="101"/>
                    </a:lnTo>
                    <a:lnTo>
                      <a:pt x="657" y="98"/>
                    </a:lnTo>
                    <a:lnTo>
                      <a:pt x="671" y="98"/>
                    </a:lnTo>
                    <a:lnTo>
                      <a:pt x="678" y="100"/>
                    </a:lnTo>
                    <a:lnTo>
                      <a:pt x="686" y="102"/>
                    </a:lnTo>
                    <a:lnTo>
                      <a:pt x="687" y="109"/>
                    </a:lnTo>
                    <a:lnTo>
                      <a:pt x="678" y="114"/>
                    </a:lnTo>
                    <a:lnTo>
                      <a:pt x="680" y="124"/>
                    </a:lnTo>
                    <a:lnTo>
                      <a:pt x="683" y="133"/>
                    </a:lnTo>
                    <a:lnTo>
                      <a:pt x="675" y="144"/>
                    </a:lnTo>
                    <a:lnTo>
                      <a:pt x="637" y="167"/>
                    </a:lnTo>
                    <a:lnTo>
                      <a:pt x="623" y="181"/>
                    </a:lnTo>
                    <a:lnTo>
                      <a:pt x="564" y="203"/>
                    </a:lnTo>
                    <a:lnTo>
                      <a:pt x="552" y="217"/>
                    </a:lnTo>
                    <a:lnTo>
                      <a:pt x="552" y="224"/>
                    </a:lnTo>
                    <a:lnTo>
                      <a:pt x="543" y="232"/>
                    </a:lnTo>
                    <a:lnTo>
                      <a:pt x="531" y="247"/>
                    </a:lnTo>
                    <a:lnTo>
                      <a:pt x="515" y="274"/>
                    </a:lnTo>
                    <a:lnTo>
                      <a:pt x="495" y="300"/>
                    </a:lnTo>
                    <a:lnTo>
                      <a:pt x="492" y="312"/>
                    </a:lnTo>
                    <a:lnTo>
                      <a:pt x="489" y="318"/>
                    </a:lnTo>
                    <a:lnTo>
                      <a:pt x="489" y="321"/>
                    </a:lnTo>
                    <a:lnTo>
                      <a:pt x="492" y="327"/>
                    </a:lnTo>
                    <a:lnTo>
                      <a:pt x="494" y="337"/>
                    </a:lnTo>
                    <a:lnTo>
                      <a:pt x="497" y="343"/>
                    </a:lnTo>
                    <a:lnTo>
                      <a:pt x="501" y="349"/>
                    </a:lnTo>
                    <a:lnTo>
                      <a:pt x="506" y="351"/>
                    </a:lnTo>
                    <a:lnTo>
                      <a:pt x="515" y="354"/>
                    </a:lnTo>
                    <a:lnTo>
                      <a:pt x="519" y="360"/>
                    </a:lnTo>
                    <a:lnTo>
                      <a:pt x="514" y="369"/>
                    </a:lnTo>
                    <a:lnTo>
                      <a:pt x="500" y="378"/>
                    </a:lnTo>
                    <a:lnTo>
                      <a:pt x="492" y="385"/>
                    </a:lnTo>
                    <a:lnTo>
                      <a:pt x="484" y="392"/>
                    </a:lnTo>
                    <a:lnTo>
                      <a:pt x="474" y="409"/>
                    </a:lnTo>
                    <a:lnTo>
                      <a:pt x="472" y="418"/>
                    </a:lnTo>
                    <a:lnTo>
                      <a:pt x="467" y="426"/>
                    </a:lnTo>
                    <a:lnTo>
                      <a:pt x="465" y="435"/>
                    </a:lnTo>
                    <a:lnTo>
                      <a:pt x="467" y="441"/>
                    </a:lnTo>
                    <a:lnTo>
                      <a:pt x="435" y="445"/>
                    </a:lnTo>
                    <a:lnTo>
                      <a:pt x="415" y="463"/>
                    </a:lnTo>
                    <a:lnTo>
                      <a:pt x="408" y="482"/>
                    </a:lnTo>
                    <a:lnTo>
                      <a:pt x="404" y="490"/>
                    </a:lnTo>
                    <a:lnTo>
                      <a:pt x="398" y="496"/>
                    </a:lnTo>
                    <a:lnTo>
                      <a:pt x="391" y="498"/>
                    </a:lnTo>
                    <a:lnTo>
                      <a:pt x="379" y="495"/>
                    </a:lnTo>
                    <a:lnTo>
                      <a:pt x="364" y="501"/>
                    </a:lnTo>
                    <a:lnTo>
                      <a:pt x="350" y="501"/>
                    </a:lnTo>
                    <a:lnTo>
                      <a:pt x="334" y="498"/>
                    </a:lnTo>
                    <a:lnTo>
                      <a:pt x="318" y="500"/>
                    </a:lnTo>
                    <a:lnTo>
                      <a:pt x="306" y="498"/>
                    </a:lnTo>
                    <a:lnTo>
                      <a:pt x="269" y="502"/>
                    </a:lnTo>
                    <a:lnTo>
                      <a:pt x="258" y="515"/>
                    </a:lnTo>
                    <a:lnTo>
                      <a:pt x="246" y="516"/>
                    </a:lnTo>
                    <a:lnTo>
                      <a:pt x="234" y="521"/>
                    </a:lnTo>
                    <a:lnTo>
                      <a:pt x="226" y="529"/>
                    </a:lnTo>
                    <a:lnTo>
                      <a:pt x="223" y="536"/>
                    </a:lnTo>
                    <a:lnTo>
                      <a:pt x="218" y="541"/>
                    </a:lnTo>
                    <a:lnTo>
                      <a:pt x="210" y="545"/>
                    </a:lnTo>
                    <a:lnTo>
                      <a:pt x="193" y="542"/>
                    </a:lnTo>
                    <a:lnTo>
                      <a:pt x="181" y="533"/>
                    </a:lnTo>
                    <a:lnTo>
                      <a:pt x="170" y="517"/>
                    </a:lnTo>
                    <a:lnTo>
                      <a:pt x="169" y="509"/>
                    </a:lnTo>
                    <a:lnTo>
                      <a:pt x="161" y="502"/>
                    </a:lnTo>
                    <a:lnTo>
                      <a:pt x="161" y="491"/>
                    </a:lnTo>
                    <a:lnTo>
                      <a:pt x="160" y="488"/>
                    </a:lnTo>
                    <a:lnTo>
                      <a:pt x="156" y="484"/>
                    </a:lnTo>
                    <a:lnTo>
                      <a:pt x="148" y="477"/>
                    </a:lnTo>
                    <a:lnTo>
                      <a:pt x="133" y="468"/>
                    </a:lnTo>
                    <a:lnTo>
                      <a:pt x="126" y="467"/>
                    </a:lnTo>
                    <a:lnTo>
                      <a:pt x="105" y="46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79" name="Freeform 178"/>
              <p:cNvSpPr>
                <a:spLocks noChangeAspect="1"/>
              </p:cNvSpPr>
              <p:nvPr/>
            </p:nvSpPr>
            <p:spPr bwMode="gray">
              <a:xfrm>
                <a:off x="4820444" y="2592735"/>
                <a:ext cx="63500" cy="76200"/>
              </a:xfrm>
              <a:custGeom>
                <a:avLst/>
                <a:gdLst/>
                <a:ahLst/>
                <a:cxnLst>
                  <a:cxn ang="0">
                    <a:pos x="124" y="239"/>
                  </a:cxn>
                  <a:cxn ang="0">
                    <a:pos x="116" y="221"/>
                  </a:cxn>
                  <a:cxn ang="0">
                    <a:pos x="116" y="201"/>
                  </a:cxn>
                  <a:cxn ang="0">
                    <a:pos x="99" y="194"/>
                  </a:cxn>
                  <a:cxn ang="0">
                    <a:pos x="88" y="183"/>
                  </a:cxn>
                  <a:cxn ang="0">
                    <a:pos x="79" y="177"/>
                  </a:cxn>
                  <a:cxn ang="0">
                    <a:pos x="52" y="181"/>
                  </a:cxn>
                  <a:cxn ang="0">
                    <a:pos x="17" y="197"/>
                  </a:cxn>
                  <a:cxn ang="0">
                    <a:pos x="0" y="187"/>
                  </a:cxn>
                  <a:cxn ang="0">
                    <a:pos x="10" y="185"/>
                  </a:cxn>
                  <a:cxn ang="0">
                    <a:pos x="30" y="186"/>
                  </a:cxn>
                  <a:cxn ang="0">
                    <a:pos x="42" y="182"/>
                  </a:cxn>
                  <a:cxn ang="0">
                    <a:pos x="25" y="182"/>
                  </a:cxn>
                  <a:cxn ang="0">
                    <a:pos x="24" y="172"/>
                  </a:cxn>
                  <a:cxn ang="0">
                    <a:pos x="54" y="162"/>
                  </a:cxn>
                  <a:cxn ang="0">
                    <a:pos x="78" y="155"/>
                  </a:cxn>
                  <a:cxn ang="0">
                    <a:pos x="62" y="156"/>
                  </a:cxn>
                  <a:cxn ang="0">
                    <a:pos x="45" y="153"/>
                  </a:cxn>
                  <a:cxn ang="0">
                    <a:pos x="38" y="138"/>
                  </a:cxn>
                  <a:cxn ang="0">
                    <a:pos x="62" y="106"/>
                  </a:cxn>
                  <a:cxn ang="0">
                    <a:pos x="74" y="52"/>
                  </a:cxn>
                  <a:cxn ang="0">
                    <a:pos x="88" y="57"/>
                  </a:cxn>
                  <a:cxn ang="0">
                    <a:pos x="94" y="65"/>
                  </a:cxn>
                  <a:cxn ang="0">
                    <a:pos x="85" y="69"/>
                  </a:cxn>
                  <a:cxn ang="0">
                    <a:pos x="83" y="79"/>
                  </a:cxn>
                  <a:cxn ang="0">
                    <a:pos x="84" y="94"/>
                  </a:cxn>
                  <a:cxn ang="0">
                    <a:pos x="100" y="103"/>
                  </a:cxn>
                  <a:cxn ang="0">
                    <a:pos x="106" y="101"/>
                  </a:cxn>
                  <a:cxn ang="0">
                    <a:pos x="101" y="88"/>
                  </a:cxn>
                  <a:cxn ang="0">
                    <a:pos x="103" y="81"/>
                  </a:cxn>
                  <a:cxn ang="0">
                    <a:pos x="111" y="65"/>
                  </a:cxn>
                  <a:cxn ang="0">
                    <a:pos x="112" y="51"/>
                  </a:cxn>
                  <a:cxn ang="0">
                    <a:pos x="105" y="48"/>
                  </a:cxn>
                  <a:cxn ang="0">
                    <a:pos x="103" y="26"/>
                  </a:cxn>
                  <a:cxn ang="0">
                    <a:pos x="117" y="11"/>
                  </a:cxn>
                  <a:cxn ang="0">
                    <a:pos x="138" y="4"/>
                  </a:cxn>
                  <a:cxn ang="0">
                    <a:pos x="161" y="2"/>
                  </a:cxn>
                  <a:cxn ang="0">
                    <a:pos x="182" y="3"/>
                  </a:cxn>
                  <a:cxn ang="0">
                    <a:pos x="196" y="16"/>
                  </a:cxn>
                  <a:cxn ang="0">
                    <a:pos x="170" y="73"/>
                  </a:cxn>
                  <a:cxn ang="0">
                    <a:pos x="191" y="90"/>
                  </a:cxn>
                  <a:cxn ang="0">
                    <a:pos x="182" y="111"/>
                  </a:cxn>
                  <a:cxn ang="0">
                    <a:pos x="171" y="129"/>
                  </a:cxn>
                  <a:cxn ang="0">
                    <a:pos x="158" y="142"/>
                  </a:cxn>
                  <a:cxn ang="0">
                    <a:pos x="135" y="137"/>
                  </a:cxn>
                  <a:cxn ang="0">
                    <a:pos x="138" y="160"/>
                  </a:cxn>
                  <a:cxn ang="0">
                    <a:pos x="138" y="182"/>
                  </a:cxn>
                  <a:cxn ang="0">
                    <a:pos x="132" y="208"/>
                  </a:cxn>
                  <a:cxn ang="0">
                    <a:pos x="137" y="232"/>
                  </a:cxn>
                </a:cxnLst>
                <a:rect l="0" t="0" r="r" b="b"/>
                <a:pathLst>
                  <a:path w="196" h="239">
                    <a:moveTo>
                      <a:pt x="137" y="239"/>
                    </a:moveTo>
                    <a:lnTo>
                      <a:pt x="124" y="239"/>
                    </a:lnTo>
                    <a:lnTo>
                      <a:pt x="117" y="232"/>
                    </a:lnTo>
                    <a:lnTo>
                      <a:pt x="116" y="221"/>
                    </a:lnTo>
                    <a:lnTo>
                      <a:pt x="117" y="212"/>
                    </a:lnTo>
                    <a:lnTo>
                      <a:pt x="116" y="201"/>
                    </a:lnTo>
                    <a:lnTo>
                      <a:pt x="107" y="196"/>
                    </a:lnTo>
                    <a:lnTo>
                      <a:pt x="99" y="194"/>
                    </a:lnTo>
                    <a:lnTo>
                      <a:pt x="90" y="189"/>
                    </a:lnTo>
                    <a:lnTo>
                      <a:pt x="88" y="183"/>
                    </a:lnTo>
                    <a:lnTo>
                      <a:pt x="85" y="183"/>
                    </a:lnTo>
                    <a:lnTo>
                      <a:pt x="79" y="177"/>
                    </a:lnTo>
                    <a:lnTo>
                      <a:pt x="64" y="178"/>
                    </a:lnTo>
                    <a:lnTo>
                      <a:pt x="52" y="181"/>
                    </a:lnTo>
                    <a:lnTo>
                      <a:pt x="37" y="191"/>
                    </a:lnTo>
                    <a:lnTo>
                      <a:pt x="17" y="197"/>
                    </a:lnTo>
                    <a:lnTo>
                      <a:pt x="0" y="188"/>
                    </a:lnTo>
                    <a:lnTo>
                      <a:pt x="0" y="187"/>
                    </a:lnTo>
                    <a:lnTo>
                      <a:pt x="3" y="185"/>
                    </a:lnTo>
                    <a:lnTo>
                      <a:pt x="10" y="185"/>
                    </a:lnTo>
                    <a:lnTo>
                      <a:pt x="21" y="191"/>
                    </a:lnTo>
                    <a:lnTo>
                      <a:pt x="30" y="186"/>
                    </a:lnTo>
                    <a:lnTo>
                      <a:pt x="38" y="186"/>
                    </a:lnTo>
                    <a:lnTo>
                      <a:pt x="42" y="182"/>
                    </a:lnTo>
                    <a:lnTo>
                      <a:pt x="35" y="181"/>
                    </a:lnTo>
                    <a:lnTo>
                      <a:pt x="25" y="182"/>
                    </a:lnTo>
                    <a:lnTo>
                      <a:pt x="20" y="181"/>
                    </a:lnTo>
                    <a:lnTo>
                      <a:pt x="24" y="172"/>
                    </a:lnTo>
                    <a:lnTo>
                      <a:pt x="43" y="169"/>
                    </a:lnTo>
                    <a:lnTo>
                      <a:pt x="54" y="162"/>
                    </a:lnTo>
                    <a:lnTo>
                      <a:pt x="72" y="159"/>
                    </a:lnTo>
                    <a:lnTo>
                      <a:pt x="78" y="155"/>
                    </a:lnTo>
                    <a:lnTo>
                      <a:pt x="73" y="151"/>
                    </a:lnTo>
                    <a:lnTo>
                      <a:pt x="62" y="156"/>
                    </a:lnTo>
                    <a:lnTo>
                      <a:pt x="52" y="155"/>
                    </a:lnTo>
                    <a:lnTo>
                      <a:pt x="45" y="153"/>
                    </a:lnTo>
                    <a:lnTo>
                      <a:pt x="38" y="146"/>
                    </a:lnTo>
                    <a:lnTo>
                      <a:pt x="38" y="138"/>
                    </a:lnTo>
                    <a:lnTo>
                      <a:pt x="40" y="133"/>
                    </a:lnTo>
                    <a:lnTo>
                      <a:pt x="62" y="106"/>
                    </a:lnTo>
                    <a:lnTo>
                      <a:pt x="68" y="69"/>
                    </a:lnTo>
                    <a:lnTo>
                      <a:pt x="74" y="52"/>
                    </a:lnTo>
                    <a:lnTo>
                      <a:pt x="84" y="48"/>
                    </a:lnTo>
                    <a:lnTo>
                      <a:pt x="88" y="57"/>
                    </a:lnTo>
                    <a:lnTo>
                      <a:pt x="94" y="62"/>
                    </a:lnTo>
                    <a:lnTo>
                      <a:pt x="94" y="65"/>
                    </a:lnTo>
                    <a:lnTo>
                      <a:pt x="94" y="67"/>
                    </a:lnTo>
                    <a:lnTo>
                      <a:pt x="85" y="69"/>
                    </a:lnTo>
                    <a:lnTo>
                      <a:pt x="84" y="73"/>
                    </a:lnTo>
                    <a:lnTo>
                      <a:pt x="83" y="79"/>
                    </a:lnTo>
                    <a:lnTo>
                      <a:pt x="84" y="90"/>
                    </a:lnTo>
                    <a:lnTo>
                      <a:pt x="84" y="94"/>
                    </a:lnTo>
                    <a:lnTo>
                      <a:pt x="89" y="100"/>
                    </a:lnTo>
                    <a:lnTo>
                      <a:pt x="100" y="103"/>
                    </a:lnTo>
                    <a:lnTo>
                      <a:pt x="105" y="103"/>
                    </a:lnTo>
                    <a:lnTo>
                      <a:pt x="106" y="101"/>
                    </a:lnTo>
                    <a:lnTo>
                      <a:pt x="105" y="94"/>
                    </a:lnTo>
                    <a:lnTo>
                      <a:pt x="101" y="88"/>
                    </a:lnTo>
                    <a:lnTo>
                      <a:pt x="100" y="83"/>
                    </a:lnTo>
                    <a:lnTo>
                      <a:pt x="103" y="81"/>
                    </a:lnTo>
                    <a:lnTo>
                      <a:pt x="110" y="76"/>
                    </a:lnTo>
                    <a:lnTo>
                      <a:pt x="111" y="65"/>
                    </a:lnTo>
                    <a:lnTo>
                      <a:pt x="116" y="53"/>
                    </a:lnTo>
                    <a:lnTo>
                      <a:pt x="112" y="51"/>
                    </a:lnTo>
                    <a:lnTo>
                      <a:pt x="106" y="51"/>
                    </a:lnTo>
                    <a:lnTo>
                      <a:pt x="105" y="48"/>
                    </a:lnTo>
                    <a:lnTo>
                      <a:pt x="102" y="31"/>
                    </a:lnTo>
                    <a:lnTo>
                      <a:pt x="103" y="26"/>
                    </a:lnTo>
                    <a:lnTo>
                      <a:pt x="108" y="19"/>
                    </a:lnTo>
                    <a:lnTo>
                      <a:pt x="117" y="11"/>
                    </a:lnTo>
                    <a:lnTo>
                      <a:pt x="128" y="6"/>
                    </a:lnTo>
                    <a:lnTo>
                      <a:pt x="138" y="4"/>
                    </a:lnTo>
                    <a:lnTo>
                      <a:pt x="151" y="6"/>
                    </a:lnTo>
                    <a:lnTo>
                      <a:pt x="161" y="2"/>
                    </a:lnTo>
                    <a:lnTo>
                      <a:pt x="173" y="0"/>
                    </a:lnTo>
                    <a:lnTo>
                      <a:pt x="182" y="3"/>
                    </a:lnTo>
                    <a:lnTo>
                      <a:pt x="191" y="10"/>
                    </a:lnTo>
                    <a:lnTo>
                      <a:pt x="196" y="16"/>
                    </a:lnTo>
                    <a:lnTo>
                      <a:pt x="186" y="62"/>
                    </a:lnTo>
                    <a:lnTo>
                      <a:pt x="170" y="73"/>
                    </a:lnTo>
                    <a:lnTo>
                      <a:pt x="172" y="81"/>
                    </a:lnTo>
                    <a:lnTo>
                      <a:pt x="191" y="90"/>
                    </a:lnTo>
                    <a:lnTo>
                      <a:pt x="189" y="101"/>
                    </a:lnTo>
                    <a:lnTo>
                      <a:pt x="182" y="111"/>
                    </a:lnTo>
                    <a:lnTo>
                      <a:pt x="172" y="118"/>
                    </a:lnTo>
                    <a:lnTo>
                      <a:pt x="171" y="129"/>
                    </a:lnTo>
                    <a:lnTo>
                      <a:pt x="166" y="140"/>
                    </a:lnTo>
                    <a:lnTo>
                      <a:pt x="158" y="142"/>
                    </a:lnTo>
                    <a:lnTo>
                      <a:pt x="145" y="137"/>
                    </a:lnTo>
                    <a:lnTo>
                      <a:pt x="135" y="137"/>
                    </a:lnTo>
                    <a:lnTo>
                      <a:pt x="134" y="145"/>
                    </a:lnTo>
                    <a:lnTo>
                      <a:pt x="138" y="160"/>
                    </a:lnTo>
                    <a:lnTo>
                      <a:pt x="139" y="170"/>
                    </a:lnTo>
                    <a:lnTo>
                      <a:pt x="138" y="182"/>
                    </a:lnTo>
                    <a:lnTo>
                      <a:pt x="138" y="201"/>
                    </a:lnTo>
                    <a:lnTo>
                      <a:pt x="132" y="208"/>
                    </a:lnTo>
                    <a:lnTo>
                      <a:pt x="132" y="215"/>
                    </a:lnTo>
                    <a:lnTo>
                      <a:pt x="137" y="232"/>
                    </a:lnTo>
                    <a:lnTo>
                      <a:pt x="137" y="23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80" name="Freeform 179"/>
              <p:cNvSpPr>
                <a:spLocks noChangeAspect="1"/>
              </p:cNvSpPr>
              <p:nvPr/>
            </p:nvSpPr>
            <p:spPr bwMode="gray">
              <a:xfrm>
                <a:off x="4598194" y="2888010"/>
                <a:ext cx="55563" cy="112713"/>
              </a:xfrm>
              <a:custGeom>
                <a:avLst/>
                <a:gdLst/>
                <a:ahLst/>
                <a:cxnLst>
                  <a:cxn ang="0">
                    <a:pos x="109" y="328"/>
                  </a:cxn>
                  <a:cxn ang="0">
                    <a:pos x="115" y="307"/>
                  </a:cxn>
                  <a:cxn ang="0">
                    <a:pos x="136" y="287"/>
                  </a:cxn>
                  <a:cxn ang="0">
                    <a:pos x="124" y="265"/>
                  </a:cxn>
                  <a:cxn ang="0">
                    <a:pos x="121" y="238"/>
                  </a:cxn>
                  <a:cxn ang="0">
                    <a:pos x="132" y="217"/>
                  </a:cxn>
                  <a:cxn ang="0">
                    <a:pos x="118" y="194"/>
                  </a:cxn>
                  <a:cxn ang="0">
                    <a:pos x="122" y="172"/>
                  </a:cxn>
                  <a:cxn ang="0">
                    <a:pos x="143" y="157"/>
                  </a:cxn>
                  <a:cxn ang="0">
                    <a:pos x="137" y="137"/>
                  </a:cxn>
                  <a:cxn ang="0">
                    <a:pos x="143" y="115"/>
                  </a:cxn>
                  <a:cxn ang="0">
                    <a:pos x="146" y="87"/>
                  </a:cxn>
                  <a:cxn ang="0">
                    <a:pos x="169" y="55"/>
                  </a:cxn>
                  <a:cxn ang="0">
                    <a:pos x="177" y="33"/>
                  </a:cxn>
                  <a:cxn ang="0">
                    <a:pos x="163" y="15"/>
                  </a:cxn>
                  <a:cxn ang="0">
                    <a:pos x="131" y="11"/>
                  </a:cxn>
                  <a:cxn ang="0">
                    <a:pos x="94" y="15"/>
                  </a:cxn>
                  <a:cxn ang="0">
                    <a:pos x="73" y="12"/>
                  </a:cxn>
                  <a:cxn ang="0">
                    <a:pos x="59" y="2"/>
                  </a:cxn>
                  <a:cxn ang="0">
                    <a:pos x="35" y="18"/>
                  </a:cxn>
                  <a:cxn ang="0">
                    <a:pos x="45" y="74"/>
                  </a:cxn>
                  <a:cxn ang="0">
                    <a:pos x="38" y="104"/>
                  </a:cxn>
                  <a:cxn ang="0">
                    <a:pos x="32" y="129"/>
                  </a:cxn>
                  <a:cxn ang="0">
                    <a:pos x="28" y="155"/>
                  </a:cxn>
                  <a:cxn ang="0">
                    <a:pos x="16" y="184"/>
                  </a:cxn>
                  <a:cxn ang="0">
                    <a:pos x="3" y="220"/>
                  </a:cxn>
                  <a:cxn ang="0">
                    <a:pos x="1" y="238"/>
                  </a:cxn>
                  <a:cxn ang="0">
                    <a:pos x="18" y="259"/>
                  </a:cxn>
                  <a:cxn ang="0">
                    <a:pos x="40" y="253"/>
                  </a:cxn>
                  <a:cxn ang="0">
                    <a:pos x="36" y="262"/>
                  </a:cxn>
                  <a:cxn ang="0">
                    <a:pos x="35" y="290"/>
                  </a:cxn>
                  <a:cxn ang="0">
                    <a:pos x="36" y="319"/>
                  </a:cxn>
                  <a:cxn ang="0">
                    <a:pos x="29" y="340"/>
                  </a:cxn>
                  <a:cxn ang="0">
                    <a:pos x="32" y="355"/>
                  </a:cxn>
                  <a:cxn ang="0">
                    <a:pos x="55" y="352"/>
                  </a:cxn>
                  <a:cxn ang="0">
                    <a:pos x="76" y="356"/>
                  </a:cxn>
                  <a:cxn ang="0">
                    <a:pos x="97" y="352"/>
                  </a:cxn>
                  <a:cxn ang="0">
                    <a:pos x="113" y="345"/>
                  </a:cxn>
                </a:cxnLst>
                <a:rect l="0" t="0" r="r" b="b"/>
                <a:pathLst>
                  <a:path w="177" h="356">
                    <a:moveTo>
                      <a:pt x="113" y="345"/>
                    </a:moveTo>
                    <a:lnTo>
                      <a:pt x="109" y="328"/>
                    </a:lnTo>
                    <a:lnTo>
                      <a:pt x="108" y="317"/>
                    </a:lnTo>
                    <a:lnTo>
                      <a:pt x="115" y="307"/>
                    </a:lnTo>
                    <a:lnTo>
                      <a:pt x="130" y="296"/>
                    </a:lnTo>
                    <a:lnTo>
                      <a:pt x="136" y="287"/>
                    </a:lnTo>
                    <a:lnTo>
                      <a:pt x="134" y="275"/>
                    </a:lnTo>
                    <a:lnTo>
                      <a:pt x="124" y="265"/>
                    </a:lnTo>
                    <a:lnTo>
                      <a:pt x="120" y="253"/>
                    </a:lnTo>
                    <a:lnTo>
                      <a:pt x="121" y="238"/>
                    </a:lnTo>
                    <a:lnTo>
                      <a:pt x="129" y="226"/>
                    </a:lnTo>
                    <a:lnTo>
                      <a:pt x="132" y="217"/>
                    </a:lnTo>
                    <a:lnTo>
                      <a:pt x="130" y="212"/>
                    </a:lnTo>
                    <a:lnTo>
                      <a:pt x="118" y="194"/>
                    </a:lnTo>
                    <a:lnTo>
                      <a:pt x="114" y="178"/>
                    </a:lnTo>
                    <a:lnTo>
                      <a:pt x="122" y="172"/>
                    </a:lnTo>
                    <a:lnTo>
                      <a:pt x="134" y="168"/>
                    </a:lnTo>
                    <a:lnTo>
                      <a:pt x="143" y="157"/>
                    </a:lnTo>
                    <a:lnTo>
                      <a:pt x="145" y="147"/>
                    </a:lnTo>
                    <a:lnTo>
                      <a:pt x="137" y="137"/>
                    </a:lnTo>
                    <a:lnTo>
                      <a:pt x="137" y="130"/>
                    </a:lnTo>
                    <a:lnTo>
                      <a:pt x="143" y="115"/>
                    </a:lnTo>
                    <a:lnTo>
                      <a:pt x="146" y="101"/>
                    </a:lnTo>
                    <a:lnTo>
                      <a:pt x="146" y="87"/>
                    </a:lnTo>
                    <a:lnTo>
                      <a:pt x="147" y="77"/>
                    </a:lnTo>
                    <a:lnTo>
                      <a:pt x="169" y="55"/>
                    </a:lnTo>
                    <a:lnTo>
                      <a:pt x="177" y="42"/>
                    </a:lnTo>
                    <a:lnTo>
                      <a:pt x="177" y="33"/>
                    </a:lnTo>
                    <a:lnTo>
                      <a:pt x="169" y="24"/>
                    </a:lnTo>
                    <a:lnTo>
                      <a:pt x="163" y="15"/>
                    </a:lnTo>
                    <a:lnTo>
                      <a:pt x="148" y="11"/>
                    </a:lnTo>
                    <a:lnTo>
                      <a:pt x="131" y="11"/>
                    </a:lnTo>
                    <a:lnTo>
                      <a:pt x="118" y="17"/>
                    </a:lnTo>
                    <a:lnTo>
                      <a:pt x="94" y="15"/>
                    </a:lnTo>
                    <a:lnTo>
                      <a:pt x="81" y="17"/>
                    </a:lnTo>
                    <a:lnTo>
                      <a:pt x="73" y="12"/>
                    </a:lnTo>
                    <a:lnTo>
                      <a:pt x="72" y="0"/>
                    </a:lnTo>
                    <a:lnTo>
                      <a:pt x="59" y="2"/>
                    </a:lnTo>
                    <a:lnTo>
                      <a:pt x="44" y="8"/>
                    </a:lnTo>
                    <a:lnTo>
                      <a:pt x="35" y="18"/>
                    </a:lnTo>
                    <a:lnTo>
                      <a:pt x="44" y="63"/>
                    </a:lnTo>
                    <a:lnTo>
                      <a:pt x="45" y="74"/>
                    </a:lnTo>
                    <a:lnTo>
                      <a:pt x="41" y="81"/>
                    </a:lnTo>
                    <a:lnTo>
                      <a:pt x="38" y="104"/>
                    </a:lnTo>
                    <a:lnTo>
                      <a:pt x="35" y="113"/>
                    </a:lnTo>
                    <a:lnTo>
                      <a:pt x="32" y="129"/>
                    </a:lnTo>
                    <a:lnTo>
                      <a:pt x="30" y="144"/>
                    </a:lnTo>
                    <a:lnTo>
                      <a:pt x="28" y="155"/>
                    </a:lnTo>
                    <a:lnTo>
                      <a:pt x="22" y="173"/>
                    </a:lnTo>
                    <a:lnTo>
                      <a:pt x="16" y="184"/>
                    </a:lnTo>
                    <a:lnTo>
                      <a:pt x="3" y="203"/>
                    </a:lnTo>
                    <a:lnTo>
                      <a:pt x="3" y="220"/>
                    </a:lnTo>
                    <a:lnTo>
                      <a:pt x="0" y="235"/>
                    </a:lnTo>
                    <a:lnTo>
                      <a:pt x="1" y="238"/>
                    </a:lnTo>
                    <a:lnTo>
                      <a:pt x="8" y="243"/>
                    </a:lnTo>
                    <a:lnTo>
                      <a:pt x="18" y="259"/>
                    </a:lnTo>
                    <a:lnTo>
                      <a:pt x="25" y="255"/>
                    </a:lnTo>
                    <a:lnTo>
                      <a:pt x="40" y="253"/>
                    </a:lnTo>
                    <a:lnTo>
                      <a:pt x="39" y="258"/>
                    </a:lnTo>
                    <a:lnTo>
                      <a:pt x="36" y="262"/>
                    </a:lnTo>
                    <a:lnTo>
                      <a:pt x="38" y="277"/>
                    </a:lnTo>
                    <a:lnTo>
                      <a:pt x="35" y="290"/>
                    </a:lnTo>
                    <a:lnTo>
                      <a:pt x="36" y="296"/>
                    </a:lnTo>
                    <a:lnTo>
                      <a:pt x="36" y="319"/>
                    </a:lnTo>
                    <a:lnTo>
                      <a:pt x="35" y="328"/>
                    </a:lnTo>
                    <a:lnTo>
                      <a:pt x="29" y="340"/>
                    </a:lnTo>
                    <a:lnTo>
                      <a:pt x="29" y="351"/>
                    </a:lnTo>
                    <a:lnTo>
                      <a:pt x="32" y="355"/>
                    </a:lnTo>
                    <a:lnTo>
                      <a:pt x="43" y="352"/>
                    </a:lnTo>
                    <a:lnTo>
                      <a:pt x="55" y="352"/>
                    </a:lnTo>
                    <a:lnTo>
                      <a:pt x="67" y="352"/>
                    </a:lnTo>
                    <a:lnTo>
                      <a:pt x="76" y="356"/>
                    </a:lnTo>
                    <a:lnTo>
                      <a:pt x="87" y="356"/>
                    </a:lnTo>
                    <a:lnTo>
                      <a:pt x="97" y="352"/>
                    </a:lnTo>
                    <a:lnTo>
                      <a:pt x="104" y="348"/>
                    </a:lnTo>
                    <a:lnTo>
                      <a:pt x="113" y="34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81" name="Freeform 180"/>
              <p:cNvSpPr>
                <a:spLocks noChangeAspect="1"/>
              </p:cNvSpPr>
              <p:nvPr/>
            </p:nvSpPr>
            <p:spPr bwMode="gray">
              <a:xfrm>
                <a:off x="4863306" y="2549872"/>
                <a:ext cx="155575" cy="207963"/>
              </a:xfrm>
              <a:custGeom>
                <a:avLst/>
                <a:gdLst/>
                <a:ahLst/>
                <a:cxnLst>
                  <a:cxn ang="0">
                    <a:pos x="271" y="68"/>
                  </a:cxn>
                  <a:cxn ang="0">
                    <a:pos x="255" y="55"/>
                  </a:cxn>
                  <a:cxn ang="0">
                    <a:pos x="228" y="50"/>
                  </a:cxn>
                  <a:cxn ang="0">
                    <a:pos x="211" y="39"/>
                  </a:cxn>
                  <a:cxn ang="0">
                    <a:pos x="196" y="6"/>
                  </a:cxn>
                  <a:cxn ang="0">
                    <a:pos x="158" y="0"/>
                  </a:cxn>
                  <a:cxn ang="0">
                    <a:pos x="164" y="31"/>
                  </a:cxn>
                  <a:cxn ang="0">
                    <a:pos x="148" y="55"/>
                  </a:cxn>
                  <a:cxn ang="0">
                    <a:pos x="161" y="71"/>
                  </a:cxn>
                  <a:cxn ang="0">
                    <a:pos x="159" y="87"/>
                  </a:cxn>
                  <a:cxn ang="0">
                    <a:pos x="145" y="106"/>
                  </a:cxn>
                  <a:cxn ang="0">
                    <a:pos x="142" y="142"/>
                  </a:cxn>
                  <a:cxn ang="0">
                    <a:pos x="123" y="137"/>
                  </a:cxn>
                  <a:cxn ang="0">
                    <a:pos x="72" y="117"/>
                  </a:cxn>
                  <a:cxn ang="0">
                    <a:pos x="62" y="140"/>
                  </a:cxn>
                  <a:cxn ang="0">
                    <a:pos x="86" y="160"/>
                  </a:cxn>
                  <a:cxn ang="0">
                    <a:pos x="54" y="200"/>
                  </a:cxn>
                  <a:cxn ang="0">
                    <a:pos x="57" y="239"/>
                  </a:cxn>
                  <a:cxn ang="0">
                    <a:pos x="34" y="278"/>
                  </a:cxn>
                  <a:cxn ang="0">
                    <a:pos x="2" y="283"/>
                  </a:cxn>
                  <a:cxn ang="0">
                    <a:pos x="6" y="339"/>
                  </a:cxn>
                  <a:cxn ang="0">
                    <a:pos x="5" y="377"/>
                  </a:cxn>
                  <a:cxn ang="0">
                    <a:pos x="17" y="410"/>
                  </a:cxn>
                  <a:cxn ang="0">
                    <a:pos x="12" y="445"/>
                  </a:cxn>
                  <a:cxn ang="0">
                    <a:pos x="17" y="479"/>
                  </a:cxn>
                  <a:cxn ang="0">
                    <a:pos x="61" y="508"/>
                  </a:cxn>
                  <a:cxn ang="0">
                    <a:pos x="96" y="561"/>
                  </a:cxn>
                  <a:cxn ang="0">
                    <a:pos x="86" y="636"/>
                  </a:cxn>
                  <a:cxn ang="0">
                    <a:pos x="156" y="635"/>
                  </a:cxn>
                  <a:cxn ang="0">
                    <a:pos x="212" y="644"/>
                  </a:cxn>
                  <a:cxn ang="0">
                    <a:pos x="242" y="657"/>
                  </a:cxn>
                  <a:cxn ang="0">
                    <a:pos x="276" y="652"/>
                  </a:cxn>
                  <a:cxn ang="0">
                    <a:pos x="346" y="631"/>
                  </a:cxn>
                  <a:cxn ang="0">
                    <a:pos x="384" y="638"/>
                  </a:cxn>
                  <a:cxn ang="0">
                    <a:pos x="381" y="587"/>
                  </a:cxn>
                  <a:cxn ang="0">
                    <a:pos x="427" y="552"/>
                  </a:cxn>
                  <a:cxn ang="0">
                    <a:pos x="389" y="506"/>
                  </a:cxn>
                  <a:cxn ang="0">
                    <a:pos x="349" y="440"/>
                  </a:cxn>
                  <a:cxn ang="0">
                    <a:pos x="329" y="411"/>
                  </a:cxn>
                  <a:cxn ang="0">
                    <a:pos x="368" y="405"/>
                  </a:cxn>
                  <a:cxn ang="0">
                    <a:pos x="447" y="366"/>
                  </a:cxn>
                  <a:cxn ang="0">
                    <a:pos x="474" y="367"/>
                  </a:cxn>
                  <a:cxn ang="0">
                    <a:pos x="490" y="320"/>
                  </a:cxn>
                  <a:cxn ang="0">
                    <a:pos x="470" y="262"/>
                  </a:cxn>
                  <a:cxn ang="0">
                    <a:pos x="463" y="205"/>
                  </a:cxn>
                  <a:cxn ang="0">
                    <a:pos x="458" y="162"/>
                  </a:cxn>
                  <a:cxn ang="0">
                    <a:pos x="448" y="106"/>
                  </a:cxn>
                  <a:cxn ang="0">
                    <a:pos x="405" y="73"/>
                  </a:cxn>
                  <a:cxn ang="0">
                    <a:pos x="387" y="55"/>
                  </a:cxn>
                  <a:cxn ang="0">
                    <a:pos x="351" y="60"/>
                  </a:cxn>
                  <a:cxn ang="0">
                    <a:pos x="361" y="41"/>
                  </a:cxn>
                  <a:cxn ang="0">
                    <a:pos x="330" y="72"/>
                  </a:cxn>
                  <a:cxn ang="0">
                    <a:pos x="299" y="88"/>
                  </a:cxn>
                  <a:cxn ang="0">
                    <a:pos x="261" y="88"/>
                  </a:cxn>
                </a:cxnLst>
                <a:rect l="0" t="0" r="r" b="b"/>
                <a:pathLst>
                  <a:path w="490" h="659">
                    <a:moveTo>
                      <a:pt x="261" y="88"/>
                    </a:moveTo>
                    <a:lnTo>
                      <a:pt x="260" y="83"/>
                    </a:lnTo>
                    <a:lnTo>
                      <a:pt x="264" y="73"/>
                    </a:lnTo>
                    <a:lnTo>
                      <a:pt x="271" y="68"/>
                    </a:lnTo>
                    <a:lnTo>
                      <a:pt x="276" y="62"/>
                    </a:lnTo>
                    <a:lnTo>
                      <a:pt x="276" y="52"/>
                    </a:lnTo>
                    <a:lnTo>
                      <a:pt x="272" y="49"/>
                    </a:lnTo>
                    <a:lnTo>
                      <a:pt x="255" y="55"/>
                    </a:lnTo>
                    <a:lnTo>
                      <a:pt x="249" y="55"/>
                    </a:lnTo>
                    <a:lnTo>
                      <a:pt x="244" y="49"/>
                    </a:lnTo>
                    <a:lnTo>
                      <a:pt x="233" y="44"/>
                    </a:lnTo>
                    <a:lnTo>
                      <a:pt x="228" y="50"/>
                    </a:lnTo>
                    <a:lnTo>
                      <a:pt x="223" y="50"/>
                    </a:lnTo>
                    <a:lnTo>
                      <a:pt x="222" y="42"/>
                    </a:lnTo>
                    <a:lnTo>
                      <a:pt x="215" y="42"/>
                    </a:lnTo>
                    <a:lnTo>
                      <a:pt x="211" y="39"/>
                    </a:lnTo>
                    <a:lnTo>
                      <a:pt x="217" y="31"/>
                    </a:lnTo>
                    <a:lnTo>
                      <a:pt x="217" y="22"/>
                    </a:lnTo>
                    <a:lnTo>
                      <a:pt x="212" y="11"/>
                    </a:lnTo>
                    <a:lnTo>
                      <a:pt x="196" y="6"/>
                    </a:lnTo>
                    <a:lnTo>
                      <a:pt x="189" y="7"/>
                    </a:lnTo>
                    <a:lnTo>
                      <a:pt x="190" y="2"/>
                    </a:lnTo>
                    <a:lnTo>
                      <a:pt x="182" y="6"/>
                    </a:lnTo>
                    <a:lnTo>
                      <a:pt x="158" y="0"/>
                    </a:lnTo>
                    <a:lnTo>
                      <a:pt x="150" y="1"/>
                    </a:lnTo>
                    <a:lnTo>
                      <a:pt x="150" y="11"/>
                    </a:lnTo>
                    <a:lnTo>
                      <a:pt x="158" y="25"/>
                    </a:lnTo>
                    <a:lnTo>
                      <a:pt x="164" y="31"/>
                    </a:lnTo>
                    <a:lnTo>
                      <a:pt x="167" y="38"/>
                    </a:lnTo>
                    <a:lnTo>
                      <a:pt x="153" y="46"/>
                    </a:lnTo>
                    <a:lnTo>
                      <a:pt x="152" y="50"/>
                    </a:lnTo>
                    <a:lnTo>
                      <a:pt x="148" y="55"/>
                    </a:lnTo>
                    <a:lnTo>
                      <a:pt x="155" y="55"/>
                    </a:lnTo>
                    <a:lnTo>
                      <a:pt x="159" y="58"/>
                    </a:lnTo>
                    <a:lnTo>
                      <a:pt x="157" y="65"/>
                    </a:lnTo>
                    <a:lnTo>
                      <a:pt x="161" y="71"/>
                    </a:lnTo>
                    <a:lnTo>
                      <a:pt x="166" y="74"/>
                    </a:lnTo>
                    <a:lnTo>
                      <a:pt x="164" y="78"/>
                    </a:lnTo>
                    <a:lnTo>
                      <a:pt x="159" y="79"/>
                    </a:lnTo>
                    <a:lnTo>
                      <a:pt x="159" y="87"/>
                    </a:lnTo>
                    <a:lnTo>
                      <a:pt x="172" y="97"/>
                    </a:lnTo>
                    <a:lnTo>
                      <a:pt x="170" y="99"/>
                    </a:lnTo>
                    <a:lnTo>
                      <a:pt x="148" y="99"/>
                    </a:lnTo>
                    <a:lnTo>
                      <a:pt x="145" y="106"/>
                    </a:lnTo>
                    <a:lnTo>
                      <a:pt x="142" y="110"/>
                    </a:lnTo>
                    <a:lnTo>
                      <a:pt x="142" y="128"/>
                    </a:lnTo>
                    <a:lnTo>
                      <a:pt x="148" y="148"/>
                    </a:lnTo>
                    <a:lnTo>
                      <a:pt x="142" y="142"/>
                    </a:lnTo>
                    <a:lnTo>
                      <a:pt x="137" y="128"/>
                    </a:lnTo>
                    <a:lnTo>
                      <a:pt x="130" y="126"/>
                    </a:lnTo>
                    <a:lnTo>
                      <a:pt x="129" y="137"/>
                    </a:lnTo>
                    <a:lnTo>
                      <a:pt x="123" y="137"/>
                    </a:lnTo>
                    <a:lnTo>
                      <a:pt x="120" y="125"/>
                    </a:lnTo>
                    <a:lnTo>
                      <a:pt x="115" y="115"/>
                    </a:lnTo>
                    <a:lnTo>
                      <a:pt x="99" y="113"/>
                    </a:lnTo>
                    <a:lnTo>
                      <a:pt x="72" y="117"/>
                    </a:lnTo>
                    <a:lnTo>
                      <a:pt x="69" y="126"/>
                    </a:lnTo>
                    <a:lnTo>
                      <a:pt x="65" y="130"/>
                    </a:lnTo>
                    <a:lnTo>
                      <a:pt x="61" y="137"/>
                    </a:lnTo>
                    <a:lnTo>
                      <a:pt x="62" y="140"/>
                    </a:lnTo>
                    <a:lnTo>
                      <a:pt x="73" y="142"/>
                    </a:lnTo>
                    <a:lnTo>
                      <a:pt x="78" y="146"/>
                    </a:lnTo>
                    <a:lnTo>
                      <a:pt x="83" y="152"/>
                    </a:lnTo>
                    <a:lnTo>
                      <a:pt x="86" y="160"/>
                    </a:lnTo>
                    <a:lnTo>
                      <a:pt x="83" y="159"/>
                    </a:lnTo>
                    <a:lnTo>
                      <a:pt x="78" y="151"/>
                    </a:lnTo>
                    <a:lnTo>
                      <a:pt x="64" y="154"/>
                    </a:lnTo>
                    <a:lnTo>
                      <a:pt x="54" y="200"/>
                    </a:lnTo>
                    <a:lnTo>
                      <a:pt x="38" y="211"/>
                    </a:lnTo>
                    <a:lnTo>
                      <a:pt x="40" y="219"/>
                    </a:lnTo>
                    <a:lnTo>
                      <a:pt x="59" y="228"/>
                    </a:lnTo>
                    <a:lnTo>
                      <a:pt x="57" y="239"/>
                    </a:lnTo>
                    <a:lnTo>
                      <a:pt x="50" y="249"/>
                    </a:lnTo>
                    <a:lnTo>
                      <a:pt x="40" y="256"/>
                    </a:lnTo>
                    <a:lnTo>
                      <a:pt x="39" y="267"/>
                    </a:lnTo>
                    <a:lnTo>
                      <a:pt x="34" y="278"/>
                    </a:lnTo>
                    <a:lnTo>
                      <a:pt x="26" y="280"/>
                    </a:lnTo>
                    <a:lnTo>
                      <a:pt x="13" y="275"/>
                    </a:lnTo>
                    <a:lnTo>
                      <a:pt x="3" y="275"/>
                    </a:lnTo>
                    <a:lnTo>
                      <a:pt x="2" y="283"/>
                    </a:lnTo>
                    <a:lnTo>
                      <a:pt x="6" y="298"/>
                    </a:lnTo>
                    <a:lnTo>
                      <a:pt x="7" y="308"/>
                    </a:lnTo>
                    <a:lnTo>
                      <a:pt x="6" y="320"/>
                    </a:lnTo>
                    <a:lnTo>
                      <a:pt x="6" y="339"/>
                    </a:lnTo>
                    <a:lnTo>
                      <a:pt x="0" y="346"/>
                    </a:lnTo>
                    <a:lnTo>
                      <a:pt x="0" y="353"/>
                    </a:lnTo>
                    <a:lnTo>
                      <a:pt x="5" y="370"/>
                    </a:lnTo>
                    <a:lnTo>
                      <a:pt x="5" y="377"/>
                    </a:lnTo>
                    <a:lnTo>
                      <a:pt x="10" y="383"/>
                    </a:lnTo>
                    <a:lnTo>
                      <a:pt x="11" y="394"/>
                    </a:lnTo>
                    <a:lnTo>
                      <a:pt x="17" y="402"/>
                    </a:lnTo>
                    <a:lnTo>
                      <a:pt x="17" y="410"/>
                    </a:lnTo>
                    <a:lnTo>
                      <a:pt x="6" y="427"/>
                    </a:lnTo>
                    <a:lnTo>
                      <a:pt x="14" y="431"/>
                    </a:lnTo>
                    <a:lnTo>
                      <a:pt x="12" y="438"/>
                    </a:lnTo>
                    <a:lnTo>
                      <a:pt x="12" y="445"/>
                    </a:lnTo>
                    <a:lnTo>
                      <a:pt x="17" y="453"/>
                    </a:lnTo>
                    <a:lnTo>
                      <a:pt x="21" y="460"/>
                    </a:lnTo>
                    <a:lnTo>
                      <a:pt x="22" y="472"/>
                    </a:lnTo>
                    <a:lnTo>
                      <a:pt x="17" y="479"/>
                    </a:lnTo>
                    <a:lnTo>
                      <a:pt x="29" y="490"/>
                    </a:lnTo>
                    <a:lnTo>
                      <a:pt x="37" y="496"/>
                    </a:lnTo>
                    <a:lnTo>
                      <a:pt x="43" y="507"/>
                    </a:lnTo>
                    <a:lnTo>
                      <a:pt x="61" y="508"/>
                    </a:lnTo>
                    <a:lnTo>
                      <a:pt x="102" y="520"/>
                    </a:lnTo>
                    <a:lnTo>
                      <a:pt x="115" y="526"/>
                    </a:lnTo>
                    <a:lnTo>
                      <a:pt x="113" y="538"/>
                    </a:lnTo>
                    <a:lnTo>
                      <a:pt x="96" y="561"/>
                    </a:lnTo>
                    <a:lnTo>
                      <a:pt x="93" y="573"/>
                    </a:lnTo>
                    <a:lnTo>
                      <a:pt x="86" y="598"/>
                    </a:lnTo>
                    <a:lnTo>
                      <a:pt x="84" y="626"/>
                    </a:lnTo>
                    <a:lnTo>
                      <a:pt x="86" y="636"/>
                    </a:lnTo>
                    <a:lnTo>
                      <a:pt x="88" y="638"/>
                    </a:lnTo>
                    <a:lnTo>
                      <a:pt x="94" y="644"/>
                    </a:lnTo>
                    <a:lnTo>
                      <a:pt x="130" y="639"/>
                    </a:lnTo>
                    <a:lnTo>
                      <a:pt x="156" y="635"/>
                    </a:lnTo>
                    <a:lnTo>
                      <a:pt x="175" y="639"/>
                    </a:lnTo>
                    <a:lnTo>
                      <a:pt x="193" y="648"/>
                    </a:lnTo>
                    <a:lnTo>
                      <a:pt x="204" y="644"/>
                    </a:lnTo>
                    <a:lnTo>
                      <a:pt x="212" y="644"/>
                    </a:lnTo>
                    <a:lnTo>
                      <a:pt x="221" y="646"/>
                    </a:lnTo>
                    <a:lnTo>
                      <a:pt x="227" y="654"/>
                    </a:lnTo>
                    <a:lnTo>
                      <a:pt x="237" y="659"/>
                    </a:lnTo>
                    <a:lnTo>
                      <a:pt x="242" y="657"/>
                    </a:lnTo>
                    <a:lnTo>
                      <a:pt x="244" y="649"/>
                    </a:lnTo>
                    <a:lnTo>
                      <a:pt x="252" y="643"/>
                    </a:lnTo>
                    <a:lnTo>
                      <a:pt x="263" y="644"/>
                    </a:lnTo>
                    <a:lnTo>
                      <a:pt x="276" y="652"/>
                    </a:lnTo>
                    <a:lnTo>
                      <a:pt x="290" y="652"/>
                    </a:lnTo>
                    <a:lnTo>
                      <a:pt x="309" y="639"/>
                    </a:lnTo>
                    <a:lnTo>
                      <a:pt x="342" y="636"/>
                    </a:lnTo>
                    <a:lnTo>
                      <a:pt x="346" y="631"/>
                    </a:lnTo>
                    <a:lnTo>
                      <a:pt x="357" y="635"/>
                    </a:lnTo>
                    <a:lnTo>
                      <a:pt x="372" y="635"/>
                    </a:lnTo>
                    <a:lnTo>
                      <a:pt x="377" y="642"/>
                    </a:lnTo>
                    <a:lnTo>
                      <a:pt x="384" y="638"/>
                    </a:lnTo>
                    <a:lnTo>
                      <a:pt x="384" y="631"/>
                    </a:lnTo>
                    <a:lnTo>
                      <a:pt x="377" y="615"/>
                    </a:lnTo>
                    <a:lnTo>
                      <a:pt x="376" y="599"/>
                    </a:lnTo>
                    <a:lnTo>
                      <a:pt x="381" y="587"/>
                    </a:lnTo>
                    <a:lnTo>
                      <a:pt x="403" y="578"/>
                    </a:lnTo>
                    <a:lnTo>
                      <a:pt x="406" y="568"/>
                    </a:lnTo>
                    <a:lnTo>
                      <a:pt x="410" y="560"/>
                    </a:lnTo>
                    <a:lnTo>
                      <a:pt x="427" y="552"/>
                    </a:lnTo>
                    <a:lnTo>
                      <a:pt x="428" y="545"/>
                    </a:lnTo>
                    <a:lnTo>
                      <a:pt x="425" y="539"/>
                    </a:lnTo>
                    <a:lnTo>
                      <a:pt x="399" y="519"/>
                    </a:lnTo>
                    <a:lnTo>
                      <a:pt x="389" y="506"/>
                    </a:lnTo>
                    <a:lnTo>
                      <a:pt x="361" y="483"/>
                    </a:lnTo>
                    <a:lnTo>
                      <a:pt x="351" y="470"/>
                    </a:lnTo>
                    <a:lnTo>
                      <a:pt x="351" y="453"/>
                    </a:lnTo>
                    <a:lnTo>
                      <a:pt x="349" y="440"/>
                    </a:lnTo>
                    <a:lnTo>
                      <a:pt x="336" y="434"/>
                    </a:lnTo>
                    <a:lnTo>
                      <a:pt x="328" y="425"/>
                    </a:lnTo>
                    <a:lnTo>
                      <a:pt x="328" y="416"/>
                    </a:lnTo>
                    <a:lnTo>
                      <a:pt x="329" y="411"/>
                    </a:lnTo>
                    <a:lnTo>
                      <a:pt x="345" y="426"/>
                    </a:lnTo>
                    <a:lnTo>
                      <a:pt x="347" y="426"/>
                    </a:lnTo>
                    <a:lnTo>
                      <a:pt x="352" y="412"/>
                    </a:lnTo>
                    <a:lnTo>
                      <a:pt x="368" y="405"/>
                    </a:lnTo>
                    <a:lnTo>
                      <a:pt x="385" y="399"/>
                    </a:lnTo>
                    <a:lnTo>
                      <a:pt x="403" y="391"/>
                    </a:lnTo>
                    <a:lnTo>
                      <a:pt x="409" y="379"/>
                    </a:lnTo>
                    <a:lnTo>
                      <a:pt x="447" y="366"/>
                    </a:lnTo>
                    <a:lnTo>
                      <a:pt x="451" y="343"/>
                    </a:lnTo>
                    <a:lnTo>
                      <a:pt x="460" y="346"/>
                    </a:lnTo>
                    <a:lnTo>
                      <a:pt x="468" y="358"/>
                    </a:lnTo>
                    <a:lnTo>
                      <a:pt x="474" y="367"/>
                    </a:lnTo>
                    <a:lnTo>
                      <a:pt x="481" y="367"/>
                    </a:lnTo>
                    <a:lnTo>
                      <a:pt x="485" y="358"/>
                    </a:lnTo>
                    <a:lnTo>
                      <a:pt x="489" y="341"/>
                    </a:lnTo>
                    <a:lnTo>
                      <a:pt x="490" y="320"/>
                    </a:lnTo>
                    <a:lnTo>
                      <a:pt x="489" y="316"/>
                    </a:lnTo>
                    <a:lnTo>
                      <a:pt x="473" y="297"/>
                    </a:lnTo>
                    <a:lnTo>
                      <a:pt x="470" y="273"/>
                    </a:lnTo>
                    <a:lnTo>
                      <a:pt x="470" y="262"/>
                    </a:lnTo>
                    <a:lnTo>
                      <a:pt x="469" y="246"/>
                    </a:lnTo>
                    <a:lnTo>
                      <a:pt x="467" y="237"/>
                    </a:lnTo>
                    <a:lnTo>
                      <a:pt x="464" y="213"/>
                    </a:lnTo>
                    <a:lnTo>
                      <a:pt x="463" y="205"/>
                    </a:lnTo>
                    <a:lnTo>
                      <a:pt x="448" y="194"/>
                    </a:lnTo>
                    <a:lnTo>
                      <a:pt x="447" y="186"/>
                    </a:lnTo>
                    <a:lnTo>
                      <a:pt x="452" y="174"/>
                    </a:lnTo>
                    <a:lnTo>
                      <a:pt x="458" y="162"/>
                    </a:lnTo>
                    <a:lnTo>
                      <a:pt x="459" y="149"/>
                    </a:lnTo>
                    <a:lnTo>
                      <a:pt x="459" y="132"/>
                    </a:lnTo>
                    <a:lnTo>
                      <a:pt x="451" y="115"/>
                    </a:lnTo>
                    <a:lnTo>
                      <a:pt x="448" y="106"/>
                    </a:lnTo>
                    <a:lnTo>
                      <a:pt x="426" y="99"/>
                    </a:lnTo>
                    <a:lnTo>
                      <a:pt x="424" y="85"/>
                    </a:lnTo>
                    <a:lnTo>
                      <a:pt x="415" y="72"/>
                    </a:lnTo>
                    <a:lnTo>
                      <a:pt x="405" y="73"/>
                    </a:lnTo>
                    <a:lnTo>
                      <a:pt x="399" y="68"/>
                    </a:lnTo>
                    <a:lnTo>
                      <a:pt x="397" y="67"/>
                    </a:lnTo>
                    <a:lnTo>
                      <a:pt x="394" y="60"/>
                    </a:lnTo>
                    <a:lnTo>
                      <a:pt x="387" y="55"/>
                    </a:lnTo>
                    <a:lnTo>
                      <a:pt x="381" y="49"/>
                    </a:lnTo>
                    <a:lnTo>
                      <a:pt x="365" y="51"/>
                    </a:lnTo>
                    <a:lnTo>
                      <a:pt x="357" y="55"/>
                    </a:lnTo>
                    <a:lnTo>
                      <a:pt x="351" y="60"/>
                    </a:lnTo>
                    <a:lnTo>
                      <a:pt x="352" y="54"/>
                    </a:lnTo>
                    <a:lnTo>
                      <a:pt x="358" y="49"/>
                    </a:lnTo>
                    <a:lnTo>
                      <a:pt x="368" y="42"/>
                    </a:lnTo>
                    <a:lnTo>
                      <a:pt x="361" y="41"/>
                    </a:lnTo>
                    <a:lnTo>
                      <a:pt x="352" y="42"/>
                    </a:lnTo>
                    <a:lnTo>
                      <a:pt x="339" y="60"/>
                    </a:lnTo>
                    <a:lnTo>
                      <a:pt x="335" y="70"/>
                    </a:lnTo>
                    <a:lnTo>
                      <a:pt x="330" y="72"/>
                    </a:lnTo>
                    <a:lnTo>
                      <a:pt x="330" y="66"/>
                    </a:lnTo>
                    <a:lnTo>
                      <a:pt x="312" y="71"/>
                    </a:lnTo>
                    <a:lnTo>
                      <a:pt x="296" y="83"/>
                    </a:lnTo>
                    <a:lnTo>
                      <a:pt x="299" y="88"/>
                    </a:lnTo>
                    <a:lnTo>
                      <a:pt x="290" y="88"/>
                    </a:lnTo>
                    <a:lnTo>
                      <a:pt x="277" y="84"/>
                    </a:lnTo>
                    <a:lnTo>
                      <a:pt x="264" y="94"/>
                    </a:lnTo>
                    <a:lnTo>
                      <a:pt x="261" y="8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grpSp>
            <p:nvGrpSpPr>
              <p:cNvPr id="182" name="Group 181"/>
              <p:cNvGrpSpPr>
                <a:grpSpLocks noChangeAspect="1"/>
              </p:cNvGrpSpPr>
              <p:nvPr/>
            </p:nvGrpSpPr>
            <p:grpSpPr>
              <a:xfrm>
                <a:off x="4679156" y="2659410"/>
                <a:ext cx="247650" cy="244475"/>
                <a:chOff x="2465" y="1836"/>
                <a:chExt cx="156" cy="154"/>
              </a:xfrm>
              <a:grpFill/>
            </p:grpSpPr>
            <p:sp>
              <p:nvSpPr>
                <p:cNvPr id="215" name="Freeform 190"/>
                <p:cNvSpPr>
                  <a:spLocks noChangeAspect="1"/>
                </p:cNvSpPr>
                <p:nvPr/>
              </p:nvSpPr>
              <p:spPr bwMode="gray">
                <a:xfrm>
                  <a:off x="2610" y="1966"/>
                  <a:ext cx="11" cy="24"/>
                </a:xfrm>
                <a:custGeom>
                  <a:avLst/>
                  <a:gdLst/>
                  <a:ahLst/>
                  <a:cxnLst>
                    <a:cxn ang="0">
                      <a:pos x="41" y="0"/>
                    </a:cxn>
                    <a:cxn ang="0">
                      <a:pos x="46" y="2"/>
                    </a:cxn>
                    <a:cxn ang="0">
                      <a:pos x="47" y="32"/>
                    </a:cxn>
                    <a:cxn ang="0">
                      <a:pos x="52" y="59"/>
                    </a:cxn>
                    <a:cxn ang="0">
                      <a:pos x="51" y="70"/>
                    </a:cxn>
                    <a:cxn ang="0">
                      <a:pos x="47" y="79"/>
                    </a:cxn>
                    <a:cxn ang="0">
                      <a:pos x="44" y="89"/>
                    </a:cxn>
                    <a:cxn ang="0">
                      <a:pos x="41" y="103"/>
                    </a:cxn>
                    <a:cxn ang="0">
                      <a:pos x="33" y="115"/>
                    </a:cxn>
                    <a:cxn ang="0">
                      <a:pos x="33" y="121"/>
                    </a:cxn>
                    <a:cxn ang="0">
                      <a:pos x="28" y="114"/>
                    </a:cxn>
                    <a:cxn ang="0">
                      <a:pos x="22" y="113"/>
                    </a:cxn>
                    <a:cxn ang="0">
                      <a:pos x="16" y="109"/>
                    </a:cxn>
                    <a:cxn ang="0">
                      <a:pos x="14" y="103"/>
                    </a:cxn>
                    <a:cxn ang="0">
                      <a:pos x="14" y="95"/>
                    </a:cxn>
                    <a:cxn ang="0">
                      <a:pos x="8" y="93"/>
                    </a:cxn>
                    <a:cxn ang="0">
                      <a:pos x="5" y="87"/>
                    </a:cxn>
                    <a:cxn ang="0">
                      <a:pos x="4" y="65"/>
                    </a:cxn>
                    <a:cxn ang="0">
                      <a:pos x="0" y="60"/>
                    </a:cxn>
                    <a:cxn ang="0">
                      <a:pos x="0" y="44"/>
                    </a:cxn>
                    <a:cxn ang="0">
                      <a:pos x="5" y="30"/>
                    </a:cxn>
                    <a:cxn ang="0">
                      <a:pos x="10" y="32"/>
                    </a:cxn>
                    <a:cxn ang="0">
                      <a:pos x="16" y="29"/>
                    </a:cxn>
                    <a:cxn ang="0">
                      <a:pos x="27" y="22"/>
                    </a:cxn>
                    <a:cxn ang="0">
                      <a:pos x="36" y="18"/>
                    </a:cxn>
                    <a:cxn ang="0">
                      <a:pos x="38" y="14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52" h="120">
                      <a:moveTo>
                        <a:pt x="41" y="0"/>
                      </a:moveTo>
                      <a:lnTo>
                        <a:pt x="46" y="2"/>
                      </a:lnTo>
                      <a:lnTo>
                        <a:pt x="47" y="32"/>
                      </a:lnTo>
                      <a:lnTo>
                        <a:pt x="52" y="59"/>
                      </a:lnTo>
                      <a:lnTo>
                        <a:pt x="51" y="70"/>
                      </a:lnTo>
                      <a:lnTo>
                        <a:pt x="47" y="79"/>
                      </a:lnTo>
                      <a:lnTo>
                        <a:pt x="44" y="89"/>
                      </a:lnTo>
                      <a:lnTo>
                        <a:pt x="41" y="103"/>
                      </a:lnTo>
                      <a:lnTo>
                        <a:pt x="33" y="115"/>
                      </a:lnTo>
                      <a:lnTo>
                        <a:pt x="33" y="121"/>
                      </a:lnTo>
                      <a:lnTo>
                        <a:pt x="28" y="114"/>
                      </a:lnTo>
                      <a:lnTo>
                        <a:pt x="22" y="113"/>
                      </a:lnTo>
                      <a:lnTo>
                        <a:pt x="16" y="109"/>
                      </a:lnTo>
                      <a:lnTo>
                        <a:pt x="14" y="103"/>
                      </a:lnTo>
                      <a:lnTo>
                        <a:pt x="14" y="95"/>
                      </a:lnTo>
                      <a:lnTo>
                        <a:pt x="8" y="93"/>
                      </a:lnTo>
                      <a:lnTo>
                        <a:pt x="5" y="87"/>
                      </a:lnTo>
                      <a:lnTo>
                        <a:pt x="4" y="65"/>
                      </a:lnTo>
                      <a:lnTo>
                        <a:pt x="0" y="60"/>
                      </a:lnTo>
                      <a:lnTo>
                        <a:pt x="0" y="44"/>
                      </a:lnTo>
                      <a:lnTo>
                        <a:pt x="5" y="30"/>
                      </a:lnTo>
                      <a:lnTo>
                        <a:pt x="10" y="32"/>
                      </a:lnTo>
                      <a:lnTo>
                        <a:pt x="16" y="29"/>
                      </a:lnTo>
                      <a:lnTo>
                        <a:pt x="27" y="22"/>
                      </a:lnTo>
                      <a:lnTo>
                        <a:pt x="36" y="18"/>
                      </a:lnTo>
                      <a:lnTo>
                        <a:pt x="38" y="14"/>
                      </a:lnTo>
                      <a:lnTo>
                        <a:pt x="41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216" name="Freeform 191"/>
                <p:cNvSpPr>
                  <a:spLocks noChangeAspect="1"/>
                </p:cNvSpPr>
                <p:nvPr/>
              </p:nvSpPr>
              <p:spPr bwMode="gray">
                <a:xfrm>
                  <a:off x="2465" y="1836"/>
                  <a:ext cx="139" cy="140"/>
                </a:xfrm>
                <a:custGeom>
                  <a:avLst/>
                  <a:gdLst/>
                  <a:ahLst/>
                  <a:cxnLst>
                    <a:cxn ang="0">
                      <a:pos x="349" y="36"/>
                    </a:cxn>
                    <a:cxn ang="0">
                      <a:pos x="322" y="100"/>
                    </a:cxn>
                    <a:cxn ang="0">
                      <a:pos x="284" y="138"/>
                    </a:cxn>
                    <a:cxn ang="0">
                      <a:pos x="248" y="154"/>
                    </a:cxn>
                    <a:cxn ang="0">
                      <a:pos x="191" y="133"/>
                    </a:cxn>
                    <a:cxn ang="0">
                      <a:pos x="159" y="140"/>
                    </a:cxn>
                    <a:cxn ang="0">
                      <a:pos x="177" y="202"/>
                    </a:cxn>
                    <a:cxn ang="0">
                      <a:pos x="160" y="205"/>
                    </a:cxn>
                    <a:cxn ang="0">
                      <a:pos x="93" y="194"/>
                    </a:cxn>
                    <a:cxn ang="0">
                      <a:pos x="51" y="206"/>
                    </a:cxn>
                    <a:cxn ang="0">
                      <a:pos x="0" y="235"/>
                    </a:cxn>
                    <a:cxn ang="0">
                      <a:pos x="11" y="248"/>
                    </a:cxn>
                    <a:cxn ang="0">
                      <a:pos x="10" y="263"/>
                    </a:cxn>
                    <a:cxn ang="0">
                      <a:pos x="43" y="273"/>
                    </a:cxn>
                    <a:cxn ang="0">
                      <a:pos x="103" y="294"/>
                    </a:cxn>
                    <a:cxn ang="0">
                      <a:pos x="128" y="302"/>
                    </a:cxn>
                    <a:cxn ang="0">
                      <a:pos x="148" y="328"/>
                    </a:cxn>
                    <a:cxn ang="0">
                      <a:pos x="144" y="351"/>
                    </a:cxn>
                    <a:cxn ang="0">
                      <a:pos x="188" y="397"/>
                    </a:cxn>
                    <a:cxn ang="0">
                      <a:pos x="199" y="440"/>
                    </a:cxn>
                    <a:cxn ang="0">
                      <a:pos x="220" y="475"/>
                    </a:cxn>
                    <a:cxn ang="0">
                      <a:pos x="197" y="527"/>
                    </a:cxn>
                    <a:cxn ang="0">
                      <a:pos x="197" y="547"/>
                    </a:cxn>
                    <a:cxn ang="0">
                      <a:pos x="162" y="628"/>
                    </a:cxn>
                    <a:cxn ang="0">
                      <a:pos x="222" y="666"/>
                    </a:cxn>
                    <a:cxn ang="0">
                      <a:pos x="308" y="670"/>
                    </a:cxn>
                    <a:cxn ang="0">
                      <a:pos x="361" y="698"/>
                    </a:cxn>
                    <a:cxn ang="0">
                      <a:pos x="431" y="697"/>
                    </a:cxn>
                    <a:cxn ang="0">
                      <a:pos x="452" y="629"/>
                    </a:cxn>
                    <a:cxn ang="0">
                      <a:pos x="487" y="615"/>
                    </a:cxn>
                    <a:cxn ang="0">
                      <a:pos x="525" y="625"/>
                    </a:cxn>
                    <a:cxn ang="0">
                      <a:pos x="552" y="628"/>
                    </a:cxn>
                    <a:cxn ang="0">
                      <a:pos x="593" y="645"/>
                    </a:cxn>
                    <a:cxn ang="0">
                      <a:pos x="640" y="608"/>
                    </a:cxn>
                    <a:cxn ang="0">
                      <a:pos x="667" y="585"/>
                    </a:cxn>
                    <a:cxn ang="0">
                      <a:pos x="635" y="550"/>
                    </a:cxn>
                    <a:cxn ang="0">
                      <a:pos x="624" y="509"/>
                    </a:cxn>
                    <a:cxn ang="0">
                      <a:pos x="640" y="477"/>
                    </a:cxn>
                    <a:cxn ang="0">
                      <a:pos x="636" y="430"/>
                    </a:cxn>
                    <a:cxn ang="0">
                      <a:pos x="620" y="388"/>
                    </a:cxn>
                    <a:cxn ang="0">
                      <a:pos x="584" y="385"/>
                    </a:cxn>
                    <a:cxn ang="0">
                      <a:pos x="603" y="355"/>
                    </a:cxn>
                    <a:cxn ang="0">
                      <a:pos x="635" y="299"/>
                    </a:cxn>
                    <a:cxn ang="0">
                      <a:pos x="663" y="279"/>
                    </a:cxn>
                    <a:cxn ang="0">
                      <a:pos x="694" y="179"/>
                    </a:cxn>
                    <a:cxn ang="0">
                      <a:pos x="608" y="143"/>
                    </a:cxn>
                    <a:cxn ang="0">
                      <a:pos x="548" y="127"/>
                    </a:cxn>
                    <a:cxn ang="0">
                      <a:pos x="526" y="82"/>
                    </a:cxn>
                    <a:cxn ang="0">
                      <a:pos x="489" y="93"/>
                    </a:cxn>
                    <a:cxn ang="0">
                      <a:pos x="452" y="52"/>
                    </a:cxn>
                    <a:cxn ang="0">
                      <a:pos x="408" y="16"/>
                    </a:cxn>
                  </a:cxnLst>
                  <a:rect l="0" t="0" r="r" b="b"/>
                  <a:pathLst>
                    <a:path w="694" h="700">
                      <a:moveTo>
                        <a:pt x="408" y="0"/>
                      </a:moveTo>
                      <a:lnTo>
                        <a:pt x="403" y="4"/>
                      </a:lnTo>
                      <a:lnTo>
                        <a:pt x="381" y="7"/>
                      </a:lnTo>
                      <a:lnTo>
                        <a:pt x="355" y="17"/>
                      </a:lnTo>
                      <a:lnTo>
                        <a:pt x="349" y="36"/>
                      </a:lnTo>
                      <a:lnTo>
                        <a:pt x="345" y="66"/>
                      </a:lnTo>
                      <a:lnTo>
                        <a:pt x="349" y="70"/>
                      </a:lnTo>
                      <a:lnTo>
                        <a:pt x="348" y="76"/>
                      </a:lnTo>
                      <a:lnTo>
                        <a:pt x="336" y="90"/>
                      </a:lnTo>
                      <a:lnTo>
                        <a:pt x="322" y="100"/>
                      </a:lnTo>
                      <a:lnTo>
                        <a:pt x="290" y="109"/>
                      </a:lnTo>
                      <a:lnTo>
                        <a:pt x="275" y="119"/>
                      </a:lnTo>
                      <a:lnTo>
                        <a:pt x="268" y="132"/>
                      </a:lnTo>
                      <a:lnTo>
                        <a:pt x="269" y="138"/>
                      </a:lnTo>
                      <a:lnTo>
                        <a:pt x="284" y="138"/>
                      </a:lnTo>
                      <a:lnTo>
                        <a:pt x="289" y="139"/>
                      </a:lnTo>
                      <a:lnTo>
                        <a:pt x="288" y="143"/>
                      </a:lnTo>
                      <a:lnTo>
                        <a:pt x="267" y="145"/>
                      </a:lnTo>
                      <a:lnTo>
                        <a:pt x="257" y="152"/>
                      </a:lnTo>
                      <a:lnTo>
                        <a:pt x="248" y="154"/>
                      </a:lnTo>
                      <a:lnTo>
                        <a:pt x="237" y="154"/>
                      </a:lnTo>
                      <a:lnTo>
                        <a:pt x="224" y="150"/>
                      </a:lnTo>
                      <a:lnTo>
                        <a:pt x="208" y="148"/>
                      </a:lnTo>
                      <a:lnTo>
                        <a:pt x="203" y="149"/>
                      </a:lnTo>
                      <a:lnTo>
                        <a:pt x="191" y="133"/>
                      </a:lnTo>
                      <a:lnTo>
                        <a:pt x="192" y="124"/>
                      </a:lnTo>
                      <a:lnTo>
                        <a:pt x="188" y="122"/>
                      </a:lnTo>
                      <a:lnTo>
                        <a:pt x="167" y="123"/>
                      </a:lnTo>
                      <a:lnTo>
                        <a:pt x="157" y="120"/>
                      </a:lnTo>
                      <a:lnTo>
                        <a:pt x="159" y="140"/>
                      </a:lnTo>
                      <a:lnTo>
                        <a:pt x="162" y="149"/>
                      </a:lnTo>
                      <a:lnTo>
                        <a:pt x="168" y="154"/>
                      </a:lnTo>
                      <a:lnTo>
                        <a:pt x="175" y="177"/>
                      </a:lnTo>
                      <a:lnTo>
                        <a:pt x="175" y="189"/>
                      </a:lnTo>
                      <a:lnTo>
                        <a:pt x="177" y="202"/>
                      </a:lnTo>
                      <a:lnTo>
                        <a:pt x="183" y="206"/>
                      </a:lnTo>
                      <a:lnTo>
                        <a:pt x="179" y="210"/>
                      </a:lnTo>
                      <a:lnTo>
                        <a:pt x="168" y="211"/>
                      </a:lnTo>
                      <a:lnTo>
                        <a:pt x="165" y="208"/>
                      </a:lnTo>
                      <a:lnTo>
                        <a:pt x="160" y="205"/>
                      </a:lnTo>
                      <a:lnTo>
                        <a:pt x="152" y="208"/>
                      </a:lnTo>
                      <a:lnTo>
                        <a:pt x="145" y="210"/>
                      </a:lnTo>
                      <a:lnTo>
                        <a:pt x="136" y="209"/>
                      </a:lnTo>
                      <a:lnTo>
                        <a:pt x="118" y="215"/>
                      </a:lnTo>
                      <a:lnTo>
                        <a:pt x="93" y="194"/>
                      </a:lnTo>
                      <a:lnTo>
                        <a:pt x="76" y="195"/>
                      </a:lnTo>
                      <a:lnTo>
                        <a:pt x="71" y="193"/>
                      </a:lnTo>
                      <a:lnTo>
                        <a:pt x="66" y="197"/>
                      </a:lnTo>
                      <a:lnTo>
                        <a:pt x="65" y="202"/>
                      </a:lnTo>
                      <a:lnTo>
                        <a:pt x="51" y="206"/>
                      </a:lnTo>
                      <a:lnTo>
                        <a:pt x="42" y="206"/>
                      </a:lnTo>
                      <a:lnTo>
                        <a:pt x="26" y="209"/>
                      </a:lnTo>
                      <a:lnTo>
                        <a:pt x="4" y="219"/>
                      </a:lnTo>
                      <a:lnTo>
                        <a:pt x="0" y="229"/>
                      </a:lnTo>
                      <a:lnTo>
                        <a:pt x="0" y="235"/>
                      </a:lnTo>
                      <a:lnTo>
                        <a:pt x="20" y="232"/>
                      </a:lnTo>
                      <a:lnTo>
                        <a:pt x="19" y="237"/>
                      </a:lnTo>
                      <a:lnTo>
                        <a:pt x="14" y="237"/>
                      </a:lnTo>
                      <a:lnTo>
                        <a:pt x="9" y="243"/>
                      </a:lnTo>
                      <a:lnTo>
                        <a:pt x="11" y="248"/>
                      </a:lnTo>
                      <a:lnTo>
                        <a:pt x="19" y="247"/>
                      </a:lnTo>
                      <a:lnTo>
                        <a:pt x="28" y="247"/>
                      </a:lnTo>
                      <a:lnTo>
                        <a:pt x="26" y="254"/>
                      </a:lnTo>
                      <a:lnTo>
                        <a:pt x="5" y="258"/>
                      </a:lnTo>
                      <a:lnTo>
                        <a:pt x="10" y="263"/>
                      </a:lnTo>
                      <a:lnTo>
                        <a:pt x="23" y="268"/>
                      </a:lnTo>
                      <a:lnTo>
                        <a:pt x="23" y="279"/>
                      </a:lnTo>
                      <a:lnTo>
                        <a:pt x="35" y="280"/>
                      </a:lnTo>
                      <a:lnTo>
                        <a:pt x="35" y="274"/>
                      </a:lnTo>
                      <a:lnTo>
                        <a:pt x="43" y="273"/>
                      </a:lnTo>
                      <a:lnTo>
                        <a:pt x="74" y="284"/>
                      </a:lnTo>
                      <a:lnTo>
                        <a:pt x="84" y="291"/>
                      </a:lnTo>
                      <a:lnTo>
                        <a:pt x="86" y="296"/>
                      </a:lnTo>
                      <a:lnTo>
                        <a:pt x="91" y="299"/>
                      </a:lnTo>
                      <a:lnTo>
                        <a:pt x="103" y="294"/>
                      </a:lnTo>
                      <a:lnTo>
                        <a:pt x="111" y="296"/>
                      </a:lnTo>
                      <a:lnTo>
                        <a:pt x="106" y="300"/>
                      </a:lnTo>
                      <a:lnTo>
                        <a:pt x="118" y="305"/>
                      </a:lnTo>
                      <a:lnTo>
                        <a:pt x="124" y="300"/>
                      </a:lnTo>
                      <a:lnTo>
                        <a:pt x="128" y="302"/>
                      </a:lnTo>
                      <a:lnTo>
                        <a:pt x="125" y="318"/>
                      </a:lnTo>
                      <a:lnTo>
                        <a:pt x="140" y="322"/>
                      </a:lnTo>
                      <a:lnTo>
                        <a:pt x="155" y="318"/>
                      </a:lnTo>
                      <a:lnTo>
                        <a:pt x="165" y="323"/>
                      </a:lnTo>
                      <a:lnTo>
                        <a:pt x="148" y="328"/>
                      </a:lnTo>
                      <a:lnTo>
                        <a:pt x="148" y="334"/>
                      </a:lnTo>
                      <a:lnTo>
                        <a:pt x="155" y="342"/>
                      </a:lnTo>
                      <a:lnTo>
                        <a:pt x="150" y="349"/>
                      </a:lnTo>
                      <a:lnTo>
                        <a:pt x="144" y="344"/>
                      </a:lnTo>
                      <a:lnTo>
                        <a:pt x="144" y="351"/>
                      </a:lnTo>
                      <a:lnTo>
                        <a:pt x="155" y="364"/>
                      </a:lnTo>
                      <a:lnTo>
                        <a:pt x="161" y="374"/>
                      </a:lnTo>
                      <a:lnTo>
                        <a:pt x="164" y="381"/>
                      </a:lnTo>
                      <a:lnTo>
                        <a:pt x="176" y="389"/>
                      </a:lnTo>
                      <a:lnTo>
                        <a:pt x="188" y="397"/>
                      </a:lnTo>
                      <a:lnTo>
                        <a:pt x="203" y="401"/>
                      </a:lnTo>
                      <a:lnTo>
                        <a:pt x="200" y="408"/>
                      </a:lnTo>
                      <a:lnTo>
                        <a:pt x="204" y="417"/>
                      </a:lnTo>
                      <a:lnTo>
                        <a:pt x="204" y="429"/>
                      </a:lnTo>
                      <a:lnTo>
                        <a:pt x="199" y="440"/>
                      </a:lnTo>
                      <a:lnTo>
                        <a:pt x="203" y="450"/>
                      </a:lnTo>
                      <a:lnTo>
                        <a:pt x="213" y="457"/>
                      </a:lnTo>
                      <a:lnTo>
                        <a:pt x="220" y="467"/>
                      </a:lnTo>
                      <a:lnTo>
                        <a:pt x="224" y="480"/>
                      </a:lnTo>
                      <a:lnTo>
                        <a:pt x="220" y="475"/>
                      </a:lnTo>
                      <a:lnTo>
                        <a:pt x="207" y="460"/>
                      </a:lnTo>
                      <a:lnTo>
                        <a:pt x="203" y="467"/>
                      </a:lnTo>
                      <a:lnTo>
                        <a:pt x="203" y="484"/>
                      </a:lnTo>
                      <a:lnTo>
                        <a:pt x="198" y="517"/>
                      </a:lnTo>
                      <a:lnTo>
                        <a:pt x="197" y="527"/>
                      </a:lnTo>
                      <a:lnTo>
                        <a:pt x="203" y="518"/>
                      </a:lnTo>
                      <a:lnTo>
                        <a:pt x="207" y="526"/>
                      </a:lnTo>
                      <a:lnTo>
                        <a:pt x="204" y="530"/>
                      </a:lnTo>
                      <a:lnTo>
                        <a:pt x="197" y="534"/>
                      </a:lnTo>
                      <a:lnTo>
                        <a:pt x="197" y="547"/>
                      </a:lnTo>
                      <a:lnTo>
                        <a:pt x="186" y="607"/>
                      </a:lnTo>
                      <a:lnTo>
                        <a:pt x="181" y="618"/>
                      </a:lnTo>
                      <a:lnTo>
                        <a:pt x="171" y="624"/>
                      </a:lnTo>
                      <a:lnTo>
                        <a:pt x="161" y="624"/>
                      </a:lnTo>
                      <a:lnTo>
                        <a:pt x="162" y="628"/>
                      </a:lnTo>
                      <a:lnTo>
                        <a:pt x="184" y="646"/>
                      </a:lnTo>
                      <a:lnTo>
                        <a:pt x="193" y="650"/>
                      </a:lnTo>
                      <a:lnTo>
                        <a:pt x="204" y="652"/>
                      </a:lnTo>
                      <a:lnTo>
                        <a:pt x="215" y="660"/>
                      </a:lnTo>
                      <a:lnTo>
                        <a:pt x="222" y="666"/>
                      </a:lnTo>
                      <a:lnTo>
                        <a:pt x="268" y="678"/>
                      </a:lnTo>
                      <a:lnTo>
                        <a:pt x="284" y="679"/>
                      </a:lnTo>
                      <a:lnTo>
                        <a:pt x="290" y="678"/>
                      </a:lnTo>
                      <a:lnTo>
                        <a:pt x="300" y="671"/>
                      </a:lnTo>
                      <a:lnTo>
                        <a:pt x="308" y="670"/>
                      </a:lnTo>
                      <a:lnTo>
                        <a:pt x="317" y="672"/>
                      </a:lnTo>
                      <a:lnTo>
                        <a:pt x="332" y="682"/>
                      </a:lnTo>
                      <a:lnTo>
                        <a:pt x="345" y="683"/>
                      </a:lnTo>
                      <a:lnTo>
                        <a:pt x="350" y="689"/>
                      </a:lnTo>
                      <a:lnTo>
                        <a:pt x="361" y="698"/>
                      </a:lnTo>
                      <a:lnTo>
                        <a:pt x="369" y="700"/>
                      </a:lnTo>
                      <a:lnTo>
                        <a:pt x="397" y="698"/>
                      </a:lnTo>
                      <a:lnTo>
                        <a:pt x="410" y="695"/>
                      </a:lnTo>
                      <a:lnTo>
                        <a:pt x="424" y="695"/>
                      </a:lnTo>
                      <a:lnTo>
                        <a:pt x="431" y="697"/>
                      </a:lnTo>
                      <a:lnTo>
                        <a:pt x="429" y="667"/>
                      </a:lnTo>
                      <a:lnTo>
                        <a:pt x="425" y="663"/>
                      </a:lnTo>
                      <a:lnTo>
                        <a:pt x="428" y="649"/>
                      </a:lnTo>
                      <a:lnTo>
                        <a:pt x="434" y="638"/>
                      </a:lnTo>
                      <a:lnTo>
                        <a:pt x="452" y="629"/>
                      </a:lnTo>
                      <a:lnTo>
                        <a:pt x="463" y="622"/>
                      </a:lnTo>
                      <a:lnTo>
                        <a:pt x="469" y="617"/>
                      </a:lnTo>
                      <a:lnTo>
                        <a:pt x="478" y="612"/>
                      </a:lnTo>
                      <a:lnTo>
                        <a:pt x="483" y="612"/>
                      </a:lnTo>
                      <a:lnTo>
                        <a:pt x="487" y="615"/>
                      </a:lnTo>
                      <a:lnTo>
                        <a:pt x="503" y="618"/>
                      </a:lnTo>
                      <a:lnTo>
                        <a:pt x="505" y="619"/>
                      </a:lnTo>
                      <a:lnTo>
                        <a:pt x="507" y="623"/>
                      </a:lnTo>
                      <a:lnTo>
                        <a:pt x="512" y="624"/>
                      </a:lnTo>
                      <a:lnTo>
                        <a:pt x="525" y="625"/>
                      </a:lnTo>
                      <a:lnTo>
                        <a:pt x="526" y="622"/>
                      </a:lnTo>
                      <a:lnTo>
                        <a:pt x="536" y="623"/>
                      </a:lnTo>
                      <a:lnTo>
                        <a:pt x="538" y="625"/>
                      </a:lnTo>
                      <a:lnTo>
                        <a:pt x="546" y="625"/>
                      </a:lnTo>
                      <a:lnTo>
                        <a:pt x="552" y="628"/>
                      </a:lnTo>
                      <a:lnTo>
                        <a:pt x="553" y="633"/>
                      </a:lnTo>
                      <a:lnTo>
                        <a:pt x="557" y="634"/>
                      </a:lnTo>
                      <a:lnTo>
                        <a:pt x="569" y="635"/>
                      </a:lnTo>
                      <a:lnTo>
                        <a:pt x="578" y="644"/>
                      </a:lnTo>
                      <a:lnTo>
                        <a:pt x="593" y="645"/>
                      </a:lnTo>
                      <a:lnTo>
                        <a:pt x="617" y="634"/>
                      </a:lnTo>
                      <a:lnTo>
                        <a:pt x="619" y="631"/>
                      </a:lnTo>
                      <a:lnTo>
                        <a:pt x="620" y="625"/>
                      </a:lnTo>
                      <a:lnTo>
                        <a:pt x="629" y="619"/>
                      </a:lnTo>
                      <a:lnTo>
                        <a:pt x="640" y="608"/>
                      </a:lnTo>
                      <a:lnTo>
                        <a:pt x="646" y="604"/>
                      </a:lnTo>
                      <a:lnTo>
                        <a:pt x="648" y="600"/>
                      </a:lnTo>
                      <a:lnTo>
                        <a:pt x="667" y="590"/>
                      </a:lnTo>
                      <a:lnTo>
                        <a:pt x="668" y="588"/>
                      </a:lnTo>
                      <a:lnTo>
                        <a:pt x="667" y="585"/>
                      </a:lnTo>
                      <a:lnTo>
                        <a:pt x="670" y="579"/>
                      </a:lnTo>
                      <a:lnTo>
                        <a:pt x="670" y="570"/>
                      </a:lnTo>
                      <a:lnTo>
                        <a:pt x="666" y="561"/>
                      </a:lnTo>
                      <a:lnTo>
                        <a:pt x="641" y="559"/>
                      </a:lnTo>
                      <a:lnTo>
                        <a:pt x="635" y="550"/>
                      </a:lnTo>
                      <a:lnTo>
                        <a:pt x="633" y="539"/>
                      </a:lnTo>
                      <a:lnTo>
                        <a:pt x="632" y="528"/>
                      </a:lnTo>
                      <a:lnTo>
                        <a:pt x="634" y="520"/>
                      </a:lnTo>
                      <a:lnTo>
                        <a:pt x="633" y="511"/>
                      </a:lnTo>
                      <a:lnTo>
                        <a:pt x="624" y="509"/>
                      </a:lnTo>
                      <a:lnTo>
                        <a:pt x="623" y="504"/>
                      </a:lnTo>
                      <a:lnTo>
                        <a:pt x="622" y="499"/>
                      </a:lnTo>
                      <a:lnTo>
                        <a:pt x="624" y="490"/>
                      </a:lnTo>
                      <a:lnTo>
                        <a:pt x="629" y="484"/>
                      </a:lnTo>
                      <a:lnTo>
                        <a:pt x="640" y="477"/>
                      </a:lnTo>
                      <a:lnTo>
                        <a:pt x="638" y="467"/>
                      </a:lnTo>
                      <a:lnTo>
                        <a:pt x="627" y="441"/>
                      </a:lnTo>
                      <a:lnTo>
                        <a:pt x="625" y="436"/>
                      </a:lnTo>
                      <a:lnTo>
                        <a:pt x="627" y="431"/>
                      </a:lnTo>
                      <a:lnTo>
                        <a:pt x="636" y="430"/>
                      </a:lnTo>
                      <a:lnTo>
                        <a:pt x="634" y="419"/>
                      </a:lnTo>
                      <a:lnTo>
                        <a:pt x="627" y="418"/>
                      </a:lnTo>
                      <a:lnTo>
                        <a:pt x="624" y="407"/>
                      </a:lnTo>
                      <a:lnTo>
                        <a:pt x="624" y="389"/>
                      </a:lnTo>
                      <a:lnTo>
                        <a:pt x="620" y="388"/>
                      </a:lnTo>
                      <a:lnTo>
                        <a:pt x="603" y="388"/>
                      </a:lnTo>
                      <a:lnTo>
                        <a:pt x="592" y="404"/>
                      </a:lnTo>
                      <a:lnTo>
                        <a:pt x="586" y="409"/>
                      </a:lnTo>
                      <a:lnTo>
                        <a:pt x="582" y="407"/>
                      </a:lnTo>
                      <a:lnTo>
                        <a:pt x="584" y="385"/>
                      </a:lnTo>
                      <a:lnTo>
                        <a:pt x="587" y="372"/>
                      </a:lnTo>
                      <a:lnTo>
                        <a:pt x="591" y="369"/>
                      </a:lnTo>
                      <a:lnTo>
                        <a:pt x="595" y="362"/>
                      </a:lnTo>
                      <a:lnTo>
                        <a:pt x="602" y="358"/>
                      </a:lnTo>
                      <a:lnTo>
                        <a:pt x="603" y="355"/>
                      </a:lnTo>
                      <a:lnTo>
                        <a:pt x="606" y="345"/>
                      </a:lnTo>
                      <a:lnTo>
                        <a:pt x="612" y="337"/>
                      </a:lnTo>
                      <a:lnTo>
                        <a:pt x="635" y="311"/>
                      </a:lnTo>
                      <a:lnTo>
                        <a:pt x="632" y="306"/>
                      </a:lnTo>
                      <a:lnTo>
                        <a:pt x="635" y="299"/>
                      </a:lnTo>
                      <a:lnTo>
                        <a:pt x="652" y="300"/>
                      </a:lnTo>
                      <a:lnTo>
                        <a:pt x="660" y="297"/>
                      </a:lnTo>
                      <a:lnTo>
                        <a:pt x="667" y="291"/>
                      </a:lnTo>
                      <a:lnTo>
                        <a:pt x="665" y="289"/>
                      </a:lnTo>
                      <a:lnTo>
                        <a:pt x="663" y="279"/>
                      </a:lnTo>
                      <a:lnTo>
                        <a:pt x="665" y="251"/>
                      </a:lnTo>
                      <a:lnTo>
                        <a:pt x="672" y="226"/>
                      </a:lnTo>
                      <a:lnTo>
                        <a:pt x="675" y="214"/>
                      </a:lnTo>
                      <a:lnTo>
                        <a:pt x="692" y="191"/>
                      </a:lnTo>
                      <a:lnTo>
                        <a:pt x="694" y="179"/>
                      </a:lnTo>
                      <a:lnTo>
                        <a:pt x="681" y="173"/>
                      </a:lnTo>
                      <a:lnTo>
                        <a:pt x="640" y="161"/>
                      </a:lnTo>
                      <a:lnTo>
                        <a:pt x="622" y="160"/>
                      </a:lnTo>
                      <a:lnTo>
                        <a:pt x="616" y="149"/>
                      </a:lnTo>
                      <a:lnTo>
                        <a:pt x="608" y="143"/>
                      </a:lnTo>
                      <a:lnTo>
                        <a:pt x="596" y="132"/>
                      </a:lnTo>
                      <a:lnTo>
                        <a:pt x="584" y="133"/>
                      </a:lnTo>
                      <a:lnTo>
                        <a:pt x="566" y="128"/>
                      </a:lnTo>
                      <a:lnTo>
                        <a:pt x="558" y="129"/>
                      </a:lnTo>
                      <a:lnTo>
                        <a:pt x="548" y="127"/>
                      </a:lnTo>
                      <a:lnTo>
                        <a:pt x="539" y="119"/>
                      </a:lnTo>
                      <a:lnTo>
                        <a:pt x="528" y="114"/>
                      </a:lnTo>
                      <a:lnTo>
                        <a:pt x="531" y="108"/>
                      </a:lnTo>
                      <a:lnTo>
                        <a:pt x="526" y="106"/>
                      </a:lnTo>
                      <a:lnTo>
                        <a:pt x="526" y="82"/>
                      </a:lnTo>
                      <a:lnTo>
                        <a:pt x="520" y="82"/>
                      </a:lnTo>
                      <a:lnTo>
                        <a:pt x="514" y="90"/>
                      </a:lnTo>
                      <a:lnTo>
                        <a:pt x="509" y="97"/>
                      </a:lnTo>
                      <a:lnTo>
                        <a:pt x="499" y="97"/>
                      </a:lnTo>
                      <a:lnTo>
                        <a:pt x="489" y="93"/>
                      </a:lnTo>
                      <a:lnTo>
                        <a:pt x="487" y="78"/>
                      </a:lnTo>
                      <a:lnTo>
                        <a:pt x="484" y="69"/>
                      </a:lnTo>
                      <a:lnTo>
                        <a:pt x="478" y="64"/>
                      </a:lnTo>
                      <a:lnTo>
                        <a:pt x="466" y="60"/>
                      </a:lnTo>
                      <a:lnTo>
                        <a:pt x="452" y="52"/>
                      </a:lnTo>
                      <a:lnTo>
                        <a:pt x="442" y="48"/>
                      </a:lnTo>
                      <a:lnTo>
                        <a:pt x="433" y="30"/>
                      </a:lnTo>
                      <a:lnTo>
                        <a:pt x="421" y="31"/>
                      </a:lnTo>
                      <a:lnTo>
                        <a:pt x="410" y="26"/>
                      </a:lnTo>
                      <a:lnTo>
                        <a:pt x="408" y="16"/>
                      </a:lnTo>
                      <a:lnTo>
                        <a:pt x="408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</p:grpSp>
          <p:grpSp>
            <p:nvGrpSpPr>
              <p:cNvPr id="183" name="Group 192"/>
              <p:cNvGrpSpPr>
                <a:grpSpLocks noChangeAspect="1"/>
              </p:cNvGrpSpPr>
              <p:nvPr/>
            </p:nvGrpSpPr>
            <p:grpSpPr>
              <a:xfrm>
                <a:off x="4620419" y="2430810"/>
                <a:ext cx="171450" cy="258763"/>
                <a:chOff x="2428" y="1692"/>
                <a:chExt cx="108" cy="163"/>
              </a:xfrm>
              <a:grpFill/>
            </p:grpSpPr>
            <p:sp>
              <p:nvSpPr>
                <p:cNvPr id="213" name="Freeform 193"/>
                <p:cNvSpPr>
                  <a:spLocks noChangeAspect="1"/>
                </p:cNvSpPr>
                <p:nvPr/>
              </p:nvSpPr>
              <p:spPr bwMode="gray">
                <a:xfrm>
                  <a:off x="2450" y="1692"/>
                  <a:ext cx="86" cy="163"/>
                </a:xfrm>
                <a:custGeom>
                  <a:avLst/>
                  <a:gdLst/>
                  <a:ahLst/>
                  <a:cxnLst>
                    <a:cxn ang="0">
                      <a:pos x="227" y="761"/>
                    </a:cxn>
                    <a:cxn ang="0">
                      <a:pos x="260" y="737"/>
                    </a:cxn>
                    <a:cxn ang="0">
                      <a:pos x="328" y="744"/>
                    </a:cxn>
                    <a:cxn ang="0">
                      <a:pos x="410" y="698"/>
                    </a:cxn>
                    <a:cxn ang="0">
                      <a:pos x="381" y="674"/>
                    </a:cxn>
                    <a:cxn ang="0">
                      <a:pos x="394" y="659"/>
                    </a:cxn>
                    <a:cxn ang="0">
                      <a:pos x="423" y="628"/>
                    </a:cxn>
                    <a:cxn ang="0">
                      <a:pos x="399" y="554"/>
                    </a:cxn>
                    <a:cxn ang="0">
                      <a:pos x="337" y="565"/>
                    </a:cxn>
                    <a:cxn ang="0">
                      <a:pos x="339" y="507"/>
                    </a:cxn>
                    <a:cxn ang="0">
                      <a:pos x="344" y="495"/>
                    </a:cxn>
                    <a:cxn ang="0">
                      <a:pos x="316" y="433"/>
                    </a:cxn>
                    <a:cxn ang="0">
                      <a:pos x="268" y="385"/>
                    </a:cxn>
                    <a:cxn ang="0">
                      <a:pos x="228" y="293"/>
                    </a:cxn>
                    <a:cxn ang="0">
                      <a:pos x="155" y="265"/>
                    </a:cxn>
                    <a:cxn ang="0">
                      <a:pos x="181" y="229"/>
                    </a:cxn>
                    <a:cxn ang="0">
                      <a:pos x="198" y="202"/>
                    </a:cxn>
                    <a:cxn ang="0">
                      <a:pos x="233" y="109"/>
                    </a:cxn>
                    <a:cxn ang="0">
                      <a:pos x="154" y="97"/>
                    </a:cxn>
                    <a:cxn ang="0">
                      <a:pos x="99" y="104"/>
                    </a:cxn>
                    <a:cxn ang="0">
                      <a:pos x="109" y="78"/>
                    </a:cxn>
                    <a:cxn ang="0">
                      <a:pos x="151" y="0"/>
                    </a:cxn>
                    <a:cxn ang="0">
                      <a:pos x="75" y="6"/>
                    </a:cxn>
                    <a:cxn ang="0">
                      <a:pos x="37" y="60"/>
                    </a:cxn>
                    <a:cxn ang="0">
                      <a:pos x="25" y="115"/>
                    </a:cxn>
                    <a:cxn ang="0">
                      <a:pos x="33" y="133"/>
                    </a:cxn>
                    <a:cxn ang="0">
                      <a:pos x="26" y="158"/>
                    </a:cxn>
                    <a:cxn ang="0">
                      <a:pos x="5" y="195"/>
                    </a:cxn>
                    <a:cxn ang="0">
                      <a:pos x="33" y="215"/>
                    </a:cxn>
                    <a:cxn ang="0">
                      <a:pos x="31" y="254"/>
                    </a:cxn>
                    <a:cxn ang="0">
                      <a:pos x="34" y="286"/>
                    </a:cxn>
                    <a:cxn ang="0">
                      <a:pos x="28" y="330"/>
                    </a:cxn>
                    <a:cxn ang="0">
                      <a:pos x="54" y="248"/>
                    </a:cxn>
                    <a:cxn ang="0">
                      <a:pos x="53" y="273"/>
                    </a:cxn>
                    <a:cxn ang="0">
                      <a:pos x="79" y="272"/>
                    </a:cxn>
                    <a:cxn ang="0">
                      <a:pos x="77" y="308"/>
                    </a:cxn>
                    <a:cxn ang="0">
                      <a:pos x="60" y="372"/>
                    </a:cxn>
                    <a:cxn ang="0">
                      <a:pos x="65" y="384"/>
                    </a:cxn>
                    <a:cxn ang="0">
                      <a:pos x="95" y="380"/>
                    </a:cxn>
                    <a:cxn ang="0">
                      <a:pos x="162" y="373"/>
                    </a:cxn>
                    <a:cxn ang="0">
                      <a:pos x="145" y="431"/>
                    </a:cxn>
                    <a:cxn ang="0">
                      <a:pos x="181" y="437"/>
                    </a:cxn>
                    <a:cxn ang="0">
                      <a:pos x="179" y="481"/>
                    </a:cxn>
                    <a:cxn ang="0">
                      <a:pos x="168" y="523"/>
                    </a:cxn>
                    <a:cxn ang="0">
                      <a:pos x="98" y="558"/>
                    </a:cxn>
                    <a:cxn ang="0">
                      <a:pos x="108" y="615"/>
                    </a:cxn>
                    <a:cxn ang="0">
                      <a:pos x="59" y="674"/>
                    </a:cxn>
                    <a:cxn ang="0">
                      <a:pos x="97" y="674"/>
                    </a:cxn>
                    <a:cxn ang="0">
                      <a:pos x="141" y="692"/>
                    </a:cxn>
                    <a:cxn ang="0">
                      <a:pos x="194" y="663"/>
                    </a:cxn>
                    <a:cxn ang="0">
                      <a:pos x="156" y="711"/>
                    </a:cxn>
                    <a:cxn ang="0">
                      <a:pos x="47" y="791"/>
                    </a:cxn>
                    <a:cxn ang="0">
                      <a:pos x="45" y="810"/>
                    </a:cxn>
                    <a:cxn ang="0">
                      <a:pos x="77" y="784"/>
                    </a:cxn>
                    <a:cxn ang="0">
                      <a:pos x="149" y="759"/>
                    </a:cxn>
                  </a:cxnLst>
                  <a:rect l="0" t="0" r="r" b="b"/>
                  <a:pathLst>
                    <a:path w="430" h="814">
                      <a:moveTo>
                        <a:pt x="199" y="767"/>
                      </a:moveTo>
                      <a:lnTo>
                        <a:pt x="200" y="768"/>
                      </a:lnTo>
                      <a:lnTo>
                        <a:pt x="203" y="762"/>
                      </a:lnTo>
                      <a:lnTo>
                        <a:pt x="212" y="760"/>
                      </a:lnTo>
                      <a:lnTo>
                        <a:pt x="222" y="764"/>
                      </a:lnTo>
                      <a:lnTo>
                        <a:pt x="227" y="761"/>
                      </a:lnTo>
                      <a:lnTo>
                        <a:pt x="225" y="754"/>
                      </a:lnTo>
                      <a:lnTo>
                        <a:pt x="251" y="754"/>
                      </a:lnTo>
                      <a:lnTo>
                        <a:pt x="253" y="750"/>
                      </a:lnTo>
                      <a:lnTo>
                        <a:pt x="259" y="748"/>
                      </a:lnTo>
                      <a:lnTo>
                        <a:pt x="260" y="743"/>
                      </a:lnTo>
                      <a:lnTo>
                        <a:pt x="260" y="737"/>
                      </a:lnTo>
                      <a:lnTo>
                        <a:pt x="267" y="741"/>
                      </a:lnTo>
                      <a:lnTo>
                        <a:pt x="274" y="744"/>
                      </a:lnTo>
                      <a:lnTo>
                        <a:pt x="283" y="741"/>
                      </a:lnTo>
                      <a:lnTo>
                        <a:pt x="285" y="745"/>
                      </a:lnTo>
                      <a:lnTo>
                        <a:pt x="290" y="750"/>
                      </a:lnTo>
                      <a:lnTo>
                        <a:pt x="328" y="744"/>
                      </a:lnTo>
                      <a:lnTo>
                        <a:pt x="339" y="746"/>
                      </a:lnTo>
                      <a:lnTo>
                        <a:pt x="388" y="733"/>
                      </a:lnTo>
                      <a:lnTo>
                        <a:pt x="389" y="729"/>
                      </a:lnTo>
                      <a:lnTo>
                        <a:pt x="410" y="713"/>
                      </a:lnTo>
                      <a:lnTo>
                        <a:pt x="413" y="702"/>
                      </a:lnTo>
                      <a:lnTo>
                        <a:pt x="410" y="698"/>
                      </a:lnTo>
                      <a:lnTo>
                        <a:pt x="386" y="698"/>
                      </a:lnTo>
                      <a:lnTo>
                        <a:pt x="373" y="697"/>
                      </a:lnTo>
                      <a:lnTo>
                        <a:pt x="373" y="689"/>
                      </a:lnTo>
                      <a:lnTo>
                        <a:pt x="369" y="682"/>
                      </a:lnTo>
                      <a:lnTo>
                        <a:pt x="378" y="679"/>
                      </a:lnTo>
                      <a:lnTo>
                        <a:pt x="381" y="674"/>
                      </a:lnTo>
                      <a:lnTo>
                        <a:pt x="386" y="668"/>
                      </a:lnTo>
                      <a:lnTo>
                        <a:pt x="383" y="665"/>
                      </a:lnTo>
                      <a:lnTo>
                        <a:pt x="377" y="663"/>
                      </a:lnTo>
                      <a:lnTo>
                        <a:pt x="383" y="658"/>
                      </a:lnTo>
                      <a:lnTo>
                        <a:pt x="391" y="655"/>
                      </a:lnTo>
                      <a:lnTo>
                        <a:pt x="394" y="659"/>
                      </a:lnTo>
                      <a:lnTo>
                        <a:pt x="403" y="657"/>
                      </a:lnTo>
                      <a:lnTo>
                        <a:pt x="404" y="651"/>
                      </a:lnTo>
                      <a:lnTo>
                        <a:pt x="403" y="642"/>
                      </a:lnTo>
                      <a:lnTo>
                        <a:pt x="408" y="642"/>
                      </a:lnTo>
                      <a:lnTo>
                        <a:pt x="415" y="638"/>
                      </a:lnTo>
                      <a:lnTo>
                        <a:pt x="423" y="628"/>
                      </a:lnTo>
                      <a:lnTo>
                        <a:pt x="429" y="608"/>
                      </a:lnTo>
                      <a:lnTo>
                        <a:pt x="430" y="593"/>
                      </a:lnTo>
                      <a:lnTo>
                        <a:pt x="426" y="577"/>
                      </a:lnTo>
                      <a:lnTo>
                        <a:pt x="418" y="563"/>
                      </a:lnTo>
                      <a:lnTo>
                        <a:pt x="408" y="557"/>
                      </a:lnTo>
                      <a:lnTo>
                        <a:pt x="399" y="554"/>
                      </a:lnTo>
                      <a:lnTo>
                        <a:pt x="387" y="554"/>
                      </a:lnTo>
                      <a:lnTo>
                        <a:pt x="365" y="557"/>
                      </a:lnTo>
                      <a:lnTo>
                        <a:pt x="355" y="572"/>
                      </a:lnTo>
                      <a:lnTo>
                        <a:pt x="350" y="567"/>
                      </a:lnTo>
                      <a:lnTo>
                        <a:pt x="340" y="566"/>
                      </a:lnTo>
                      <a:lnTo>
                        <a:pt x="337" y="565"/>
                      </a:lnTo>
                      <a:lnTo>
                        <a:pt x="340" y="555"/>
                      </a:lnTo>
                      <a:lnTo>
                        <a:pt x="353" y="540"/>
                      </a:lnTo>
                      <a:lnTo>
                        <a:pt x="355" y="534"/>
                      </a:lnTo>
                      <a:lnTo>
                        <a:pt x="355" y="525"/>
                      </a:lnTo>
                      <a:lnTo>
                        <a:pt x="345" y="512"/>
                      </a:lnTo>
                      <a:lnTo>
                        <a:pt x="339" y="507"/>
                      </a:lnTo>
                      <a:lnTo>
                        <a:pt x="335" y="501"/>
                      </a:lnTo>
                      <a:lnTo>
                        <a:pt x="330" y="498"/>
                      </a:lnTo>
                      <a:lnTo>
                        <a:pt x="317" y="485"/>
                      </a:lnTo>
                      <a:lnTo>
                        <a:pt x="321" y="482"/>
                      </a:lnTo>
                      <a:lnTo>
                        <a:pt x="332" y="492"/>
                      </a:lnTo>
                      <a:lnTo>
                        <a:pt x="344" y="495"/>
                      </a:lnTo>
                      <a:lnTo>
                        <a:pt x="345" y="493"/>
                      </a:lnTo>
                      <a:lnTo>
                        <a:pt x="343" y="477"/>
                      </a:lnTo>
                      <a:lnTo>
                        <a:pt x="335" y="471"/>
                      </a:lnTo>
                      <a:lnTo>
                        <a:pt x="326" y="459"/>
                      </a:lnTo>
                      <a:lnTo>
                        <a:pt x="323" y="444"/>
                      </a:lnTo>
                      <a:lnTo>
                        <a:pt x="316" y="433"/>
                      </a:lnTo>
                      <a:lnTo>
                        <a:pt x="311" y="423"/>
                      </a:lnTo>
                      <a:lnTo>
                        <a:pt x="301" y="410"/>
                      </a:lnTo>
                      <a:lnTo>
                        <a:pt x="290" y="405"/>
                      </a:lnTo>
                      <a:lnTo>
                        <a:pt x="276" y="402"/>
                      </a:lnTo>
                      <a:lnTo>
                        <a:pt x="273" y="399"/>
                      </a:lnTo>
                      <a:lnTo>
                        <a:pt x="268" y="385"/>
                      </a:lnTo>
                      <a:lnTo>
                        <a:pt x="260" y="374"/>
                      </a:lnTo>
                      <a:lnTo>
                        <a:pt x="254" y="361"/>
                      </a:lnTo>
                      <a:lnTo>
                        <a:pt x="252" y="350"/>
                      </a:lnTo>
                      <a:lnTo>
                        <a:pt x="248" y="312"/>
                      </a:lnTo>
                      <a:lnTo>
                        <a:pt x="240" y="305"/>
                      </a:lnTo>
                      <a:lnTo>
                        <a:pt x="228" y="293"/>
                      </a:lnTo>
                      <a:lnTo>
                        <a:pt x="221" y="282"/>
                      </a:lnTo>
                      <a:lnTo>
                        <a:pt x="193" y="266"/>
                      </a:lnTo>
                      <a:lnTo>
                        <a:pt x="188" y="265"/>
                      </a:lnTo>
                      <a:lnTo>
                        <a:pt x="171" y="271"/>
                      </a:lnTo>
                      <a:lnTo>
                        <a:pt x="156" y="267"/>
                      </a:lnTo>
                      <a:lnTo>
                        <a:pt x="155" y="265"/>
                      </a:lnTo>
                      <a:lnTo>
                        <a:pt x="157" y="258"/>
                      </a:lnTo>
                      <a:lnTo>
                        <a:pt x="163" y="251"/>
                      </a:lnTo>
                      <a:lnTo>
                        <a:pt x="172" y="249"/>
                      </a:lnTo>
                      <a:lnTo>
                        <a:pt x="182" y="249"/>
                      </a:lnTo>
                      <a:lnTo>
                        <a:pt x="192" y="244"/>
                      </a:lnTo>
                      <a:lnTo>
                        <a:pt x="181" y="229"/>
                      </a:lnTo>
                      <a:lnTo>
                        <a:pt x="176" y="228"/>
                      </a:lnTo>
                      <a:lnTo>
                        <a:pt x="174" y="222"/>
                      </a:lnTo>
                      <a:lnTo>
                        <a:pt x="183" y="223"/>
                      </a:lnTo>
                      <a:lnTo>
                        <a:pt x="189" y="218"/>
                      </a:lnTo>
                      <a:lnTo>
                        <a:pt x="195" y="210"/>
                      </a:lnTo>
                      <a:lnTo>
                        <a:pt x="198" y="202"/>
                      </a:lnTo>
                      <a:lnTo>
                        <a:pt x="211" y="183"/>
                      </a:lnTo>
                      <a:lnTo>
                        <a:pt x="212" y="173"/>
                      </a:lnTo>
                      <a:lnTo>
                        <a:pt x="216" y="160"/>
                      </a:lnTo>
                      <a:lnTo>
                        <a:pt x="220" y="145"/>
                      </a:lnTo>
                      <a:lnTo>
                        <a:pt x="233" y="129"/>
                      </a:lnTo>
                      <a:lnTo>
                        <a:pt x="233" y="109"/>
                      </a:lnTo>
                      <a:lnTo>
                        <a:pt x="230" y="100"/>
                      </a:lnTo>
                      <a:lnTo>
                        <a:pt x="214" y="99"/>
                      </a:lnTo>
                      <a:lnTo>
                        <a:pt x="200" y="102"/>
                      </a:lnTo>
                      <a:lnTo>
                        <a:pt x="178" y="98"/>
                      </a:lnTo>
                      <a:lnTo>
                        <a:pt x="166" y="100"/>
                      </a:lnTo>
                      <a:lnTo>
                        <a:pt x="154" y="97"/>
                      </a:lnTo>
                      <a:lnTo>
                        <a:pt x="118" y="109"/>
                      </a:lnTo>
                      <a:lnTo>
                        <a:pt x="111" y="116"/>
                      </a:lnTo>
                      <a:lnTo>
                        <a:pt x="106" y="113"/>
                      </a:lnTo>
                      <a:lnTo>
                        <a:pt x="108" y="105"/>
                      </a:lnTo>
                      <a:lnTo>
                        <a:pt x="108" y="102"/>
                      </a:lnTo>
                      <a:lnTo>
                        <a:pt x="99" y="104"/>
                      </a:lnTo>
                      <a:lnTo>
                        <a:pt x="99" y="99"/>
                      </a:lnTo>
                      <a:lnTo>
                        <a:pt x="114" y="95"/>
                      </a:lnTo>
                      <a:lnTo>
                        <a:pt x="124" y="86"/>
                      </a:lnTo>
                      <a:lnTo>
                        <a:pt x="107" y="84"/>
                      </a:lnTo>
                      <a:lnTo>
                        <a:pt x="108" y="77"/>
                      </a:lnTo>
                      <a:lnTo>
                        <a:pt x="109" y="78"/>
                      </a:lnTo>
                      <a:lnTo>
                        <a:pt x="119" y="66"/>
                      </a:lnTo>
                      <a:lnTo>
                        <a:pt x="139" y="54"/>
                      </a:lnTo>
                      <a:lnTo>
                        <a:pt x="147" y="39"/>
                      </a:lnTo>
                      <a:lnTo>
                        <a:pt x="161" y="30"/>
                      </a:lnTo>
                      <a:lnTo>
                        <a:pt x="163" y="4"/>
                      </a:lnTo>
                      <a:lnTo>
                        <a:pt x="151" y="0"/>
                      </a:lnTo>
                      <a:lnTo>
                        <a:pt x="138" y="4"/>
                      </a:lnTo>
                      <a:lnTo>
                        <a:pt x="124" y="8"/>
                      </a:lnTo>
                      <a:lnTo>
                        <a:pt x="112" y="8"/>
                      </a:lnTo>
                      <a:lnTo>
                        <a:pt x="96" y="12"/>
                      </a:lnTo>
                      <a:lnTo>
                        <a:pt x="95" y="11"/>
                      </a:lnTo>
                      <a:lnTo>
                        <a:pt x="75" y="6"/>
                      </a:lnTo>
                      <a:lnTo>
                        <a:pt x="64" y="9"/>
                      </a:lnTo>
                      <a:lnTo>
                        <a:pt x="54" y="27"/>
                      </a:lnTo>
                      <a:lnTo>
                        <a:pt x="54" y="41"/>
                      </a:lnTo>
                      <a:lnTo>
                        <a:pt x="42" y="43"/>
                      </a:lnTo>
                      <a:lnTo>
                        <a:pt x="43" y="57"/>
                      </a:lnTo>
                      <a:lnTo>
                        <a:pt x="37" y="60"/>
                      </a:lnTo>
                      <a:lnTo>
                        <a:pt x="39" y="65"/>
                      </a:lnTo>
                      <a:lnTo>
                        <a:pt x="47" y="73"/>
                      </a:lnTo>
                      <a:lnTo>
                        <a:pt x="20" y="88"/>
                      </a:lnTo>
                      <a:lnTo>
                        <a:pt x="20" y="109"/>
                      </a:lnTo>
                      <a:lnTo>
                        <a:pt x="27" y="113"/>
                      </a:lnTo>
                      <a:lnTo>
                        <a:pt x="25" y="115"/>
                      </a:lnTo>
                      <a:lnTo>
                        <a:pt x="18" y="114"/>
                      </a:lnTo>
                      <a:lnTo>
                        <a:pt x="16" y="115"/>
                      </a:lnTo>
                      <a:lnTo>
                        <a:pt x="16" y="130"/>
                      </a:lnTo>
                      <a:lnTo>
                        <a:pt x="22" y="131"/>
                      </a:lnTo>
                      <a:lnTo>
                        <a:pt x="34" y="129"/>
                      </a:lnTo>
                      <a:lnTo>
                        <a:pt x="33" y="133"/>
                      </a:lnTo>
                      <a:lnTo>
                        <a:pt x="27" y="136"/>
                      </a:lnTo>
                      <a:lnTo>
                        <a:pt x="33" y="138"/>
                      </a:lnTo>
                      <a:lnTo>
                        <a:pt x="28" y="147"/>
                      </a:lnTo>
                      <a:lnTo>
                        <a:pt x="27" y="151"/>
                      </a:lnTo>
                      <a:lnTo>
                        <a:pt x="28" y="157"/>
                      </a:lnTo>
                      <a:lnTo>
                        <a:pt x="26" y="158"/>
                      </a:lnTo>
                      <a:lnTo>
                        <a:pt x="22" y="163"/>
                      </a:lnTo>
                      <a:lnTo>
                        <a:pt x="22" y="167"/>
                      </a:lnTo>
                      <a:lnTo>
                        <a:pt x="18" y="170"/>
                      </a:lnTo>
                      <a:lnTo>
                        <a:pt x="16" y="178"/>
                      </a:lnTo>
                      <a:lnTo>
                        <a:pt x="16" y="192"/>
                      </a:lnTo>
                      <a:lnTo>
                        <a:pt x="5" y="195"/>
                      </a:lnTo>
                      <a:lnTo>
                        <a:pt x="0" y="197"/>
                      </a:lnTo>
                      <a:lnTo>
                        <a:pt x="0" y="201"/>
                      </a:lnTo>
                      <a:lnTo>
                        <a:pt x="10" y="202"/>
                      </a:lnTo>
                      <a:lnTo>
                        <a:pt x="11" y="211"/>
                      </a:lnTo>
                      <a:lnTo>
                        <a:pt x="23" y="222"/>
                      </a:lnTo>
                      <a:lnTo>
                        <a:pt x="33" y="215"/>
                      </a:lnTo>
                      <a:lnTo>
                        <a:pt x="43" y="206"/>
                      </a:lnTo>
                      <a:lnTo>
                        <a:pt x="44" y="205"/>
                      </a:lnTo>
                      <a:lnTo>
                        <a:pt x="45" y="206"/>
                      </a:lnTo>
                      <a:lnTo>
                        <a:pt x="45" y="212"/>
                      </a:lnTo>
                      <a:lnTo>
                        <a:pt x="33" y="243"/>
                      </a:lnTo>
                      <a:lnTo>
                        <a:pt x="31" y="254"/>
                      </a:lnTo>
                      <a:lnTo>
                        <a:pt x="31" y="259"/>
                      </a:lnTo>
                      <a:lnTo>
                        <a:pt x="28" y="264"/>
                      </a:lnTo>
                      <a:lnTo>
                        <a:pt x="26" y="275"/>
                      </a:lnTo>
                      <a:lnTo>
                        <a:pt x="26" y="283"/>
                      </a:lnTo>
                      <a:lnTo>
                        <a:pt x="32" y="282"/>
                      </a:lnTo>
                      <a:lnTo>
                        <a:pt x="34" y="286"/>
                      </a:lnTo>
                      <a:lnTo>
                        <a:pt x="33" y="292"/>
                      </a:lnTo>
                      <a:lnTo>
                        <a:pt x="25" y="307"/>
                      </a:lnTo>
                      <a:lnTo>
                        <a:pt x="20" y="331"/>
                      </a:lnTo>
                      <a:lnTo>
                        <a:pt x="20" y="334"/>
                      </a:lnTo>
                      <a:lnTo>
                        <a:pt x="26" y="334"/>
                      </a:lnTo>
                      <a:lnTo>
                        <a:pt x="28" y="330"/>
                      </a:lnTo>
                      <a:lnTo>
                        <a:pt x="32" y="318"/>
                      </a:lnTo>
                      <a:lnTo>
                        <a:pt x="43" y="291"/>
                      </a:lnTo>
                      <a:lnTo>
                        <a:pt x="42" y="277"/>
                      </a:lnTo>
                      <a:lnTo>
                        <a:pt x="39" y="270"/>
                      </a:lnTo>
                      <a:lnTo>
                        <a:pt x="38" y="266"/>
                      </a:lnTo>
                      <a:lnTo>
                        <a:pt x="54" y="248"/>
                      </a:lnTo>
                      <a:lnTo>
                        <a:pt x="54" y="254"/>
                      </a:lnTo>
                      <a:lnTo>
                        <a:pt x="47" y="271"/>
                      </a:lnTo>
                      <a:lnTo>
                        <a:pt x="47" y="282"/>
                      </a:lnTo>
                      <a:lnTo>
                        <a:pt x="49" y="278"/>
                      </a:lnTo>
                      <a:lnTo>
                        <a:pt x="52" y="277"/>
                      </a:lnTo>
                      <a:lnTo>
                        <a:pt x="53" y="273"/>
                      </a:lnTo>
                      <a:lnTo>
                        <a:pt x="55" y="271"/>
                      </a:lnTo>
                      <a:lnTo>
                        <a:pt x="61" y="276"/>
                      </a:lnTo>
                      <a:lnTo>
                        <a:pt x="64" y="275"/>
                      </a:lnTo>
                      <a:lnTo>
                        <a:pt x="64" y="261"/>
                      </a:lnTo>
                      <a:lnTo>
                        <a:pt x="72" y="266"/>
                      </a:lnTo>
                      <a:lnTo>
                        <a:pt x="79" y="272"/>
                      </a:lnTo>
                      <a:lnTo>
                        <a:pt x="74" y="273"/>
                      </a:lnTo>
                      <a:lnTo>
                        <a:pt x="71" y="278"/>
                      </a:lnTo>
                      <a:lnTo>
                        <a:pt x="69" y="283"/>
                      </a:lnTo>
                      <a:lnTo>
                        <a:pt x="68" y="298"/>
                      </a:lnTo>
                      <a:lnTo>
                        <a:pt x="71" y="303"/>
                      </a:lnTo>
                      <a:lnTo>
                        <a:pt x="77" y="308"/>
                      </a:lnTo>
                      <a:lnTo>
                        <a:pt x="79" y="319"/>
                      </a:lnTo>
                      <a:lnTo>
                        <a:pt x="74" y="328"/>
                      </a:lnTo>
                      <a:lnTo>
                        <a:pt x="69" y="341"/>
                      </a:lnTo>
                      <a:lnTo>
                        <a:pt x="61" y="355"/>
                      </a:lnTo>
                      <a:lnTo>
                        <a:pt x="59" y="363"/>
                      </a:lnTo>
                      <a:lnTo>
                        <a:pt x="60" y="372"/>
                      </a:lnTo>
                      <a:lnTo>
                        <a:pt x="54" y="367"/>
                      </a:lnTo>
                      <a:lnTo>
                        <a:pt x="52" y="372"/>
                      </a:lnTo>
                      <a:lnTo>
                        <a:pt x="59" y="395"/>
                      </a:lnTo>
                      <a:lnTo>
                        <a:pt x="64" y="399"/>
                      </a:lnTo>
                      <a:lnTo>
                        <a:pt x="66" y="398"/>
                      </a:lnTo>
                      <a:lnTo>
                        <a:pt x="65" y="384"/>
                      </a:lnTo>
                      <a:lnTo>
                        <a:pt x="66" y="380"/>
                      </a:lnTo>
                      <a:lnTo>
                        <a:pt x="70" y="379"/>
                      </a:lnTo>
                      <a:lnTo>
                        <a:pt x="87" y="391"/>
                      </a:lnTo>
                      <a:lnTo>
                        <a:pt x="92" y="394"/>
                      </a:lnTo>
                      <a:lnTo>
                        <a:pt x="95" y="388"/>
                      </a:lnTo>
                      <a:lnTo>
                        <a:pt x="95" y="380"/>
                      </a:lnTo>
                      <a:lnTo>
                        <a:pt x="119" y="383"/>
                      </a:lnTo>
                      <a:lnTo>
                        <a:pt x="135" y="374"/>
                      </a:lnTo>
                      <a:lnTo>
                        <a:pt x="136" y="372"/>
                      </a:lnTo>
                      <a:lnTo>
                        <a:pt x="144" y="368"/>
                      </a:lnTo>
                      <a:lnTo>
                        <a:pt x="165" y="371"/>
                      </a:lnTo>
                      <a:lnTo>
                        <a:pt x="162" y="373"/>
                      </a:lnTo>
                      <a:lnTo>
                        <a:pt x="158" y="373"/>
                      </a:lnTo>
                      <a:lnTo>
                        <a:pt x="150" y="380"/>
                      </a:lnTo>
                      <a:lnTo>
                        <a:pt x="138" y="406"/>
                      </a:lnTo>
                      <a:lnTo>
                        <a:pt x="135" y="413"/>
                      </a:lnTo>
                      <a:lnTo>
                        <a:pt x="138" y="421"/>
                      </a:lnTo>
                      <a:lnTo>
                        <a:pt x="145" y="431"/>
                      </a:lnTo>
                      <a:lnTo>
                        <a:pt x="149" y="438"/>
                      </a:lnTo>
                      <a:lnTo>
                        <a:pt x="150" y="439"/>
                      </a:lnTo>
                      <a:lnTo>
                        <a:pt x="151" y="437"/>
                      </a:lnTo>
                      <a:lnTo>
                        <a:pt x="158" y="449"/>
                      </a:lnTo>
                      <a:lnTo>
                        <a:pt x="172" y="444"/>
                      </a:lnTo>
                      <a:lnTo>
                        <a:pt x="181" y="437"/>
                      </a:lnTo>
                      <a:lnTo>
                        <a:pt x="184" y="438"/>
                      </a:lnTo>
                      <a:lnTo>
                        <a:pt x="181" y="444"/>
                      </a:lnTo>
                      <a:lnTo>
                        <a:pt x="179" y="461"/>
                      </a:lnTo>
                      <a:lnTo>
                        <a:pt x="174" y="468"/>
                      </a:lnTo>
                      <a:lnTo>
                        <a:pt x="169" y="479"/>
                      </a:lnTo>
                      <a:lnTo>
                        <a:pt x="179" y="481"/>
                      </a:lnTo>
                      <a:lnTo>
                        <a:pt x="174" y="490"/>
                      </a:lnTo>
                      <a:lnTo>
                        <a:pt x="168" y="506"/>
                      </a:lnTo>
                      <a:lnTo>
                        <a:pt x="172" y="509"/>
                      </a:lnTo>
                      <a:lnTo>
                        <a:pt x="177" y="513"/>
                      </a:lnTo>
                      <a:lnTo>
                        <a:pt x="173" y="514"/>
                      </a:lnTo>
                      <a:lnTo>
                        <a:pt x="168" y="523"/>
                      </a:lnTo>
                      <a:lnTo>
                        <a:pt x="128" y="522"/>
                      </a:lnTo>
                      <a:lnTo>
                        <a:pt x="115" y="529"/>
                      </a:lnTo>
                      <a:lnTo>
                        <a:pt x="102" y="540"/>
                      </a:lnTo>
                      <a:lnTo>
                        <a:pt x="79" y="565"/>
                      </a:lnTo>
                      <a:lnTo>
                        <a:pt x="84" y="568"/>
                      </a:lnTo>
                      <a:lnTo>
                        <a:pt x="98" y="558"/>
                      </a:lnTo>
                      <a:lnTo>
                        <a:pt x="109" y="556"/>
                      </a:lnTo>
                      <a:lnTo>
                        <a:pt x="111" y="565"/>
                      </a:lnTo>
                      <a:lnTo>
                        <a:pt x="112" y="585"/>
                      </a:lnTo>
                      <a:lnTo>
                        <a:pt x="113" y="589"/>
                      </a:lnTo>
                      <a:lnTo>
                        <a:pt x="119" y="593"/>
                      </a:lnTo>
                      <a:lnTo>
                        <a:pt x="108" y="615"/>
                      </a:lnTo>
                      <a:lnTo>
                        <a:pt x="79" y="636"/>
                      </a:lnTo>
                      <a:lnTo>
                        <a:pt x="48" y="652"/>
                      </a:lnTo>
                      <a:lnTo>
                        <a:pt x="50" y="654"/>
                      </a:lnTo>
                      <a:lnTo>
                        <a:pt x="52" y="660"/>
                      </a:lnTo>
                      <a:lnTo>
                        <a:pt x="56" y="671"/>
                      </a:lnTo>
                      <a:lnTo>
                        <a:pt x="59" y="674"/>
                      </a:lnTo>
                      <a:lnTo>
                        <a:pt x="65" y="675"/>
                      </a:lnTo>
                      <a:lnTo>
                        <a:pt x="72" y="671"/>
                      </a:lnTo>
                      <a:lnTo>
                        <a:pt x="82" y="663"/>
                      </a:lnTo>
                      <a:lnTo>
                        <a:pt x="91" y="659"/>
                      </a:lnTo>
                      <a:lnTo>
                        <a:pt x="95" y="660"/>
                      </a:lnTo>
                      <a:lnTo>
                        <a:pt x="97" y="674"/>
                      </a:lnTo>
                      <a:lnTo>
                        <a:pt x="101" y="678"/>
                      </a:lnTo>
                      <a:lnTo>
                        <a:pt x="113" y="678"/>
                      </a:lnTo>
                      <a:lnTo>
                        <a:pt x="120" y="671"/>
                      </a:lnTo>
                      <a:lnTo>
                        <a:pt x="123" y="670"/>
                      </a:lnTo>
                      <a:lnTo>
                        <a:pt x="127" y="673"/>
                      </a:lnTo>
                      <a:lnTo>
                        <a:pt x="141" y="692"/>
                      </a:lnTo>
                      <a:lnTo>
                        <a:pt x="147" y="694"/>
                      </a:lnTo>
                      <a:lnTo>
                        <a:pt x="156" y="694"/>
                      </a:lnTo>
                      <a:lnTo>
                        <a:pt x="162" y="689"/>
                      </a:lnTo>
                      <a:lnTo>
                        <a:pt x="166" y="682"/>
                      </a:lnTo>
                      <a:lnTo>
                        <a:pt x="179" y="675"/>
                      </a:lnTo>
                      <a:lnTo>
                        <a:pt x="194" y="663"/>
                      </a:lnTo>
                      <a:lnTo>
                        <a:pt x="195" y="670"/>
                      </a:lnTo>
                      <a:lnTo>
                        <a:pt x="190" y="678"/>
                      </a:lnTo>
                      <a:lnTo>
                        <a:pt x="174" y="697"/>
                      </a:lnTo>
                      <a:lnTo>
                        <a:pt x="172" y="705"/>
                      </a:lnTo>
                      <a:lnTo>
                        <a:pt x="168" y="708"/>
                      </a:lnTo>
                      <a:lnTo>
                        <a:pt x="156" y="711"/>
                      </a:lnTo>
                      <a:lnTo>
                        <a:pt x="124" y="711"/>
                      </a:lnTo>
                      <a:lnTo>
                        <a:pt x="109" y="713"/>
                      </a:lnTo>
                      <a:lnTo>
                        <a:pt x="104" y="724"/>
                      </a:lnTo>
                      <a:lnTo>
                        <a:pt x="95" y="730"/>
                      </a:lnTo>
                      <a:lnTo>
                        <a:pt x="88" y="745"/>
                      </a:lnTo>
                      <a:lnTo>
                        <a:pt x="47" y="791"/>
                      </a:lnTo>
                      <a:lnTo>
                        <a:pt x="31" y="800"/>
                      </a:lnTo>
                      <a:lnTo>
                        <a:pt x="28" y="809"/>
                      </a:lnTo>
                      <a:lnTo>
                        <a:pt x="28" y="813"/>
                      </a:lnTo>
                      <a:lnTo>
                        <a:pt x="31" y="807"/>
                      </a:lnTo>
                      <a:lnTo>
                        <a:pt x="34" y="804"/>
                      </a:lnTo>
                      <a:lnTo>
                        <a:pt x="45" y="810"/>
                      </a:lnTo>
                      <a:lnTo>
                        <a:pt x="50" y="809"/>
                      </a:lnTo>
                      <a:lnTo>
                        <a:pt x="54" y="814"/>
                      </a:lnTo>
                      <a:lnTo>
                        <a:pt x="58" y="809"/>
                      </a:lnTo>
                      <a:lnTo>
                        <a:pt x="60" y="800"/>
                      </a:lnTo>
                      <a:lnTo>
                        <a:pt x="71" y="796"/>
                      </a:lnTo>
                      <a:lnTo>
                        <a:pt x="77" y="784"/>
                      </a:lnTo>
                      <a:lnTo>
                        <a:pt x="107" y="783"/>
                      </a:lnTo>
                      <a:lnTo>
                        <a:pt x="127" y="791"/>
                      </a:lnTo>
                      <a:lnTo>
                        <a:pt x="134" y="791"/>
                      </a:lnTo>
                      <a:lnTo>
                        <a:pt x="141" y="782"/>
                      </a:lnTo>
                      <a:lnTo>
                        <a:pt x="145" y="760"/>
                      </a:lnTo>
                      <a:lnTo>
                        <a:pt x="149" y="759"/>
                      </a:lnTo>
                      <a:lnTo>
                        <a:pt x="156" y="759"/>
                      </a:lnTo>
                      <a:lnTo>
                        <a:pt x="166" y="754"/>
                      </a:lnTo>
                      <a:lnTo>
                        <a:pt x="182" y="750"/>
                      </a:lnTo>
                      <a:lnTo>
                        <a:pt x="199" y="76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214" name="Freeform 194"/>
                <p:cNvSpPr>
                  <a:spLocks noChangeAspect="1"/>
                </p:cNvSpPr>
                <p:nvPr/>
              </p:nvSpPr>
              <p:spPr bwMode="gray">
                <a:xfrm>
                  <a:off x="2428" y="1759"/>
                  <a:ext cx="28" cy="25"/>
                </a:xfrm>
                <a:custGeom>
                  <a:avLst/>
                  <a:gdLst/>
                  <a:ahLst/>
                  <a:cxnLst>
                    <a:cxn ang="0">
                      <a:pos x="28" y="36"/>
                    </a:cxn>
                    <a:cxn ang="0">
                      <a:pos x="27" y="48"/>
                    </a:cxn>
                    <a:cxn ang="0">
                      <a:pos x="21" y="58"/>
                    </a:cxn>
                    <a:cxn ang="0">
                      <a:pos x="11" y="59"/>
                    </a:cxn>
                    <a:cxn ang="0">
                      <a:pos x="11" y="72"/>
                    </a:cxn>
                    <a:cxn ang="0">
                      <a:pos x="0" y="80"/>
                    </a:cxn>
                    <a:cxn ang="0">
                      <a:pos x="16" y="91"/>
                    </a:cxn>
                    <a:cxn ang="0">
                      <a:pos x="23" y="110"/>
                    </a:cxn>
                    <a:cxn ang="0">
                      <a:pos x="34" y="115"/>
                    </a:cxn>
                    <a:cxn ang="0">
                      <a:pos x="47" y="104"/>
                    </a:cxn>
                    <a:cxn ang="0">
                      <a:pos x="53" y="93"/>
                    </a:cxn>
                    <a:cxn ang="0">
                      <a:pos x="82" y="85"/>
                    </a:cxn>
                    <a:cxn ang="0">
                      <a:pos x="97" y="99"/>
                    </a:cxn>
                    <a:cxn ang="0">
                      <a:pos x="98" y="106"/>
                    </a:cxn>
                    <a:cxn ang="0">
                      <a:pos x="98" y="121"/>
                    </a:cxn>
                    <a:cxn ang="0">
                      <a:pos x="101" y="126"/>
                    </a:cxn>
                    <a:cxn ang="0">
                      <a:pos x="103" y="126"/>
                    </a:cxn>
                    <a:cxn ang="0">
                      <a:pos x="117" y="117"/>
                    </a:cxn>
                    <a:cxn ang="0">
                      <a:pos x="119" y="107"/>
                    </a:cxn>
                    <a:cxn ang="0">
                      <a:pos x="132" y="105"/>
                    </a:cxn>
                    <a:cxn ang="0">
                      <a:pos x="138" y="97"/>
                    </a:cxn>
                    <a:cxn ang="0">
                      <a:pos x="132" y="85"/>
                    </a:cxn>
                    <a:cxn ang="0">
                      <a:pos x="130" y="78"/>
                    </a:cxn>
                    <a:cxn ang="0">
                      <a:pos x="138" y="90"/>
                    </a:cxn>
                    <a:cxn ang="0">
                      <a:pos x="140" y="79"/>
                    </a:cxn>
                    <a:cxn ang="0">
                      <a:pos x="135" y="68"/>
                    </a:cxn>
                    <a:cxn ang="0">
                      <a:pos x="130" y="66"/>
                    </a:cxn>
                    <a:cxn ang="0">
                      <a:pos x="116" y="68"/>
                    </a:cxn>
                    <a:cxn ang="0">
                      <a:pos x="122" y="57"/>
                    </a:cxn>
                    <a:cxn ang="0">
                      <a:pos x="120" y="39"/>
                    </a:cxn>
                    <a:cxn ang="0">
                      <a:pos x="112" y="27"/>
                    </a:cxn>
                    <a:cxn ang="0">
                      <a:pos x="106" y="16"/>
                    </a:cxn>
                    <a:cxn ang="0">
                      <a:pos x="89" y="10"/>
                    </a:cxn>
                    <a:cxn ang="0">
                      <a:pos x="64" y="18"/>
                    </a:cxn>
                    <a:cxn ang="0">
                      <a:pos x="58" y="24"/>
                    </a:cxn>
                    <a:cxn ang="0">
                      <a:pos x="50" y="27"/>
                    </a:cxn>
                    <a:cxn ang="0">
                      <a:pos x="48" y="24"/>
                    </a:cxn>
                    <a:cxn ang="0">
                      <a:pos x="59" y="10"/>
                    </a:cxn>
                    <a:cxn ang="0">
                      <a:pos x="57" y="7"/>
                    </a:cxn>
                    <a:cxn ang="0">
                      <a:pos x="48" y="2"/>
                    </a:cxn>
                    <a:cxn ang="0">
                      <a:pos x="39" y="0"/>
                    </a:cxn>
                    <a:cxn ang="0">
                      <a:pos x="38" y="5"/>
                    </a:cxn>
                    <a:cxn ang="0">
                      <a:pos x="36" y="8"/>
                    </a:cxn>
                    <a:cxn ang="0">
                      <a:pos x="33" y="14"/>
                    </a:cxn>
                    <a:cxn ang="0">
                      <a:pos x="34" y="20"/>
                    </a:cxn>
                    <a:cxn ang="0">
                      <a:pos x="34" y="27"/>
                    </a:cxn>
                    <a:cxn ang="0">
                      <a:pos x="33" y="34"/>
                    </a:cxn>
                    <a:cxn ang="0">
                      <a:pos x="28" y="36"/>
                    </a:cxn>
                  </a:cxnLst>
                  <a:rect l="0" t="0" r="r" b="b"/>
                  <a:pathLst>
                    <a:path w="140" h="125">
                      <a:moveTo>
                        <a:pt x="28" y="36"/>
                      </a:moveTo>
                      <a:lnTo>
                        <a:pt x="27" y="48"/>
                      </a:lnTo>
                      <a:lnTo>
                        <a:pt x="21" y="58"/>
                      </a:lnTo>
                      <a:lnTo>
                        <a:pt x="11" y="59"/>
                      </a:lnTo>
                      <a:lnTo>
                        <a:pt x="11" y="72"/>
                      </a:lnTo>
                      <a:lnTo>
                        <a:pt x="0" y="80"/>
                      </a:lnTo>
                      <a:lnTo>
                        <a:pt x="16" y="91"/>
                      </a:lnTo>
                      <a:lnTo>
                        <a:pt x="23" y="110"/>
                      </a:lnTo>
                      <a:lnTo>
                        <a:pt x="34" y="115"/>
                      </a:lnTo>
                      <a:lnTo>
                        <a:pt x="47" y="104"/>
                      </a:lnTo>
                      <a:lnTo>
                        <a:pt x="53" y="93"/>
                      </a:lnTo>
                      <a:lnTo>
                        <a:pt x="82" y="85"/>
                      </a:lnTo>
                      <a:lnTo>
                        <a:pt x="97" y="99"/>
                      </a:lnTo>
                      <a:lnTo>
                        <a:pt x="98" y="106"/>
                      </a:lnTo>
                      <a:lnTo>
                        <a:pt x="98" y="121"/>
                      </a:lnTo>
                      <a:lnTo>
                        <a:pt x="101" y="126"/>
                      </a:lnTo>
                      <a:lnTo>
                        <a:pt x="103" y="126"/>
                      </a:lnTo>
                      <a:lnTo>
                        <a:pt x="117" y="117"/>
                      </a:lnTo>
                      <a:lnTo>
                        <a:pt x="119" y="107"/>
                      </a:lnTo>
                      <a:lnTo>
                        <a:pt x="132" y="105"/>
                      </a:lnTo>
                      <a:lnTo>
                        <a:pt x="138" y="97"/>
                      </a:lnTo>
                      <a:lnTo>
                        <a:pt x="132" y="85"/>
                      </a:lnTo>
                      <a:lnTo>
                        <a:pt x="130" y="78"/>
                      </a:lnTo>
                      <a:lnTo>
                        <a:pt x="138" y="90"/>
                      </a:lnTo>
                      <a:lnTo>
                        <a:pt x="140" y="79"/>
                      </a:lnTo>
                      <a:lnTo>
                        <a:pt x="135" y="68"/>
                      </a:lnTo>
                      <a:lnTo>
                        <a:pt x="130" y="66"/>
                      </a:lnTo>
                      <a:lnTo>
                        <a:pt x="116" y="68"/>
                      </a:lnTo>
                      <a:lnTo>
                        <a:pt x="122" y="57"/>
                      </a:lnTo>
                      <a:lnTo>
                        <a:pt x="120" y="39"/>
                      </a:lnTo>
                      <a:lnTo>
                        <a:pt x="112" y="27"/>
                      </a:lnTo>
                      <a:lnTo>
                        <a:pt x="106" y="16"/>
                      </a:lnTo>
                      <a:lnTo>
                        <a:pt x="89" y="10"/>
                      </a:lnTo>
                      <a:lnTo>
                        <a:pt x="64" y="18"/>
                      </a:lnTo>
                      <a:lnTo>
                        <a:pt x="58" y="24"/>
                      </a:lnTo>
                      <a:lnTo>
                        <a:pt x="50" y="27"/>
                      </a:lnTo>
                      <a:lnTo>
                        <a:pt x="48" y="24"/>
                      </a:lnTo>
                      <a:lnTo>
                        <a:pt x="59" y="10"/>
                      </a:lnTo>
                      <a:lnTo>
                        <a:pt x="57" y="7"/>
                      </a:lnTo>
                      <a:lnTo>
                        <a:pt x="48" y="2"/>
                      </a:lnTo>
                      <a:lnTo>
                        <a:pt x="39" y="0"/>
                      </a:lnTo>
                      <a:lnTo>
                        <a:pt x="38" y="5"/>
                      </a:lnTo>
                      <a:lnTo>
                        <a:pt x="36" y="8"/>
                      </a:lnTo>
                      <a:lnTo>
                        <a:pt x="33" y="14"/>
                      </a:lnTo>
                      <a:lnTo>
                        <a:pt x="34" y="20"/>
                      </a:lnTo>
                      <a:lnTo>
                        <a:pt x="34" y="27"/>
                      </a:lnTo>
                      <a:lnTo>
                        <a:pt x="33" y="34"/>
                      </a:lnTo>
                      <a:lnTo>
                        <a:pt x="28" y="3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</p:grpSp>
          <p:sp>
            <p:nvSpPr>
              <p:cNvPr id="184" name="Freeform 195"/>
              <p:cNvSpPr>
                <a:spLocks noChangeAspect="1"/>
              </p:cNvSpPr>
              <p:nvPr/>
            </p:nvSpPr>
            <p:spPr bwMode="gray">
              <a:xfrm>
                <a:off x="4580731" y="2540347"/>
                <a:ext cx="74613" cy="109538"/>
              </a:xfrm>
              <a:custGeom>
                <a:avLst/>
                <a:gdLst/>
                <a:ahLst/>
                <a:cxnLst>
                  <a:cxn ang="0">
                    <a:pos x="223" y="97"/>
                  </a:cxn>
                  <a:cxn ang="0">
                    <a:pos x="178" y="84"/>
                  </a:cxn>
                  <a:cxn ang="0">
                    <a:pos x="148" y="100"/>
                  </a:cxn>
                  <a:cxn ang="0">
                    <a:pos x="136" y="63"/>
                  </a:cxn>
                  <a:cxn ang="0">
                    <a:pos x="152" y="39"/>
                  </a:cxn>
                  <a:cxn ang="0">
                    <a:pos x="152" y="2"/>
                  </a:cxn>
                  <a:cxn ang="0">
                    <a:pos x="135" y="6"/>
                  </a:cxn>
                  <a:cxn ang="0">
                    <a:pos x="113" y="18"/>
                  </a:cxn>
                  <a:cxn ang="0">
                    <a:pos x="108" y="34"/>
                  </a:cxn>
                  <a:cxn ang="0">
                    <a:pos x="88" y="53"/>
                  </a:cxn>
                  <a:cxn ang="0">
                    <a:pos x="104" y="60"/>
                  </a:cxn>
                  <a:cxn ang="0">
                    <a:pos x="120" y="63"/>
                  </a:cxn>
                  <a:cxn ang="0">
                    <a:pos x="99" y="87"/>
                  </a:cxn>
                  <a:cxn ang="0">
                    <a:pos x="65" y="97"/>
                  </a:cxn>
                  <a:cxn ang="0">
                    <a:pos x="31" y="96"/>
                  </a:cxn>
                  <a:cxn ang="0">
                    <a:pos x="23" y="118"/>
                  </a:cxn>
                  <a:cxn ang="0">
                    <a:pos x="43" y="130"/>
                  </a:cxn>
                  <a:cxn ang="0">
                    <a:pos x="24" y="154"/>
                  </a:cxn>
                  <a:cxn ang="0">
                    <a:pos x="23" y="173"/>
                  </a:cxn>
                  <a:cxn ang="0">
                    <a:pos x="40" y="179"/>
                  </a:cxn>
                  <a:cxn ang="0">
                    <a:pos x="78" y="192"/>
                  </a:cxn>
                  <a:cxn ang="0">
                    <a:pos x="54" y="209"/>
                  </a:cxn>
                  <a:cxn ang="0">
                    <a:pos x="32" y="248"/>
                  </a:cxn>
                  <a:cxn ang="0">
                    <a:pos x="81" y="238"/>
                  </a:cxn>
                  <a:cxn ang="0">
                    <a:pos x="56" y="249"/>
                  </a:cxn>
                  <a:cxn ang="0">
                    <a:pos x="29" y="274"/>
                  </a:cxn>
                  <a:cxn ang="0">
                    <a:pos x="15" y="279"/>
                  </a:cxn>
                  <a:cxn ang="0">
                    <a:pos x="0" y="291"/>
                  </a:cxn>
                  <a:cxn ang="0">
                    <a:pos x="13" y="299"/>
                  </a:cxn>
                  <a:cxn ang="0">
                    <a:pos x="11" y="314"/>
                  </a:cxn>
                  <a:cxn ang="0">
                    <a:pos x="38" y="312"/>
                  </a:cxn>
                  <a:cxn ang="0">
                    <a:pos x="16" y="334"/>
                  </a:cxn>
                  <a:cxn ang="0">
                    <a:pos x="48" y="328"/>
                  </a:cxn>
                  <a:cxn ang="0">
                    <a:pos x="33" y="338"/>
                  </a:cxn>
                  <a:cxn ang="0">
                    <a:pos x="44" y="340"/>
                  </a:cxn>
                  <a:cxn ang="0">
                    <a:pos x="60" y="343"/>
                  </a:cxn>
                  <a:cxn ang="0">
                    <a:pos x="102" y="329"/>
                  </a:cxn>
                  <a:cxn ang="0">
                    <a:pos x="109" y="308"/>
                  </a:cxn>
                  <a:cxn ang="0">
                    <a:pos x="119" y="317"/>
                  </a:cxn>
                  <a:cxn ang="0">
                    <a:pos x="145" y="306"/>
                  </a:cxn>
                  <a:cxn ang="0">
                    <a:pos x="153" y="291"/>
                  </a:cxn>
                  <a:cxn ang="0">
                    <a:pos x="201" y="281"/>
                  </a:cxn>
                  <a:cxn ang="0">
                    <a:pos x="218" y="278"/>
                  </a:cxn>
                  <a:cxn ang="0">
                    <a:pos x="225" y="236"/>
                  </a:cxn>
                  <a:cxn ang="0">
                    <a:pos x="231" y="197"/>
                  </a:cxn>
                  <a:cxn ang="0">
                    <a:pos x="233" y="160"/>
                  </a:cxn>
                  <a:cxn ang="0">
                    <a:pos x="226" y="117"/>
                  </a:cxn>
                </a:cxnLst>
                <a:rect l="0" t="0" r="r" b="b"/>
                <a:pathLst>
                  <a:path w="233" h="345">
                    <a:moveTo>
                      <a:pt x="226" y="117"/>
                    </a:moveTo>
                    <a:lnTo>
                      <a:pt x="223" y="112"/>
                    </a:lnTo>
                    <a:lnTo>
                      <a:pt x="223" y="97"/>
                    </a:lnTo>
                    <a:lnTo>
                      <a:pt x="222" y="90"/>
                    </a:lnTo>
                    <a:lnTo>
                      <a:pt x="207" y="76"/>
                    </a:lnTo>
                    <a:lnTo>
                      <a:pt x="178" y="84"/>
                    </a:lnTo>
                    <a:lnTo>
                      <a:pt x="172" y="95"/>
                    </a:lnTo>
                    <a:lnTo>
                      <a:pt x="159" y="106"/>
                    </a:lnTo>
                    <a:lnTo>
                      <a:pt x="148" y="100"/>
                    </a:lnTo>
                    <a:lnTo>
                      <a:pt x="141" y="82"/>
                    </a:lnTo>
                    <a:lnTo>
                      <a:pt x="125" y="71"/>
                    </a:lnTo>
                    <a:lnTo>
                      <a:pt x="136" y="63"/>
                    </a:lnTo>
                    <a:lnTo>
                      <a:pt x="136" y="50"/>
                    </a:lnTo>
                    <a:lnTo>
                      <a:pt x="146" y="49"/>
                    </a:lnTo>
                    <a:lnTo>
                      <a:pt x="152" y="39"/>
                    </a:lnTo>
                    <a:lnTo>
                      <a:pt x="153" y="27"/>
                    </a:lnTo>
                    <a:lnTo>
                      <a:pt x="155" y="22"/>
                    </a:lnTo>
                    <a:lnTo>
                      <a:pt x="152" y="2"/>
                    </a:lnTo>
                    <a:lnTo>
                      <a:pt x="151" y="0"/>
                    </a:lnTo>
                    <a:lnTo>
                      <a:pt x="145" y="1"/>
                    </a:lnTo>
                    <a:lnTo>
                      <a:pt x="135" y="6"/>
                    </a:lnTo>
                    <a:lnTo>
                      <a:pt x="131" y="4"/>
                    </a:lnTo>
                    <a:lnTo>
                      <a:pt x="121" y="11"/>
                    </a:lnTo>
                    <a:lnTo>
                      <a:pt x="113" y="18"/>
                    </a:lnTo>
                    <a:lnTo>
                      <a:pt x="108" y="20"/>
                    </a:lnTo>
                    <a:lnTo>
                      <a:pt x="105" y="30"/>
                    </a:lnTo>
                    <a:lnTo>
                      <a:pt x="108" y="34"/>
                    </a:lnTo>
                    <a:lnTo>
                      <a:pt x="107" y="37"/>
                    </a:lnTo>
                    <a:lnTo>
                      <a:pt x="99" y="45"/>
                    </a:lnTo>
                    <a:lnTo>
                      <a:pt x="88" y="53"/>
                    </a:lnTo>
                    <a:lnTo>
                      <a:pt x="91" y="59"/>
                    </a:lnTo>
                    <a:lnTo>
                      <a:pt x="99" y="59"/>
                    </a:lnTo>
                    <a:lnTo>
                      <a:pt x="104" y="60"/>
                    </a:lnTo>
                    <a:lnTo>
                      <a:pt x="110" y="59"/>
                    </a:lnTo>
                    <a:lnTo>
                      <a:pt x="119" y="59"/>
                    </a:lnTo>
                    <a:lnTo>
                      <a:pt x="120" y="63"/>
                    </a:lnTo>
                    <a:lnTo>
                      <a:pt x="117" y="71"/>
                    </a:lnTo>
                    <a:lnTo>
                      <a:pt x="98" y="84"/>
                    </a:lnTo>
                    <a:lnTo>
                      <a:pt x="99" y="87"/>
                    </a:lnTo>
                    <a:lnTo>
                      <a:pt x="98" y="95"/>
                    </a:lnTo>
                    <a:lnTo>
                      <a:pt x="83" y="93"/>
                    </a:lnTo>
                    <a:lnTo>
                      <a:pt x="65" y="97"/>
                    </a:lnTo>
                    <a:lnTo>
                      <a:pt x="61" y="90"/>
                    </a:lnTo>
                    <a:lnTo>
                      <a:pt x="37" y="87"/>
                    </a:lnTo>
                    <a:lnTo>
                      <a:pt x="31" y="96"/>
                    </a:lnTo>
                    <a:lnTo>
                      <a:pt x="26" y="104"/>
                    </a:lnTo>
                    <a:lnTo>
                      <a:pt x="29" y="120"/>
                    </a:lnTo>
                    <a:lnTo>
                      <a:pt x="23" y="118"/>
                    </a:lnTo>
                    <a:lnTo>
                      <a:pt x="15" y="119"/>
                    </a:lnTo>
                    <a:lnTo>
                      <a:pt x="21" y="128"/>
                    </a:lnTo>
                    <a:lnTo>
                      <a:pt x="43" y="130"/>
                    </a:lnTo>
                    <a:lnTo>
                      <a:pt x="44" y="136"/>
                    </a:lnTo>
                    <a:lnTo>
                      <a:pt x="28" y="146"/>
                    </a:lnTo>
                    <a:lnTo>
                      <a:pt x="24" y="154"/>
                    </a:lnTo>
                    <a:lnTo>
                      <a:pt x="17" y="158"/>
                    </a:lnTo>
                    <a:lnTo>
                      <a:pt x="17" y="166"/>
                    </a:lnTo>
                    <a:lnTo>
                      <a:pt x="23" y="173"/>
                    </a:lnTo>
                    <a:lnTo>
                      <a:pt x="28" y="174"/>
                    </a:lnTo>
                    <a:lnTo>
                      <a:pt x="28" y="179"/>
                    </a:lnTo>
                    <a:lnTo>
                      <a:pt x="40" y="179"/>
                    </a:lnTo>
                    <a:lnTo>
                      <a:pt x="43" y="186"/>
                    </a:lnTo>
                    <a:lnTo>
                      <a:pt x="75" y="187"/>
                    </a:lnTo>
                    <a:lnTo>
                      <a:pt x="78" y="192"/>
                    </a:lnTo>
                    <a:lnTo>
                      <a:pt x="74" y="197"/>
                    </a:lnTo>
                    <a:lnTo>
                      <a:pt x="61" y="201"/>
                    </a:lnTo>
                    <a:lnTo>
                      <a:pt x="54" y="209"/>
                    </a:lnTo>
                    <a:lnTo>
                      <a:pt x="53" y="224"/>
                    </a:lnTo>
                    <a:lnTo>
                      <a:pt x="48" y="233"/>
                    </a:lnTo>
                    <a:lnTo>
                      <a:pt x="32" y="248"/>
                    </a:lnTo>
                    <a:lnTo>
                      <a:pt x="65" y="243"/>
                    </a:lnTo>
                    <a:lnTo>
                      <a:pt x="81" y="227"/>
                    </a:lnTo>
                    <a:lnTo>
                      <a:pt x="81" y="238"/>
                    </a:lnTo>
                    <a:lnTo>
                      <a:pt x="89" y="240"/>
                    </a:lnTo>
                    <a:lnTo>
                      <a:pt x="91" y="241"/>
                    </a:lnTo>
                    <a:lnTo>
                      <a:pt x="56" y="249"/>
                    </a:lnTo>
                    <a:lnTo>
                      <a:pt x="42" y="251"/>
                    </a:lnTo>
                    <a:lnTo>
                      <a:pt x="31" y="268"/>
                    </a:lnTo>
                    <a:lnTo>
                      <a:pt x="29" y="274"/>
                    </a:lnTo>
                    <a:lnTo>
                      <a:pt x="27" y="278"/>
                    </a:lnTo>
                    <a:lnTo>
                      <a:pt x="21" y="276"/>
                    </a:lnTo>
                    <a:lnTo>
                      <a:pt x="15" y="279"/>
                    </a:lnTo>
                    <a:lnTo>
                      <a:pt x="8" y="278"/>
                    </a:lnTo>
                    <a:lnTo>
                      <a:pt x="2" y="283"/>
                    </a:lnTo>
                    <a:lnTo>
                      <a:pt x="0" y="291"/>
                    </a:lnTo>
                    <a:lnTo>
                      <a:pt x="24" y="289"/>
                    </a:lnTo>
                    <a:lnTo>
                      <a:pt x="26" y="294"/>
                    </a:lnTo>
                    <a:lnTo>
                      <a:pt x="13" y="299"/>
                    </a:lnTo>
                    <a:lnTo>
                      <a:pt x="5" y="308"/>
                    </a:lnTo>
                    <a:lnTo>
                      <a:pt x="3" y="314"/>
                    </a:lnTo>
                    <a:lnTo>
                      <a:pt x="11" y="314"/>
                    </a:lnTo>
                    <a:lnTo>
                      <a:pt x="13" y="319"/>
                    </a:lnTo>
                    <a:lnTo>
                      <a:pt x="16" y="319"/>
                    </a:lnTo>
                    <a:lnTo>
                      <a:pt x="38" y="312"/>
                    </a:lnTo>
                    <a:lnTo>
                      <a:pt x="38" y="318"/>
                    </a:lnTo>
                    <a:lnTo>
                      <a:pt x="29" y="323"/>
                    </a:lnTo>
                    <a:lnTo>
                      <a:pt x="16" y="334"/>
                    </a:lnTo>
                    <a:lnTo>
                      <a:pt x="19" y="334"/>
                    </a:lnTo>
                    <a:lnTo>
                      <a:pt x="45" y="326"/>
                    </a:lnTo>
                    <a:lnTo>
                      <a:pt x="48" y="328"/>
                    </a:lnTo>
                    <a:lnTo>
                      <a:pt x="45" y="334"/>
                    </a:lnTo>
                    <a:lnTo>
                      <a:pt x="39" y="334"/>
                    </a:lnTo>
                    <a:lnTo>
                      <a:pt x="33" y="338"/>
                    </a:lnTo>
                    <a:lnTo>
                      <a:pt x="34" y="340"/>
                    </a:lnTo>
                    <a:lnTo>
                      <a:pt x="34" y="345"/>
                    </a:lnTo>
                    <a:lnTo>
                      <a:pt x="44" y="340"/>
                    </a:lnTo>
                    <a:lnTo>
                      <a:pt x="51" y="339"/>
                    </a:lnTo>
                    <a:lnTo>
                      <a:pt x="55" y="341"/>
                    </a:lnTo>
                    <a:lnTo>
                      <a:pt x="60" y="343"/>
                    </a:lnTo>
                    <a:lnTo>
                      <a:pt x="67" y="338"/>
                    </a:lnTo>
                    <a:lnTo>
                      <a:pt x="74" y="338"/>
                    </a:lnTo>
                    <a:lnTo>
                      <a:pt x="102" y="329"/>
                    </a:lnTo>
                    <a:lnTo>
                      <a:pt x="109" y="323"/>
                    </a:lnTo>
                    <a:lnTo>
                      <a:pt x="110" y="316"/>
                    </a:lnTo>
                    <a:lnTo>
                      <a:pt x="109" y="308"/>
                    </a:lnTo>
                    <a:lnTo>
                      <a:pt x="113" y="310"/>
                    </a:lnTo>
                    <a:lnTo>
                      <a:pt x="115" y="316"/>
                    </a:lnTo>
                    <a:lnTo>
                      <a:pt x="119" y="317"/>
                    </a:lnTo>
                    <a:lnTo>
                      <a:pt x="131" y="311"/>
                    </a:lnTo>
                    <a:lnTo>
                      <a:pt x="135" y="305"/>
                    </a:lnTo>
                    <a:lnTo>
                      <a:pt x="145" y="306"/>
                    </a:lnTo>
                    <a:lnTo>
                      <a:pt x="148" y="301"/>
                    </a:lnTo>
                    <a:lnTo>
                      <a:pt x="151" y="295"/>
                    </a:lnTo>
                    <a:lnTo>
                      <a:pt x="153" y="291"/>
                    </a:lnTo>
                    <a:lnTo>
                      <a:pt x="177" y="286"/>
                    </a:lnTo>
                    <a:lnTo>
                      <a:pt x="189" y="281"/>
                    </a:lnTo>
                    <a:lnTo>
                      <a:pt x="201" y="281"/>
                    </a:lnTo>
                    <a:lnTo>
                      <a:pt x="209" y="285"/>
                    </a:lnTo>
                    <a:lnTo>
                      <a:pt x="216" y="285"/>
                    </a:lnTo>
                    <a:lnTo>
                      <a:pt x="218" y="278"/>
                    </a:lnTo>
                    <a:lnTo>
                      <a:pt x="215" y="269"/>
                    </a:lnTo>
                    <a:lnTo>
                      <a:pt x="222" y="251"/>
                    </a:lnTo>
                    <a:lnTo>
                      <a:pt x="225" y="236"/>
                    </a:lnTo>
                    <a:lnTo>
                      <a:pt x="231" y="225"/>
                    </a:lnTo>
                    <a:lnTo>
                      <a:pt x="233" y="216"/>
                    </a:lnTo>
                    <a:lnTo>
                      <a:pt x="231" y="197"/>
                    </a:lnTo>
                    <a:lnTo>
                      <a:pt x="227" y="178"/>
                    </a:lnTo>
                    <a:lnTo>
                      <a:pt x="231" y="176"/>
                    </a:lnTo>
                    <a:lnTo>
                      <a:pt x="233" y="160"/>
                    </a:lnTo>
                    <a:lnTo>
                      <a:pt x="220" y="128"/>
                    </a:lnTo>
                    <a:lnTo>
                      <a:pt x="220" y="119"/>
                    </a:lnTo>
                    <a:lnTo>
                      <a:pt x="226" y="11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85" name="Freeform 196"/>
              <p:cNvSpPr>
                <a:spLocks noChangeAspect="1"/>
              </p:cNvSpPr>
              <p:nvPr/>
            </p:nvSpPr>
            <p:spPr bwMode="gray">
              <a:xfrm>
                <a:off x="5144294" y="2622897"/>
                <a:ext cx="315913" cy="209550"/>
              </a:xfrm>
              <a:custGeom>
                <a:avLst/>
                <a:gdLst/>
                <a:ahLst/>
                <a:cxnLst>
                  <a:cxn ang="0">
                    <a:pos x="148" y="384"/>
                  </a:cxn>
                  <a:cxn ang="0">
                    <a:pos x="40" y="377"/>
                  </a:cxn>
                  <a:cxn ang="0">
                    <a:pos x="19" y="282"/>
                  </a:cxn>
                  <a:cxn ang="0">
                    <a:pos x="85" y="184"/>
                  </a:cxn>
                  <a:cxn ang="0">
                    <a:pos x="84" y="95"/>
                  </a:cxn>
                  <a:cxn ang="0">
                    <a:pos x="121" y="51"/>
                  </a:cxn>
                  <a:cxn ang="0">
                    <a:pos x="219" y="44"/>
                  </a:cxn>
                  <a:cxn ang="0">
                    <a:pos x="275" y="67"/>
                  </a:cxn>
                  <a:cxn ang="0">
                    <a:pos x="328" y="77"/>
                  </a:cxn>
                  <a:cxn ang="0">
                    <a:pos x="386" y="70"/>
                  </a:cxn>
                  <a:cxn ang="0">
                    <a:pos x="449" y="86"/>
                  </a:cxn>
                  <a:cxn ang="0">
                    <a:pos x="473" y="52"/>
                  </a:cxn>
                  <a:cxn ang="0">
                    <a:pos x="537" y="18"/>
                  </a:cxn>
                  <a:cxn ang="0">
                    <a:pos x="589" y="6"/>
                  </a:cxn>
                  <a:cxn ang="0">
                    <a:pos x="662" y="25"/>
                  </a:cxn>
                  <a:cxn ang="0">
                    <a:pos x="667" y="72"/>
                  </a:cxn>
                  <a:cxn ang="0">
                    <a:pos x="720" y="105"/>
                  </a:cxn>
                  <a:cxn ang="0">
                    <a:pos x="759" y="165"/>
                  </a:cxn>
                  <a:cxn ang="0">
                    <a:pos x="842" y="163"/>
                  </a:cxn>
                  <a:cxn ang="0">
                    <a:pos x="896" y="199"/>
                  </a:cxn>
                  <a:cxn ang="0">
                    <a:pos x="958" y="223"/>
                  </a:cxn>
                  <a:cxn ang="0">
                    <a:pos x="987" y="282"/>
                  </a:cxn>
                  <a:cxn ang="0">
                    <a:pos x="968" y="320"/>
                  </a:cxn>
                  <a:cxn ang="0">
                    <a:pos x="963" y="389"/>
                  </a:cxn>
                  <a:cxn ang="0">
                    <a:pos x="888" y="419"/>
                  </a:cxn>
                  <a:cxn ang="0">
                    <a:pos x="817" y="465"/>
                  </a:cxn>
                  <a:cxn ang="0">
                    <a:pos x="757" y="485"/>
                  </a:cxn>
                  <a:cxn ang="0">
                    <a:pos x="725" y="517"/>
                  </a:cxn>
                  <a:cxn ang="0">
                    <a:pos x="709" y="545"/>
                  </a:cxn>
                  <a:cxn ang="0">
                    <a:pos x="687" y="534"/>
                  </a:cxn>
                  <a:cxn ang="0">
                    <a:pos x="666" y="507"/>
                  </a:cxn>
                  <a:cxn ang="0">
                    <a:pos x="660" y="527"/>
                  </a:cxn>
                  <a:cxn ang="0">
                    <a:pos x="684" y="539"/>
                  </a:cxn>
                  <a:cxn ang="0">
                    <a:pos x="708" y="559"/>
                  </a:cxn>
                  <a:cxn ang="0">
                    <a:pos x="750" y="590"/>
                  </a:cxn>
                  <a:cxn ang="0">
                    <a:pos x="799" y="584"/>
                  </a:cxn>
                  <a:cxn ang="0">
                    <a:pos x="723" y="619"/>
                  </a:cxn>
                  <a:cxn ang="0">
                    <a:pos x="680" y="646"/>
                  </a:cxn>
                  <a:cxn ang="0">
                    <a:pos x="632" y="638"/>
                  </a:cxn>
                  <a:cxn ang="0">
                    <a:pos x="607" y="590"/>
                  </a:cxn>
                  <a:cxn ang="0">
                    <a:pos x="613" y="550"/>
                  </a:cxn>
                  <a:cxn ang="0">
                    <a:pos x="618" y="524"/>
                  </a:cxn>
                  <a:cxn ang="0">
                    <a:pos x="557" y="518"/>
                  </a:cxn>
                  <a:cxn ang="0">
                    <a:pos x="528" y="496"/>
                  </a:cxn>
                  <a:cxn ang="0">
                    <a:pos x="543" y="471"/>
                  </a:cxn>
                  <a:cxn ang="0">
                    <a:pos x="492" y="489"/>
                  </a:cxn>
                  <a:cxn ang="0">
                    <a:pos x="450" y="509"/>
                  </a:cxn>
                  <a:cxn ang="0">
                    <a:pos x="434" y="547"/>
                  </a:cxn>
                  <a:cxn ang="0">
                    <a:pos x="418" y="566"/>
                  </a:cxn>
                  <a:cxn ang="0">
                    <a:pos x="368" y="592"/>
                  </a:cxn>
                  <a:cxn ang="0">
                    <a:pos x="352" y="560"/>
                  </a:cxn>
                  <a:cxn ang="0">
                    <a:pos x="382" y="498"/>
                  </a:cxn>
                  <a:cxn ang="0">
                    <a:pos x="431" y="484"/>
                  </a:cxn>
                  <a:cxn ang="0">
                    <a:pos x="406" y="423"/>
                  </a:cxn>
                  <a:cxn ang="0">
                    <a:pos x="387" y="369"/>
                  </a:cxn>
                  <a:cxn ang="0">
                    <a:pos x="310" y="339"/>
                  </a:cxn>
                </a:cxnLst>
                <a:rect l="0" t="0" r="r" b="b"/>
                <a:pathLst>
                  <a:path w="995" h="658">
                    <a:moveTo>
                      <a:pt x="248" y="353"/>
                    </a:moveTo>
                    <a:lnTo>
                      <a:pt x="242" y="352"/>
                    </a:lnTo>
                    <a:lnTo>
                      <a:pt x="208" y="373"/>
                    </a:lnTo>
                    <a:lnTo>
                      <a:pt x="189" y="374"/>
                    </a:lnTo>
                    <a:lnTo>
                      <a:pt x="173" y="378"/>
                    </a:lnTo>
                    <a:lnTo>
                      <a:pt x="157" y="389"/>
                    </a:lnTo>
                    <a:lnTo>
                      <a:pt x="148" y="384"/>
                    </a:lnTo>
                    <a:lnTo>
                      <a:pt x="137" y="374"/>
                    </a:lnTo>
                    <a:lnTo>
                      <a:pt x="121" y="376"/>
                    </a:lnTo>
                    <a:lnTo>
                      <a:pt x="106" y="379"/>
                    </a:lnTo>
                    <a:lnTo>
                      <a:pt x="83" y="377"/>
                    </a:lnTo>
                    <a:lnTo>
                      <a:pt x="64" y="374"/>
                    </a:lnTo>
                    <a:lnTo>
                      <a:pt x="47" y="374"/>
                    </a:lnTo>
                    <a:lnTo>
                      <a:pt x="40" y="377"/>
                    </a:lnTo>
                    <a:lnTo>
                      <a:pt x="36" y="367"/>
                    </a:lnTo>
                    <a:lnTo>
                      <a:pt x="27" y="358"/>
                    </a:lnTo>
                    <a:lnTo>
                      <a:pt x="15" y="348"/>
                    </a:lnTo>
                    <a:lnTo>
                      <a:pt x="0" y="341"/>
                    </a:lnTo>
                    <a:lnTo>
                      <a:pt x="6" y="318"/>
                    </a:lnTo>
                    <a:lnTo>
                      <a:pt x="17" y="288"/>
                    </a:lnTo>
                    <a:lnTo>
                      <a:pt x="19" y="282"/>
                    </a:lnTo>
                    <a:lnTo>
                      <a:pt x="24" y="283"/>
                    </a:lnTo>
                    <a:lnTo>
                      <a:pt x="33" y="281"/>
                    </a:lnTo>
                    <a:lnTo>
                      <a:pt x="31" y="269"/>
                    </a:lnTo>
                    <a:lnTo>
                      <a:pt x="33" y="254"/>
                    </a:lnTo>
                    <a:lnTo>
                      <a:pt x="51" y="216"/>
                    </a:lnTo>
                    <a:lnTo>
                      <a:pt x="65" y="197"/>
                    </a:lnTo>
                    <a:lnTo>
                      <a:pt x="85" y="184"/>
                    </a:lnTo>
                    <a:lnTo>
                      <a:pt x="103" y="169"/>
                    </a:lnTo>
                    <a:lnTo>
                      <a:pt x="108" y="156"/>
                    </a:lnTo>
                    <a:lnTo>
                      <a:pt x="102" y="140"/>
                    </a:lnTo>
                    <a:lnTo>
                      <a:pt x="103" y="129"/>
                    </a:lnTo>
                    <a:lnTo>
                      <a:pt x="92" y="118"/>
                    </a:lnTo>
                    <a:lnTo>
                      <a:pt x="91" y="114"/>
                    </a:lnTo>
                    <a:lnTo>
                      <a:pt x="84" y="95"/>
                    </a:lnTo>
                    <a:lnTo>
                      <a:pt x="83" y="83"/>
                    </a:lnTo>
                    <a:lnTo>
                      <a:pt x="76" y="71"/>
                    </a:lnTo>
                    <a:lnTo>
                      <a:pt x="83" y="65"/>
                    </a:lnTo>
                    <a:lnTo>
                      <a:pt x="91" y="64"/>
                    </a:lnTo>
                    <a:lnTo>
                      <a:pt x="100" y="65"/>
                    </a:lnTo>
                    <a:lnTo>
                      <a:pt x="114" y="57"/>
                    </a:lnTo>
                    <a:lnTo>
                      <a:pt x="121" y="51"/>
                    </a:lnTo>
                    <a:lnTo>
                      <a:pt x="123" y="44"/>
                    </a:lnTo>
                    <a:lnTo>
                      <a:pt x="130" y="40"/>
                    </a:lnTo>
                    <a:lnTo>
                      <a:pt x="172" y="34"/>
                    </a:lnTo>
                    <a:lnTo>
                      <a:pt x="180" y="37"/>
                    </a:lnTo>
                    <a:lnTo>
                      <a:pt x="197" y="38"/>
                    </a:lnTo>
                    <a:lnTo>
                      <a:pt x="205" y="35"/>
                    </a:lnTo>
                    <a:lnTo>
                      <a:pt x="219" y="44"/>
                    </a:lnTo>
                    <a:lnTo>
                      <a:pt x="235" y="49"/>
                    </a:lnTo>
                    <a:lnTo>
                      <a:pt x="243" y="50"/>
                    </a:lnTo>
                    <a:lnTo>
                      <a:pt x="252" y="49"/>
                    </a:lnTo>
                    <a:lnTo>
                      <a:pt x="258" y="52"/>
                    </a:lnTo>
                    <a:lnTo>
                      <a:pt x="267" y="55"/>
                    </a:lnTo>
                    <a:lnTo>
                      <a:pt x="274" y="59"/>
                    </a:lnTo>
                    <a:lnTo>
                      <a:pt x="275" y="67"/>
                    </a:lnTo>
                    <a:lnTo>
                      <a:pt x="282" y="72"/>
                    </a:lnTo>
                    <a:lnTo>
                      <a:pt x="297" y="71"/>
                    </a:lnTo>
                    <a:lnTo>
                      <a:pt x="299" y="79"/>
                    </a:lnTo>
                    <a:lnTo>
                      <a:pt x="306" y="86"/>
                    </a:lnTo>
                    <a:lnTo>
                      <a:pt x="312" y="79"/>
                    </a:lnTo>
                    <a:lnTo>
                      <a:pt x="320" y="77"/>
                    </a:lnTo>
                    <a:lnTo>
                      <a:pt x="328" y="77"/>
                    </a:lnTo>
                    <a:lnTo>
                      <a:pt x="334" y="71"/>
                    </a:lnTo>
                    <a:lnTo>
                      <a:pt x="340" y="76"/>
                    </a:lnTo>
                    <a:lnTo>
                      <a:pt x="349" y="78"/>
                    </a:lnTo>
                    <a:lnTo>
                      <a:pt x="356" y="76"/>
                    </a:lnTo>
                    <a:lnTo>
                      <a:pt x="361" y="83"/>
                    </a:lnTo>
                    <a:lnTo>
                      <a:pt x="369" y="88"/>
                    </a:lnTo>
                    <a:lnTo>
                      <a:pt x="386" y="70"/>
                    </a:lnTo>
                    <a:lnTo>
                      <a:pt x="398" y="79"/>
                    </a:lnTo>
                    <a:lnTo>
                      <a:pt x="402" y="87"/>
                    </a:lnTo>
                    <a:lnTo>
                      <a:pt x="408" y="93"/>
                    </a:lnTo>
                    <a:lnTo>
                      <a:pt x="415" y="88"/>
                    </a:lnTo>
                    <a:lnTo>
                      <a:pt x="424" y="88"/>
                    </a:lnTo>
                    <a:lnTo>
                      <a:pt x="440" y="86"/>
                    </a:lnTo>
                    <a:lnTo>
                      <a:pt x="449" y="86"/>
                    </a:lnTo>
                    <a:lnTo>
                      <a:pt x="456" y="89"/>
                    </a:lnTo>
                    <a:lnTo>
                      <a:pt x="461" y="95"/>
                    </a:lnTo>
                    <a:lnTo>
                      <a:pt x="469" y="93"/>
                    </a:lnTo>
                    <a:lnTo>
                      <a:pt x="473" y="86"/>
                    </a:lnTo>
                    <a:lnTo>
                      <a:pt x="471" y="70"/>
                    </a:lnTo>
                    <a:lnTo>
                      <a:pt x="473" y="61"/>
                    </a:lnTo>
                    <a:lnTo>
                      <a:pt x="473" y="52"/>
                    </a:lnTo>
                    <a:lnTo>
                      <a:pt x="476" y="44"/>
                    </a:lnTo>
                    <a:lnTo>
                      <a:pt x="494" y="27"/>
                    </a:lnTo>
                    <a:lnTo>
                      <a:pt x="501" y="23"/>
                    </a:lnTo>
                    <a:lnTo>
                      <a:pt x="510" y="23"/>
                    </a:lnTo>
                    <a:lnTo>
                      <a:pt x="517" y="18"/>
                    </a:lnTo>
                    <a:lnTo>
                      <a:pt x="537" y="18"/>
                    </a:lnTo>
                    <a:lnTo>
                      <a:pt x="537" y="18"/>
                    </a:lnTo>
                    <a:lnTo>
                      <a:pt x="543" y="23"/>
                    </a:lnTo>
                    <a:lnTo>
                      <a:pt x="551" y="25"/>
                    </a:lnTo>
                    <a:lnTo>
                      <a:pt x="558" y="22"/>
                    </a:lnTo>
                    <a:lnTo>
                      <a:pt x="563" y="16"/>
                    </a:lnTo>
                    <a:lnTo>
                      <a:pt x="565" y="7"/>
                    </a:lnTo>
                    <a:lnTo>
                      <a:pt x="573" y="2"/>
                    </a:lnTo>
                    <a:lnTo>
                      <a:pt x="589" y="6"/>
                    </a:lnTo>
                    <a:lnTo>
                      <a:pt x="597" y="6"/>
                    </a:lnTo>
                    <a:lnTo>
                      <a:pt x="613" y="1"/>
                    </a:lnTo>
                    <a:lnTo>
                      <a:pt x="629" y="3"/>
                    </a:lnTo>
                    <a:lnTo>
                      <a:pt x="645" y="0"/>
                    </a:lnTo>
                    <a:lnTo>
                      <a:pt x="657" y="9"/>
                    </a:lnTo>
                    <a:lnTo>
                      <a:pt x="662" y="17"/>
                    </a:lnTo>
                    <a:lnTo>
                      <a:pt x="662" y="25"/>
                    </a:lnTo>
                    <a:lnTo>
                      <a:pt x="675" y="37"/>
                    </a:lnTo>
                    <a:lnTo>
                      <a:pt x="680" y="43"/>
                    </a:lnTo>
                    <a:lnTo>
                      <a:pt x="680" y="52"/>
                    </a:lnTo>
                    <a:lnTo>
                      <a:pt x="671" y="56"/>
                    </a:lnTo>
                    <a:lnTo>
                      <a:pt x="664" y="57"/>
                    </a:lnTo>
                    <a:lnTo>
                      <a:pt x="667" y="65"/>
                    </a:lnTo>
                    <a:lnTo>
                      <a:pt x="667" y="72"/>
                    </a:lnTo>
                    <a:lnTo>
                      <a:pt x="671" y="88"/>
                    </a:lnTo>
                    <a:lnTo>
                      <a:pt x="678" y="93"/>
                    </a:lnTo>
                    <a:lnTo>
                      <a:pt x="686" y="97"/>
                    </a:lnTo>
                    <a:lnTo>
                      <a:pt x="702" y="100"/>
                    </a:lnTo>
                    <a:lnTo>
                      <a:pt x="709" y="97"/>
                    </a:lnTo>
                    <a:lnTo>
                      <a:pt x="718" y="97"/>
                    </a:lnTo>
                    <a:lnTo>
                      <a:pt x="720" y="105"/>
                    </a:lnTo>
                    <a:lnTo>
                      <a:pt x="731" y="116"/>
                    </a:lnTo>
                    <a:lnTo>
                      <a:pt x="738" y="145"/>
                    </a:lnTo>
                    <a:lnTo>
                      <a:pt x="736" y="152"/>
                    </a:lnTo>
                    <a:lnTo>
                      <a:pt x="738" y="159"/>
                    </a:lnTo>
                    <a:lnTo>
                      <a:pt x="745" y="165"/>
                    </a:lnTo>
                    <a:lnTo>
                      <a:pt x="752" y="169"/>
                    </a:lnTo>
                    <a:lnTo>
                      <a:pt x="759" y="165"/>
                    </a:lnTo>
                    <a:lnTo>
                      <a:pt x="767" y="164"/>
                    </a:lnTo>
                    <a:lnTo>
                      <a:pt x="775" y="165"/>
                    </a:lnTo>
                    <a:lnTo>
                      <a:pt x="786" y="177"/>
                    </a:lnTo>
                    <a:lnTo>
                      <a:pt x="795" y="174"/>
                    </a:lnTo>
                    <a:lnTo>
                      <a:pt x="801" y="178"/>
                    </a:lnTo>
                    <a:lnTo>
                      <a:pt x="827" y="170"/>
                    </a:lnTo>
                    <a:lnTo>
                      <a:pt x="842" y="163"/>
                    </a:lnTo>
                    <a:lnTo>
                      <a:pt x="849" y="165"/>
                    </a:lnTo>
                    <a:lnTo>
                      <a:pt x="854" y="173"/>
                    </a:lnTo>
                    <a:lnTo>
                      <a:pt x="865" y="195"/>
                    </a:lnTo>
                    <a:lnTo>
                      <a:pt x="876" y="206"/>
                    </a:lnTo>
                    <a:lnTo>
                      <a:pt x="883" y="206"/>
                    </a:lnTo>
                    <a:lnTo>
                      <a:pt x="887" y="199"/>
                    </a:lnTo>
                    <a:lnTo>
                      <a:pt x="896" y="199"/>
                    </a:lnTo>
                    <a:lnTo>
                      <a:pt x="901" y="205"/>
                    </a:lnTo>
                    <a:lnTo>
                      <a:pt x="908" y="206"/>
                    </a:lnTo>
                    <a:lnTo>
                      <a:pt x="915" y="210"/>
                    </a:lnTo>
                    <a:lnTo>
                      <a:pt x="922" y="216"/>
                    </a:lnTo>
                    <a:lnTo>
                      <a:pt x="938" y="215"/>
                    </a:lnTo>
                    <a:lnTo>
                      <a:pt x="951" y="224"/>
                    </a:lnTo>
                    <a:lnTo>
                      <a:pt x="958" y="223"/>
                    </a:lnTo>
                    <a:lnTo>
                      <a:pt x="971" y="234"/>
                    </a:lnTo>
                    <a:lnTo>
                      <a:pt x="979" y="235"/>
                    </a:lnTo>
                    <a:lnTo>
                      <a:pt x="988" y="235"/>
                    </a:lnTo>
                    <a:lnTo>
                      <a:pt x="994" y="240"/>
                    </a:lnTo>
                    <a:lnTo>
                      <a:pt x="987" y="244"/>
                    </a:lnTo>
                    <a:lnTo>
                      <a:pt x="995" y="267"/>
                    </a:lnTo>
                    <a:lnTo>
                      <a:pt x="987" y="282"/>
                    </a:lnTo>
                    <a:lnTo>
                      <a:pt x="971" y="286"/>
                    </a:lnTo>
                    <a:lnTo>
                      <a:pt x="976" y="292"/>
                    </a:lnTo>
                    <a:lnTo>
                      <a:pt x="984" y="294"/>
                    </a:lnTo>
                    <a:lnTo>
                      <a:pt x="988" y="301"/>
                    </a:lnTo>
                    <a:lnTo>
                      <a:pt x="972" y="306"/>
                    </a:lnTo>
                    <a:lnTo>
                      <a:pt x="969" y="313"/>
                    </a:lnTo>
                    <a:lnTo>
                      <a:pt x="968" y="320"/>
                    </a:lnTo>
                    <a:lnTo>
                      <a:pt x="973" y="326"/>
                    </a:lnTo>
                    <a:lnTo>
                      <a:pt x="976" y="335"/>
                    </a:lnTo>
                    <a:lnTo>
                      <a:pt x="974" y="342"/>
                    </a:lnTo>
                    <a:lnTo>
                      <a:pt x="980" y="346"/>
                    </a:lnTo>
                    <a:lnTo>
                      <a:pt x="978" y="362"/>
                    </a:lnTo>
                    <a:lnTo>
                      <a:pt x="971" y="385"/>
                    </a:lnTo>
                    <a:lnTo>
                      <a:pt x="963" y="389"/>
                    </a:lnTo>
                    <a:lnTo>
                      <a:pt x="947" y="385"/>
                    </a:lnTo>
                    <a:lnTo>
                      <a:pt x="940" y="387"/>
                    </a:lnTo>
                    <a:lnTo>
                      <a:pt x="925" y="379"/>
                    </a:lnTo>
                    <a:lnTo>
                      <a:pt x="919" y="384"/>
                    </a:lnTo>
                    <a:lnTo>
                      <a:pt x="910" y="398"/>
                    </a:lnTo>
                    <a:lnTo>
                      <a:pt x="896" y="404"/>
                    </a:lnTo>
                    <a:lnTo>
                      <a:pt x="888" y="419"/>
                    </a:lnTo>
                    <a:lnTo>
                      <a:pt x="890" y="427"/>
                    </a:lnTo>
                    <a:lnTo>
                      <a:pt x="890" y="442"/>
                    </a:lnTo>
                    <a:lnTo>
                      <a:pt x="866" y="446"/>
                    </a:lnTo>
                    <a:lnTo>
                      <a:pt x="853" y="448"/>
                    </a:lnTo>
                    <a:lnTo>
                      <a:pt x="843" y="459"/>
                    </a:lnTo>
                    <a:lnTo>
                      <a:pt x="836" y="458"/>
                    </a:lnTo>
                    <a:lnTo>
                      <a:pt x="817" y="465"/>
                    </a:lnTo>
                    <a:lnTo>
                      <a:pt x="813" y="477"/>
                    </a:lnTo>
                    <a:lnTo>
                      <a:pt x="801" y="470"/>
                    </a:lnTo>
                    <a:lnTo>
                      <a:pt x="779" y="481"/>
                    </a:lnTo>
                    <a:lnTo>
                      <a:pt x="777" y="486"/>
                    </a:lnTo>
                    <a:lnTo>
                      <a:pt x="775" y="481"/>
                    </a:lnTo>
                    <a:lnTo>
                      <a:pt x="764" y="485"/>
                    </a:lnTo>
                    <a:lnTo>
                      <a:pt x="757" y="485"/>
                    </a:lnTo>
                    <a:lnTo>
                      <a:pt x="741" y="500"/>
                    </a:lnTo>
                    <a:lnTo>
                      <a:pt x="737" y="501"/>
                    </a:lnTo>
                    <a:lnTo>
                      <a:pt x="731" y="511"/>
                    </a:lnTo>
                    <a:lnTo>
                      <a:pt x="724" y="522"/>
                    </a:lnTo>
                    <a:lnTo>
                      <a:pt x="716" y="525"/>
                    </a:lnTo>
                    <a:lnTo>
                      <a:pt x="719" y="520"/>
                    </a:lnTo>
                    <a:lnTo>
                      <a:pt x="725" y="517"/>
                    </a:lnTo>
                    <a:lnTo>
                      <a:pt x="730" y="512"/>
                    </a:lnTo>
                    <a:lnTo>
                      <a:pt x="725" y="497"/>
                    </a:lnTo>
                    <a:lnTo>
                      <a:pt x="721" y="497"/>
                    </a:lnTo>
                    <a:lnTo>
                      <a:pt x="716" y="512"/>
                    </a:lnTo>
                    <a:lnTo>
                      <a:pt x="707" y="522"/>
                    </a:lnTo>
                    <a:lnTo>
                      <a:pt x="709" y="536"/>
                    </a:lnTo>
                    <a:lnTo>
                      <a:pt x="709" y="545"/>
                    </a:lnTo>
                    <a:lnTo>
                      <a:pt x="704" y="545"/>
                    </a:lnTo>
                    <a:lnTo>
                      <a:pt x="704" y="541"/>
                    </a:lnTo>
                    <a:lnTo>
                      <a:pt x="698" y="530"/>
                    </a:lnTo>
                    <a:lnTo>
                      <a:pt x="699" y="527"/>
                    </a:lnTo>
                    <a:lnTo>
                      <a:pt x="697" y="523"/>
                    </a:lnTo>
                    <a:lnTo>
                      <a:pt x="691" y="528"/>
                    </a:lnTo>
                    <a:lnTo>
                      <a:pt x="687" y="534"/>
                    </a:lnTo>
                    <a:lnTo>
                      <a:pt x="684" y="533"/>
                    </a:lnTo>
                    <a:lnTo>
                      <a:pt x="687" y="525"/>
                    </a:lnTo>
                    <a:lnTo>
                      <a:pt x="684" y="523"/>
                    </a:lnTo>
                    <a:lnTo>
                      <a:pt x="671" y="523"/>
                    </a:lnTo>
                    <a:lnTo>
                      <a:pt x="670" y="520"/>
                    </a:lnTo>
                    <a:lnTo>
                      <a:pt x="670" y="512"/>
                    </a:lnTo>
                    <a:lnTo>
                      <a:pt x="666" y="507"/>
                    </a:lnTo>
                    <a:lnTo>
                      <a:pt x="664" y="520"/>
                    </a:lnTo>
                    <a:lnTo>
                      <a:pt x="661" y="522"/>
                    </a:lnTo>
                    <a:lnTo>
                      <a:pt x="644" y="517"/>
                    </a:lnTo>
                    <a:lnTo>
                      <a:pt x="649" y="520"/>
                    </a:lnTo>
                    <a:lnTo>
                      <a:pt x="653" y="525"/>
                    </a:lnTo>
                    <a:lnTo>
                      <a:pt x="657" y="525"/>
                    </a:lnTo>
                    <a:lnTo>
                      <a:pt x="660" y="527"/>
                    </a:lnTo>
                    <a:lnTo>
                      <a:pt x="662" y="533"/>
                    </a:lnTo>
                    <a:lnTo>
                      <a:pt x="664" y="538"/>
                    </a:lnTo>
                    <a:lnTo>
                      <a:pt x="667" y="543"/>
                    </a:lnTo>
                    <a:lnTo>
                      <a:pt x="670" y="540"/>
                    </a:lnTo>
                    <a:lnTo>
                      <a:pt x="670" y="533"/>
                    </a:lnTo>
                    <a:lnTo>
                      <a:pt x="680" y="535"/>
                    </a:lnTo>
                    <a:lnTo>
                      <a:pt x="684" y="539"/>
                    </a:lnTo>
                    <a:lnTo>
                      <a:pt x="689" y="539"/>
                    </a:lnTo>
                    <a:lnTo>
                      <a:pt x="686" y="551"/>
                    </a:lnTo>
                    <a:lnTo>
                      <a:pt x="688" y="552"/>
                    </a:lnTo>
                    <a:lnTo>
                      <a:pt x="694" y="550"/>
                    </a:lnTo>
                    <a:lnTo>
                      <a:pt x="697" y="551"/>
                    </a:lnTo>
                    <a:lnTo>
                      <a:pt x="694" y="560"/>
                    </a:lnTo>
                    <a:lnTo>
                      <a:pt x="708" y="559"/>
                    </a:lnTo>
                    <a:lnTo>
                      <a:pt x="714" y="567"/>
                    </a:lnTo>
                    <a:lnTo>
                      <a:pt x="714" y="578"/>
                    </a:lnTo>
                    <a:lnTo>
                      <a:pt x="716" y="588"/>
                    </a:lnTo>
                    <a:lnTo>
                      <a:pt x="720" y="583"/>
                    </a:lnTo>
                    <a:lnTo>
                      <a:pt x="737" y="588"/>
                    </a:lnTo>
                    <a:lnTo>
                      <a:pt x="738" y="582"/>
                    </a:lnTo>
                    <a:lnTo>
                      <a:pt x="750" y="590"/>
                    </a:lnTo>
                    <a:lnTo>
                      <a:pt x="762" y="577"/>
                    </a:lnTo>
                    <a:lnTo>
                      <a:pt x="766" y="577"/>
                    </a:lnTo>
                    <a:lnTo>
                      <a:pt x="768" y="582"/>
                    </a:lnTo>
                    <a:lnTo>
                      <a:pt x="775" y="578"/>
                    </a:lnTo>
                    <a:lnTo>
                      <a:pt x="789" y="575"/>
                    </a:lnTo>
                    <a:lnTo>
                      <a:pt x="800" y="576"/>
                    </a:lnTo>
                    <a:lnTo>
                      <a:pt x="799" y="584"/>
                    </a:lnTo>
                    <a:lnTo>
                      <a:pt x="795" y="588"/>
                    </a:lnTo>
                    <a:lnTo>
                      <a:pt x="794" y="597"/>
                    </a:lnTo>
                    <a:lnTo>
                      <a:pt x="794" y="608"/>
                    </a:lnTo>
                    <a:lnTo>
                      <a:pt x="775" y="608"/>
                    </a:lnTo>
                    <a:lnTo>
                      <a:pt x="772" y="611"/>
                    </a:lnTo>
                    <a:lnTo>
                      <a:pt x="740" y="602"/>
                    </a:lnTo>
                    <a:lnTo>
                      <a:pt x="723" y="619"/>
                    </a:lnTo>
                    <a:lnTo>
                      <a:pt x="714" y="629"/>
                    </a:lnTo>
                    <a:lnTo>
                      <a:pt x="702" y="626"/>
                    </a:lnTo>
                    <a:lnTo>
                      <a:pt x="687" y="630"/>
                    </a:lnTo>
                    <a:lnTo>
                      <a:pt x="692" y="633"/>
                    </a:lnTo>
                    <a:lnTo>
                      <a:pt x="686" y="635"/>
                    </a:lnTo>
                    <a:lnTo>
                      <a:pt x="681" y="641"/>
                    </a:lnTo>
                    <a:lnTo>
                      <a:pt x="680" y="646"/>
                    </a:lnTo>
                    <a:lnTo>
                      <a:pt x="677" y="649"/>
                    </a:lnTo>
                    <a:lnTo>
                      <a:pt x="670" y="651"/>
                    </a:lnTo>
                    <a:lnTo>
                      <a:pt x="659" y="658"/>
                    </a:lnTo>
                    <a:lnTo>
                      <a:pt x="643" y="657"/>
                    </a:lnTo>
                    <a:lnTo>
                      <a:pt x="639" y="656"/>
                    </a:lnTo>
                    <a:lnTo>
                      <a:pt x="628" y="646"/>
                    </a:lnTo>
                    <a:lnTo>
                      <a:pt x="632" y="638"/>
                    </a:lnTo>
                    <a:lnTo>
                      <a:pt x="632" y="629"/>
                    </a:lnTo>
                    <a:lnTo>
                      <a:pt x="634" y="620"/>
                    </a:lnTo>
                    <a:lnTo>
                      <a:pt x="633" y="610"/>
                    </a:lnTo>
                    <a:lnTo>
                      <a:pt x="628" y="599"/>
                    </a:lnTo>
                    <a:lnTo>
                      <a:pt x="621" y="598"/>
                    </a:lnTo>
                    <a:lnTo>
                      <a:pt x="614" y="598"/>
                    </a:lnTo>
                    <a:lnTo>
                      <a:pt x="607" y="590"/>
                    </a:lnTo>
                    <a:lnTo>
                      <a:pt x="595" y="583"/>
                    </a:lnTo>
                    <a:lnTo>
                      <a:pt x="579" y="583"/>
                    </a:lnTo>
                    <a:lnTo>
                      <a:pt x="579" y="581"/>
                    </a:lnTo>
                    <a:lnTo>
                      <a:pt x="581" y="575"/>
                    </a:lnTo>
                    <a:lnTo>
                      <a:pt x="591" y="570"/>
                    </a:lnTo>
                    <a:lnTo>
                      <a:pt x="605" y="556"/>
                    </a:lnTo>
                    <a:lnTo>
                      <a:pt x="613" y="550"/>
                    </a:lnTo>
                    <a:lnTo>
                      <a:pt x="641" y="541"/>
                    </a:lnTo>
                    <a:lnTo>
                      <a:pt x="645" y="539"/>
                    </a:lnTo>
                    <a:lnTo>
                      <a:pt x="641" y="536"/>
                    </a:lnTo>
                    <a:lnTo>
                      <a:pt x="640" y="529"/>
                    </a:lnTo>
                    <a:lnTo>
                      <a:pt x="634" y="523"/>
                    </a:lnTo>
                    <a:lnTo>
                      <a:pt x="628" y="529"/>
                    </a:lnTo>
                    <a:lnTo>
                      <a:pt x="618" y="524"/>
                    </a:lnTo>
                    <a:lnTo>
                      <a:pt x="618" y="519"/>
                    </a:lnTo>
                    <a:lnTo>
                      <a:pt x="610" y="522"/>
                    </a:lnTo>
                    <a:lnTo>
                      <a:pt x="608" y="525"/>
                    </a:lnTo>
                    <a:lnTo>
                      <a:pt x="601" y="525"/>
                    </a:lnTo>
                    <a:lnTo>
                      <a:pt x="579" y="530"/>
                    </a:lnTo>
                    <a:lnTo>
                      <a:pt x="563" y="524"/>
                    </a:lnTo>
                    <a:lnTo>
                      <a:pt x="557" y="518"/>
                    </a:lnTo>
                    <a:lnTo>
                      <a:pt x="551" y="516"/>
                    </a:lnTo>
                    <a:lnTo>
                      <a:pt x="539" y="517"/>
                    </a:lnTo>
                    <a:lnTo>
                      <a:pt x="538" y="513"/>
                    </a:lnTo>
                    <a:lnTo>
                      <a:pt x="551" y="503"/>
                    </a:lnTo>
                    <a:lnTo>
                      <a:pt x="549" y="501"/>
                    </a:lnTo>
                    <a:lnTo>
                      <a:pt x="533" y="498"/>
                    </a:lnTo>
                    <a:lnTo>
                      <a:pt x="528" y="496"/>
                    </a:lnTo>
                    <a:lnTo>
                      <a:pt x="536" y="492"/>
                    </a:lnTo>
                    <a:lnTo>
                      <a:pt x="560" y="496"/>
                    </a:lnTo>
                    <a:lnTo>
                      <a:pt x="563" y="495"/>
                    </a:lnTo>
                    <a:lnTo>
                      <a:pt x="560" y="491"/>
                    </a:lnTo>
                    <a:lnTo>
                      <a:pt x="554" y="490"/>
                    </a:lnTo>
                    <a:lnTo>
                      <a:pt x="548" y="481"/>
                    </a:lnTo>
                    <a:lnTo>
                      <a:pt x="543" y="471"/>
                    </a:lnTo>
                    <a:lnTo>
                      <a:pt x="541" y="479"/>
                    </a:lnTo>
                    <a:lnTo>
                      <a:pt x="533" y="482"/>
                    </a:lnTo>
                    <a:lnTo>
                      <a:pt x="524" y="485"/>
                    </a:lnTo>
                    <a:lnTo>
                      <a:pt x="526" y="475"/>
                    </a:lnTo>
                    <a:lnTo>
                      <a:pt x="520" y="480"/>
                    </a:lnTo>
                    <a:lnTo>
                      <a:pt x="508" y="486"/>
                    </a:lnTo>
                    <a:lnTo>
                      <a:pt x="492" y="489"/>
                    </a:lnTo>
                    <a:lnTo>
                      <a:pt x="485" y="492"/>
                    </a:lnTo>
                    <a:lnTo>
                      <a:pt x="478" y="495"/>
                    </a:lnTo>
                    <a:lnTo>
                      <a:pt x="477" y="502"/>
                    </a:lnTo>
                    <a:lnTo>
                      <a:pt x="466" y="520"/>
                    </a:lnTo>
                    <a:lnTo>
                      <a:pt x="461" y="519"/>
                    </a:lnTo>
                    <a:lnTo>
                      <a:pt x="457" y="511"/>
                    </a:lnTo>
                    <a:lnTo>
                      <a:pt x="450" y="509"/>
                    </a:lnTo>
                    <a:lnTo>
                      <a:pt x="446" y="504"/>
                    </a:lnTo>
                    <a:lnTo>
                      <a:pt x="449" y="512"/>
                    </a:lnTo>
                    <a:lnTo>
                      <a:pt x="457" y="519"/>
                    </a:lnTo>
                    <a:lnTo>
                      <a:pt x="458" y="530"/>
                    </a:lnTo>
                    <a:lnTo>
                      <a:pt x="453" y="541"/>
                    </a:lnTo>
                    <a:lnTo>
                      <a:pt x="449" y="546"/>
                    </a:lnTo>
                    <a:lnTo>
                      <a:pt x="434" y="547"/>
                    </a:lnTo>
                    <a:lnTo>
                      <a:pt x="431" y="552"/>
                    </a:lnTo>
                    <a:lnTo>
                      <a:pt x="426" y="555"/>
                    </a:lnTo>
                    <a:lnTo>
                      <a:pt x="425" y="562"/>
                    </a:lnTo>
                    <a:lnTo>
                      <a:pt x="420" y="560"/>
                    </a:lnTo>
                    <a:lnTo>
                      <a:pt x="419" y="550"/>
                    </a:lnTo>
                    <a:lnTo>
                      <a:pt x="418" y="546"/>
                    </a:lnTo>
                    <a:lnTo>
                      <a:pt x="418" y="566"/>
                    </a:lnTo>
                    <a:lnTo>
                      <a:pt x="419" y="581"/>
                    </a:lnTo>
                    <a:lnTo>
                      <a:pt x="417" y="582"/>
                    </a:lnTo>
                    <a:lnTo>
                      <a:pt x="411" y="578"/>
                    </a:lnTo>
                    <a:lnTo>
                      <a:pt x="402" y="578"/>
                    </a:lnTo>
                    <a:lnTo>
                      <a:pt x="393" y="582"/>
                    </a:lnTo>
                    <a:lnTo>
                      <a:pt x="379" y="584"/>
                    </a:lnTo>
                    <a:lnTo>
                      <a:pt x="368" y="592"/>
                    </a:lnTo>
                    <a:lnTo>
                      <a:pt x="356" y="593"/>
                    </a:lnTo>
                    <a:lnTo>
                      <a:pt x="344" y="576"/>
                    </a:lnTo>
                    <a:lnTo>
                      <a:pt x="336" y="577"/>
                    </a:lnTo>
                    <a:lnTo>
                      <a:pt x="336" y="573"/>
                    </a:lnTo>
                    <a:lnTo>
                      <a:pt x="345" y="573"/>
                    </a:lnTo>
                    <a:lnTo>
                      <a:pt x="350" y="567"/>
                    </a:lnTo>
                    <a:lnTo>
                      <a:pt x="352" y="560"/>
                    </a:lnTo>
                    <a:lnTo>
                      <a:pt x="354" y="552"/>
                    </a:lnTo>
                    <a:lnTo>
                      <a:pt x="363" y="547"/>
                    </a:lnTo>
                    <a:lnTo>
                      <a:pt x="364" y="539"/>
                    </a:lnTo>
                    <a:lnTo>
                      <a:pt x="369" y="534"/>
                    </a:lnTo>
                    <a:lnTo>
                      <a:pt x="376" y="530"/>
                    </a:lnTo>
                    <a:lnTo>
                      <a:pt x="379" y="506"/>
                    </a:lnTo>
                    <a:lnTo>
                      <a:pt x="382" y="498"/>
                    </a:lnTo>
                    <a:lnTo>
                      <a:pt x="391" y="495"/>
                    </a:lnTo>
                    <a:lnTo>
                      <a:pt x="395" y="501"/>
                    </a:lnTo>
                    <a:lnTo>
                      <a:pt x="402" y="497"/>
                    </a:lnTo>
                    <a:lnTo>
                      <a:pt x="425" y="503"/>
                    </a:lnTo>
                    <a:lnTo>
                      <a:pt x="431" y="498"/>
                    </a:lnTo>
                    <a:lnTo>
                      <a:pt x="435" y="491"/>
                    </a:lnTo>
                    <a:lnTo>
                      <a:pt x="431" y="484"/>
                    </a:lnTo>
                    <a:lnTo>
                      <a:pt x="434" y="476"/>
                    </a:lnTo>
                    <a:lnTo>
                      <a:pt x="433" y="468"/>
                    </a:lnTo>
                    <a:lnTo>
                      <a:pt x="428" y="460"/>
                    </a:lnTo>
                    <a:lnTo>
                      <a:pt x="413" y="453"/>
                    </a:lnTo>
                    <a:lnTo>
                      <a:pt x="407" y="439"/>
                    </a:lnTo>
                    <a:lnTo>
                      <a:pt x="408" y="431"/>
                    </a:lnTo>
                    <a:lnTo>
                      <a:pt x="406" y="423"/>
                    </a:lnTo>
                    <a:lnTo>
                      <a:pt x="398" y="422"/>
                    </a:lnTo>
                    <a:lnTo>
                      <a:pt x="395" y="415"/>
                    </a:lnTo>
                    <a:lnTo>
                      <a:pt x="387" y="409"/>
                    </a:lnTo>
                    <a:lnTo>
                      <a:pt x="391" y="393"/>
                    </a:lnTo>
                    <a:lnTo>
                      <a:pt x="391" y="385"/>
                    </a:lnTo>
                    <a:lnTo>
                      <a:pt x="391" y="377"/>
                    </a:lnTo>
                    <a:lnTo>
                      <a:pt x="387" y="369"/>
                    </a:lnTo>
                    <a:lnTo>
                      <a:pt x="379" y="372"/>
                    </a:lnTo>
                    <a:lnTo>
                      <a:pt x="368" y="360"/>
                    </a:lnTo>
                    <a:lnTo>
                      <a:pt x="359" y="358"/>
                    </a:lnTo>
                    <a:lnTo>
                      <a:pt x="343" y="361"/>
                    </a:lnTo>
                    <a:lnTo>
                      <a:pt x="336" y="358"/>
                    </a:lnTo>
                    <a:lnTo>
                      <a:pt x="317" y="342"/>
                    </a:lnTo>
                    <a:lnTo>
                      <a:pt x="310" y="339"/>
                    </a:lnTo>
                    <a:lnTo>
                      <a:pt x="294" y="334"/>
                    </a:lnTo>
                    <a:lnTo>
                      <a:pt x="278" y="339"/>
                    </a:lnTo>
                    <a:lnTo>
                      <a:pt x="269" y="340"/>
                    </a:lnTo>
                    <a:lnTo>
                      <a:pt x="261" y="339"/>
                    </a:lnTo>
                    <a:lnTo>
                      <a:pt x="254" y="342"/>
                    </a:lnTo>
                    <a:lnTo>
                      <a:pt x="248" y="35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86" name="Freeform 197"/>
              <p:cNvSpPr>
                <a:spLocks noChangeAspect="1"/>
              </p:cNvSpPr>
              <p:nvPr/>
            </p:nvSpPr>
            <p:spPr bwMode="gray">
              <a:xfrm>
                <a:off x="5222081" y="2729260"/>
                <a:ext cx="60325" cy="76200"/>
              </a:xfrm>
              <a:custGeom>
                <a:avLst/>
                <a:gdLst/>
                <a:ahLst/>
                <a:cxnLst>
                  <a:cxn ang="0">
                    <a:pos x="88" y="239"/>
                  </a:cxn>
                  <a:cxn ang="0">
                    <a:pos x="88" y="225"/>
                  </a:cxn>
                  <a:cxn ang="0">
                    <a:pos x="86" y="212"/>
                  </a:cxn>
                  <a:cxn ang="0">
                    <a:pos x="84" y="200"/>
                  </a:cxn>
                  <a:cxn ang="0">
                    <a:pos x="86" y="184"/>
                  </a:cxn>
                  <a:cxn ang="0">
                    <a:pos x="86" y="164"/>
                  </a:cxn>
                  <a:cxn ang="0">
                    <a:pos x="81" y="135"/>
                  </a:cxn>
                  <a:cxn ang="0">
                    <a:pos x="70" y="115"/>
                  </a:cxn>
                  <a:cxn ang="0">
                    <a:pos x="57" y="94"/>
                  </a:cxn>
                  <a:cxn ang="0">
                    <a:pos x="45" y="73"/>
                  </a:cxn>
                  <a:cxn ang="0">
                    <a:pos x="42" y="56"/>
                  </a:cxn>
                  <a:cxn ang="0">
                    <a:pos x="34" y="43"/>
                  </a:cxn>
                  <a:cxn ang="0">
                    <a:pos x="20" y="29"/>
                  </a:cxn>
                  <a:cxn ang="0">
                    <a:pos x="8" y="19"/>
                  </a:cxn>
                  <a:cxn ang="0">
                    <a:pos x="0" y="19"/>
                  </a:cxn>
                  <a:cxn ang="0">
                    <a:pos x="6" y="8"/>
                  </a:cxn>
                  <a:cxn ang="0">
                    <a:pos x="13" y="3"/>
                  </a:cxn>
                  <a:cxn ang="0">
                    <a:pos x="21" y="6"/>
                  </a:cxn>
                  <a:cxn ang="0">
                    <a:pos x="30" y="5"/>
                  </a:cxn>
                  <a:cxn ang="0">
                    <a:pos x="46" y="0"/>
                  </a:cxn>
                  <a:cxn ang="0">
                    <a:pos x="62" y="5"/>
                  </a:cxn>
                  <a:cxn ang="0">
                    <a:pos x="69" y="8"/>
                  </a:cxn>
                  <a:cxn ang="0">
                    <a:pos x="88" y="24"/>
                  </a:cxn>
                  <a:cxn ang="0">
                    <a:pos x="95" y="27"/>
                  </a:cxn>
                  <a:cxn ang="0">
                    <a:pos x="111" y="24"/>
                  </a:cxn>
                  <a:cxn ang="0">
                    <a:pos x="120" y="26"/>
                  </a:cxn>
                  <a:cxn ang="0">
                    <a:pos x="131" y="38"/>
                  </a:cxn>
                  <a:cxn ang="0">
                    <a:pos x="139" y="35"/>
                  </a:cxn>
                  <a:cxn ang="0">
                    <a:pos x="143" y="43"/>
                  </a:cxn>
                  <a:cxn ang="0">
                    <a:pos x="143" y="51"/>
                  </a:cxn>
                  <a:cxn ang="0">
                    <a:pos x="143" y="59"/>
                  </a:cxn>
                  <a:cxn ang="0">
                    <a:pos x="139" y="75"/>
                  </a:cxn>
                  <a:cxn ang="0">
                    <a:pos x="147" y="81"/>
                  </a:cxn>
                  <a:cxn ang="0">
                    <a:pos x="150" y="87"/>
                  </a:cxn>
                  <a:cxn ang="0">
                    <a:pos x="158" y="89"/>
                  </a:cxn>
                  <a:cxn ang="0">
                    <a:pos x="160" y="97"/>
                  </a:cxn>
                  <a:cxn ang="0">
                    <a:pos x="159" y="104"/>
                  </a:cxn>
                  <a:cxn ang="0">
                    <a:pos x="165" y="119"/>
                  </a:cxn>
                  <a:cxn ang="0">
                    <a:pos x="180" y="126"/>
                  </a:cxn>
                  <a:cxn ang="0">
                    <a:pos x="185" y="134"/>
                  </a:cxn>
                  <a:cxn ang="0">
                    <a:pos x="186" y="141"/>
                  </a:cxn>
                  <a:cxn ang="0">
                    <a:pos x="183" y="150"/>
                  </a:cxn>
                  <a:cxn ang="0">
                    <a:pos x="187" y="157"/>
                  </a:cxn>
                  <a:cxn ang="0">
                    <a:pos x="183" y="164"/>
                  </a:cxn>
                  <a:cxn ang="0">
                    <a:pos x="177" y="169"/>
                  </a:cxn>
                  <a:cxn ang="0">
                    <a:pos x="154" y="163"/>
                  </a:cxn>
                  <a:cxn ang="0">
                    <a:pos x="147" y="167"/>
                  </a:cxn>
                  <a:cxn ang="0">
                    <a:pos x="143" y="161"/>
                  </a:cxn>
                  <a:cxn ang="0">
                    <a:pos x="134" y="164"/>
                  </a:cxn>
                  <a:cxn ang="0">
                    <a:pos x="131" y="172"/>
                  </a:cxn>
                  <a:cxn ang="0">
                    <a:pos x="128" y="196"/>
                  </a:cxn>
                  <a:cxn ang="0">
                    <a:pos x="121" y="200"/>
                  </a:cxn>
                  <a:cxn ang="0">
                    <a:pos x="116" y="205"/>
                  </a:cxn>
                  <a:cxn ang="0">
                    <a:pos x="115" y="213"/>
                  </a:cxn>
                  <a:cxn ang="0">
                    <a:pos x="107" y="218"/>
                  </a:cxn>
                  <a:cxn ang="0">
                    <a:pos x="104" y="226"/>
                  </a:cxn>
                  <a:cxn ang="0">
                    <a:pos x="104" y="233"/>
                  </a:cxn>
                  <a:cxn ang="0">
                    <a:pos x="97" y="239"/>
                  </a:cxn>
                  <a:cxn ang="0">
                    <a:pos x="88" y="239"/>
                  </a:cxn>
                </a:cxnLst>
                <a:rect l="0" t="0" r="r" b="b"/>
                <a:pathLst>
                  <a:path w="187" h="239">
                    <a:moveTo>
                      <a:pt x="88" y="239"/>
                    </a:moveTo>
                    <a:lnTo>
                      <a:pt x="88" y="225"/>
                    </a:lnTo>
                    <a:lnTo>
                      <a:pt x="86" y="212"/>
                    </a:lnTo>
                    <a:lnTo>
                      <a:pt x="84" y="200"/>
                    </a:lnTo>
                    <a:lnTo>
                      <a:pt x="86" y="184"/>
                    </a:lnTo>
                    <a:lnTo>
                      <a:pt x="86" y="164"/>
                    </a:lnTo>
                    <a:lnTo>
                      <a:pt x="81" y="135"/>
                    </a:lnTo>
                    <a:lnTo>
                      <a:pt x="70" y="115"/>
                    </a:lnTo>
                    <a:lnTo>
                      <a:pt x="57" y="94"/>
                    </a:lnTo>
                    <a:lnTo>
                      <a:pt x="45" y="73"/>
                    </a:lnTo>
                    <a:lnTo>
                      <a:pt x="42" y="56"/>
                    </a:lnTo>
                    <a:lnTo>
                      <a:pt x="34" y="43"/>
                    </a:lnTo>
                    <a:lnTo>
                      <a:pt x="20" y="29"/>
                    </a:lnTo>
                    <a:lnTo>
                      <a:pt x="8" y="19"/>
                    </a:lnTo>
                    <a:lnTo>
                      <a:pt x="0" y="19"/>
                    </a:lnTo>
                    <a:lnTo>
                      <a:pt x="6" y="8"/>
                    </a:lnTo>
                    <a:lnTo>
                      <a:pt x="13" y="3"/>
                    </a:lnTo>
                    <a:lnTo>
                      <a:pt x="21" y="6"/>
                    </a:lnTo>
                    <a:lnTo>
                      <a:pt x="30" y="5"/>
                    </a:lnTo>
                    <a:lnTo>
                      <a:pt x="46" y="0"/>
                    </a:lnTo>
                    <a:lnTo>
                      <a:pt x="62" y="5"/>
                    </a:lnTo>
                    <a:lnTo>
                      <a:pt x="69" y="8"/>
                    </a:lnTo>
                    <a:lnTo>
                      <a:pt x="88" y="24"/>
                    </a:lnTo>
                    <a:lnTo>
                      <a:pt x="95" y="27"/>
                    </a:lnTo>
                    <a:lnTo>
                      <a:pt x="111" y="24"/>
                    </a:lnTo>
                    <a:lnTo>
                      <a:pt x="120" y="26"/>
                    </a:lnTo>
                    <a:lnTo>
                      <a:pt x="131" y="38"/>
                    </a:lnTo>
                    <a:lnTo>
                      <a:pt x="139" y="35"/>
                    </a:lnTo>
                    <a:lnTo>
                      <a:pt x="143" y="43"/>
                    </a:lnTo>
                    <a:lnTo>
                      <a:pt x="143" y="51"/>
                    </a:lnTo>
                    <a:lnTo>
                      <a:pt x="143" y="59"/>
                    </a:lnTo>
                    <a:lnTo>
                      <a:pt x="139" y="75"/>
                    </a:lnTo>
                    <a:lnTo>
                      <a:pt x="147" y="81"/>
                    </a:lnTo>
                    <a:lnTo>
                      <a:pt x="150" y="87"/>
                    </a:lnTo>
                    <a:lnTo>
                      <a:pt x="158" y="89"/>
                    </a:lnTo>
                    <a:lnTo>
                      <a:pt x="160" y="97"/>
                    </a:lnTo>
                    <a:lnTo>
                      <a:pt x="159" y="104"/>
                    </a:lnTo>
                    <a:lnTo>
                      <a:pt x="165" y="119"/>
                    </a:lnTo>
                    <a:lnTo>
                      <a:pt x="180" y="126"/>
                    </a:lnTo>
                    <a:lnTo>
                      <a:pt x="185" y="134"/>
                    </a:lnTo>
                    <a:lnTo>
                      <a:pt x="186" y="141"/>
                    </a:lnTo>
                    <a:lnTo>
                      <a:pt x="183" y="150"/>
                    </a:lnTo>
                    <a:lnTo>
                      <a:pt x="187" y="157"/>
                    </a:lnTo>
                    <a:lnTo>
                      <a:pt x="183" y="164"/>
                    </a:lnTo>
                    <a:lnTo>
                      <a:pt x="177" y="169"/>
                    </a:lnTo>
                    <a:lnTo>
                      <a:pt x="154" y="163"/>
                    </a:lnTo>
                    <a:lnTo>
                      <a:pt x="147" y="167"/>
                    </a:lnTo>
                    <a:lnTo>
                      <a:pt x="143" y="161"/>
                    </a:lnTo>
                    <a:lnTo>
                      <a:pt x="134" y="164"/>
                    </a:lnTo>
                    <a:lnTo>
                      <a:pt x="131" y="172"/>
                    </a:lnTo>
                    <a:lnTo>
                      <a:pt x="128" y="196"/>
                    </a:lnTo>
                    <a:lnTo>
                      <a:pt x="121" y="200"/>
                    </a:lnTo>
                    <a:lnTo>
                      <a:pt x="116" y="205"/>
                    </a:lnTo>
                    <a:lnTo>
                      <a:pt x="115" y="213"/>
                    </a:lnTo>
                    <a:lnTo>
                      <a:pt x="107" y="218"/>
                    </a:lnTo>
                    <a:lnTo>
                      <a:pt x="104" y="226"/>
                    </a:lnTo>
                    <a:lnTo>
                      <a:pt x="104" y="233"/>
                    </a:lnTo>
                    <a:lnTo>
                      <a:pt x="97" y="239"/>
                    </a:lnTo>
                    <a:lnTo>
                      <a:pt x="88" y="23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87" name="Freeform 198"/>
              <p:cNvSpPr>
                <a:spLocks noChangeAspect="1"/>
              </p:cNvSpPr>
              <p:nvPr/>
            </p:nvSpPr>
            <p:spPr bwMode="gray">
              <a:xfrm>
                <a:off x="5161756" y="2510185"/>
                <a:ext cx="169863" cy="142875"/>
              </a:xfrm>
              <a:custGeom>
                <a:avLst/>
                <a:gdLst/>
                <a:ahLst/>
                <a:cxnLst>
                  <a:cxn ang="0">
                    <a:pos x="6" y="374"/>
                  </a:cxn>
                  <a:cxn ang="0">
                    <a:pos x="26" y="342"/>
                  </a:cxn>
                  <a:cxn ang="0">
                    <a:pos x="38" y="292"/>
                  </a:cxn>
                  <a:cxn ang="0">
                    <a:pos x="33" y="214"/>
                  </a:cxn>
                  <a:cxn ang="0">
                    <a:pos x="73" y="210"/>
                  </a:cxn>
                  <a:cxn ang="0">
                    <a:pos x="94" y="207"/>
                  </a:cxn>
                  <a:cxn ang="0">
                    <a:pos x="106" y="190"/>
                  </a:cxn>
                  <a:cxn ang="0">
                    <a:pos x="125" y="182"/>
                  </a:cxn>
                  <a:cxn ang="0">
                    <a:pos x="145" y="190"/>
                  </a:cxn>
                  <a:cxn ang="0">
                    <a:pos x="135" y="167"/>
                  </a:cxn>
                  <a:cxn ang="0">
                    <a:pos x="145" y="138"/>
                  </a:cxn>
                  <a:cxn ang="0">
                    <a:pos x="149" y="113"/>
                  </a:cxn>
                  <a:cxn ang="0">
                    <a:pos x="170" y="102"/>
                  </a:cxn>
                  <a:cxn ang="0">
                    <a:pos x="199" y="80"/>
                  </a:cxn>
                  <a:cxn ang="0">
                    <a:pos x="183" y="69"/>
                  </a:cxn>
                  <a:cxn ang="0">
                    <a:pos x="197" y="51"/>
                  </a:cxn>
                  <a:cxn ang="0">
                    <a:pos x="204" y="50"/>
                  </a:cxn>
                  <a:cxn ang="0">
                    <a:pos x="219" y="32"/>
                  </a:cxn>
                  <a:cxn ang="0">
                    <a:pos x="253" y="25"/>
                  </a:cxn>
                  <a:cxn ang="0">
                    <a:pos x="273" y="0"/>
                  </a:cxn>
                  <a:cxn ang="0">
                    <a:pos x="302" y="5"/>
                  </a:cxn>
                  <a:cxn ang="0">
                    <a:pos x="329" y="13"/>
                  </a:cxn>
                  <a:cxn ang="0">
                    <a:pos x="348" y="43"/>
                  </a:cxn>
                  <a:cxn ang="0">
                    <a:pos x="376" y="29"/>
                  </a:cxn>
                  <a:cxn ang="0">
                    <a:pos x="407" y="34"/>
                  </a:cxn>
                  <a:cxn ang="0">
                    <a:pos x="430" y="53"/>
                  </a:cxn>
                  <a:cxn ang="0">
                    <a:pos x="429" y="80"/>
                  </a:cxn>
                  <a:cxn ang="0">
                    <a:pos x="435" y="102"/>
                  </a:cxn>
                  <a:cxn ang="0">
                    <a:pos x="424" y="123"/>
                  </a:cxn>
                  <a:cxn ang="0">
                    <a:pos x="442" y="158"/>
                  </a:cxn>
                  <a:cxn ang="0">
                    <a:pos x="473" y="195"/>
                  </a:cxn>
                  <a:cxn ang="0">
                    <a:pos x="478" y="217"/>
                  </a:cxn>
                  <a:cxn ang="0">
                    <a:pos x="511" y="226"/>
                  </a:cxn>
                  <a:cxn ang="0">
                    <a:pos x="521" y="242"/>
                  </a:cxn>
                  <a:cxn ang="0">
                    <a:pos x="525" y="263"/>
                  </a:cxn>
                  <a:cxn ang="0">
                    <a:pos x="501" y="284"/>
                  </a:cxn>
                  <a:cxn ang="0">
                    <a:pos x="465" y="271"/>
                  </a:cxn>
                  <a:cxn ang="0">
                    <a:pos x="449" y="285"/>
                  </a:cxn>
                  <a:cxn ang="0">
                    <a:pos x="463" y="311"/>
                  </a:cxn>
                  <a:cxn ang="0">
                    <a:pos x="465" y="333"/>
                  </a:cxn>
                  <a:cxn ang="0">
                    <a:pos x="473" y="353"/>
                  </a:cxn>
                  <a:cxn ang="0">
                    <a:pos x="451" y="380"/>
                  </a:cxn>
                  <a:cxn ang="0">
                    <a:pos x="417" y="401"/>
                  </a:cxn>
                  <a:cxn ang="0">
                    <a:pos x="412" y="427"/>
                  </a:cxn>
                  <a:cxn ang="0">
                    <a:pos x="402" y="452"/>
                  </a:cxn>
                  <a:cxn ang="0">
                    <a:pos x="381" y="443"/>
                  </a:cxn>
                  <a:cxn ang="0">
                    <a:pos x="349" y="450"/>
                  </a:cxn>
                  <a:cxn ang="0">
                    <a:pos x="327" y="427"/>
                  </a:cxn>
                  <a:cxn ang="0">
                    <a:pos x="297" y="433"/>
                  </a:cxn>
                  <a:cxn ang="0">
                    <a:pos x="275" y="428"/>
                  </a:cxn>
                  <a:cxn ang="0">
                    <a:pos x="253" y="436"/>
                  </a:cxn>
                  <a:cxn ang="0">
                    <a:pos x="238" y="428"/>
                  </a:cxn>
                  <a:cxn ang="0">
                    <a:pos x="215" y="416"/>
                  </a:cxn>
                  <a:cxn ang="0">
                    <a:pos x="193" y="406"/>
                  </a:cxn>
                  <a:cxn ang="0">
                    <a:pos x="160" y="401"/>
                  </a:cxn>
                  <a:cxn ang="0">
                    <a:pos x="121" y="394"/>
                  </a:cxn>
                  <a:cxn ang="0">
                    <a:pos x="64" y="401"/>
                  </a:cxn>
                  <a:cxn ang="0">
                    <a:pos x="41" y="422"/>
                  </a:cxn>
                  <a:cxn ang="0">
                    <a:pos x="17" y="428"/>
                  </a:cxn>
                </a:cxnLst>
                <a:rect l="0" t="0" r="r" b="b"/>
                <a:pathLst>
                  <a:path w="532" h="452">
                    <a:moveTo>
                      <a:pt x="17" y="428"/>
                    </a:moveTo>
                    <a:lnTo>
                      <a:pt x="21" y="387"/>
                    </a:lnTo>
                    <a:lnTo>
                      <a:pt x="6" y="374"/>
                    </a:lnTo>
                    <a:lnTo>
                      <a:pt x="0" y="363"/>
                    </a:lnTo>
                    <a:lnTo>
                      <a:pt x="11" y="351"/>
                    </a:lnTo>
                    <a:lnTo>
                      <a:pt x="26" y="342"/>
                    </a:lnTo>
                    <a:lnTo>
                      <a:pt x="37" y="325"/>
                    </a:lnTo>
                    <a:lnTo>
                      <a:pt x="38" y="308"/>
                    </a:lnTo>
                    <a:lnTo>
                      <a:pt x="38" y="292"/>
                    </a:lnTo>
                    <a:lnTo>
                      <a:pt x="20" y="220"/>
                    </a:lnTo>
                    <a:lnTo>
                      <a:pt x="19" y="210"/>
                    </a:lnTo>
                    <a:lnTo>
                      <a:pt x="33" y="214"/>
                    </a:lnTo>
                    <a:lnTo>
                      <a:pt x="49" y="210"/>
                    </a:lnTo>
                    <a:lnTo>
                      <a:pt x="65" y="213"/>
                    </a:lnTo>
                    <a:lnTo>
                      <a:pt x="73" y="210"/>
                    </a:lnTo>
                    <a:lnTo>
                      <a:pt x="79" y="204"/>
                    </a:lnTo>
                    <a:lnTo>
                      <a:pt x="86" y="208"/>
                    </a:lnTo>
                    <a:lnTo>
                      <a:pt x="94" y="207"/>
                    </a:lnTo>
                    <a:lnTo>
                      <a:pt x="91" y="193"/>
                    </a:lnTo>
                    <a:lnTo>
                      <a:pt x="97" y="190"/>
                    </a:lnTo>
                    <a:lnTo>
                      <a:pt x="106" y="190"/>
                    </a:lnTo>
                    <a:lnTo>
                      <a:pt x="111" y="183"/>
                    </a:lnTo>
                    <a:lnTo>
                      <a:pt x="118" y="179"/>
                    </a:lnTo>
                    <a:lnTo>
                      <a:pt x="125" y="182"/>
                    </a:lnTo>
                    <a:lnTo>
                      <a:pt x="130" y="188"/>
                    </a:lnTo>
                    <a:lnTo>
                      <a:pt x="138" y="192"/>
                    </a:lnTo>
                    <a:lnTo>
                      <a:pt x="145" y="190"/>
                    </a:lnTo>
                    <a:lnTo>
                      <a:pt x="144" y="181"/>
                    </a:lnTo>
                    <a:lnTo>
                      <a:pt x="139" y="175"/>
                    </a:lnTo>
                    <a:lnTo>
                      <a:pt x="135" y="167"/>
                    </a:lnTo>
                    <a:lnTo>
                      <a:pt x="137" y="160"/>
                    </a:lnTo>
                    <a:lnTo>
                      <a:pt x="145" y="147"/>
                    </a:lnTo>
                    <a:lnTo>
                      <a:pt x="145" y="138"/>
                    </a:lnTo>
                    <a:lnTo>
                      <a:pt x="148" y="129"/>
                    </a:lnTo>
                    <a:lnTo>
                      <a:pt x="148" y="122"/>
                    </a:lnTo>
                    <a:lnTo>
                      <a:pt x="149" y="113"/>
                    </a:lnTo>
                    <a:lnTo>
                      <a:pt x="156" y="110"/>
                    </a:lnTo>
                    <a:lnTo>
                      <a:pt x="165" y="107"/>
                    </a:lnTo>
                    <a:lnTo>
                      <a:pt x="170" y="102"/>
                    </a:lnTo>
                    <a:lnTo>
                      <a:pt x="177" y="99"/>
                    </a:lnTo>
                    <a:lnTo>
                      <a:pt x="191" y="99"/>
                    </a:lnTo>
                    <a:lnTo>
                      <a:pt x="199" y="80"/>
                    </a:lnTo>
                    <a:lnTo>
                      <a:pt x="192" y="77"/>
                    </a:lnTo>
                    <a:lnTo>
                      <a:pt x="183" y="77"/>
                    </a:lnTo>
                    <a:lnTo>
                      <a:pt x="183" y="69"/>
                    </a:lnTo>
                    <a:lnTo>
                      <a:pt x="183" y="61"/>
                    </a:lnTo>
                    <a:lnTo>
                      <a:pt x="191" y="57"/>
                    </a:lnTo>
                    <a:lnTo>
                      <a:pt x="197" y="51"/>
                    </a:lnTo>
                    <a:lnTo>
                      <a:pt x="195" y="50"/>
                    </a:lnTo>
                    <a:lnTo>
                      <a:pt x="195" y="48"/>
                    </a:lnTo>
                    <a:lnTo>
                      <a:pt x="204" y="50"/>
                    </a:lnTo>
                    <a:lnTo>
                      <a:pt x="210" y="46"/>
                    </a:lnTo>
                    <a:lnTo>
                      <a:pt x="213" y="37"/>
                    </a:lnTo>
                    <a:lnTo>
                      <a:pt x="219" y="32"/>
                    </a:lnTo>
                    <a:lnTo>
                      <a:pt x="235" y="39"/>
                    </a:lnTo>
                    <a:lnTo>
                      <a:pt x="242" y="37"/>
                    </a:lnTo>
                    <a:lnTo>
                      <a:pt x="253" y="25"/>
                    </a:lnTo>
                    <a:lnTo>
                      <a:pt x="254" y="16"/>
                    </a:lnTo>
                    <a:lnTo>
                      <a:pt x="267" y="5"/>
                    </a:lnTo>
                    <a:lnTo>
                      <a:pt x="273" y="0"/>
                    </a:lnTo>
                    <a:lnTo>
                      <a:pt x="284" y="0"/>
                    </a:lnTo>
                    <a:lnTo>
                      <a:pt x="286" y="8"/>
                    </a:lnTo>
                    <a:lnTo>
                      <a:pt x="302" y="5"/>
                    </a:lnTo>
                    <a:lnTo>
                      <a:pt x="310" y="8"/>
                    </a:lnTo>
                    <a:lnTo>
                      <a:pt x="313" y="15"/>
                    </a:lnTo>
                    <a:lnTo>
                      <a:pt x="329" y="13"/>
                    </a:lnTo>
                    <a:lnTo>
                      <a:pt x="338" y="14"/>
                    </a:lnTo>
                    <a:lnTo>
                      <a:pt x="350" y="24"/>
                    </a:lnTo>
                    <a:lnTo>
                      <a:pt x="348" y="43"/>
                    </a:lnTo>
                    <a:lnTo>
                      <a:pt x="363" y="35"/>
                    </a:lnTo>
                    <a:lnTo>
                      <a:pt x="370" y="34"/>
                    </a:lnTo>
                    <a:lnTo>
                      <a:pt x="376" y="29"/>
                    </a:lnTo>
                    <a:lnTo>
                      <a:pt x="392" y="27"/>
                    </a:lnTo>
                    <a:lnTo>
                      <a:pt x="399" y="29"/>
                    </a:lnTo>
                    <a:lnTo>
                      <a:pt x="407" y="34"/>
                    </a:lnTo>
                    <a:lnTo>
                      <a:pt x="413" y="39"/>
                    </a:lnTo>
                    <a:lnTo>
                      <a:pt x="422" y="52"/>
                    </a:lnTo>
                    <a:lnTo>
                      <a:pt x="430" y="53"/>
                    </a:lnTo>
                    <a:lnTo>
                      <a:pt x="431" y="64"/>
                    </a:lnTo>
                    <a:lnTo>
                      <a:pt x="429" y="73"/>
                    </a:lnTo>
                    <a:lnTo>
                      <a:pt x="429" y="80"/>
                    </a:lnTo>
                    <a:lnTo>
                      <a:pt x="434" y="88"/>
                    </a:lnTo>
                    <a:lnTo>
                      <a:pt x="436" y="95"/>
                    </a:lnTo>
                    <a:lnTo>
                      <a:pt x="435" y="102"/>
                    </a:lnTo>
                    <a:lnTo>
                      <a:pt x="433" y="110"/>
                    </a:lnTo>
                    <a:lnTo>
                      <a:pt x="426" y="116"/>
                    </a:lnTo>
                    <a:lnTo>
                      <a:pt x="424" y="123"/>
                    </a:lnTo>
                    <a:lnTo>
                      <a:pt x="426" y="131"/>
                    </a:lnTo>
                    <a:lnTo>
                      <a:pt x="437" y="143"/>
                    </a:lnTo>
                    <a:lnTo>
                      <a:pt x="442" y="158"/>
                    </a:lnTo>
                    <a:lnTo>
                      <a:pt x="453" y="180"/>
                    </a:lnTo>
                    <a:lnTo>
                      <a:pt x="458" y="186"/>
                    </a:lnTo>
                    <a:lnTo>
                      <a:pt x="473" y="195"/>
                    </a:lnTo>
                    <a:lnTo>
                      <a:pt x="478" y="201"/>
                    </a:lnTo>
                    <a:lnTo>
                      <a:pt x="479" y="209"/>
                    </a:lnTo>
                    <a:lnTo>
                      <a:pt x="478" y="217"/>
                    </a:lnTo>
                    <a:lnTo>
                      <a:pt x="482" y="224"/>
                    </a:lnTo>
                    <a:lnTo>
                      <a:pt x="505" y="222"/>
                    </a:lnTo>
                    <a:lnTo>
                      <a:pt x="511" y="226"/>
                    </a:lnTo>
                    <a:lnTo>
                      <a:pt x="519" y="229"/>
                    </a:lnTo>
                    <a:lnTo>
                      <a:pt x="516" y="236"/>
                    </a:lnTo>
                    <a:lnTo>
                      <a:pt x="521" y="242"/>
                    </a:lnTo>
                    <a:lnTo>
                      <a:pt x="531" y="244"/>
                    </a:lnTo>
                    <a:lnTo>
                      <a:pt x="532" y="257"/>
                    </a:lnTo>
                    <a:lnTo>
                      <a:pt x="525" y="263"/>
                    </a:lnTo>
                    <a:lnTo>
                      <a:pt x="521" y="269"/>
                    </a:lnTo>
                    <a:lnTo>
                      <a:pt x="509" y="279"/>
                    </a:lnTo>
                    <a:lnTo>
                      <a:pt x="501" y="284"/>
                    </a:lnTo>
                    <a:lnTo>
                      <a:pt x="484" y="282"/>
                    </a:lnTo>
                    <a:lnTo>
                      <a:pt x="472" y="272"/>
                    </a:lnTo>
                    <a:lnTo>
                      <a:pt x="465" y="271"/>
                    </a:lnTo>
                    <a:lnTo>
                      <a:pt x="457" y="274"/>
                    </a:lnTo>
                    <a:lnTo>
                      <a:pt x="456" y="282"/>
                    </a:lnTo>
                    <a:lnTo>
                      <a:pt x="449" y="285"/>
                    </a:lnTo>
                    <a:lnTo>
                      <a:pt x="450" y="294"/>
                    </a:lnTo>
                    <a:lnTo>
                      <a:pt x="461" y="304"/>
                    </a:lnTo>
                    <a:lnTo>
                      <a:pt x="463" y="311"/>
                    </a:lnTo>
                    <a:lnTo>
                      <a:pt x="461" y="320"/>
                    </a:lnTo>
                    <a:lnTo>
                      <a:pt x="466" y="325"/>
                    </a:lnTo>
                    <a:lnTo>
                      <a:pt x="465" y="333"/>
                    </a:lnTo>
                    <a:lnTo>
                      <a:pt x="472" y="337"/>
                    </a:lnTo>
                    <a:lnTo>
                      <a:pt x="474" y="344"/>
                    </a:lnTo>
                    <a:lnTo>
                      <a:pt x="473" y="353"/>
                    </a:lnTo>
                    <a:lnTo>
                      <a:pt x="478" y="375"/>
                    </a:lnTo>
                    <a:lnTo>
                      <a:pt x="458" y="375"/>
                    </a:lnTo>
                    <a:lnTo>
                      <a:pt x="451" y="380"/>
                    </a:lnTo>
                    <a:lnTo>
                      <a:pt x="442" y="380"/>
                    </a:lnTo>
                    <a:lnTo>
                      <a:pt x="435" y="384"/>
                    </a:lnTo>
                    <a:lnTo>
                      <a:pt x="417" y="401"/>
                    </a:lnTo>
                    <a:lnTo>
                      <a:pt x="414" y="409"/>
                    </a:lnTo>
                    <a:lnTo>
                      <a:pt x="414" y="418"/>
                    </a:lnTo>
                    <a:lnTo>
                      <a:pt x="412" y="427"/>
                    </a:lnTo>
                    <a:lnTo>
                      <a:pt x="414" y="443"/>
                    </a:lnTo>
                    <a:lnTo>
                      <a:pt x="410" y="450"/>
                    </a:lnTo>
                    <a:lnTo>
                      <a:pt x="402" y="452"/>
                    </a:lnTo>
                    <a:lnTo>
                      <a:pt x="397" y="446"/>
                    </a:lnTo>
                    <a:lnTo>
                      <a:pt x="390" y="443"/>
                    </a:lnTo>
                    <a:lnTo>
                      <a:pt x="381" y="443"/>
                    </a:lnTo>
                    <a:lnTo>
                      <a:pt x="365" y="445"/>
                    </a:lnTo>
                    <a:lnTo>
                      <a:pt x="356" y="445"/>
                    </a:lnTo>
                    <a:lnTo>
                      <a:pt x="349" y="450"/>
                    </a:lnTo>
                    <a:lnTo>
                      <a:pt x="343" y="444"/>
                    </a:lnTo>
                    <a:lnTo>
                      <a:pt x="339" y="436"/>
                    </a:lnTo>
                    <a:lnTo>
                      <a:pt x="327" y="427"/>
                    </a:lnTo>
                    <a:lnTo>
                      <a:pt x="310" y="445"/>
                    </a:lnTo>
                    <a:lnTo>
                      <a:pt x="302" y="440"/>
                    </a:lnTo>
                    <a:lnTo>
                      <a:pt x="297" y="433"/>
                    </a:lnTo>
                    <a:lnTo>
                      <a:pt x="290" y="435"/>
                    </a:lnTo>
                    <a:lnTo>
                      <a:pt x="281" y="433"/>
                    </a:lnTo>
                    <a:lnTo>
                      <a:pt x="275" y="428"/>
                    </a:lnTo>
                    <a:lnTo>
                      <a:pt x="269" y="434"/>
                    </a:lnTo>
                    <a:lnTo>
                      <a:pt x="261" y="434"/>
                    </a:lnTo>
                    <a:lnTo>
                      <a:pt x="253" y="436"/>
                    </a:lnTo>
                    <a:lnTo>
                      <a:pt x="247" y="443"/>
                    </a:lnTo>
                    <a:lnTo>
                      <a:pt x="240" y="436"/>
                    </a:lnTo>
                    <a:lnTo>
                      <a:pt x="238" y="428"/>
                    </a:lnTo>
                    <a:lnTo>
                      <a:pt x="223" y="429"/>
                    </a:lnTo>
                    <a:lnTo>
                      <a:pt x="216" y="424"/>
                    </a:lnTo>
                    <a:lnTo>
                      <a:pt x="215" y="416"/>
                    </a:lnTo>
                    <a:lnTo>
                      <a:pt x="208" y="412"/>
                    </a:lnTo>
                    <a:lnTo>
                      <a:pt x="199" y="409"/>
                    </a:lnTo>
                    <a:lnTo>
                      <a:pt x="193" y="406"/>
                    </a:lnTo>
                    <a:lnTo>
                      <a:pt x="184" y="407"/>
                    </a:lnTo>
                    <a:lnTo>
                      <a:pt x="176" y="406"/>
                    </a:lnTo>
                    <a:lnTo>
                      <a:pt x="160" y="401"/>
                    </a:lnTo>
                    <a:lnTo>
                      <a:pt x="146" y="392"/>
                    </a:lnTo>
                    <a:lnTo>
                      <a:pt x="138" y="395"/>
                    </a:lnTo>
                    <a:lnTo>
                      <a:pt x="121" y="394"/>
                    </a:lnTo>
                    <a:lnTo>
                      <a:pt x="113" y="391"/>
                    </a:lnTo>
                    <a:lnTo>
                      <a:pt x="71" y="397"/>
                    </a:lnTo>
                    <a:lnTo>
                      <a:pt x="64" y="401"/>
                    </a:lnTo>
                    <a:lnTo>
                      <a:pt x="62" y="408"/>
                    </a:lnTo>
                    <a:lnTo>
                      <a:pt x="55" y="414"/>
                    </a:lnTo>
                    <a:lnTo>
                      <a:pt x="41" y="422"/>
                    </a:lnTo>
                    <a:lnTo>
                      <a:pt x="32" y="421"/>
                    </a:lnTo>
                    <a:lnTo>
                      <a:pt x="24" y="422"/>
                    </a:lnTo>
                    <a:lnTo>
                      <a:pt x="17" y="42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grpSp>
            <p:nvGrpSpPr>
              <p:cNvPr id="188" name="Group 199"/>
              <p:cNvGrpSpPr>
                <a:grpSpLocks noChangeAspect="1"/>
              </p:cNvGrpSpPr>
              <p:nvPr/>
            </p:nvGrpSpPr>
            <p:grpSpPr>
              <a:xfrm>
                <a:off x="5033169" y="2808635"/>
                <a:ext cx="68263" cy="68263"/>
                <a:chOff x="2688" y="1930"/>
                <a:chExt cx="43" cy="43"/>
              </a:xfrm>
              <a:grpFill/>
            </p:grpSpPr>
            <p:sp>
              <p:nvSpPr>
                <p:cNvPr id="211" name="Freeform 200"/>
                <p:cNvSpPr>
                  <a:spLocks noChangeAspect="1"/>
                </p:cNvSpPr>
                <p:nvPr/>
              </p:nvSpPr>
              <p:spPr bwMode="gray">
                <a:xfrm>
                  <a:off x="2688" y="1930"/>
                  <a:ext cx="43" cy="43"/>
                </a:xfrm>
                <a:custGeom>
                  <a:avLst/>
                  <a:gdLst/>
                  <a:ahLst/>
                  <a:cxnLst>
                    <a:cxn ang="0">
                      <a:pos x="145" y="208"/>
                    </a:cxn>
                    <a:cxn ang="0">
                      <a:pos x="129" y="192"/>
                    </a:cxn>
                    <a:cxn ang="0">
                      <a:pos x="114" y="180"/>
                    </a:cxn>
                    <a:cxn ang="0">
                      <a:pos x="98" y="179"/>
                    </a:cxn>
                    <a:cxn ang="0">
                      <a:pos x="82" y="140"/>
                    </a:cxn>
                    <a:cxn ang="0">
                      <a:pos x="52" y="114"/>
                    </a:cxn>
                    <a:cxn ang="0">
                      <a:pos x="35" y="93"/>
                    </a:cxn>
                    <a:cxn ang="0">
                      <a:pos x="23" y="73"/>
                    </a:cxn>
                    <a:cxn ang="0">
                      <a:pos x="22" y="60"/>
                    </a:cxn>
                    <a:cxn ang="0">
                      <a:pos x="7" y="40"/>
                    </a:cxn>
                    <a:cxn ang="0">
                      <a:pos x="3" y="29"/>
                    </a:cxn>
                    <a:cxn ang="0">
                      <a:pos x="8" y="0"/>
                    </a:cxn>
                    <a:cxn ang="0">
                      <a:pos x="30" y="19"/>
                    </a:cxn>
                    <a:cxn ang="0">
                      <a:pos x="61" y="4"/>
                    </a:cxn>
                    <a:cxn ang="0">
                      <a:pos x="79" y="8"/>
                    </a:cxn>
                    <a:cxn ang="0">
                      <a:pos x="89" y="9"/>
                    </a:cxn>
                    <a:cxn ang="0">
                      <a:pos x="108" y="9"/>
                    </a:cxn>
                    <a:cxn ang="0">
                      <a:pos x="125" y="9"/>
                    </a:cxn>
                    <a:cxn ang="0">
                      <a:pos x="135" y="16"/>
                    </a:cxn>
                    <a:cxn ang="0">
                      <a:pos x="152" y="18"/>
                    </a:cxn>
                    <a:cxn ang="0">
                      <a:pos x="162" y="14"/>
                    </a:cxn>
                    <a:cxn ang="0">
                      <a:pos x="167" y="28"/>
                    </a:cxn>
                    <a:cxn ang="0">
                      <a:pos x="186" y="28"/>
                    </a:cxn>
                    <a:cxn ang="0">
                      <a:pos x="200" y="35"/>
                    </a:cxn>
                    <a:cxn ang="0">
                      <a:pos x="190" y="57"/>
                    </a:cxn>
                    <a:cxn ang="0">
                      <a:pos x="189" y="63"/>
                    </a:cxn>
                    <a:cxn ang="0">
                      <a:pos x="191" y="76"/>
                    </a:cxn>
                    <a:cxn ang="0">
                      <a:pos x="199" y="79"/>
                    </a:cxn>
                    <a:cxn ang="0">
                      <a:pos x="207" y="87"/>
                    </a:cxn>
                    <a:cxn ang="0">
                      <a:pos x="212" y="93"/>
                    </a:cxn>
                    <a:cxn ang="0">
                      <a:pos x="211" y="102"/>
                    </a:cxn>
                    <a:cxn ang="0">
                      <a:pos x="195" y="98"/>
                    </a:cxn>
                    <a:cxn ang="0">
                      <a:pos x="201" y="109"/>
                    </a:cxn>
                    <a:cxn ang="0">
                      <a:pos x="208" y="126"/>
                    </a:cxn>
                    <a:cxn ang="0">
                      <a:pos x="202" y="129"/>
                    </a:cxn>
                    <a:cxn ang="0">
                      <a:pos x="192" y="135"/>
                    </a:cxn>
                    <a:cxn ang="0">
                      <a:pos x="184" y="136"/>
                    </a:cxn>
                    <a:cxn ang="0">
                      <a:pos x="176" y="137"/>
                    </a:cxn>
                    <a:cxn ang="0">
                      <a:pos x="183" y="146"/>
                    </a:cxn>
                    <a:cxn ang="0">
                      <a:pos x="183" y="157"/>
                    </a:cxn>
                    <a:cxn ang="0">
                      <a:pos x="178" y="149"/>
                    </a:cxn>
                    <a:cxn ang="0">
                      <a:pos x="163" y="156"/>
                    </a:cxn>
                    <a:cxn ang="0">
                      <a:pos x="160" y="170"/>
                    </a:cxn>
                    <a:cxn ang="0">
                      <a:pos x="151" y="175"/>
                    </a:cxn>
                    <a:cxn ang="0">
                      <a:pos x="149" y="189"/>
                    </a:cxn>
                    <a:cxn ang="0">
                      <a:pos x="154" y="201"/>
                    </a:cxn>
                  </a:cxnLst>
                  <a:rect l="0" t="0" r="r" b="b"/>
                  <a:pathLst>
                    <a:path w="215" h="216">
                      <a:moveTo>
                        <a:pt x="149" y="216"/>
                      </a:moveTo>
                      <a:lnTo>
                        <a:pt x="149" y="208"/>
                      </a:lnTo>
                      <a:lnTo>
                        <a:pt x="145" y="208"/>
                      </a:lnTo>
                      <a:lnTo>
                        <a:pt x="146" y="203"/>
                      </a:lnTo>
                      <a:lnTo>
                        <a:pt x="137" y="202"/>
                      </a:lnTo>
                      <a:lnTo>
                        <a:pt x="129" y="192"/>
                      </a:lnTo>
                      <a:lnTo>
                        <a:pt x="122" y="191"/>
                      </a:lnTo>
                      <a:lnTo>
                        <a:pt x="114" y="185"/>
                      </a:lnTo>
                      <a:lnTo>
                        <a:pt x="114" y="180"/>
                      </a:lnTo>
                      <a:lnTo>
                        <a:pt x="106" y="179"/>
                      </a:lnTo>
                      <a:lnTo>
                        <a:pt x="99" y="184"/>
                      </a:lnTo>
                      <a:lnTo>
                        <a:pt x="98" y="179"/>
                      </a:lnTo>
                      <a:lnTo>
                        <a:pt x="105" y="175"/>
                      </a:lnTo>
                      <a:lnTo>
                        <a:pt x="83" y="151"/>
                      </a:lnTo>
                      <a:lnTo>
                        <a:pt x="82" y="140"/>
                      </a:lnTo>
                      <a:lnTo>
                        <a:pt x="77" y="136"/>
                      </a:lnTo>
                      <a:lnTo>
                        <a:pt x="72" y="133"/>
                      </a:lnTo>
                      <a:lnTo>
                        <a:pt x="52" y="114"/>
                      </a:lnTo>
                      <a:lnTo>
                        <a:pt x="51" y="109"/>
                      </a:lnTo>
                      <a:lnTo>
                        <a:pt x="41" y="95"/>
                      </a:lnTo>
                      <a:lnTo>
                        <a:pt x="35" y="93"/>
                      </a:lnTo>
                      <a:lnTo>
                        <a:pt x="27" y="81"/>
                      </a:lnTo>
                      <a:lnTo>
                        <a:pt x="22" y="79"/>
                      </a:lnTo>
                      <a:lnTo>
                        <a:pt x="23" y="73"/>
                      </a:lnTo>
                      <a:lnTo>
                        <a:pt x="25" y="71"/>
                      </a:lnTo>
                      <a:lnTo>
                        <a:pt x="22" y="65"/>
                      </a:lnTo>
                      <a:lnTo>
                        <a:pt x="22" y="60"/>
                      </a:lnTo>
                      <a:lnTo>
                        <a:pt x="16" y="54"/>
                      </a:lnTo>
                      <a:lnTo>
                        <a:pt x="12" y="41"/>
                      </a:lnTo>
                      <a:lnTo>
                        <a:pt x="7" y="40"/>
                      </a:lnTo>
                      <a:lnTo>
                        <a:pt x="0" y="34"/>
                      </a:lnTo>
                      <a:lnTo>
                        <a:pt x="0" y="31"/>
                      </a:lnTo>
                      <a:lnTo>
                        <a:pt x="3" y="29"/>
                      </a:lnTo>
                      <a:lnTo>
                        <a:pt x="2" y="25"/>
                      </a:lnTo>
                      <a:lnTo>
                        <a:pt x="2" y="6"/>
                      </a:lnTo>
                      <a:lnTo>
                        <a:pt x="8" y="0"/>
                      </a:lnTo>
                      <a:lnTo>
                        <a:pt x="17" y="2"/>
                      </a:lnTo>
                      <a:lnTo>
                        <a:pt x="17" y="4"/>
                      </a:lnTo>
                      <a:lnTo>
                        <a:pt x="30" y="19"/>
                      </a:lnTo>
                      <a:lnTo>
                        <a:pt x="34" y="19"/>
                      </a:lnTo>
                      <a:lnTo>
                        <a:pt x="43" y="2"/>
                      </a:lnTo>
                      <a:lnTo>
                        <a:pt x="61" y="4"/>
                      </a:lnTo>
                      <a:lnTo>
                        <a:pt x="65" y="0"/>
                      </a:lnTo>
                      <a:lnTo>
                        <a:pt x="67" y="0"/>
                      </a:lnTo>
                      <a:lnTo>
                        <a:pt x="79" y="8"/>
                      </a:lnTo>
                      <a:lnTo>
                        <a:pt x="83" y="8"/>
                      </a:lnTo>
                      <a:lnTo>
                        <a:pt x="86" y="6"/>
                      </a:lnTo>
                      <a:lnTo>
                        <a:pt x="89" y="9"/>
                      </a:lnTo>
                      <a:lnTo>
                        <a:pt x="104" y="12"/>
                      </a:lnTo>
                      <a:lnTo>
                        <a:pt x="105" y="9"/>
                      </a:lnTo>
                      <a:lnTo>
                        <a:pt x="108" y="9"/>
                      </a:lnTo>
                      <a:lnTo>
                        <a:pt x="116" y="17"/>
                      </a:lnTo>
                      <a:lnTo>
                        <a:pt x="119" y="17"/>
                      </a:lnTo>
                      <a:lnTo>
                        <a:pt x="125" y="9"/>
                      </a:lnTo>
                      <a:lnTo>
                        <a:pt x="129" y="9"/>
                      </a:lnTo>
                      <a:lnTo>
                        <a:pt x="132" y="14"/>
                      </a:lnTo>
                      <a:lnTo>
                        <a:pt x="135" y="16"/>
                      </a:lnTo>
                      <a:lnTo>
                        <a:pt x="137" y="11"/>
                      </a:lnTo>
                      <a:lnTo>
                        <a:pt x="148" y="12"/>
                      </a:lnTo>
                      <a:lnTo>
                        <a:pt x="152" y="18"/>
                      </a:lnTo>
                      <a:lnTo>
                        <a:pt x="154" y="17"/>
                      </a:lnTo>
                      <a:lnTo>
                        <a:pt x="154" y="14"/>
                      </a:lnTo>
                      <a:lnTo>
                        <a:pt x="162" y="14"/>
                      </a:lnTo>
                      <a:lnTo>
                        <a:pt x="168" y="22"/>
                      </a:lnTo>
                      <a:lnTo>
                        <a:pt x="167" y="27"/>
                      </a:lnTo>
                      <a:lnTo>
                        <a:pt x="167" y="28"/>
                      </a:lnTo>
                      <a:lnTo>
                        <a:pt x="173" y="33"/>
                      </a:lnTo>
                      <a:lnTo>
                        <a:pt x="180" y="33"/>
                      </a:lnTo>
                      <a:lnTo>
                        <a:pt x="186" y="28"/>
                      </a:lnTo>
                      <a:lnTo>
                        <a:pt x="199" y="28"/>
                      </a:lnTo>
                      <a:lnTo>
                        <a:pt x="201" y="31"/>
                      </a:lnTo>
                      <a:lnTo>
                        <a:pt x="200" y="35"/>
                      </a:lnTo>
                      <a:lnTo>
                        <a:pt x="200" y="39"/>
                      </a:lnTo>
                      <a:lnTo>
                        <a:pt x="195" y="46"/>
                      </a:lnTo>
                      <a:lnTo>
                        <a:pt x="190" y="57"/>
                      </a:lnTo>
                      <a:lnTo>
                        <a:pt x="188" y="59"/>
                      </a:lnTo>
                      <a:lnTo>
                        <a:pt x="188" y="61"/>
                      </a:lnTo>
                      <a:lnTo>
                        <a:pt x="189" y="63"/>
                      </a:lnTo>
                      <a:lnTo>
                        <a:pt x="185" y="68"/>
                      </a:lnTo>
                      <a:lnTo>
                        <a:pt x="188" y="76"/>
                      </a:lnTo>
                      <a:lnTo>
                        <a:pt x="191" y="76"/>
                      </a:lnTo>
                      <a:lnTo>
                        <a:pt x="194" y="78"/>
                      </a:lnTo>
                      <a:lnTo>
                        <a:pt x="197" y="77"/>
                      </a:lnTo>
                      <a:lnTo>
                        <a:pt x="199" y="79"/>
                      </a:lnTo>
                      <a:lnTo>
                        <a:pt x="200" y="83"/>
                      </a:lnTo>
                      <a:lnTo>
                        <a:pt x="203" y="87"/>
                      </a:lnTo>
                      <a:lnTo>
                        <a:pt x="207" y="87"/>
                      </a:lnTo>
                      <a:lnTo>
                        <a:pt x="207" y="88"/>
                      </a:lnTo>
                      <a:lnTo>
                        <a:pt x="207" y="90"/>
                      </a:lnTo>
                      <a:lnTo>
                        <a:pt x="212" y="93"/>
                      </a:lnTo>
                      <a:lnTo>
                        <a:pt x="215" y="94"/>
                      </a:lnTo>
                      <a:lnTo>
                        <a:pt x="215" y="97"/>
                      </a:lnTo>
                      <a:lnTo>
                        <a:pt x="211" y="102"/>
                      </a:lnTo>
                      <a:lnTo>
                        <a:pt x="202" y="102"/>
                      </a:lnTo>
                      <a:lnTo>
                        <a:pt x="197" y="98"/>
                      </a:lnTo>
                      <a:lnTo>
                        <a:pt x="195" y="98"/>
                      </a:lnTo>
                      <a:lnTo>
                        <a:pt x="194" y="100"/>
                      </a:lnTo>
                      <a:lnTo>
                        <a:pt x="195" y="102"/>
                      </a:lnTo>
                      <a:lnTo>
                        <a:pt x="201" y="109"/>
                      </a:lnTo>
                      <a:lnTo>
                        <a:pt x="207" y="117"/>
                      </a:lnTo>
                      <a:lnTo>
                        <a:pt x="210" y="119"/>
                      </a:lnTo>
                      <a:lnTo>
                        <a:pt x="208" y="126"/>
                      </a:lnTo>
                      <a:lnTo>
                        <a:pt x="207" y="129"/>
                      </a:lnTo>
                      <a:lnTo>
                        <a:pt x="205" y="130"/>
                      </a:lnTo>
                      <a:lnTo>
                        <a:pt x="202" y="129"/>
                      </a:lnTo>
                      <a:lnTo>
                        <a:pt x="200" y="129"/>
                      </a:lnTo>
                      <a:lnTo>
                        <a:pt x="197" y="132"/>
                      </a:lnTo>
                      <a:lnTo>
                        <a:pt x="192" y="135"/>
                      </a:lnTo>
                      <a:lnTo>
                        <a:pt x="189" y="135"/>
                      </a:lnTo>
                      <a:lnTo>
                        <a:pt x="186" y="136"/>
                      </a:lnTo>
                      <a:lnTo>
                        <a:pt x="184" y="136"/>
                      </a:lnTo>
                      <a:lnTo>
                        <a:pt x="183" y="133"/>
                      </a:lnTo>
                      <a:lnTo>
                        <a:pt x="180" y="133"/>
                      </a:lnTo>
                      <a:lnTo>
                        <a:pt x="176" y="137"/>
                      </a:lnTo>
                      <a:lnTo>
                        <a:pt x="178" y="140"/>
                      </a:lnTo>
                      <a:lnTo>
                        <a:pt x="181" y="141"/>
                      </a:lnTo>
                      <a:lnTo>
                        <a:pt x="183" y="146"/>
                      </a:lnTo>
                      <a:lnTo>
                        <a:pt x="184" y="149"/>
                      </a:lnTo>
                      <a:lnTo>
                        <a:pt x="184" y="154"/>
                      </a:lnTo>
                      <a:lnTo>
                        <a:pt x="183" y="157"/>
                      </a:lnTo>
                      <a:lnTo>
                        <a:pt x="180" y="157"/>
                      </a:lnTo>
                      <a:lnTo>
                        <a:pt x="179" y="154"/>
                      </a:lnTo>
                      <a:lnTo>
                        <a:pt x="178" y="149"/>
                      </a:lnTo>
                      <a:lnTo>
                        <a:pt x="175" y="148"/>
                      </a:lnTo>
                      <a:lnTo>
                        <a:pt x="172" y="148"/>
                      </a:lnTo>
                      <a:lnTo>
                        <a:pt x="163" y="156"/>
                      </a:lnTo>
                      <a:lnTo>
                        <a:pt x="162" y="160"/>
                      </a:lnTo>
                      <a:lnTo>
                        <a:pt x="160" y="163"/>
                      </a:lnTo>
                      <a:lnTo>
                        <a:pt x="160" y="170"/>
                      </a:lnTo>
                      <a:lnTo>
                        <a:pt x="158" y="173"/>
                      </a:lnTo>
                      <a:lnTo>
                        <a:pt x="153" y="173"/>
                      </a:lnTo>
                      <a:lnTo>
                        <a:pt x="151" y="175"/>
                      </a:lnTo>
                      <a:lnTo>
                        <a:pt x="151" y="184"/>
                      </a:lnTo>
                      <a:lnTo>
                        <a:pt x="149" y="185"/>
                      </a:lnTo>
                      <a:lnTo>
                        <a:pt x="149" y="189"/>
                      </a:lnTo>
                      <a:lnTo>
                        <a:pt x="152" y="194"/>
                      </a:lnTo>
                      <a:lnTo>
                        <a:pt x="154" y="196"/>
                      </a:lnTo>
                      <a:lnTo>
                        <a:pt x="154" y="201"/>
                      </a:lnTo>
                      <a:lnTo>
                        <a:pt x="149" y="208"/>
                      </a:lnTo>
                      <a:lnTo>
                        <a:pt x="149" y="21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212" name="Freeform 201"/>
                <p:cNvSpPr>
                  <a:spLocks noChangeAspect="1"/>
                </p:cNvSpPr>
                <p:nvPr/>
              </p:nvSpPr>
              <p:spPr bwMode="gray">
                <a:xfrm>
                  <a:off x="2703" y="1965"/>
                  <a:ext cx="15" cy="8"/>
                </a:xfrm>
                <a:custGeom>
                  <a:avLst/>
                  <a:gdLst/>
                  <a:ahLst/>
                  <a:cxnLst>
                    <a:cxn ang="0">
                      <a:pos x="75" y="42"/>
                    </a:cxn>
                    <a:cxn ang="0">
                      <a:pos x="45" y="20"/>
                    </a:cxn>
                    <a:cxn ang="0">
                      <a:pos x="29" y="17"/>
                    </a:cxn>
                    <a:cxn ang="0">
                      <a:pos x="13" y="7"/>
                    </a:cxn>
                    <a:cxn ang="0">
                      <a:pos x="0" y="5"/>
                    </a:cxn>
                    <a:cxn ang="0">
                      <a:pos x="4" y="0"/>
                    </a:cxn>
                    <a:cxn ang="0">
                      <a:pos x="15" y="2"/>
                    </a:cxn>
                    <a:cxn ang="0">
                      <a:pos x="20" y="10"/>
                    </a:cxn>
                    <a:cxn ang="0">
                      <a:pos x="25" y="10"/>
                    </a:cxn>
                    <a:cxn ang="0">
                      <a:pos x="32" y="5"/>
                    </a:cxn>
                    <a:cxn ang="0">
                      <a:pos x="40" y="6"/>
                    </a:cxn>
                    <a:cxn ang="0">
                      <a:pos x="40" y="11"/>
                    </a:cxn>
                    <a:cxn ang="0">
                      <a:pos x="48" y="17"/>
                    </a:cxn>
                    <a:cxn ang="0">
                      <a:pos x="55" y="18"/>
                    </a:cxn>
                    <a:cxn ang="0">
                      <a:pos x="63" y="28"/>
                    </a:cxn>
                    <a:cxn ang="0">
                      <a:pos x="72" y="29"/>
                    </a:cxn>
                    <a:cxn ang="0">
                      <a:pos x="71" y="34"/>
                    </a:cxn>
                    <a:cxn ang="0">
                      <a:pos x="75" y="34"/>
                    </a:cxn>
                    <a:cxn ang="0">
                      <a:pos x="75" y="42"/>
                    </a:cxn>
                  </a:cxnLst>
                  <a:rect l="0" t="0" r="r" b="b"/>
                  <a:pathLst>
                    <a:path w="75" h="42">
                      <a:moveTo>
                        <a:pt x="75" y="42"/>
                      </a:moveTo>
                      <a:lnTo>
                        <a:pt x="45" y="20"/>
                      </a:lnTo>
                      <a:lnTo>
                        <a:pt x="29" y="17"/>
                      </a:lnTo>
                      <a:lnTo>
                        <a:pt x="13" y="7"/>
                      </a:lnTo>
                      <a:lnTo>
                        <a:pt x="0" y="5"/>
                      </a:lnTo>
                      <a:lnTo>
                        <a:pt x="4" y="0"/>
                      </a:lnTo>
                      <a:lnTo>
                        <a:pt x="15" y="2"/>
                      </a:lnTo>
                      <a:lnTo>
                        <a:pt x="20" y="10"/>
                      </a:lnTo>
                      <a:lnTo>
                        <a:pt x="25" y="10"/>
                      </a:lnTo>
                      <a:lnTo>
                        <a:pt x="32" y="5"/>
                      </a:lnTo>
                      <a:lnTo>
                        <a:pt x="40" y="6"/>
                      </a:lnTo>
                      <a:lnTo>
                        <a:pt x="40" y="11"/>
                      </a:lnTo>
                      <a:lnTo>
                        <a:pt x="48" y="17"/>
                      </a:lnTo>
                      <a:lnTo>
                        <a:pt x="55" y="18"/>
                      </a:lnTo>
                      <a:lnTo>
                        <a:pt x="63" y="28"/>
                      </a:lnTo>
                      <a:lnTo>
                        <a:pt x="72" y="29"/>
                      </a:lnTo>
                      <a:lnTo>
                        <a:pt x="71" y="34"/>
                      </a:lnTo>
                      <a:lnTo>
                        <a:pt x="75" y="34"/>
                      </a:lnTo>
                      <a:lnTo>
                        <a:pt x="75" y="4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</p:grpSp>
          <p:sp>
            <p:nvSpPr>
              <p:cNvPr id="189" name="Freeform 202"/>
              <p:cNvSpPr>
                <a:spLocks noChangeAspect="1"/>
              </p:cNvSpPr>
              <p:nvPr/>
            </p:nvSpPr>
            <p:spPr bwMode="gray">
              <a:xfrm>
                <a:off x="5128419" y="2973735"/>
                <a:ext cx="39688" cy="41275"/>
              </a:xfrm>
              <a:custGeom>
                <a:avLst/>
                <a:gdLst/>
                <a:ahLst/>
                <a:cxnLst>
                  <a:cxn ang="0">
                    <a:pos x="49" y="0"/>
                  </a:cxn>
                  <a:cxn ang="0">
                    <a:pos x="35" y="2"/>
                  </a:cxn>
                  <a:cxn ang="0">
                    <a:pos x="21" y="12"/>
                  </a:cxn>
                  <a:cxn ang="0">
                    <a:pos x="13" y="8"/>
                  </a:cxn>
                  <a:cxn ang="0">
                    <a:pos x="2" y="28"/>
                  </a:cxn>
                  <a:cxn ang="0">
                    <a:pos x="0" y="37"/>
                  </a:cxn>
                  <a:cxn ang="0">
                    <a:pos x="6" y="50"/>
                  </a:cxn>
                  <a:cxn ang="0">
                    <a:pos x="21" y="58"/>
                  </a:cxn>
                  <a:cxn ang="0">
                    <a:pos x="28" y="70"/>
                  </a:cxn>
                  <a:cxn ang="0">
                    <a:pos x="23" y="86"/>
                  </a:cxn>
                  <a:cxn ang="0">
                    <a:pos x="26" y="99"/>
                  </a:cxn>
                  <a:cxn ang="0">
                    <a:pos x="32" y="106"/>
                  </a:cxn>
                  <a:cxn ang="0">
                    <a:pos x="39" y="108"/>
                  </a:cxn>
                  <a:cxn ang="0">
                    <a:pos x="42" y="98"/>
                  </a:cxn>
                  <a:cxn ang="0">
                    <a:pos x="49" y="90"/>
                  </a:cxn>
                  <a:cxn ang="0">
                    <a:pos x="53" y="96"/>
                  </a:cxn>
                  <a:cxn ang="0">
                    <a:pos x="60" y="103"/>
                  </a:cxn>
                  <a:cxn ang="0">
                    <a:pos x="65" y="119"/>
                  </a:cxn>
                  <a:cxn ang="0">
                    <a:pos x="66" y="130"/>
                  </a:cxn>
                  <a:cxn ang="0">
                    <a:pos x="71" y="131"/>
                  </a:cxn>
                  <a:cxn ang="0">
                    <a:pos x="76" y="110"/>
                  </a:cxn>
                  <a:cxn ang="0">
                    <a:pos x="85" y="107"/>
                  </a:cxn>
                  <a:cxn ang="0">
                    <a:pos x="91" y="117"/>
                  </a:cxn>
                  <a:cxn ang="0">
                    <a:pos x="98" y="124"/>
                  </a:cxn>
                  <a:cxn ang="0">
                    <a:pos x="107" y="129"/>
                  </a:cxn>
                  <a:cxn ang="0">
                    <a:pos x="105" y="107"/>
                  </a:cxn>
                  <a:cxn ang="0">
                    <a:pos x="98" y="77"/>
                  </a:cxn>
                  <a:cxn ang="0">
                    <a:pos x="91" y="66"/>
                  </a:cxn>
                  <a:cxn ang="0">
                    <a:pos x="88" y="54"/>
                  </a:cxn>
                  <a:cxn ang="0">
                    <a:pos x="105" y="66"/>
                  </a:cxn>
                  <a:cxn ang="0">
                    <a:pos x="108" y="71"/>
                  </a:cxn>
                  <a:cxn ang="0">
                    <a:pos x="113" y="71"/>
                  </a:cxn>
                  <a:cxn ang="0">
                    <a:pos x="119" y="65"/>
                  </a:cxn>
                  <a:cxn ang="0">
                    <a:pos x="128" y="64"/>
                  </a:cxn>
                  <a:cxn ang="0">
                    <a:pos x="126" y="56"/>
                  </a:cxn>
                  <a:cxn ang="0">
                    <a:pos x="114" y="48"/>
                  </a:cxn>
                  <a:cxn ang="0">
                    <a:pos x="107" y="33"/>
                  </a:cxn>
                  <a:cxn ang="0">
                    <a:pos x="107" y="26"/>
                  </a:cxn>
                  <a:cxn ang="0">
                    <a:pos x="98" y="21"/>
                  </a:cxn>
                  <a:cxn ang="0">
                    <a:pos x="74" y="12"/>
                  </a:cxn>
                  <a:cxn ang="0">
                    <a:pos x="61" y="8"/>
                  </a:cxn>
                  <a:cxn ang="0">
                    <a:pos x="55" y="8"/>
                  </a:cxn>
                  <a:cxn ang="0">
                    <a:pos x="49" y="0"/>
                  </a:cxn>
                </a:cxnLst>
                <a:rect l="0" t="0" r="r" b="b"/>
                <a:pathLst>
                  <a:path w="128" h="131">
                    <a:moveTo>
                      <a:pt x="49" y="0"/>
                    </a:moveTo>
                    <a:lnTo>
                      <a:pt x="35" y="2"/>
                    </a:lnTo>
                    <a:lnTo>
                      <a:pt x="21" y="12"/>
                    </a:lnTo>
                    <a:lnTo>
                      <a:pt x="13" y="8"/>
                    </a:lnTo>
                    <a:lnTo>
                      <a:pt x="2" y="28"/>
                    </a:lnTo>
                    <a:lnTo>
                      <a:pt x="0" y="37"/>
                    </a:lnTo>
                    <a:lnTo>
                      <a:pt x="6" y="50"/>
                    </a:lnTo>
                    <a:lnTo>
                      <a:pt x="21" y="58"/>
                    </a:lnTo>
                    <a:lnTo>
                      <a:pt x="28" y="70"/>
                    </a:lnTo>
                    <a:lnTo>
                      <a:pt x="23" y="86"/>
                    </a:lnTo>
                    <a:lnTo>
                      <a:pt x="26" y="99"/>
                    </a:lnTo>
                    <a:lnTo>
                      <a:pt x="32" y="106"/>
                    </a:lnTo>
                    <a:lnTo>
                      <a:pt x="39" y="108"/>
                    </a:lnTo>
                    <a:lnTo>
                      <a:pt x="42" y="98"/>
                    </a:lnTo>
                    <a:lnTo>
                      <a:pt x="49" y="90"/>
                    </a:lnTo>
                    <a:lnTo>
                      <a:pt x="53" y="96"/>
                    </a:lnTo>
                    <a:lnTo>
                      <a:pt x="60" y="103"/>
                    </a:lnTo>
                    <a:lnTo>
                      <a:pt x="65" y="119"/>
                    </a:lnTo>
                    <a:lnTo>
                      <a:pt x="66" y="130"/>
                    </a:lnTo>
                    <a:lnTo>
                      <a:pt x="71" y="131"/>
                    </a:lnTo>
                    <a:lnTo>
                      <a:pt x="76" y="110"/>
                    </a:lnTo>
                    <a:lnTo>
                      <a:pt x="85" y="107"/>
                    </a:lnTo>
                    <a:lnTo>
                      <a:pt x="91" y="117"/>
                    </a:lnTo>
                    <a:lnTo>
                      <a:pt x="98" y="124"/>
                    </a:lnTo>
                    <a:lnTo>
                      <a:pt x="107" y="129"/>
                    </a:lnTo>
                    <a:lnTo>
                      <a:pt x="105" y="107"/>
                    </a:lnTo>
                    <a:lnTo>
                      <a:pt x="98" y="77"/>
                    </a:lnTo>
                    <a:lnTo>
                      <a:pt x="91" y="66"/>
                    </a:lnTo>
                    <a:lnTo>
                      <a:pt x="88" y="54"/>
                    </a:lnTo>
                    <a:lnTo>
                      <a:pt x="105" y="66"/>
                    </a:lnTo>
                    <a:lnTo>
                      <a:pt x="108" y="71"/>
                    </a:lnTo>
                    <a:lnTo>
                      <a:pt x="113" y="71"/>
                    </a:lnTo>
                    <a:lnTo>
                      <a:pt x="119" y="65"/>
                    </a:lnTo>
                    <a:lnTo>
                      <a:pt x="128" y="64"/>
                    </a:lnTo>
                    <a:lnTo>
                      <a:pt x="126" y="56"/>
                    </a:lnTo>
                    <a:lnTo>
                      <a:pt x="114" y="48"/>
                    </a:lnTo>
                    <a:lnTo>
                      <a:pt x="107" y="33"/>
                    </a:lnTo>
                    <a:lnTo>
                      <a:pt x="107" y="26"/>
                    </a:lnTo>
                    <a:lnTo>
                      <a:pt x="98" y="21"/>
                    </a:lnTo>
                    <a:lnTo>
                      <a:pt x="74" y="12"/>
                    </a:lnTo>
                    <a:lnTo>
                      <a:pt x="61" y="8"/>
                    </a:lnTo>
                    <a:lnTo>
                      <a:pt x="55" y="8"/>
                    </a:lnTo>
                    <a:lnTo>
                      <a:pt x="49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90" name="Freeform 203"/>
              <p:cNvSpPr>
                <a:spLocks noChangeAspect="1"/>
              </p:cNvSpPr>
              <p:nvPr/>
            </p:nvSpPr>
            <p:spPr bwMode="gray">
              <a:xfrm>
                <a:off x="5110956" y="2894360"/>
                <a:ext cx="111125" cy="93663"/>
              </a:xfrm>
              <a:custGeom>
                <a:avLst/>
                <a:gdLst/>
                <a:ahLst/>
                <a:cxnLst>
                  <a:cxn ang="0">
                    <a:pos x="314" y="70"/>
                  </a:cxn>
                  <a:cxn ang="0">
                    <a:pos x="258" y="65"/>
                  </a:cxn>
                  <a:cxn ang="0">
                    <a:pos x="245" y="66"/>
                  </a:cxn>
                  <a:cxn ang="0">
                    <a:pos x="223" y="73"/>
                  </a:cxn>
                  <a:cxn ang="0">
                    <a:pos x="193" y="86"/>
                  </a:cxn>
                  <a:cxn ang="0">
                    <a:pos x="216" y="100"/>
                  </a:cxn>
                  <a:cxn ang="0">
                    <a:pos x="227" y="116"/>
                  </a:cxn>
                  <a:cxn ang="0">
                    <a:pos x="201" y="103"/>
                  </a:cxn>
                  <a:cxn ang="0">
                    <a:pos x="207" y="120"/>
                  </a:cxn>
                  <a:cxn ang="0">
                    <a:pos x="201" y="125"/>
                  </a:cxn>
                  <a:cxn ang="0">
                    <a:pos x="185" y="111"/>
                  </a:cxn>
                  <a:cxn ang="0">
                    <a:pos x="184" y="124"/>
                  </a:cxn>
                  <a:cxn ang="0">
                    <a:pos x="188" y="135"/>
                  </a:cxn>
                  <a:cxn ang="0">
                    <a:pos x="172" y="111"/>
                  </a:cxn>
                  <a:cxn ang="0">
                    <a:pos x="148" y="93"/>
                  </a:cxn>
                  <a:cxn ang="0">
                    <a:pos x="137" y="90"/>
                  </a:cxn>
                  <a:cxn ang="0">
                    <a:pos x="135" y="120"/>
                  </a:cxn>
                  <a:cxn ang="0">
                    <a:pos x="144" y="140"/>
                  </a:cxn>
                  <a:cxn ang="0">
                    <a:pos x="164" y="172"/>
                  </a:cxn>
                  <a:cxn ang="0">
                    <a:pos x="172" y="190"/>
                  </a:cxn>
                  <a:cxn ang="0">
                    <a:pos x="163" y="191"/>
                  </a:cxn>
                  <a:cxn ang="0">
                    <a:pos x="161" y="179"/>
                  </a:cxn>
                  <a:cxn ang="0">
                    <a:pos x="150" y="186"/>
                  </a:cxn>
                  <a:cxn ang="0">
                    <a:pos x="151" y="203"/>
                  </a:cxn>
                  <a:cxn ang="0">
                    <a:pos x="141" y="203"/>
                  </a:cxn>
                  <a:cxn ang="0">
                    <a:pos x="135" y="212"/>
                  </a:cxn>
                  <a:cxn ang="0">
                    <a:pos x="156" y="219"/>
                  </a:cxn>
                  <a:cxn ang="0">
                    <a:pos x="172" y="224"/>
                  </a:cxn>
                  <a:cxn ang="0">
                    <a:pos x="184" y="237"/>
                  </a:cxn>
                  <a:cxn ang="0">
                    <a:pos x="199" y="250"/>
                  </a:cxn>
                  <a:cxn ang="0">
                    <a:pos x="211" y="255"/>
                  </a:cxn>
                  <a:cxn ang="0">
                    <a:pos x="199" y="285"/>
                  </a:cxn>
                  <a:cxn ang="0">
                    <a:pos x="175" y="275"/>
                  </a:cxn>
                  <a:cxn ang="0">
                    <a:pos x="152" y="270"/>
                  </a:cxn>
                  <a:cxn ang="0">
                    <a:pos x="164" y="259"/>
                  </a:cxn>
                  <a:cxn ang="0">
                    <a:pos x="139" y="243"/>
                  </a:cxn>
                  <a:cxn ang="0">
                    <a:pos x="123" y="245"/>
                  </a:cxn>
                  <a:cxn ang="0">
                    <a:pos x="98" y="245"/>
                  </a:cxn>
                  <a:cxn ang="0">
                    <a:pos x="67" y="242"/>
                  </a:cxn>
                  <a:cxn ang="0">
                    <a:pos x="61" y="245"/>
                  </a:cxn>
                  <a:cxn ang="0">
                    <a:pos x="51" y="240"/>
                  </a:cxn>
                  <a:cxn ang="0">
                    <a:pos x="33" y="208"/>
                  </a:cxn>
                  <a:cxn ang="0">
                    <a:pos x="53" y="208"/>
                  </a:cxn>
                  <a:cxn ang="0">
                    <a:pos x="35" y="194"/>
                  </a:cxn>
                  <a:cxn ang="0">
                    <a:pos x="17" y="178"/>
                  </a:cxn>
                  <a:cxn ang="0">
                    <a:pos x="3" y="154"/>
                  </a:cxn>
                  <a:cxn ang="0">
                    <a:pos x="0" y="152"/>
                  </a:cxn>
                  <a:cxn ang="0">
                    <a:pos x="10" y="146"/>
                  </a:cxn>
                  <a:cxn ang="0">
                    <a:pos x="17" y="127"/>
                  </a:cxn>
                  <a:cxn ang="0">
                    <a:pos x="35" y="103"/>
                  </a:cxn>
                  <a:cxn ang="0">
                    <a:pos x="49" y="77"/>
                  </a:cxn>
                  <a:cxn ang="0">
                    <a:pos x="82" y="62"/>
                  </a:cxn>
                  <a:cxn ang="0">
                    <a:pos x="112" y="45"/>
                  </a:cxn>
                  <a:cxn ang="0">
                    <a:pos x="147" y="31"/>
                  </a:cxn>
                  <a:cxn ang="0">
                    <a:pos x="166" y="29"/>
                  </a:cxn>
                  <a:cxn ang="0">
                    <a:pos x="205" y="25"/>
                  </a:cxn>
                  <a:cxn ang="0">
                    <a:pos x="248" y="16"/>
                  </a:cxn>
                  <a:cxn ang="0">
                    <a:pos x="293" y="36"/>
                  </a:cxn>
                  <a:cxn ang="0">
                    <a:pos x="327" y="20"/>
                  </a:cxn>
                  <a:cxn ang="0">
                    <a:pos x="340" y="0"/>
                  </a:cxn>
                  <a:cxn ang="0">
                    <a:pos x="352" y="13"/>
                  </a:cxn>
                  <a:cxn ang="0">
                    <a:pos x="340" y="33"/>
                  </a:cxn>
                  <a:cxn ang="0">
                    <a:pos x="334" y="63"/>
                  </a:cxn>
                </a:cxnLst>
                <a:rect l="0" t="0" r="r" b="b"/>
                <a:pathLst>
                  <a:path w="352" h="293">
                    <a:moveTo>
                      <a:pt x="324" y="78"/>
                    </a:moveTo>
                    <a:lnTo>
                      <a:pt x="314" y="70"/>
                    </a:lnTo>
                    <a:lnTo>
                      <a:pt x="268" y="57"/>
                    </a:lnTo>
                    <a:lnTo>
                      <a:pt x="258" y="65"/>
                    </a:lnTo>
                    <a:lnTo>
                      <a:pt x="253" y="66"/>
                    </a:lnTo>
                    <a:lnTo>
                      <a:pt x="245" y="66"/>
                    </a:lnTo>
                    <a:lnTo>
                      <a:pt x="234" y="62"/>
                    </a:lnTo>
                    <a:lnTo>
                      <a:pt x="223" y="73"/>
                    </a:lnTo>
                    <a:lnTo>
                      <a:pt x="207" y="76"/>
                    </a:lnTo>
                    <a:lnTo>
                      <a:pt x="193" y="86"/>
                    </a:lnTo>
                    <a:lnTo>
                      <a:pt x="201" y="94"/>
                    </a:lnTo>
                    <a:lnTo>
                      <a:pt x="216" y="100"/>
                    </a:lnTo>
                    <a:lnTo>
                      <a:pt x="225" y="110"/>
                    </a:lnTo>
                    <a:lnTo>
                      <a:pt x="227" y="116"/>
                    </a:lnTo>
                    <a:lnTo>
                      <a:pt x="217" y="106"/>
                    </a:lnTo>
                    <a:lnTo>
                      <a:pt x="201" y="103"/>
                    </a:lnTo>
                    <a:lnTo>
                      <a:pt x="196" y="113"/>
                    </a:lnTo>
                    <a:lnTo>
                      <a:pt x="207" y="120"/>
                    </a:lnTo>
                    <a:lnTo>
                      <a:pt x="209" y="133"/>
                    </a:lnTo>
                    <a:lnTo>
                      <a:pt x="201" y="125"/>
                    </a:lnTo>
                    <a:lnTo>
                      <a:pt x="195" y="115"/>
                    </a:lnTo>
                    <a:lnTo>
                      <a:pt x="185" y="111"/>
                    </a:lnTo>
                    <a:lnTo>
                      <a:pt x="182" y="113"/>
                    </a:lnTo>
                    <a:lnTo>
                      <a:pt x="184" y="124"/>
                    </a:lnTo>
                    <a:lnTo>
                      <a:pt x="193" y="131"/>
                    </a:lnTo>
                    <a:lnTo>
                      <a:pt x="188" y="135"/>
                    </a:lnTo>
                    <a:lnTo>
                      <a:pt x="177" y="125"/>
                    </a:lnTo>
                    <a:lnTo>
                      <a:pt x="172" y="111"/>
                    </a:lnTo>
                    <a:lnTo>
                      <a:pt x="148" y="97"/>
                    </a:lnTo>
                    <a:lnTo>
                      <a:pt x="148" y="93"/>
                    </a:lnTo>
                    <a:lnTo>
                      <a:pt x="151" y="86"/>
                    </a:lnTo>
                    <a:lnTo>
                      <a:pt x="137" y="90"/>
                    </a:lnTo>
                    <a:lnTo>
                      <a:pt x="135" y="105"/>
                    </a:lnTo>
                    <a:lnTo>
                      <a:pt x="135" y="120"/>
                    </a:lnTo>
                    <a:lnTo>
                      <a:pt x="136" y="132"/>
                    </a:lnTo>
                    <a:lnTo>
                      <a:pt x="144" y="140"/>
                    </a:lnTo>
                    <a:lnTo>
                      <a:pt x="147" y="154"/>
                    </a:lnTo>
                    <a:lnTo>
                      <a:pt x="164" y="172"/>
                    </a:lnTo>
                    <a:lnTo>
                      <a:pt x="169" y="181"/>
                    </a:lnTo>
                    <a:lnTo>
                      <a:pt x="172" y="190"/>
                    </a:lnTo>
                    <a:lnTo>
                      <a:pt x="167" y="192"/>
                    </a:lnTo>
                    <a:lnTo>
                      <a:pt x="163" y="191"/>
                    </a:lnTo>
                    <a:lnTo>
                      <a:pt x="164" y="185"/>
                    </a:lnTo>
                    <a:lnTo>
                      <a:pt x="161" y="179"/>
                    </a:lnTo>
                    <a:lnTo>
                      <a:pt x="151" y="178"/>
                    </a:lnTo>
                    <a:lnTo>
                      <a:pt x="150" y="186"/>
                    </a:lnTo>
                    <a:lnTo>
                      <a:pt x="155" y="200"/>
                    </a:lnTo>
                    <a:lnTo>
                      <a:pt x="151" y="203"/>
                    </a:lnTo>
                    <a:lnTo>
                      <a:pt x="147" y="203"/>
                    </a:lnTo>
                    <a:lnTo>
                      <a:pt x="141" y="203"/>
                    </a:lnTo>
                    <a:lnTo>
                      <a:pt x="131" y="206"/>
                    </a:lnTo>
                    <a:lnTo>
                      <a:pt x="135" y="212"/>
                    </a:lnTo>
                    <a:lnTo>
                      <a:pt x="147" y="217"/>
                    </a:lnTo>
                    <a:lnTo>
                      <a:pt x="156" y="219"/>
                    </a:lnTo>
                    <a:lnTo>
                      <a:pt x="163" y="224"/>
                    </a:lnTo>
                    <a:lnTo>
                      <a:pt x="172" y="224"/>
                    </a:lnTo>
                    <a:lnTo>
                      <a:pt x="177" y="237"/>
                    </a:lnTo>
                    <a:lnTo>
                      <a:pt x="184" y="237"/>
                    </a:lnTo>
                    <a:lnTo>
                      <a:pt x="190" y="244"/>
                    </a:lnTo>
                    <a:lnTo>
                      <a:pt x="199" y="250"/>
                    </a:lnTo>
                    <a:lnTo>
                      <a:pt x="204" y="250"/>
                    </a:lnTo>
                    <a:lnTo>
                      <a:pt x="211" y="255"/>
                    </a:lnTo>
                    <a:lnTo>
                      <a:pt x="212" y="293"/>
                    </a:lnTo>
                    <a:lnTo>
                      <a:pt x="199" y="285"/>
                    </a:lnTo>
                    <a:lnTo>
                      <a:pt x="189" y="272"/>
                    </a:lnTo>
                    <a:lnTo>
                      <a:pt x="175" y="275"/>
                    </a:lnTo>
                    <a:lnTo>
                      <a:pt x="161" y="275"/>
                    </a:lnTo>
                    <a:lnTo>
                      <a:pt x="152" y="270"/>
                    </a:lnTo>
                    <a:lnTo>
                      <a:pt x="162" y="266"/>
                    </a:lnTo>
                    <a:lnTo>
                      <a:pt x="164" y="259"/>
                    </a:lnTo>
                    <a:lnTo>
                      <a:pt x="152" y="256"/>
                    </a:lnTo>
                    <a:lnTo>
                      <a:pt x="139" y="243"/>
                    </a:lnTo>
                    <a:lnTo>
                      <a:pt x="132" y="249"/>
                    </a:lnTo>
                    <a:lnTo>
                      <a:pt x="123" y="245"/>
                    </a:lnTo>
                    <a:lnTo>
                      <a:pt x="110" y="248"/>
                    </a:lnTo>
                    <a:lnTo>
                      <a:pt x="98" y="245"/>
                    </a:lnTo>
                    <a:lnTo>
                      <a:pt x="81" y="248"/>
                    </a:lnTo>
                    <a:lnTo>
                      <a:pt x="67" y="242"/>
                    </a:lnTo>
                    <a:lnTo>
                      <a:pt x="64" y="242"/>
                    </a:lnTo>
                    <a:lnTo>
                      <a:pt x="61" y="245"/>
                    </a:lnTo>
                    <a:lnTo>
                      <a:pt x="55" y="248"/>
                    </a:lnTo>
                    <a:lnTo>
                      <a:pt x="51" y="240"/>
                    </a:lnTo>
                    <a:lnTo>
                      <a:pt x="45" y="228"/>
                    </a:lnTo>
                    <a:lnTo>
                      <a:pt x="33" y="208"/>
                    </a:lnTo>
                    <a:lnTo>
                      <a:pt x="43" y="210"/>
                    </a:lnTo>
                    <a:lnTo>
                      <a:pt x="53" y="208"/>
                    </a:lnTo>
                    <a:lnTo>
                      <a:pt x="49" y="200"/>
                    </a:lnTo>
                    <a:lnTo>
                      <a:pt x="35" y="194"/>
                    </a:lnTo>
                    <a:lnTo>
                      <a:pt x="33" y="203"/>
                    </a:lnTo>
                    <a:lnTo>
                      <a:pt x="17" y="178"/>
                    </a:lnTo>
                    <a:lnTo>
                      <a:pt x="7" y="170"/>
                    </a:lnTo>
                    <a:lnTo>
                      <a:pt x="3" y="154"/>
                    </a:lnTo>
                    <a:lnTo>
                      <a:pt x="1" y="152"/>
                    </a:lnTo>
                    <a:lnTo>
                      <a:pt x="0" y="152"/>
                    </a:lnTo>
                    <a:lnTo>
                      <a:pt x="1" y="152"/>
                    </a:lnTo>
                    <a:lnTo>
                      <a:pt x="10" y="146"/>
                    </a:lnTo>
                    <a:lnTo>
                      <a:pt x="15" y="140"/>
                    </a:lnTo>
                    <a:lnTo>
                      <a:pt x="17" y="127"/>
                    </a:lnTo>
                    <a:lnTo>
                      <a:pt x="27" y="120"/>
                    </a:lnTo>
                    <a:lnTo>
                      <a:pt x="35" y="103"/>
                    </a:lnTo>
                    <a:lnTo>
                      <a:pt x="49" y="92"/>
                    </a:lnTo>
                    <a:lnTo>
                      <a:pt x="49" y="77"/>
                    </a:lnTo>
                    <a:lnTo>
                      <a:pt x="46" y="67"/>
                    </a:lnTo>
                    <a:lnTo>
                      <a:pt x="82" y="62"/>
                    </a:lnTo>
                    <a:lnTo>
                      <a:pt x="93" y="52"/>
                    </a:lnTo>
                    <a:lnTo>
                      <a:pt x="112" y="45"/>
                    </a:lnTo>
                    <a:lnTo>
                      <a:pt x="132" y="45"/>
                    </a:lnTo>
                    <a:lnTo>
                      <a:pt x="147" y="31"/>
                    </a:lnTo>
                    <a:lnTo>
                      <a:pt x="153" y="29"/>
                    </a:lnTo>
                    <a:lnTo>
                      <a:pt x="166" y="29"/>
                    </a:lnTo>
                    <a:lnTo>
                      <a:pt x="183" y="25"/>
                    </a:lnTo>
                    <a:lnTo>
                      <a:pt x="205" y="25"/>
                    </a:lnTo>
                    <a:lnTo>
                      <a:pt x="236" y="16"/>
                    </a:lnTo>
                    <a:lnTo>
                      <a:pt x="248" y="16"/>
                    </a:lnTo>
                    <a:lnTo>
                      <a:pt x="258" y="24"/>
                    </a:lnTo>
                    <a:lnTo>
                      <a:pt x="293" y="36"/>
                    </a:lnTo>
                    <a:lnTo>
                      <a:pt x="313" y="33"/>
                    </a:lnTo>
                    <a:lnTo>
                      <a:pt x="327" y="20"/>
                    </a:lnTo>
                    <a:lnTo>
                      <a:pt x="329" y="1"/>
                    </a:lnTo>
                    <a:lnTo>
                      <a:pt x="340" y="0"/>
                    </a:lnTo>
                    <a:lnTo>
                      <a:pt x="343" y="6"/>
                    </a:lnTo>
                    <a:lnTo>
                      <a:pt x="352" y="13"/>
                    </a:lnTo>
                    <a:lnTo>
                      <a:pt x="351" y="24"/>
                    </a:lnTo>
                    <a:lnTo>
                      <a:pt x="340" y="33"/>
                    </a:lnTo>
                    <a:lnTo>
                      <a:pt x="338" y="49"/>
                    </a:lnTo>
                    <a:lnTo>
                      <a:pt x="334" y="63"/>
                    </a:lnTo>
                    <a:lnTo>
                      <a:pt x="324" y="7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91" name="Freeform 204"/>
              <p:cNvSpPr>
                <a:spLocks noChangeAspect="1"/>
              </p:cNvSpPr>
              <p:nvPr/>
            </p:nvSpPr>
            <p:spPr bwMode="gray">
              <a:xfrm>
                <a:off x="5039519" y="2727672"/>
                <a:ext cx="117475" cy="69850"/>
              </a:xfrm>
              <a:custGeom>
                <a:avLst/>
                <a:gdLst/>
                <a:ahLst/>
                <a:cxnLst>
                  <a:cxn ang="0">
                    <a:pos x="71" y="47"/>
                  </a:cxn>
                  <a:cxn ang="0">
                    <a:pos x="128" y="64"/>
                  </a:cxn>
                  <a:cxn ang="0">
                    <a:pos x="147" y="44"/>
                  </a:cxn>
                  <a:cxn ang="0">
                    <a:pos x="194" y="26"/>
                  </a:cxn>
                  <a:cxn ang="0">
                    <a:pos x="225" y="24"/>
                  </a:cxn>
                  <a:cxn ang="0">
                    <a:pos x="240" y="10"/>
                  </a:cxn>
                  <a:cxn ang="0">
                    <a:pos x="273" y="2"/>
                  </a:cxn>
                  <a:cxn ang="0">
                    <a:pos x="300" y="5"/>
                  </a:cxn>
                  <a:cxn ang="0">
                    <a:pos x="329" y="12"/>
                  </a:cxn>
                  <a:cxn ang="0">
                    <a:pos x="356" y="29"/>
                  </a:cxn>
                  <a:cxn ang="0">
                    <a:pos x="369" y="48"/>
                  </a:cxn>
                  <a:cxn ang="0">
                    <a:pos x="357" y="62"/>
                  </a:cxn>
                  <a:cxn ang="0">
                    <a:pos x="335" y="69"/>
                  </a:cxn>
                  <a:cxn ang="0">
                    <a:pos x="324" y="86"/>
                  </a:cxn>
                  <a:cxn ang="0">
                    <a:pos x="316" y="108"/>
                  </a:cxn>
                  <a:cxn ang="0">
                    <a:pos x="298" y="135"/>
                  </a:cxn>
                  <a:cxn ang="0">
                    <a:pos x="284" y="161"/>
                  </a:cxn>
                  <a:cxn ang="0">
                    <a:pos x="260" y="185"/>
                  </a:cxn>
                  <a:cxn ang="0">
                    <a:pos x="225" y="195"/>
                  </a:cxn>
                  <a:cxn ang="0">
                    <a:pos x="209" y="193"/>
                  </a:cxn>
                  <a:cxn ang="0">
                    <a:pos x="181" y="204"/>
                  </a:cxn>
                  <a:cxn ang="0">
                    <a:pos x="160" y="209"/>
                  </a:cxn>
                  <a:cxn ang="0">
                    <a:pos x="133" y="218"/>
                  </a:cxn>
                  <a:cxn ang="0">
                    <a:pos x="102" y="223"/>
                  </a:cxn>
                  <a:cxn ang="0">
                    <a:pos x="76" y="210"/>
                  </a:cxn>
                  <a:cxn ang="0">
                    <a:pos x="50" y="188"/>
                  </a:cxn>
                  <a:cxn ang="0">
                    <a:pos x="28" y="167"/>
                  </a:cxn>
                  <a:cxn ang="0">
                    <a:pos x="15" y="140"/>
                  </a:cxn>
                  <a:cxn ang="0">
                    <a:pos x="0" y="136"/>
                  </a:cxn>
                  <a:cxn ang="0">
                    <a:pos x="21" y="123"/>
                  </a:cxn>
                  <a:cxn ang="0">
                    <a:pos x="20" y="102"/>
                  </a:cxn>
                  <a:cxn ang="0">
                    <a:pos x="22" y="75"/>
                  </a:cxn>
                  <a:cxn ang="0">
                    <a:pos x="53" y="67"/>
                  </a:cxn>
                  <a:cxn ang="0">
                    <a:pos x="58" y="39"/>
                  </a:cxn>
                </a:cxnLst>
                <a:rect l="0" t="0" r="r" b="b"/>
                <a:pathLst>
                  <a:path w="369" h="223">
                    <a:moveTo>
                      <a:pt x="58" y="39"/>
                    </a:moveTo>
                    <a:lnTo>
                      <a:pt x="71" y="47"/>
                    </a:lnTo>
                    <a:lnTo>
                      <a:pt x="95" y="65"/>
                    </a:lnTo>
                    <a:lnTo>
                      <a:pt x="128" y="64"/>
                    </a:lnTo>
                    <a:lnTo>
                      <a:pt x="134" y="64"/>
                    </a:lnTo>
                    <a:lnTo>
                      <a:pt x="147" y="44"/>
                    </a:lnTo>
                    <a:lnTo>
                      <a:pt x="178" y="35"/>
                    </a:lnTo>
                    <a:lnTo>
                      <a:pt x="194" y="26"/>
                    </a:lnTo>
                    <a:lnTo>
                      <a:pt x="211" y="32"/>
                    </a:lnTo>
                    <a:lnTo>
                      <a:pt x="225" y="24"/>
                    </a:lnTo>
                    <a:lnTo>
                      <a:pt x="235" y="22"/>
                    </a:lnTo>
                    <a:lnTo>
                      <a:pt x="240" y="10"/>
                    </a:lnTo>
                    <a:lnTo>
                      <a:pt x="255" y="1"/>
                    </a:lnTo>
                    <a:lnTo>
                      <a:pt x="273" y="2"/>
                    </a:lnTo>
                    <a:lnTo>
                      <a:pt x="285" y="0"/>
                    </a:lnTo>
                    <a:lnTo>
                      <a:pt x="300" y="5"/>
                    </a:lnTo>
                    <a:lnTo>
                      <a:pt x="317" y="15"/>
                    </a:lnTo>
                    <a:lnTo>
                      <a:pt x="329" y="12"/>
                    </a:lnTo>
                    <a:lnTo>
                      <a:pt x="344" y="19"/>
                    </a:lnTo>
                    <a:lnTo>
                      <a:pt x="356" y="29"/>
                    </a:lnTo>
                    <a:lnTo>
                      <a:pt x="365" y="38"/>
                    </a:lnTo>
                    <a:lnTo>
                      <a:pt x="369" y="48"/>
                    </a:lnTo>
                    <a:lnTo>
                      <a:pt x="365" y="55"/>
                    </a:lnTo>
                    <a:lnTo>
                      <a:pt x="357" y="62"/>
                    </a:lnTo>
                    <a:lnTo>
                      <a:pt x="350" y="62"/>
                    </a:lnTo>
                    <a:lnTo>
                      <a:pt x="335" y="69"/>
                    </a:lnTo>
                    <a:lnTo>
                      <a:pt x="326" y="78"/>
                    </a:lnTo>
                    <a:lnTo>
                      <a:pt x="324" y="86"/>
                    </a:lnTo>
                    <a:lnTo>
                      <a:pt x="318" y="97"/>
                    </a:lnTo>
                    <a:lnTo>
                      <a:pt x="316" y="108"/>
                    </a:lnTo>
                    <a:lnTo>
                      <a:pt x="303" y="121"/>
                    </a:lnTo>
                    <a:lnTo>
                      <a:pt x="298" y="135"/>
                    </a:lnTo>
                    <a:lnTo>
                      <a:pt x="291" y="151"/>
                    </a:lnTo>
                    <a:lnTo>
                      <a:pt x="284" y="161"/>
                    </a:lnTo>
                    <a:lnTo>
                      <a:pt x="276" y="178"/>
                    </a:lnTo>
                    <a:lnTo>
                      <a:pt x="260" y="185"/>
                    </a:lnTo>
                    <a:lnTo>
                      <a:pt x="228" y="195"/>
                    </a:lnTo>
                    <a:lnTo>
                      <a:pt x="225" y="195"/>
                    </a:lnTo>
                    <a:lnTo>
                      <a:pt x="221" y="188"/>
                    </a:lnTo>
                    <a:lnTo>
                      <a:pt x="209" y="193"/>
                    </a:lnTo>
                    <a:lnTo>
                      <a:pt x="197" y="193"/>
                    </a:lnTo>
                    <a:lnTo>
                      <a:pt x="181" y="204"/>
                    </a:lnTo>
                    <a:lnTo>
                      <a:pt x="166" y="204"/>
                    </a:lnTo>
                    <a:lnTo>
                      <a:pt x="160" y="209"/>
                    </a:lnTo>
                    <a:lnTo>
                      <a:pt x="145" y="210"/>
                    </a:lnTo>
                    <a:lnTo>
                      <a:pt x="133" y="218"/>
                    </a:lnTo>
                    <a:lnTo>
                      <a:pt x="119" y="222"/>
                    </a:lnTo>
                    <a:lnTo>
                      <a:pt x="102" y="223"/>
                    </a:lnTo>
                    <a:lnTo>
                      <a:pt x="87" y="214"/>
                    </a:lnTo>
                    <a:lnTo>
                      <a:pt x="76" y="210"/>
                    </a:lnTo>
                    <a:lnTo>
                      <a:pt x="65" y="195"/>
                    </a:lnTo>
                    <a:lnTo>
                      <a:pt x="50" y="188"/>
                    </a:lnTo>
                    <a:lnTo>
                      <a:pt x="41" y="172"/>
                    </a:lnTo>
                    <a:lnTo>
                      <a:pt x="28" y="167"/>
                    </a:lnTo>
                    <a:lnTo>
                      <a:pt x="20" y="153"/>
                    </a:lnTo>
                    <a:lnTo>
                      <a:pt x="15" y="140"/>
                    </a:lnTo>
                    <a:lnTo>
                      <a:pt x="7" y="136"/>
                    </a:lnTo>
                    <a:lnTo>
                      <a:pt x="0" y="136"/>
                    </a:lnTo>
                    <a:lnTo>
                      <a:pt x="10" y="125"/>
                    </a:lnTo>
                    <a:lnTo>
                      <a:pt x="21" y="123"/>
                    </a:lnTo>
                    <a:lnTo>
                      <a:pt x="20" y="112"/>
                    </a:lnTo>
                    <a:lnTo>
                      <a:pt x="20" y="102"/>
                    </a:lnTo>
                    <a:lnTo>
                      <a:pt x="28" y="83"/>
                    </a:lnTo>
                    <a:lnTo>
                      <a:pt x="22" y="75"/>
                    </a:lnTo>
                    <a:lnTo>
                      <a:pt x="26" y="67"/>
                    </a:lnTo>
                    <a:lnTo>
                      <a:pt x="53" y="67"/>
                    </a:lnTo>
                    <a:lnTo>
                      <a:pt x="58" y="59"/>
                    </a:lnTo>
                    <a:lnTo>
                      <a:pt x="58" y="3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92" name="Freeform 205"/>
              <p:cNvSpPr>
                <a:spLocks noChangeAspect="1"/>
              </p:cNvSpPr>
              <p:nvPr/>
            </p:nvSpPr>
            <p:spPr bwMode="gray">
              <a:xfrm>
                <a:off x="5004594" y="2549872"/>
                <a:ext cx="173038" cy="163513"/>
              </a:xfrm>
              <a:custGeom>
                <a:avLst/>
                <a:gdLst/>
                <a:ahLst/>
                <a:cxnLst>
                  <a:cxn ang="0">
                    <a:pos x="521" y="323"/>
                  </a:cxn>
                  <a:cxn ang="0">
                    <a:pos x="540" y="357"/>
                  </a:cxn>
                  <a:cxn ang="0">
                    <a:pos x="540" y="397"/>
                  </a:cxn>
                  <a:cxn ang="0">
                    <a:pos x="488" y="444"/>
                  </a:cxn>
                  <a:cxn ang="0">
                    <a:pos x="470" y="509"/>
                  </a:cxn>
                  <a:cxn ang="0">
                    <a:pos x="446" y="506"/>
                  </a:cxn>
                  <a:cxn ang="0">
                    <a:pos x="416" y="483"/>
                  </a:cxn>
                  <a:cxn ang="0">
                    <a:pos x="379" y="488"/>
                  </a:cxn>
                  <a:cxn ang="0">
                    <a:pos x="343" y="487"/>
                  </a:cxn>
                  <a:cxn ang="0">
                    <a:pos x="317" y="498"/>
                  </a:cxn>
                  <a:cxn ang="0">
                    <a:pos x="291" y="473"/>
                  </a:cxn>
                  <a:cxn ang="0">
                    <a:pos x="259" y="475"/>
                  </a:cxn>
                  <a:cxn ang="0">
                    <a:pos x="212" y="433"/>
                  </a:cxn>
                  <a:cxn ang="0">
                    <a:pos x="198" y="412"/>
                  </a:cxn>
                  <a:cxn ang="0">
                    <a:pos x="152" y="407"/>
                  </a:cxn>
                  <a:cxn ang="0">
                    <a:pos x="136" y="418"/>
                  </a:cxn>
                  <a:cxn ang="0">
                    <a:pos x="121" y="386"/>
                  </a:cxn>
                  <a:cxn ang="0">
                    <a:pos x="99" y="370"/>
                  </a:cxn>
                  <a:cxn ang="0">
                    <a:pos x="65" y="357"/>
                  </a:cxn>
                  <a:cxn ang="0">
                    <a:pos x="34" y="363"/>
                  </a:cxn>
                  <a:cxn ang="0">
                    <a:pos x="43" y="316"/>
                  </a:cxn>
                  <a:cxn ang="0">
                    <a:pos x="23" y="269"/>
                  </a:cxn>
                  <a:cxn ang="0">
                    <a:pos x="20" y="233"/>
                  </a:cxn>
                  <a:cxn ang="0">
                    <a:pos x="1" y="190"/>
                  </a:cxn>
                  <a:cxn ang="0">
                    <a:pos x="11" y="158"/>
                  </a:cxn>
                  <a:cxn ang="0">
                    <a:pos x="4" y="111"/>
                  </a:cxn>
                  <a:cxn ang="0">
                    <a:pos x="21" y="105"/>
                  </a:cxn>
                  <a:cxn ang="0">
                    <a:pos x="16" y="86"/>
                  </a:cxn>
                  <a:cxn ang="0">
                    <a:pos x="38" y="74"/>
                  </a:cxn>
                  <a:cxn ang="0">
                    <a:pos x="102" y="53"/>
                  </a:cxn>
                  <a:cxn ang="0">
                    <a:pos x="172" y="9"/>
                  </a:cxn>
                  <a:cxn ang="0">
                    <a:pos x="239" y="3"/>
                  </a:cxn>
                  <a:cxn ang="0">
                    <a:pos x="254" y="21"/>
                  </a:cxn>
                  <a:cxn ang="0">
                    <a:pos x="250" y="50"/>
                  </a:cxn>
                  <a:cxn ang="0">
                    <a:pos x="262" y="45"/>
                  </a:cxn>
                  <a:cxn ang="0">
                    <a:pos x="290" y="42"/>
                  </a:cxn>
                  <a:cxn ang="0">
                    <a:pos x="378" y="52"/>
                  </a:cxn>
                  <a:cxn ang="0">
                    <a:pos x="477" y="42"/>
                  </a:cxn>
                  <a:cxn ang="0">
                    <a:pos x="515" y="74"/>
                  </a:cxn>
                  <a:cxn ang="0">
                    <a:pos x="534" y="163"/>
                  </a:cxn>
                  <a:cxn ang="0">
                    <a:pos x="522" y="212"/>
                  </a:cxn>
                  <a:cxn ang="0">
                    <a:pos x="502" y="245"/>
                  </a:cxn>
                </a:cxnLst>
                <a:rect l="0" t="0" r="r" b="b"/>
                <a:pathLst>
                  <a:path w="545" h="511">
                    <a:moveTo>
                      <a:pt x="513" y="298"/>
                    </a:moveTo>
                    <a:lnTo>
                      <a:pt x="520" y="311"/>
                    </a:lnTo>
                    <a:lnTo>
                      <a:pt x="521" y="323"/>
                    </a:lnTo>
                    <a:lnTo>
                      <a:pt x="528" y="342"/>
                    </a:lnTo>
                    <a:lnTo>
                      <a:pt x="529" y="346"/>
                    </a:lnTo>
                    <a:lnTo>
                      <a:pt x="540" y="357"/>
                    </a:lnTo>
                    <a:lnTo>
                      <a:pt x="539" y="368"/>
                    </a:lnTo>
                    <a:lnTo>
                      <a:pt x="545" y="382"/>
                    </a:lnTo>
                    <a:lnTo>
                      <a:pt x="540" y="397"/>
                    </a:lnTo>
                    <a:lnTo>
                      <a:pt x="522" y="412"/>
                    </a:lnTo>
                    <a:lnTo>
                      <a:pt x="502" y="425"/>
                    </a:lnTo>
                    <a:lnTo>
                      <a:pt x="488" y="444"/>
                    </a:lnTo>
                    <a:lnTo>
                      <a:pt x="470" y="482"/>
                    </a:lnTo>
                    <a:lnTo>
                      <a:pt x="468" y="497"/>
                    </a:lnTo>
                    <a:lnTo>
                      <a:pt x="470" y="509"/>
                    </a:lnTo>
                    <a:lnTo>
                      <a:pt x="461" y="511"/>
                    </a:lnTo>
                    <a:lnTo>
                      <a:pt x="456" y="510"/>
                    </a:lnTo>
                    <a:lnTo>
                      <a:pt x="446" y="506"/>
                    </a:lnTo>
                    <a:lnTo>
                      <a:pt x="435" y="498"/>
                    </a:lnTo>
                    <a:lnTo>
                      <a:pt x="426" y="491"/>
                    </a:lnTo>
                    <a:lnTo>
                      <a:pt x="416" y="483"/>
                    </a:lnTo>
                    <a:lnTo>
                      <a:pt x="403" y="482"/>
                    </a:lnTo>
                    <a:lnTo>
                      <a:pt x="391" y="483"/>
                    </a:lnTo>
                    <a:lnTo>
                      <a:pt x="379" y="488"/>
                    </a:lnTo>
                    <a:lnTo>
                      <a:pt x="372" y="494"/>
                    </a:lnTo>
                    <a:lnTo>
                      <a:pt x="362" y="487"/>
                    </a:lnTo>
                    <a:lnTo>
                      <a:pt x="343" y="487"/>
                    </a:lnTo>
                    <a:lnTo>
                      <a:pt x="334" y="495"/>
                    </a:lnTo>
                    <a:lnTo>
                      <a:pt x="324" y="500"/>
                    </a:lnTo>
                    <a:lnTo>
                      <a:pt x="317" y="498"/>
                    </a:lnTo>
                    <a:lnTo>
                      <a:pt x="309" y="489"/>
                    </a:lnTo>
                    <a:lnTo>
                      <a:pt x="300" y="479"/>
                    </a:lnTo>
                    <a:lnTo>
                      <a:pt x="291" y="473"/>
                    </a:lnTo>
                    <a:lnTo>
                      <a:pt x="281" y="478"/>
                    </a:lnTo>
                    <a:lnTo>
                      <a:pt x="270" y="481"/>
                    </a:lnTo>
                    <a:lnTo>
                      <a:pt x="259" y="475"/>
                    </a:lnTo>
                    <a:lnTo>
                      <a:pt x="241" y="466"/>
                    </a:lnTo>
                    <a:lnTo>
                      <a:pt x="221" y="438"/>
                    </a:lnTo>
                    <a:lnTo>
                      <a:pt x="212" y="433"/>
                    </a:lnTo>
                    <a:lnTo>
                      <a:pt x="207" y="435"/>
                    </a:lnTo>
                    <a:lnTo>
                      <a:pt x="198" y="428"/>
                    </a:lnTo>
                    <a:lnTo>
                      <a:pt x="198" y="412"/>
                    </a:lnTo>
                    <a:lnTo>
                      <a:pt x="178" y="409"/>
                    </a:lnTo>
                    <a:lnTo>
                      <a:pt x="153" y="401"/>
                    </a:lnTo>
                    <a:lnTo>
                      <a:pt x="152" y="407"/>
                    </a:lnTo>
                    <a:lnTo>
                      <a:pt x="155" y="413"/>
                    </a:lnTo>
                    <a:lnTo>
                      <a:pt x="144" y="421"/>
                    </a:lnTo>
                    <a:lnTo>
                      <a:pt x="136" y="418"/>
                    </a:lnTo>
                    <a:lnTo>
                      <a:pt x="117" y="400"/>
                    </a:lnTo>
                    <a:lnTo>
                      <a:pt x="121" y="389"/>
                    </a:lnTo>
                    <a:lnTo>
                      <a:pt x="121" y="386"/>
                    </a:lnTo>
                    <a:lnTo>
                      <a:pt x="120" y="384"/>
                    </a:lnTo>
                    <a:lnTo>
                      <a:pt x="109" y="382"/>
                    </a:lnTo>
                    <a:lnTo>
                      <a:pt x="99" y="370"/>
                    </a:lnTo>
                    <a:lnTo>
                      <a:pt x="79" y="365"/>
                    </a:lnTo>
                    <a:lnTo>
                      <a:pt x="71" y="366"/>
                    </a:lnTo>
                    <a:lnTo>
                      <a:pt x="65" y="357"/>
                    </a:lnTo>
                    <a:lnTo>
                      <a:pt x="55" y="352"/>
                    </a:lnTo>
                    <a:lnTo>
                      <a:pt x="40" y="366"/>
                    </a:lnTo>
                    <a:lnTo>
                      <a:pt x="34" y="363"/>
                    </a:lnTo>
                    <a:lnTo>
                      <a:pt x="38" y="354"/>
                    </a:lnTo>
                    <a:lnTo>
                      <a:pt x="42" y="337"/>
                    </a:lnTo>
                    <a:lnTo>
                      <a:pt x="43" y="316"/>
                    </a:lnTo>
                    <a:lnTo>
                      <a:pt x="42" y="312"/>
                    </a:lnTo>
                    <a:lnTo>
                      <a:pt x="26" y="293"/>
                    </a:lnTo>
                    <a:lnTo>
                      <a:pt x="23" y="269"/>
                    </a:lnTo>
                    <a:lnTo>
                      <a:pt x="23" y="258"/>
                    </a:lnTo>
                    <a:lnTo>
                      <a:pt x="22" y="242"/>
                    </a:lnTo>
                    <a:lnTo>
                      <a:pt x="20" y="233"/>
                    </a:lnTo>
                    <a:lnTo>
                      <a:pt x="17" y="209"/>
                    </a:lnTo>
                    <a:lnTo>
                      <a:pt x="16" y="201"/>
                    </a:lnTo>
                    <a:lnTo>
                      <a:pt x="1" y="190"/>
                    </a:lnTo>
                    <a:lnTo>
                      <a:pt x="0" y="182"/>
                    </a:lnTo>
                    <a:lnTo>
                      <a:pt x="5" y="170"/>
                    </a:lnTo>
                    <a:lnTo>
                      <a:pt x="11" y="158"/>
                    </a:lnTo>
                    <a:lnTo>
                      <a:pt x="12" y="145"/>
                    </a:lnTo>
                    <a:lnTo>
                      <a:pt x="12" y="128"/>
                    </a:lnTo>
                    <a:lnTo>
                      <a:pt x="4" y="111"/>
                    </a:lnTo>
                    <a:lnTo>
                      <a:pt x="1" y="102"/>
                    </a:lnTo>
                    <a:lnTo>
                      <a:pt x="18" y="110"/>
                    </a:lnTo>
                    <a:lnTo>
                      <a:pt x="21" y="105"/>
                    </a:lnTo>
                    <a:lnTo>
                      <a:pt x="21" y="96"/>
                    </a:lnTo>
                    <a:lnTo>
                      <a:pt x="7" y="93"/>
                    </a:lnTo>
                    <a:lnTo>
                      <a:pt x="16" y="86"/>
                    </a:lnTo>
                    <a:lnTo>
                      <a:pt x="26" y="83"/>
                    </a:lnTo>
                    <a:lnTo>
                      <a:pt x="27" y="86"/>
                    </a:lnTo>
                    <a:lnTo>
                      <a:pt x="38" y="74"/>
                    </a:lnTo>
                    <a:lnTo>
                      <a:pt x="51" y="67"/>
                    </a:lnTo>
                    <a:lnTo>
                      <a:pt x="70" y="63"/>
                    </a:lnTo>
                    <a:lnTo>
                      <a:pt x="102" y="53"/>
                    </a:lnTo>
                    <a:lnTo>
                      <a:pt x="134" y="26"/>
                    </a:lnTo>
                    <a:lnTo>
                      <a:pt x="149" y="21"/>
                    </a:lnTo>
                    <a:lnTo>
                      <a:pt x="172" y="9"/>
                    </a:lnTo>
                    <a:lnTo>
                      <a:pt x="215" y="0"/>
                    </a:lnTo>
                    <a:lnTo>
                      <a:pt x="228" y="0"/>
                    </a:lnTo>
                    <a:lnTo>
                      <a:pt x="239" y="3"/>
                    </a:lnTo>
                    <a:lnTo>
                      <a:pt x="248" y="7"/>
                    </a:lnTo>
                    <a:lnTo>
                      <a:pt x="255" y="15"/>
                    </a:lnTo>
                    <a:lnTo>
                      <a:pt x="254" y="21"/>
                    </a:lnTo>
                    <a:lnTo>
                      <a:pt x="236" y="10"/>
                    </a:lnTo>
                    <a:lnTo>
                      <a:pt x="237" y="16"/>
                    </a:lnTo>
                    <a:lnTo>
                      <a:pt x="250" y="50"/>
                    </a:lnTo>
                    <a:lnTo>
                      <a:pt x="257" y="52"/>
                    </a:lnTo>
                    <a:lnTo>
                      <a:pt x="258" y="48"/>
                    </a:lnTo>
                    <a:lnTo>
                      <a:pt x="262" y="45"/>
                    </a:lnTo>
                    <a:lnTo>
                      <a:pt x="266" y="48"/>
                    </a:lnTo>
                    <a:lnTo>
                      <a:pt x="276" y="45"/>
                    </a:lnTo>
                    <a:lnTo>
                      <a:pt x="290" y="42"/>
                    </a:lnTo>
                    <a:lnTo>
                      <a:pt x="300" y="36"/>
                    </a:lnTo>
                    <a:lnTo>
                      <a:pt x="314" y="41"/>
                    </a:lnTo>
                    <a:lnTo>
                      <a:pt x="378" y="52"/>
                    </a:lnTo>
                    <a:lnTo>
                      <a:pt x="426" y="51"/>
                    </a:lnTo>
                    <a:lnTo>
                      <a:pt x="453" y="45"/>
                    </a:lnTo>
                    <a:lnTo>
                      <a:pt x="477" y="42"/>
                    </a:lnTo>
                    <a:lnTo>
                      <a:pt x="491" y="50"/>
                    </a:lnTo>
                    <a:lnTo>
                      <a:pt x="510" y="63"/>
                    </a:lnTo>
                    <a:lnTo>
                      <a:pt x="515" y="74"/>
                    </a:lnTo>
                    <a:lnTo>
                      <a:pt x="515" y="81"/>
                    </a:lnTo>
                    <a:lnTo>
                      <a:pt x="516" y="91"/>
                    </a:lnTo>
                    <a:lnTo>
                      <a:pt x="534" y="163"/>
                    </a:lnTo>
                    <a:lnTo>
                      <a:pt x="534" y="179"/>
                    </a:lnTo>
                    <a:lnTo>
                      <a:pt x="533" y="196"/>
                    </a:lnTo>
                    <a:lnTo>
                      <a:pt x="522" y="212"/>
                    </a:lnTo>
                    <a:lnTo>
                      <a:pt x="507" y="220"/>
                    </a:lnTo>
                    <a:lnTo>
                      <a:pt x="496" y="234"/>
                    </a:lnTo>
                    <a:lnTo>
                      <a:pt x="502" y="245"/>
                    </a:lnTo>
                    <a:lnTo>
                      <a:pt x="517" y="257"/>
                    </a:lnTo>
                    <a:lnTo>
                      <a:pt x="513" y="29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93" name="Freeform 206"/>
              <p:cNvSpPr>
                <a:spLocks noChangeAspect="1"/>
              </p:cNvSpPr>
              <p:nvPr/>
            </p:nvSpPr>
            <p:spPr bwMode="gray">
              <a:xfrm>
                <a:off x="5123656" y="2449860"/>
                <a:ext cx="128588" cy="76200"/>
              </a:xfrm>
              <a:custGeom>
                <a:avLst/>
                <a:gdLst/>
                <a:ahLst/>
                <a:cxnLst>
                  <a:cxn ang="0">
                    <a:pos x="0" y="184"/>
                  </a:cxn>
                  <a:cxn ang="0">
                    <a:pos x="12" y="118"/>
                  </a:cxn>
                  <a:cxn ang="0">
                    <a:pos x="24" y="93"/>
                  </a:cxn>
                  <a:cxn ang="0">
                    <a:pos x="33" y="64"/>
                  </a:cxn>
                  <a:cxn ang="0">
                    <a:pos x="51" y="44"/>
                  </a:cxn>
                  <a:cxn ang="0">
                    <a:pos x="86" y="33"/>
                  </a:cxn>
                  <a:cxn ang="0">
                    <a:pos x="113" y="68"/>
                  </a:cxn>
                  <a:cxn ang="0">
                    <a:pos x="119" y="86"/>
                  </a:cxn>
                  <a:cxn ang="0">
                    <a:pos x="125" y="92"/>
                  </a:cxn>
                  <a:cxn ang="0">
                    <a:pos x="147" y="108"/>
                  </a:cxn>
                  <a:cxn ang="0">
                    <a:pos x="169" y="102"/>
                  </a:cxn>
                  <a:cxn ang="0">
                    <a:pos x="174" y="113"/>
                  </a:cxn>
                  <a:cxn ang="0">
                    <a:pos x="181" y="92"/>
                  </a:cxn>
                  <a:cxn ang="0">
                    <a:pos x="185" y="21"/>
                  </a:cxn>
                  <a:cxn ang="0">
                    <a:pos x="200" y="14"/>
                  </a:cxn>
                  <a:cxn ang="0">
                    <a:pos x="239" y="0"/>
                  </a:cxn>
                  <a:cxn ang="0">
                    <a:pos x="269" y="15"/>
                  </a:cxn>
                  <a:cxn ang="0">
                    <a:pos x="288" y="30"/>
                  </a:cxn>
                  <a:cxn ang="0">
                    <a:pos x="318" y="49"/>
                  </a:cxn>
                  <a:cxn ang="0">
                    <a:pos x="341" y="44"/>
                  </a:cxn>
                  <a:cxn ang="0">
                    <a:pos x="359" y="49"/>
                  </a:cxn>
                  <a:cxn ang="0">
                    <a:pos x="368" y="63"/>
                  </a:cxn>
                  <a:cxn ang="0">
                    <a:pos x="379" y="74"/>
                  </a:cxn>
                  <a:cxn ang="0">
                    <a:pos x="375" y="106"/>
                  </a:cxn>
                  <a:cxn ang="0">
                    <a:pos x="380" y="116"/>
                  </a:cxn>
                  <a:cxn ang="0">
                    <a:pos x="387" y="128"/>
                  </a:cxn>
                  <a:cxn ang="0">
                    <a:pos x="402" y="159"/>
                  </a:cxn>
                  <a:cxn ang="0">
                    <a:pos x="406" y="182"/>
                  </a:cxn>
                  <a:cxn ang="0">
                    <a:pos x="395" y="190"/>
                  </a:cxn>
                  <a:cxn ang="0">
                    <a:pos x="375" y="206"/>
                  </a:cxn>
                  <a:cxn ang="0">
                    <a:pos x="363" y="227"/>
                  </a:cxn>
                  <a:cxn ang="0">
                    <a:pos x="340" y="222"/>
                  </a:cxn>
                  <a:cxn ang="0">
                    <a:pos x="331" y="236"/>
                  </a:cxn>
                  <a:cxn ang="0">
                    <a:pos x="316" y="238"/>
                  </a:cxn>
                  <a:cxn ang="0">
                    <a:pos x="303" y="231"/>
                  </a:cxn>
                  <a:cxn ang="0">
                    <a:pos x="258" y="189"/>
                  </a:cxn>
                  <a:cxn ang="0">
                    <a:pos x="234" y="188"/>
                  </a:cxn>
                  <a:cxn ang="0">
                    <a:pos x="218" y="160"/>
                  </a:cxn>
                  <a:cxn ang="0">
                    <a:pos x="200" y="173"/>
                  </a:cxn>
                  <a:cxn ang="0">
                    <a:pos x="153" y="166"/>
                  </a:cxn>
                  <a:cxn ang="0">
                    <a:pos x="129" y="163"/>
                  </a:cxn>
                  <a:cxn ang="0">
                    <a:pos x="114" y="163"/>
                  </a:cxn>
                  <a:cxn ang="0">
                    <a:pos x="98" y="167"/>
                  </a:cxn>
                  <a:cxn ang="0">
                    <a:pos x="83" y="162"/>
                  </a:cxn>
                  <a:cxn ang="0">
                    <a:pos x="44" y="171"/>
                  </a:cxn>
                  <a:cxn ang="0">
                    <a:pos x="20" y="193"/>
                  </a:cxn>
                  <a:cxn ang="0">
                    <a:pos x="3" y="195"/>
                  </a:cxn>
                </a:cxnLst>
                <a:rect l="0" t="0" r="r" b="b"/>
                <a:pathLst>
                  <a:path w="406" h="240">
                    <a:moveTo>
                      <a:pt x="3" y="195"/>
                    </a:moveTo>
                    <a:lnTo>
                      <a:pt x="0" y="184"/>
                    </a:lnTo>
                    <a:lnTo>
                      <a:pt x="4" y="134"/>
                    </a:lnTo>
                    <a:lnTo>
                      <a:pt x="12" y="118"/>
                    </a:lnTo>
                    <a:lnTo>
                      <a:pt x="20" y="107"/>
                    </a:lnTo>
                    <a:lnTo>
                      <a:pt x="24" y="93"/>
                    </a:lnTo>
                    <a:lnTo>
                      <a:pt x="27" y="77"/>
                    </a:lnTo>
                    <a:lnTo>
                      <a:pt x="33" y="64"/>
                    </a:lnTo>
                    <a:lnTo>
                      <a:pt x="43" y="52"/>
                    </a:lnTo>
                    <a:lnTo>
                      <a:pt x="51" y="44"/>
                    </a:lnTo>
                    <a:lnTo>
                      <a:pt x="63" y="42"/>
                    </a:lnTo>
                    <a:lnTo>
                      <a:pt x="86" y="33"/>
                    </a:lnTo>
                    <a:lnTo>
                      <a:pt x="94" y="47"/>
                    </a:lnTo>
                    <a:lnTo>
                      <a:pt x="113" y="68"/>
                    </a:lnTo>
                    <a:lnTo>
                      <a:pt x="115" y="79"/>
                    </a:lnTo>
                    <a:lnTo>
                      <a:pt x="119" y="86"/>
                    </a:lnTo>
                    <a:lnTo>
                      <a:pt x="120" y="75"/>
                    </a:lnTo>
                    <a:lnTo>
                      <a:pt x="125" y="92"/>
                    </a:lnTo>
                    <a:lnTo>
                      <a:pt x="131" y="100"/>
                    </a:lnTo>
                    <a:lnTo>
                      <a:pt x="147" y="108"/>
                    </a:lnTo>
                    <a:lnTo>
                      <a:pt x="153" y="108"/>
                    </a:lnTo>
                    <a:lnTo>
                      <a:pt x="169" y="102"/>
                    </a:lnTo>
                    <a:lnTo>
                      <a:pt x="169" y="107"/>
                    </a:lnTo>
                    <a:lnTo>
                      <a:pt x="174" y="113"/>
                    </a:lnTo>
                    <a:lnTo>
                      <a:pt x="175" y="98"/>
                    </a:lnTo>
                    <a:lnTo>
                      <a:pt x="181" y="92"/>
                    </a:lnTo>
                    <a:lnTo>
                      <a:pt x="185" y="85"/>
                    </a:lnTo>
                    <a:lnTo>
                      <a:pt x="185" y="21"/>
                    </a:lnTo>
                    <a:lnTo>
                      <a:pt x="191" y="15"/>
                    </a:lnTo>
                    <a:lnTo>
                      <a:pt x="200" y="14"/>
                    </a:lnTo>
                    <a:lnTo>
                      <a:pt x="213" y="4"/>
                    </a:lnTo>
                    <a:lnTo>
                      <a:pt x="239" y="0"/>
                    </a:lnTo>
                    <a:lnTo>
                      <a:pt x="255" y="4"/>
                    </a:lnTo>
                    <a:lnTo>
                      <a:pt x="269" y="15"/>
                    </a:lnTo>
                    <a:lnTo>
                      <a:pt x="283" y="20"/>
                    </a:lnTo>
                    <a:lnTo>
                      <a:pt x="288" y="30"/>
                    </a:lnTo>
                    <a:lnTo>
                      <a:pt x="310" y="49"/>
                    </a:lnTo>
                    <a:lnTo>
                      <a:pt x="318" y="49"/>
                    </a:lnTo>
                    <a:lnTo>
                      <a:pt x="326" y="46"/>
                    </a:lnTo>
                    <a:lnTo>
                      <a:pt x="341" y="44"/>
                    </a:lnTo>
                    <a:lnTo>
                      <a:pt x="358" y="48"/>
                    </a:lnTo>
                    <a:lnTo>
                      <a:pt x="359" y="49"/>
                    </a:lnTo>
                    <a:lnTo>
                      <a:pt x="364" y="55"/>
                    </a:lnTo>
                    <a:lnTo>
                      <a:pt x="368" y="63"/>
                    </a:lnTo>
                    <a:lnTo>
                      <a:pt x="375" y="66"/>
                    </a:lnTo>
                    <a:lnTo>
                      <a:pt x="379" y="74"/>
                    </a:lnTo>
                    <a:lnTo>
                      <a:pt x="380" y="82"/>
                    </a:lnTo>
                    <a:lnTo>
                      <a:pt x="375" y="106"/>
                    </a:lnTo>
                    <a:lnTo>
                      <a:pt x="372" y="113"/>
                    </a:lnTo>
                    <a:lnTo>
                      <a:pt x="380" y="116"/>
                    </a:lnTo>
                    <a:lnTo>
                      <a:pt x="387" y="120"/>
                    </a:lnTo>
                    <a:lnTo>
                      <a:pt x="387" y="128"/>
                    </a:lnTo>
                    <a:lnTo>
                      <a:pt x="400" y="150"/>
                    </a:lnTo>
                    <a:lnTo>
                      <a:pt x="402" y="159"/>
                    </a:lnTo>
                    <a:lnTo>
                      <a:pt x="406" y="166"/>
                    </a:lnTo>
                    <a:lnTo>
                      <a:pt x="406" y="182"/>
                    </a:lnTo>
                    <a:lnTo>
                      <a:pt x="405" y="189"/>
                    </a:lnTo>
                    <a:lnTo>
                      <a:pt x="395" y="190"/>
                    </a:lnTo>
                    <a:lnTo>
                      <a:pt x="388" y="194"/>
                    </a:lnTo>
                    <a:lnTo>
                      <a:pt x="375" y="206"/>
                    </a:lnTo>
                    <a:lnTo>
                      <a:pt x="374" y="214"/>
                    </a:lnTo>
                    <a:lnTo>
                      <a:pt x="363" y="227"/>
                    </a:lnTo>
                    <a:lnTo>
                      <a:pt x="356" y="229"/>
                    </a:lnTo>
                    <a:lnTo>
                      <a:pt x="340" y="222"/>
                    </a:lnTo>
                    <a:lnTo>
                      <a:pt x="334" y="227"/>
                    </a:lnTo>
                    <a:lnTo>
                      <a:pt x="331" y="236"/>
                    </a:lnTo>
                    <a:lnTo>
                      <a:pt x="325" y="240"/>
                    </a:lnTo>
                    <a:lnTo>
                      <a:pt x="316" y="238"/>
                    </a:lnTo>
                    <a:lnTo>
                      <a:pt x="310" y="233"/>
                    </a:lnTo>
                    <a:lnTo>
                      <a:pt x="303" y="231"/>
                    </a:lnTo>
                    <a:lnTo>
                      <a:pt x="285" y="208"/>
                    </a:lnTo>
                    <a:lnTo>
                      <a:pt x="258" y="189"/>
                    </a:lnTo>
                    <a:lnTo>
                      <a:pt x="242" y="190"/>
                    </a:lnTo>
                    <a:lnTo>
                      <a:pt x="234" y="188"/>
                    </a:lnTo>
                    <a:lnTo>
                      <a:pt x="224" y="165"/>
                    </a:lnTo>
                    <a:lnTo>
                      <a:pt x="218" y="160"/>
                    </a:lnTo>
                    <a:lnTo>
                      <a:pt x="211" y="162"/>
                    </a:lnTo>
                    <a:lnTo>
                      <a:pt x="200" y="173"/>
                    </a:lnTo>
                    <a:lnTo>
                      <a:pt x="184" y="177"/>
                    </a:lnTo>
                    <a:lnTo>
                      <a:pt x="153" y="166"/>
                    </a:lnTo>
                    <a:lnTo>
                      <a:pt x="146" y="166"/>
                    </a:lnTo>
                    <a:lnTo>
                      <a:pt x="129" y="163"/>
                    </a:lnTo>
                    <a:lnTo>
                      <a:pt x="121" y="166"/>
                    </a:lnTo>
                    <a:lnTo>
                      <a:pt x="114" y="163"/>
                    </a:lnTo>
                    <a:lnTo>
                      <a:pt x="106" y="167"/>
                    </a:lnTo>
                    <a:lnTo>
                      <a:pt x="98" y="167"/>
                    </a:lnTo>
                    <a:lnTo>
                      <a:pt x="92" y="163"/>
                    </a:lnTo>
                    <a:lnTo>
                      <a:pt x="83" y="162"/>
                    </a:lnTo>
                    <a:lnTo>
                      <a:pt x="67" y="163"/>
                    </a:lnTo>
                    <a:lnTo>
                      <a:pt x="44" y="171"/>
                    </a:lnTo>
                    <a:lnTo>
                      <a:pt x="29" y="179"/>
                    </a:lnTo>
                    <a:lnTo>
                      <a:pt x="20" y="193"/>
                    </a:lnTo>
                    <a:lnTo>
                      <a:pt x="13" y="198"/>
                    </a:lnTo>
                    <a:lnTo>
                      <a:pt x="3" y="19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94" name="Freeform 207"/>
              <p:cNvSpPr>
                <a:spLocks noChangeAspect="1"/>
              </p:cNvSpPr>
              <p:nvPr/>
            </p:nvSpPr>
            <p:spPr bwMode="gray">
              <a:xfrm>
                <a:off x="4966494" y="2657822"/>
                <a:ext cx="120650" cy="71438"/>
              </a:xfrm>
              <a:custGeom>
                <a:avLst/>
                <a:gdLst/>
                <a:ahLst/>
                <a:cxnLst>
                  <a:cxn ang="0">
                    <a:pos x="371" y="143"/>
                  </a:cxn>
                  <a:cxn ang="0">
                    <a:pos x="355" y="149"/>
                  </a:cxn>
                  <a:cxn ang="0">
                    <a:pos x="341" y="159"/>
                  </a:cxn>
                  <a:cxn ang="0">
                    <a:pos x="338" y="176"/>
                  </a:cxn>
                  <a:cxn ang="0">
                    <a:pos x="324" y="187"/>
                  </a:cxn>
                  <a:cxn ang="0">
                    <a:pos x="311" y="203"/>
                  </a:cxn>
                  <a:cxn ang="0">
                    <a:pos x="291" y="201"/>
                  </a:cxn>
                  <a:cxn ang="0">
                    <a:pos x="276" y="210"/>
                  </a:cxn>
                  <a:cxn ang="0">
                    <a:pos x="271" y="208"/>
                  </a:cxn>
                  <a:cxn ang="0">
                    <a:pos x="227" y="201"/>
                  </a:cxn>
                  <a:cxn ang="0">
                    <a:pos x="205" y="183"/>
                  </a:cxn>
                  <a:cxn ang="0">
                    <a:pos x="166" y="192"/>
                  </a:cxn>
                  <a:cxn ang="0">
                    <a:pos x="152" y="209"/>
                  </a:cxn>
                  <a:cxn ang="0">
                    <a:pos x="132" y="214"/>
                  </a:cxn>
                  <a:cxn ang="0">
                    <a:pos x="114" y="207"/>
                  </a:cxn>
                  <a:cxn ang="0">
                    <a:pos x="97" y="196"/>
                  </a:cxn>
                  <a:cxn ang="0">
                    <a:pos x="61" y="164"/>
                  </a:cxn>
                  <a:cxn ang="0">
                    <a:pos x="23" y="127"/>
                  </a:cxn>
                  <a:cxn ang="0">
                    <a:pos x="21" y="97"/>
                  </a:cxn>
                  <a:cxn ang="0">
                    <a:pos x="0" y="82"/>
                  </a:cxn>
                  <a:cxn ang="0">
                    <a:pos x="1" y="68"/>
                  </a:cxn>
                  <a:cxn ang="0">
                    <a:pos x="19" y="83"/>
                  </a:cxn>
                  <a:cxn ang="0">
                    <a:pos x="40" y="62"/>
                  </a:cxn>
                  <a:cxn ang="0">
                    <a:pos x="75" y="48"/>
                  </a:cxn>
                  <a:cxn ang="0">
                    <a:pos x="119" y="23"/>
                  </a:cxn>
                  <a:cxn ang="0">
                    <a:pos x="132" y="3"/>
                  </a:cxn>
                  <a:cxn ang="0">
                    <a:pos x="146" y="24"/>
                  </a:cxn>
                  <a:cxn ang="0">
                    <a:pos x="159" y="27"/>
                  </a:cxn>
                  <a:cxn ang="0">
                    <a:pos x="184" y="18"/>
                  </a:cxn>
                  <a:cxn ang="0">
                    <a:pos x="198" y="27"/>
                  </a:cxn>
                  <a:cxn ang="0">
                    <a:pos x="228" y="43"/>
                  </a:cxn>
                  <a:cxn ang="0">
                    <a:pos x="240" y="47"/>
                  </a:cxn>
                  <a:cxn ang="0">
                    <a:pos x="236" y="61"/>
                  </a:cxn>
                  <a:cxn ang="0">
                    <a:pos x="263" y="82"/>
                  </a:cxn>
                  <a:cxn ang="0">
                    <a:pos x="271" y="68"/>
                  </a:cxn>
                  <a:cxn ang="0">
                    <a:pos x="297" y="70"/>
                  </a:cxn>
                  <a:cxn ang="0">
                    <a:pos x="317" y="89"/>
                  </a:cxn>
                  <a:cxn ang="0">
                    <a:pos x="331" y="94"/>
                  </a:cxn>
                  <a:cxn ang="0">
                    <a:pos x="360" y="127"/>
                  </a:cxn>
                </a:cxnLst>
                <a:rect l="0" t="0" r="r" b="b"/>
                <a:pathLst>
                  <a:path w="378" h="221">
                    <a:moveTo>
                      <a:pt x="378" y="136"/>
                    </a:moveTo>
                    <a:lnTo>
                      <a:pt x="371" y="143"/>
                    </a:lnTo>
                    <a:lnTo>
                      <a:pt x="360" y="142"/>
                    </a:lnTo>
                    <a:lnTo>
                      <a:pt x="355" y="149"/>
                    </a:lnTo>
                    <a:lnTo>
                      <a:pt x="350" y="156"/>
                    </a:lnTo>
                    <a:lnTo>
                      <a:pt x="341" y="159"/>
                    </a:lnTo>
                    <a:lnTo>
                      <a:pt x="339" y="164"/>
                    </a:lnTo>
                    <a:lnTo>
                      <a:pt x="338" y="176"/>
                    </a:lnTo>
                    <a:lnTo>
                      <a:pt x="333" y="185"/>
                    </a:lnTo>
                    <a:lnTo>
                      <a:pt x="324" y="187"/>
                    </a:lnTo>
                    <a:lnTo>
                      <a:pt x="324" y="193"/>
                    </a:lnTo>
                    <a:lnTo>
                      <a:pt x="311" y="203"/>
                    </a:lnTo>
                    <a:lnTo>
                      <a:pt x="296" y="206"/>
                    </a:lnTo>
                    <a:lnTo>
                      <a:pt x="291" y="201"/>
                    </a:lnTo>
                    <a:lnTo>
                      <a:pt x="283" y="201"/>
                    </a:lnTo>
                    <a:lnTo>
                      <a:pt x="276" y="210"/>
                    </a:lnTo>
                    <a:lnTo>
                      <a:pt x="271" y="222"/>
                    </a:lnTo>
                    <a:lnTo>
                      <a:pt x="271" y="208"/>
                    </a:lnTo>
                    <a:lnTo>
                      <a:pt x="263" y="197"/>
                    </a:lnTo>
                    <a:lnTo>
                      <a:pt x="227" y="201"/>
                    </a:lnTo>
                    <a:lnTo>
                      <a:pt x="213" y="188"/>
                    </a:lnTo>
                    <a:lnTo>
                      <a:pt x="205" y="183"/>
                    </a:lnTo>
                    <a:lnTo>
                      <a:pt x="172" y="182"/>
                    </a:lnTo>
                    <a:lnTo>
                      <a:pt x="166" y="192"/>
                    </a:lnTo>
                    <a:lnTo>
                      <a:pt x="162" y="201"/>
                    </a:lnTo>
                    <a:lnTo>
                      <a:pt x="152" y="209"/>
                    </a:lnTo>
                    <a:lnTo>
                      <a:pt x="143" y="213"/>
                    </a:lnTo>
                    <a:lnTo>
                      <a:pt x="132" y="214"/>
                    </a:lnTo>
                    <a:lnTo>
                      <a:pt x="121" y="213"/>
                    </a:lnTo>
                    <a:lnTo>
                      <a:pt x="114" y="207"/>
                    </a:lnTo>
                    <a:lnTo>
                      <a:pt x="100" y="202"/>
                    </a:lnTo>
                    <a:lnTo>
                      <a:pt x="97" y="196"/>
                    </a:lnTo>
                    <a:lnTo>
                      <a:pt x="71" y="176"/>
                    </a:lnTo>
                    <a:lnTo>
                      <a:pt x="61" y="164"/>
                    </a:lnTo>
                    <a:lnTo>
                      <a:pt x="33" y="140"/>
                    </a:lnTo>
                    <a:lnTo>
                      <a:pt x="23" y="127"/>
                    </a:lnTo>
                    <a:lnTo>
                      <a:pt x="23" y="110"/>
                    </a:lnTo>
                    <a:lnTo>
                      <a:pt x="21" y="97"/>
                    </a:lnTo>
                    <a:lnTo>
                      <a:pt x="8" y="91"/>
                    </a:lnTo>
                    <a:lnTo>
                      <a:pt x="0" y="82"/>
                    </a:lnTo>
                    <a:lnTo>
                      <a:pt x="0" y="73"/>
                    </a:lnTo>
                    <a:lnTo>
                      <a:pt x="1" y="68"/>
                    </a:lnTo>
                    <a:lnTo>
                      <a:pt x="17" y="83"/>
                    </a:lnTo>
                    <a:lnTo>
                      <a:pt x="19" y="83"/>
                    </a:lnTo>
                    <a:lnTo>
                      <a:pt x="24" y="69"/>
                    </a:lnTo>
                    <a:lnTo>
                      <a:pt x="40" y="62"/>
                    </a:lnTo>
                    <a:lnTo>
                      <a:pt x="57" y="57"/>
                    </a:lnTo>
                    <a:lnTo>
                      <a:pt x="75" y="48"/>
                    </a:lnTo>
                    <a:lnTo>
                      <a:pt x="81" y="36"/>
                    </a:lnTo>
                    <a:lnTo>
                      <a:pt x="119" y="23"/>
                    </a:lnTo>
                    <a:lnTo>
                      <a:pt x="123" y="0"/>
                    </a:lnTo>
                    <a:lnTo>
                      <a:pt x="132" y="3"/>
                    </a:lnTo>
                    <a:lnTo>
                      <a:pt x="140" y="15"/>
                    </a:lnTo>
                    <a:lnTo>
                      <a:pt x="146" y="24"/>
                    </a:lnTo>
                    <a:lnTo>
                      <a:pt x="153" y="24"/>
                    </a:lnTo>
                    <a:lnTo>
                      <a:pt x="159" y="27"/>
                    </a:lnTo>
                    <a:lnTo>
                      <a:pt x="174" y="13"/>
                    </a:lnTo>
                    <a:lnTo>
                      <a:pt x="184" y="18"/>
                    </a:lnTo>
                    <a:lnTo>
                      <a:pt x="190" y="27"/>
                    </a:lnTo>
                    <a:lnTo>
                      <a:pt x="198" y="27"/>
                    </a:lnTo>
                    <a:lnTo>
                      <a:pt x="218" y="31"/>
                    </a:lnTo>
                    <a:lnTo>
                      <a:pt x="228" y="43"/>
                    </a:lnTo>
                    <a:lnTo>
                      <a:pt x="239" y="45"/>
                    </a:lnTo>
                    <a:lnTo>
                      <a:pt x="240" y="47"/>
                    </a:lnTo>
                    <a:lnTo>
                      <a:pt x="240" y="50"/>
                    </a:lnTo>
                    <a:lnTo>
                      <a:pt x="236" y="61"/>
                    </a:lnTo>
                    <a:lnTo>
                      <a:pt x="255" y="79"/>
                    </a:lnTo>
                    <a:lnTo>
                      <a:pt x="263" y="82"/>
                    </a:lnTo>
                    <a:lnTo>
                      <a:pt x="274" y="74"/>
                    </a:lnTo>
                    <a:lnTo>
                      <a:pt x="271" y="68"/>
                    </a:lnTo>
                    <a:lnTo>
                      <a:pt x="272" y="62"/>
                    </a:lnTo>
                    <a:lnTo>
                      <a:pt x="297" y="70"/>
                    </a:lnTo>
                    <a:lnTo>
                      <a:pt x="317" y="73"/>
                    </a:lnTo>
                    <a:lnTo>
                      <a:pt x="317" y="89"/>
                    </a:lnTo>
                    <a:lnTo>
                      <a:pt x="326" y="96"/>
                    </a:lnTo>
                    <a:lnTo>
                      <a:pt x="331" y="94"/>
                    </a:lnTo>
                    <a:lnTo>
                      <a:pt x="340" y="99"/>
                    </a:lnTo>
                    <a:lnTo>
                      <a:pt x="360" y="127"/>
                    </a:lnTo>
                    <a:lnTo>
                      <a:pt x="378" y="13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95" name="Freeform 208"/>
              <p:cNvSpPr>
                <a:spLocks noChangeAspect="1"/>
              </p:cNvSpPr>
              <p:nvPr/>
            </p:nvSpPr>
            <p:spPr bwMode="gray">
              <a:xfrm>
                <a:off x="5149056" y="2837210"/>
                <a:ext cx="109538" cy="68263"/>
              </a:xfrm>
              <a:custGeom>
                <a:avLst/>
                <a:gdLst/>
                <a:ahLst/>
                <a:cxnLst>
                  <a:cxn ang="0">
                    <a:pos x="32" y="208"/>
                  </a:cxn>
                  <a:cxn ang="0">
                    <a:pos x="31" y="192"/>
                  </a:cxn>
                  <a:cxn ang="0">
                    <a:pos x="26" y="163"/>
                  </a:cxn>
                  <a:cxn ang="0">
                    <a:pos x="3" y="143"/>
                  </a:cxn>
                  <a:cxn ang="0">
                    <a:pos x="3" y="118"/>
                  </a:cxn>
                  <a:cxn ang="0">
                    <a:pos x="15" y="94"/>
                  </a:cxn>
                  <a:cxn ang="0">
                    <a:pos x="26" y="82"/>
                  </a:cxn>
                  <a:cxn ang="0">
                    <a:pos x="11" y="66"/>
                  </a:cxn>
                  <a:cxn ang="0">
                    <a:pos x="3" y="51"/>
                  </a:cxn>
                  <a:cxn ang="0">
                    <a:pos x="0" y="29"/>
                  </a:cxn>
                  <a:cxn ang="0">
                    <a:pos x="3" y="8"/>
                  </a:cxn>
                  <a:cxn ang="0">
                    <a:pos x="20" y="0"/>
                  </a:cxn>
                  <a:cxn ang="0">
                    <a:pos x="32" y="4"/>
                  </a:cxn>
                  <a:cxn ang="0">
                    <a:pos x="26" y="19"/>
                  </a:cxn>
                  <a:cxn ang="0">
                    <a:pos x="37" y="27"/>
                  </a:cxn>
                  <a:cxn ang="0">
                    <a:pos x="51" y="27"/>
                  </a:cxn>
                  <a:cxn ang="0">
                    <a:pos x="85" y="31"/>
                  </a:cxn>
                  <a:cxn ang="0">
                    <a:pos x="126" y="32"/>
                  </a:cxn>
                  <a:cxn ang="0">
                    <a:pos x="170" y="40"/>
                  </a:cxn>
                  <a:cxn ang="0">
                    <a:pos x="187" y="35"/>
                  </a:cxn>
                  <a:cxn ang="0">
                    <a:pos x="206" y="23"/>
                  </a:cxn>
                  <a:cxn ang="0">
                    <a:pos x="226" y="13"/>
                  </a:cxn>
                  <a:cxn ang="0">
                    <a:pos x="252" y="4"/>
                  </a:cxn>
                  <a:cxn ang="0">
                    <a:pos x="272" y="5"/>
                  </a:cxn>
                  <a:cxn ang="0">
                    <a:pos x="278" y="10"/>
                  </a:cxn>
                  <a:cxn ang="0">
                    <a:pos x="308" y="19"/>
                  </a:cxn>
                  <a:cxn ang="0">
                    <a:pos x="328" y="32"/>
                  </a:cxn>
                  <a:cxn ang="0">
                    <a:pos x="346" y="31"/>
                  </a:cxn>
                  <a:cxn ang="0">
                    <a:pos x="343" y="47"/>
                  </a:cxn>
                  <a:cxn ang="0">
                    <a:pos x="338" y="58"/>
                  </a:cxn>
                  <a:cxn ang="0">
                    <a:pos x="319" y="63"/>
                  </a:cxn>
                  <a:cxn ang="0">
                    <a:pos x="306" y="78"/>
                  </a:cxn>
                  <a:cxn ang="0">
                    <a:pos x="306" y="107"/>
                  </a:cxn>
                  <a:cxn ang="0">
                    <a:pos x="298" y="110"/>
                  </a:cxn>
                  <a:cxn ang="0">
                    <a:pos x="295" y="116"/>
                  </a:cxn>
                  <a:cxn ang="0">
                    <a:pos x="284" y="126"/>
                  </a:cxn>
                  <a:cxn ang="0">
                    <a:pos x="287" y="129"/>
                  </a:cxn>
                  <a:cxn ang="0">
                    <a:pos x="292" y="131"/>
                  </a:cxn>
                  <a:cxn ang="0">
                    <a:pos x="296" y="138"/>
                  </a:cxn>
                  <a:cxn ang="0">
                    <a:pos x="299" y="148"/>
                  </a:cxn>
                  <a:cxn ang="0">
                    <a:pos x="310" y="163"/>
                  </a:cxn>
                  <a:cxn ang="0">
                    <a:pos x="311" y="169"/>
                  </a:cxn>
                  <a:cxn ang="0">
                    <a:pos x="303" y="167"/>
                  </a:cxn>
                  <a:cxn ang="0">
                    <a:pos x="280" y="171"/>
                  </a:cxn>
                  <a:cxn ang="0">
                    <a:pos x="262" y="161"/>
                  </a:cxn>
                  <a:cxn ang="0">
                    <a:pos x="242" y="169"/>
                  </a:cxn>
                  <a:cxn ang="0">
                    <a:pos x="228" y="171"/>
                  </a:cxn>
                  <a:cxn ang="0">
                    <a:pos x="219" y="179"/>
                  </a:cxn>
                  <a:cxn ang="0">
                    <a:pos x="208" y="180"/>
                  </a:cxn>
                  <a:cxn ang="0">
                    <a:pos x="206" y="199"/>
                  </a:cxn>
                  <a:cxn ang="0">
                    <a:pos x="192" y="212"/>
                  </a:cxn>
                  <a:cxn ang="0">
                    <a:pos x="172" y="215"/>
                  </a:cxn>
                  <a:cxn ang="0">
                    <a:pos x="137" y="203"/>
                  </a:cxn>
                  <a:cxn ang="0">
                    <a:pos x="127" y="195"/>
                  </a:cxn>
                  <a:cxn ang="0">
                    <a:pos x="115" y="195"/>
                  </a:cxn>
                  <a:cxn ang="0">
                    <a:pos x="84" y="204"/>
                  </a:cxn>
                  <a:cxn ang="0">
                    <a:pos x="62" y="204"/>
                  </a:cxn>
                  <a:cxn ang="0">
                    <a:pos x="45" y="208"/>
                  </a:cxn>
                  <a:cxn ang="0">
                    <a:pos x="32" y="208"/>
                  </a:cxn>
                </a:cxnLst>
                <a:rect l="0" t="0" r="r" b="b"/>
                <a:pathLst>
                  <a:path w="346" h="215">
                    <a:moveTo>
                      <a:pt x="32" y="208"/>
                    </a:moveTo>
                    <a:lnTo>
                      <a:pt x="31" y="192"/>
                    </a:lnTo>
                    <a:lnTo>
                      <a:pt x="26" y="163"/>
                    </a:lnTo>
                    <a:lnTo>
                      <a:pt x="3" y="143"/>
                    </a:lnTo>
                    <a:lnTo>
                      <a:pt x="3" y="118"/>
                    </a:lnTo>
                    <a:lnTo>
                      <a:pt x="15" y="94"/>
                    </a:lnTo>
                    <a:lnTo>
                      <a:pt x="26" y="82"/>
                    </a:lnTo>
                    <a:lnTo>
                      <a:pt x="11" y="66"/>
                    </a:lnTo>
                    <a:lnTo>
                      <a:pt x="3" y="51"/>
                    </a:lnTo>
                    <a:lnTo>
                      <a:pt x="0" y="29"/>
                    </a:lnTo>
                    <a:lnTo>
                      <a:pt x="3" y="8"/>
                    </a:lnTo>
                    <a:lnTo>
                      <a:pt x="20" y="0"/>
                    </a:lnTo>
                    <a:lnTo>
                      <a:pt x="32" y="4"/>
                    </a:lnTo>
                    <a:lnTo>
                      <a:pt x="26" y="19"/>
                    </a:lnTo>
                    <a:lnTo>
                      <a:pt x="37" y="27"/>
                    </a:lnTo>
                    <a:lnTo>
                      <a:pt x="51" y="27"/>
                    </a:lnTo>
                    <a:lnTo>
                      <a:pt x="85" y="31"/>
                    </a:lnTo>
                    <a:lnTo>
                      <a:pt x="126" y="32"/>
                    </a:lnTo>
                    <a:lnTo>
                      <a:pt x="170" y="40"/>
                    </a:lnTo>
                    <a:lnTo>
                      <a:pt x="187" y="35"/>
                    </a:lnTo>
                    <a:lnTo>
                      <a:pt x="206" y="23"/>
                    </a:lnTo>
                    <a:lnTo>
                      <a:pt x="226" y="13"/>
                    </a:lnTo>
                    <a:lnTo>
                      <a:pt x="252" y="4"/>
                    </a:lnTo>
                    <a:lnTo>
                      <a:pt x="272" y="5"/>
                    </a:lnTo>
                    <a:lnTo>
                      <a:pt x="278" y="10"/>
                    </a:lnTo>
                    <a:lnTo>
                      <a:pt x="308" y="19"/>
                    </a:lnTo>
                    <a:lnTo>
                      <a:pt x="328" y="32"/>
                    </a:lnTo>
                    <a:lnTo>
                      <a:pt x="346" y="31"/>
                    </a:lnTo>
                    <a:lnTo>
                      <a:pt x="343" y="47"/>
                    </a:lnTo>
                    <a:lnTo>
                      <a:pt x="338" y="58"/>
                    </a:lnTo>
                    <a:lnTo>
                      <a:pt x="319" y="63"/>
                    </a:lnTo>
                    <a:lnTo>
                      <a:pt x="306" y="78"/>
                    </a:lnTo>
                    <a:lnTo>
                      <a:pt x="306" y="107"/>
                    </a:lnTo>
                    <a:lnTo>
                      <a:pt x="298" y="110"/>
                    </a:lnTo>
                    <a:lnTo>
                      <a:pt x="295" y="116"/>
                    </a:lnTo>
                    <a:lnTo>
                      <a:pt x="284" y="126"/>
                    </a:lnTo>
                    <a:lnTo>
                      <a:pt x="287" y="129"/>
                    </a:lnTo>
                    <a:lnTo>
                      <a:pt x="292" y="131"/>
                    </a:lnTo>
                    <a:lnTo>
                      <a:pt x="296" y="138"/>
                    </a:lnTo>
                    <a:lnTo>
                      <a:pt x="299" y="148"/>
                    </a:lnTo>
                    <a:lnTo>
                      <a:pt x="310" y="163"/>
                    </a:lnTo>
                    <a:lnTo>
                      <a:pt x="311" y="169"/>
                    </a:lnTo>
                    <a:lnTo>
                      <a:pt x="303" y="167"/>
                    </a:lnTo>
                    <a:lnTo>
                      <a:pt x="280" y="171"/>
                    </a:lnTo>
                    <a:lnTo>
                      <a:pt x="262" y="161"/>
                    </a:lnTo>
                    <a:lnTo>
                      <a:pt x="242" y="169"/>
                    </a:lnTo>
                    <a:lnTo>
                      <a:pt x="228" y="171"/>
                    </a:lnTo>
                    <a:lnTo>
                      <a:pt x="219" y="179"/>
                    </a:lnTo>
                    <a:lnTo>
                      <a:pt x="208" y="180"/>
                    </a:lnTo>
                    <a:lnTo>
                      <a:pt x="206" y="199"/>
                    </a:lnTo>
                    <a:lnTo>
                      <a:pt x="192" y="212"/>
                    </a:lnTo>
                    <a:lnTo>
                      <a:pt x="172" y="215"/>
                    </a:lnTo>
                    <a:lnTo>
                      <a:pt x="137" y="203"/>
                    </a:lnTo>
                    <a:lnTo>
                      <a:pt x="127" y="195"/>
                    </a:lnTo>
                    <a:lnTo>
                      <a:pt x="115" y="195"/>
                    </a:lnTo>
                    <a:lnTo>
                      <a:pt x="84" y="204"/>
                    </a:lnTo>
                    <a:lnTo>
                      <a:pt x="62" y="204"/>
                    </a:lnTo>
                    <a:lnTo>
                      <a:pt x="45" y="208"/>
                    </a:lnTo>
                    <a:lnTo>
                      <a:pt x="32" y="20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96" name="Freeform 209"/>
              <p:cNvSpPr>
                <a:spLocks noChangeAspect="1"/>
              </p:cNvSpPr>
              <p:nvPr/>
            </p:nvSpPr>
            <p:spPr bwMode="gray">
              <a:xfrm>
                <a:off x="4995069" y="2778472"/>
                <a:ext cx="101600" cy="87313"/>
              </a:xfrm>
              <a:custGeom>
                <a:avLst/>
                <a:gdLst/>
                <a:ahLst/>
                <a:cxnLst>
                  <a:cxn ang="0">
                    <a:pos x="258" y="62"/>
                  </a:cxn>
                  <a:cxn ang="0">
                    <a:pos x="215" y="50"/>
                  </a:cxn>
                  <a:cxn ang="0">
                    <a:pos x="180" y="12"/>
                  </a:cxn>
                  <a:cxn ang="0">
                    <a:pos x="164" y="7"/>
                  </a:cxn>
                  <a:cxn ang="0">
                    <a:pos x="148" y="3"/>
                  </a:cxn>
                  <a:cxn ang="0">
                    <a:pos x="149" y="15"/>
                  </a:cxn>
                  <a:cxn ang="0">
                    <a:pos x="138" y="19"/>
                  </a:cxn>
                  <a:cxn ang="0">
                    <a:pos x="111" y="34"/>
                  </a:cxn>
                  <a:cxn ang="0">
                    <a:pos x="118" y="56"/>
                  </a:cxn>
                  <a:cxn ang="0">
                    <a:pos x="94" y="73"/>
                  </a:cxn>
                  <a:cxn ang="0">
                    <a:pos x="95" y="95"/>
                  </a:cxn>
                  <a:cxn ang="0">
                    <a:pos x="81" y="93"/>
                  </a:cxn>
                  <a:cxn ang="0">
                    <a:pos x="73" y="90"/>
                  </a:cxn>
                  <a:cxn ang="0">
                    <a:pos x="57" y="76"/>
                  </a:cxn>
                  <a:cxn ang="0">
                    <a:pos x="30" y="92"/>
                  </a:cxn>
                  <a:cxn ang="0">
                    <a:pos x="8" y="93"/>
                  </a:cxn>
                  <a:cxn ang="0">
                    <a:pos x="16" y="135"/>
                  </a:cxn>
                  <a:cxn ang="0">
                    <a:pos x="38" y="116"/>
                  </a:cxn>
                  <a:cxn ang="0">
                    <a:pos x="65" y="113"/>
                  </a:cxn>
                  <a:cxn ang="0">
                    <a:pos x="75" y="128"/>
                  </a:cxn>
                  <a:cxn ang="0">
                    <a:pos x="103" y="175"/>
                  </a:cxn>
                  <a:cxn ang="0">
                    <a:pos x="91" y="187"/>
                  </a:cxn>
                  <a:cxn ang="0">
                    <a:pos x="119" y="216"/>
                  </a:cxn>
                  <a:cxn ang="0">
                    <a:pos x="135" y="238"/>
                  </a:cxn>
                  <a:cxn ang="0">
                    <a:pos x="183" y="245"/>
                  </a:cxn>
                  <a:cxn ang="0">
                    <a:pos x="219" y="276"/>
                  </a:cxn>
                  <a:cxn ang="0">
                    <a:pos x="203" y="237"/>
                  </a:cxn>
                  <a:cxn ang="0">
                    <a:pos x="173" y="211"/>
                  </a:cxn>
                  <a:cxn ang="0">
                    <a:pos x="156" y="190"/>
                  </a:cxn>
                  <a:cxn ang="0">
                    <a:pos x="144" y="170"/>
                  </a:cxn>
                  <a:cxn ang="0">
                    <a:pos x="143" y="157"/>
                  </a:cxn>
                  <a:cxn ang="0">
                    <a:pos x="128" y="137"/>
                  </a:cxn>
                  <a:cxn ang="0">
                    <a:pos x="124" y="126"/>
                  </a:cxn>
                  <a:cxn ang="0">
                    <a:pos x="129" y="97"/>
                  </a:cxn>
                  <a:cxn ang="0">
                    <a:pos x="151" y="116"/>
                  </a:cxn>
                  <a:cxn ang="0">
                    <a:pos x="182" y="101"/>
                  </a:cxn>
                  <a:cxn ang="0">
                    <a:pos x="200" y="105"/>
                  </a:cxn>
                  <a:cxn ang="0">
                    <a:pos x="210" y="106"/>
                  </a:cxn>
                  <a:cxn ang="0">
                    <a:pos x="229" y="106"/>
                  </a:cxn>
                  <a:cxn ang="0">
                    <a:pos x="246" y="106"/>
                  </a:cxn>
                  <a:cxn ang="0">
                    <a:pos x="256" y="113"/>
                  </a:cxn>
                  <a:cxn ang="0">
                    <a:pos x="273" y="115"/>
                  </a:cxn>
                  <a:cxn ang="0">
                    <a:pos x="283" y="111"/>
                  </a:cxn>
                  <a:cxn ang="0">
                    <a:pos x="288" y="125"/>
                  </a:cxn>
                  <a:cxn ang="0">
                    <a:pos x="307" y="125"/>
                  </a:cxn>
                  <a:cxn ang="0">
                    <a:pos x="305" y="109"/>
                  </a:cxn>
                  <a:cxn ang="0">
                    <a:pos x="311" y="100"/>
                  </a:cxn>
                  <a:cxn ang="0">
                    <a:pos x="322" y="100"/>
                  </a:cxn>
                  <a:cxn ang="0">
                    <a:pos x="316" y="98"/>
                  </a:cxn>
                  <a:cxn ang="0">
                    <a:pos x="304" y="93"/>
                  </a:cxn>
                  <a:cxn ang="0">
                    <a:pos x="297" y="89"/>
                  </a:cxn>
                  <a:cxn ang="0">
                    <a:pos x="297" y="83"/>
                  </a:cxn>
                  <a:cxn ang="0">
                    <a:pos x="302" y="79"/>
                  </a:cxn>
                  <a:cxn ang="0">
                    <a:pos x="297" y="74"/>
                  </a:cxn>
                  <a:cxn ang="0">
                    <a:pos x="291" y="73"/>
                  </a:cxn>
                  <a:cxn ang="0">
                    <a:pos x="291" y="63"/>
                  </a:cxn>
                  <a:cxn ang="0">
                    <a:pos x="284" y="50"/>
                  </a:cxn>
                </a:cxnLst>
                <a:rect l="0" t="0" r="r" b="b"/>
                <a:pathLst>
                  <a:path w="322" h="276">
                    <a:moveTo>
                      <a:pt x="284" y="50"/>
                    </a:moveTo>
                    <a:lnTo>
                      <a:pt x="272" y="58"/>
                    </a:lnTo>
                    <a:lnTo>
                      <a:pt x="258" y="62"/>
                    </a:lnTo>
                    <a:lnTo>
                      <a:pt x="241" y="63"/>
                    </a:lnTo>
                    <a:lnTo>
                      <a:pt x="226" y="54"/>
                    </a:lnTo>
                    <a:lnTo>
                      <a:pt x="215" y="50"/>
                    </a:lnTo>
                    <a:lnTo>
                      <a:pt x="204" y="35"/>
                    </a:lnTo>
                    <a:lnTo>
                      <a:pt x="189" y="28"/>
                    </a:lnTo>
                    <a:lnTo>
                      <a:pt x="180" y="12"/>
                    </a:lnTo>
                    <a:lnTo>
                      <a:pt x="167" y="7"/>
                    </a:lnTo>
                    <a:lnTo>
                      <a:pt x="167" y="4"/>
                    </a:lnTo>
                    <a:lnTo>
                      <a:pt x="164" y="7"/>
                    </a:lnTo>
                    <a:lnTo>
                      <a:pt x="155" y="1"/>
                    </a:lnTo>
                    <a:lnTo>
                      <a:pt x="151" y="0"/>
                    </a:lnTo>
                    <a:lnTo>
                      <a:pt x="148" y="3"/>
                    </a:lnTo>
                    <a:lnTo>
                      <a:pt x="148" y="8"/>
                    </a:lnTo>
                    <a:lnTo>
                      <a:pt x="149" y="14"/>
                    </a:lnTo>
                    <a:lnTo>
                      <a:pt x="149" y="15"/>
                    </a:lnTo>
                    <a:lnTo>
                      <a:pt x="145" y="14"/>
                    </a:lnTo>
                    <a:lnTo>
                      <a:pt x="138" y="14"/>
                    </a:lnTo>
                    <a:lnTo>
                      <a:pt x="138" y="19"/>
                    </a:lnTo>
                    <a:lnTo>
                      <a:pt x="134" y="22"/>
                    </a:lnTo>
                    <a:lnTo>
                      <a:pt x="114" y="29"/>
                    </a:lnTo>
                    <a:lnTo>
                      <a:pt x="111" y="34"/>
                    </a:lnTo>
                    <a:lnTo>
                      <a:pt x="112" y="38"/>
                    </a:lnTo>
                    <a:lnTo>
                      <a:pt x="118" y="45"/>
                    </a:lnTo>
                    <a:lnTo>
                      <a:pt x="118" y="56"/>
                    </a:lnTo>
                    <a:lnTo>
                      <a:pt x="113" y="63"/>
                    </a:lnTo>
                    <a:lnTo>
                      <a:pt x="105" y="65"/>
                    </a:lnTo>
                    <a:lnTo>
                      <a:pt x="94" y="73"/>
                    </a:lnTo>
                    <a:lnTo>
                      <a:pt x="97" y="78"/>
                    </a:lnTo>
                    <a:lnTo>
                      <a:pt x="94" y="83"/>
                    </a:lnTo>
                    <a:lnTo>
                      <a:pt x="95" y="95"/>
                    </a:lnTo>
                    <a:lnTo>
                      <a:pt x="90" y="99"/>
                    </a:lnTo>
                    <a:lnTo>
                      <a:pt x="86" y="99"/>
                    </a:lnTo>
                    <a:lnTo>
                      <a:pt x="81" y="93"/>
                    </a:lnTo>
                    <a:lnTo>
                      <a:pt x="78" y="93"/>
                    </a:lnTo>
                    <a:lnTo>
                      <a:pt x="75" y="90"/>
                    </a:lnTo>
                    <a:lnTo>
                      <a:pt x="73" y="90"/>
                    </a:lnTo>
                    <a:lnTo>
                      <a:pt x="73" y="94"/>
                    </a:lnTo>
                    <a:lnTo>
                      <a:pt x="68" y="95"/>
                    </a:lnTo>
                    <a:lnTo>
                      <a:pt x="57" y="76"/>
                    </a:lnTo>
                    <a:lnTo>
                      <a:pt x="54" y="76"/>
                    </a:lnTo>
                    <a:lnTo>
                      <a:pt x="47" y="92"/>
                    </a:lnTo>
                    <a:lnTo>
                      <a:pt x="30" y="92"/>
                    </a:lnTo>
                    <a:lnTo>
                      <a:pt x="24" y="87"/>
                    </a:lnTo>
                    <a:lnTo>
                      <a:pt x="21" y="92"/>
                    </a:lnTo>
                    <a:lnTo>
                      <a:pt x="8" y="93"/>
                    </a:lnTo>
                    <a:lnTo>
                      <a:pt x="0" y="87"/>
                    </a:lnTo>
                    <a:lnTo>
                      <a:pt x="4" y="108"/>
                    </a:lnTo>
                    <a:lnTo>
                      <a:pt x="16" y="135"/>
                    </a:lnTo>
                    <a:lnTo>
                      <a:pt x="21" y="138"/>
                    </a:lnTo>
                    <a:lnTo>
                      <a:pt x="27" y="137"/>
                    </a:lnTo>
                    <a:lnTo>
                      <a:pt x="38" y="116"/>
                    </a:lnTo>
                    <a:lnTo>
                      <a:pt x="44" y="99"/>
                    </a:lnTo>
                    <a:lnTo>
                      <a:pt x="57" y="103"/>
                    </a:lnTo>
                    <a:lnTo>
                      <a:pt x="65" y="113"/>
                    </a:lnTo>
                    <a:lnTo>
                      <a:pt x="68" y="113"/>
                    </a:lnTo>
                    <a:lnTo>
                      <a:pt x="73" y="119"/>
                    </a:lnTo>
                    <a:lnTo>
                      <a:pt x="75" y="128"/>
                    </a:lnTo>
                    <a:lnTo>
                      <a:pt x="75" y="143"/>
                    </a:lnTo>
                    <a:lnTo>
                      <a:pt x="84" y="159"/>
                    </a:lnTo>
                    <a:lnTo>
                      <a:pt x="103" y="175"/>
                    </a:lnTo>
                    <a:lnTo>
                      <a:pt x="94" y="178"/>
                    </a:lnTo>
                    <a:lnTo>
                      <a:pt x="90" y="183"/>
                    </a:lnTo>
                    <a:lnTo>
                      <a:pt x="91" y="187"/>
                    </a:lnTo>
                    <a:lnTo>
                      <a:pt x="102" y="202"/>
                    </a:lnTo>
                    <a:lnTo>
                      <a:pt x="112" y="210"/>
                    </a:lnTo>
                    <a:lnTo>
                      <a:pt x="119" y="216"/>
                    </a:lnTo>
                    <a:lnTo>
                      <a:pt x="129" y="221"/>
                    </a:lnTo>
                    <a:lnTo>
                      <a:pt x="134" y="230"/>
                    </a:lnTo>
                    <a:lnTo>
                      <a:pt x="135" y="238"/>
                    </a:lnTo>
                    <a:lnTo>
                      <a:pt x="154" y="237"/>
                    </a:lnTo>
                    <a:lnTo>
                      <a:pt x="166" y="238"/>
                    </a:lnTo>
                    <a:lnTo>
                      <a:pt x="183" y="245"/>
                    </a:lnTo>
                    <a:lnTo>
                      <a:pt x="198" y="256"/>
                    </a:lnTo>
                    <a:lnTo>
                      <a:pt x="211" y="270"/>
                    </a:lnTo>
                    <a:lnTo>
                      <a:pt x="219" y="276"/>
                    </a:lnTo>
                    <a:lnTo>
                      <a:pt x="226" y="272"/>
                    </a:lnTo>
                    <a:lnTo>
                      <a:pt x="204" y="248"/>
                    </a:lnTo>
                    <a:lnTo>
                      <a:pt x="203" y="237"/>
                    </a:lnTo>
                    <a:lnTo>
                      <a:pt x="198" y="233"/>
                    </a:lnTo>
                    <a:lnTo>
                      <a:pt x="193" y="230"/>
                    </a:lnTo>
                    <a:lnTo>
                      <a:pt x="173" y="211"/>
                    </a:lnTo>
                    <a:lnTo>
                      <a:pt x="172" y="206"/>
                    </a:lnTo>
                    <a:lnTo>
                      <a:pt x="162" y="192"/>
                    </a:lnTo>
                    <a:lnTo>
                      <a:pt x="156" y="190"/>
                    </a:lnTo>
                    <a:lnTo>
                      <a:pt x="148" y="178"/>
                    </a:lnTo>
                    <a:lnTo>
                      <a:pt x="143" y="176"/>
                    </a:lnTo>
                    <a:lnTo>
                      <a:pt x="144" y="170"/>
                    </a:lnTo>
                    <a:lnTo>
                      <a:pt x="146" y="168"/>
                    </a:lnTo>
                    <a:lnTo>
                      <a:pt x="143" y="162"/>
                    </a:lnTo>
                    <a:lnTo>
                      <a:pt x="143" y="157"/>
                    </a:lnTo>
                    <a:lnTo>
                      <a:pt x="137" y="151"/>
                    </a:lnTo>
                    <a:lnTo>
                      <a:pt x="133" y="138"/>
                    </a:lnTo>
                    <a:lnTo>
                      <a:pt x="128" y="137"/>
                    </a:lnTo>
                    <a:lnTo>
                      <a:pt x="121" y="131"/>
                    </a:lnTo>
                    <a:lnTo>
                      <a:pt x="121" y="128"/>
                    </a:lnTo>
                    <a:lnTo>
                      <a:pt x="124" y="126"/>
                    </a:lnTo>
                    <a:lnTo>
                      <a:pt x="123" y="122"/>
                    </a:lnTo>
                    <a:lnTo>
                      <a:pt x="123" y="103"/>
                    </a:lnTo>
                    <a:lnTo>
                      <a:pt x="129" y="97"/>
                    </a:lnTo>
                    <a:lnTo>
                      <a:pt x="138" y="99"/>
                    </a:lnTo>
                    <a:lnTo>
                      <a:pt x="138" y="101"/>
                    </a:lnTo>
                    <a:lnTo>
                      <a:pt x="151" y="116"/>
                    </a:lnTo>
                    <a:lnTo>
                      <a:pt x="155" y="116"/>
                    </a:lnTo>
                    <a:lnTo>
                      <a:pt x="164" y="99"/>
                    </a:lnTo>
                    <a:lnTo>
                      <a:pt x="182" y="101"/>
                    </a:lnTo>
                    <a:lnTo>
                      <a:pt x="186" y="97"/>
                    </a:lnTo>
                    <a:lnTo>
                      <a:pt x="188" y="97"/>
                    </a:lnTo>
                    <a:lnTo>
                      <a:pt x="200" y="105"/>
                    </a:lnTo>
                    <a:lnTo>
                      <a:pt x="204" y="105"/>
                    </a:lnTo>
                    <a:lnTo>
                      <a:pt x="207" y="103"/>
                    </a:lnTo>
                    <a:lnTo>
                      <a:pt x="210" y="106"/>
                    </a:lnTo>
                    <a:lnTo>
                      <a:pt x="225" y="109"/>
                    </a:lnTo>
                    <a:lnTo>
                      <a:pt x="226" y="106"/>
                    </a:lnTo>
                    <a:lnTo>
                      <a:pt x="229" y="106"/>
                    </a:lnTo>
                    <a:lnTo>
                      <a:pt x="237" y="114"/>
                    </a:lnTo>
                    <a:lnTo>
                      <a:pt x="240" y="114"/>
                    </a:lnTo>
                    <a:lnTo>
                      <a:pt x="246" y="106"/>
                    </a:lnTo>
                    <a:lnTo>
                      <a:pt x="250" y="106"/>
                    </a:lnTo>
                    <a:lnTo>
                      <a:pt x="253" y="111"/>
                    </a:lnTo>
                    <a:lnTo>
                      <a:pt x="256" y="113"/>
                    </a:lnTo>
                    <a:lnTo>
                      <a:pt x="258" y="108"/>
                    </a:lnTo>
                    <a:lnTo>
                      <a:pt x="269" y="109"/>
                    </a:lnTo>
                    <a:lnTo>
                      <a:pt x="273" y="115"/>
                    </a:lnTo>
                    <a:lnTo>
                      <a:pt x="275" y="114"/>
                    </a:lnTo>
                    <a:lnTo>
                      <a:pt x="275" y="111"/>
                    </a:lnTo>
                    <a:lnTo>
                      <a:pt x="283" y="111"/>
                    </a:lnTo>
                    <a:lnTo>
                      <a:pt x="289" y="119"/>
                    </a:lnTo>
                    <a:lnTo>
                      <a:pt x="288" y="124"/>
                    </a:lnTo>
                    <a:lnTo>
                      <a:pt x="288" y="125"/>
                    </a:lnTo>
                    <a:lnTo>
                      <a:pt x="294" y="130"/>
                    </a:lnTo>
                    <a:lnTo>
                      <a:pt x="301" y="130"/>
                    </a:lnTo>
                    <a:lnTo>
                      <a:pt x="307" y="125"/>
                    </a:lnTo>
                    <a:lnTo>
                      <a:pt x="309" y="120"/>
                    </a:lnTo>
                    <a:lnTo>
                      <a:pt x="307" y="119"/>
                    </a:lnTo>
                    <a:lnTo>
                      <a:pt x="305" y="109"/>
                    </a:lnTo>
                    <a:lnTo>
                      <a:pt x="307" y="106"/>
                    </a:lnTo>
                    <a:lnTo>
                      <a:pt x="309" y="101"/>
                    </a:lnTo>
                    <a:lnTo>
                      <a:pt x="311" y="100"/>
                    </a:lnTo>
                    <a:lnTo>
                      <a:pt x="315" y="101"/>
                    </a:lnTo>
                    <a:lnTo>
                      <a:pt x="318" y="103"/>
                    </a:lnTo>
                    <a:lnTo>
                      <a:pt x="322" y="100"/>
                    </a:lnTo>
                    <a:lnTo>
                      <a:pt x="322" y="98"/>
                    </a:lnTo>
                    <a:lnTo>
                      <a:pt x="320" y="97"/>
                    </a:lnTo>
                    <a:lnTo>
                      <a:pt x="316" y="98"/>
                    </a:lnTo>
                    <a:lnTo>
                      <a:pt x="312" y="95"/>
                    </a:lnTo>
                    <a:lnTo>
                      <a:pt x="307" y="95"/>
                    </a:lnTo>
                    <a:lnTo>
                      <a:pt x="304" y="93"/>
                    </a:lnTo>
                    <a:lnTo>
                      <a:pt x="302" y="92"/>
                    </a:lnTo>
                    <a:lnTo>
                      <a:pt x="299" y="92"/>
                    </a:lnTo>
                    <a:lnTo>
                      <a:pt x="297" y="89"/>
                    </a:lnTo>
                    <a:lnTo>
                      <a:pt x="297" y="88"/>
                    </a:lnTo>
                    <a:lnTo>
                      <a:pt x="299" y="84"/>
                    </a:lnTo>
                    <a:lnTo>
                      <a:pt x="297" y="83"/>
                    </a:lnTo>
                    <a:lnTo>
                      <a:pt x="299" y="81"/>
                    </a:lnTo>
                    <a:lnTo>
                      <a:pt x="300" y="81"/>
                    </a:lnTo>
                    <a:lnTo>
                      <a:pt x="302" y="79"/>
                    </a:lnTo>
                    <a:lnTo>
                      <a:pt x="302" y="77"/>
                    </a:lnTo>
                    <a:lnTo>
                      <a:pt x="299" y="74"/>
                    </a:lnTo>
                    <a:lnTo>
                      <a:pt x="297" y="74"/>
                    </a:lnTo>
                    <a:lnTo>
                      <a:pt x="295" y="77"/>
                    </a:lnTo>
                    <a:lnTo>
                      <a:pt x="291" y="76"/>
                    </a:lnTo>
                    <a:lnTo>
                      <a:pt x="291" y="73"/>
                    </a:lnTo>
                    <a:lnTo>
                      <a:pt x="294" y="70"/>
                    </a:lnTo>
                    <a:lnTo>
                      <a:pt x="294" y="66"/>
                    </a:lnTo>
                    <a:lnTo>
                      <a:pt x="291" y="63"/>
                    </a:lnTo>
                    <a:lnTo>
                      <a:pt x="293" y="61"/>
                    </a:lnTo>
                    <a:lnTo>
                      <a:pt x="293" y="57"/>
                    </a:lnTo>
                    <a:lnTo>
                      <a:pt x="284" y="5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97" name="Freeform 210"/>
              <p:cNvSpPr>
                <a:spLocks noChangeAspect="1"/>
              </p:cNvSpPr>
              <p:nvPr/>
            </p:nvSpPr>
            <p:spPr bwMode="gray">
              <a:xfrm>
                <a:off x="5095081" y="2873722"/>
                <a:ext cx="31750" cy="68263"/>
              </a:xfrm>
              <a:custGeom>
                <a:avLst/>
                <a:gdLst/>
                <a:ahLst/>
                <a:cxnLst>
                  <a:cxn ang="0">
                    <a:pos x="48" y="215"/>
                  </a:cxn>
                  <a:cxn ang="0">
                    <a:pos x="39" y="210"/>
                  </a:cxn>
                  <a:cxn ang="0">
                    <a:pos x="38" y="200"/>
                  </a:cxn>
                  <a:cxn ang="0">
                    <a:pos x="31" y="190"/>
                  </a:cxn>
                  <a:cxn ang="0">
                    <a:pos x="13" y="183"/>
                  </a:cxn>
                  <a:cxn ang="0">
                    <a:pos x="4" y="168"/>
                  </a:cxn>
                  <a:cxn ang="0">
                    <a:pos x="0" y="160"/>
                  </a:cxn>
                  <a:cxn ang="0">
                    <a:pos x="7" y="161"/>
                  </a:cxn>
                  <a:cxn ang="0">
                    <a:pos x="7" y="152"/>
                  </a:cxn>
                  <a:cxn ang="0">
                    <a:pos x="4" y="139"/>
                  </a:cxn>
                  <a:cxn ang="0">
                    <a:pos x="7" y="125"/>
                  </a:cxn>
                  <a:cxn ang="0">
                    <a:pos x="8" y="123"/>
                  </a:cxn>
                  <a:cxn ang="0">
                    <a:pos x="8" y="114"/>
                  </a:cxn>
                  <a:cxn ang="0">
                    <a:pos x="10" y="106"/>
                  </a:cxn>
                  <a:cxn ang="0">
                    <a:pos x="6" y="94"/>
                  </a:cxn>
                  <a:cxn ang="0">
                    <a:pos x="15" y="64"/>
                  </a:cxn>
                  <a:cxn ang="0">
                    <a:pos x="10" y="58"/>
                  </a:cxn>
                  <a:cxn ang="0">
                    <a:pos x="2" y="56"/>
                  </a:cxn>
                  <a:cxn ang="0">
                    <a:pos x="7" y="40"/>
                  </a:cxn>
                  <a:cxn ang="0">
                    <a:pos x="5" y="29"/>
                  </a:cxn>
                  <a:cxn ang="0">
                    <a:pos x="10" y="15"/>
                  </a:cxn>
                  <a:cxn ang="0">
                    <a:pos x="17" y="10"/>
                  </a:cxn>
                  <a:cxn ang="0">
                    <a:pos x="23" y="0"/>
                  </a:cxn>
                  <a:cxn ang="0">
                    <a:pos x="31" y="7"/>
                  </a:cxn>
                  <a:cxn ang="0">
                    <a:pos x="45" y="9"/>
                  </a:cxn>
                  <a:cxn ang="0">
                    <a:pos x="51" y="20"/>
                  </a:cxn>
                  <a:cxn ang="0">
                    <a:pos x="61" y="24"/>
                  </a:cxn>
                  <a:cxn ang="0">
                    <a:pos x="74" y="40"/>
                  </a:cxn>
                  <a:cxn ang="0">
                    <a:pos x="69" y="76"/>
                  </a:cxn>
                  <a:cxn ang="0">
                    <a:pos x="69" y="93"/>
                  </a:cxn>
                  <a:cxn ang="0">
                    <a:pos x="77" y="113"/>
                  </a:cxn>
                  <a:cxn ang="0">
                    <a:pos x="94" y="130"/>
                  </a:cxn>
                  <a:cxn ang="0">
                    <a:pos x="97" y="140"/>
                  </a:cxn>
                  <a:cxn ang="0">
                    <a:pos x="97" y="155"/>
                  </a:cxn>
                  <a:cxn ang="0">
                    <a:pos x="83" y="166"/>
                  </a:cxn>
                  <a:cxn ang="0">
                    <a:pos x="75" y="183"/>
                  </a:cxn>
                  <a:cxn ang="0">
                    <a:pos x="65" y="190"/>
                  </a:cxn>
                  <a:cxn ang="0">
                    <a:pos x="63" y="203"/>
                  </a:cxn>
                  <a:cxn ang="0">
                    <a:pos x="58" y="209"/>
                  </a:cxn>
                  <a:cxn ang="0">
                    <a:pos x="49" y="215"/>
                  </a:cxn>
                  <a:cxn ang="0">
                    <a:pos x="48" y="215"/>
                  </a:cxn>
                </a:cxnLst>
                <a:rect l="0" t="0" r="r" b="b"/>
                <a:pathLst>
                  <a:path w="97" h="215">
                    <a:moveTo>
                      <a:pt x="48" y="215"/>
                    </a:moveTo>
                    <a:lnTo>
                      <a:pt x="39" y="210"/>
                    </a:lnTo>
                    <a:lnTo>
                      <a:pt x="38" y="200"/>
                    </a:lnTo>
                    <a:lnTo>
                      <a:pt x="31" y="190"/>
                    </a:lnTo>
                    <a:lnTo>
                      <a:pt x="13" y="183"/>
                    </a:lnTo>
                    <a:lnTo>
                      <a:pt x="4" y="168"/>
                    </a:lnTo>
                    <a:lnTo>
                      <a:pt x="0" y="160"/>
                    </a:lnTo>
                    <a:lnTo>
                      <a:pt x="7" y="161"/>
                    </a:lnTo>
                    <a:lnTo>
                      <a:pt x="7" y="152"/>
                    </a:lnTo>
                    <a:lnTo>
                      <a:pt x="4" y="139"/>
                    </a:lnTo>
                    <a:lnTo>
                      <a:pt x="7" y="125"/>
                    </a:lnTo>
                    <a:lnTo>
                      <a:pt x="8" y="123"/>
                    </a:lnTo>
                    <a:lnTo>
                      <a:pt x="8" y="114"/>
                    </a:lnTo>
                    <a:lnTo>
                      <a:pt x="10" y="106"/>
                    </a:lnTo>
                    <a:lnTo>
                      <a:pt x="6" y="94"/>
                    </a:lnTo>
                    <a:lnTo>
                      <a:pt x="15" y="64"/>
                    </a:lnTo>
                    <a:lnTo>
                      <a:pt x="10" y="58"/>
                    </a:lnTo>
                    <a:lnTo>
                      <a:pt x="2" y="56"/>
                    </a:lnTo>
                    <a:lnTo>
                      <a:pt x="7" y="40"/>
                    </a:lnTo>
                    <a:lnTo>
                      <a:pt x="5" y="29"/>
                    </a:lnTo>
                    <a:lnTo>
                      <a:pt x="10" y="15"/>
                    </a:lnTo>
                    <a:lnTo>
                      <a:pt x="17" y="10"/>
                    </a:lnTo>
                    <a:lnTo>
                      <a:pt x="23" y="0"/>
                    </a:lnTo>
                    <a:lnTo>
                      <a:pt x="31" y="7"/>
                    </a:lnTo>
                    <a:lnTo>
                      <a:pt x="45" y="9"/>
                    </a:lnTo>
                    <a:lnTo>
                      <a:pt x="51" y="20"/>
                    </a:lnTo>
                    <a:lnTo>
                      <a:pt x="61" y="24"/>
                    </a:lnTo>
                    <a:lnTo>
                      <a:pt x="74" y="40"/>
                    </a:lnTo>
                    <a:lnTo>
                      <a:pt x="69" y="76"/>
                    </a:lnTo>
                    <a:lnTo>
                      <a:pt x="69" y="93"/>
                    </a:lnTo>
                    <a:lnTo>
                      <a:pt x="77" y="113"/>
                    </a:lnTo>
                    <a:lnTo>
                      <a:pt x="94" y="130"/>
                    </a:lnTo>
                    <a:lnTo>
                      <a:pt x="97" y="140"/>
                    </a:lnTo>
                    <a:lnTo>
                      <a:pt x="97" y="155"/>
                    </a:lnTo>
                    <a:lnTo>
                      <a:pt x="83" y="166"/>
                    </a:lnTo>
                    <a:lnTo>
                      <a:pt x="75" y="183"/>
                    </a:lnTo>
                    <a:lnTo>
                      <a:pt x="65" y="190"/>
                    </a:lnTo>
                    <a:lnTo>
                      <a:pt x="63" y="203"/>
                    </a:lnTo>
                    <a:lnTo>
                      <a:pt x="58" y="209"/>
                    </a:lnTo>
                    <a:lnTo>
                      <a:pt x="49" y="215"/>
                    </a:lnTo>
                    <a:lnTo>
                      <a:pt x="48" y="21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98" name="Freeform 211"/>
              <p:cNvSpPr>
                <a:spLocks noChangeAspect="1"/>
              </p:cNvSpPr>
              <p:nvPr/>
            </p:nvSpPr>
            <p:spPr bwMode="gray">
              <a:xfrm>
                <a:off x="5125244" y="2500660"/>
                <a:ext cx="100013" cy="76200"/>
              </a:xfrm>
              <a:custGeom>
                <a:avLst/>
                <a:gdLst/>
                <a:ahLst/>
                <a:cxnLst>
                  <a:cxn ang="0">
                    <a:pos x="3" y="57"/>
                  </a:cxn>
                  <a:cxn ang="0">
                    <a:pos x="5" y="78"/>
                  </a:cxn>
                  <a:cxn ang="0">
                    <a:pos x="4" y="64"/>
                  </a:cxn>
                  <a:cxn ang="0">
                    <a:pos x="11" y="94"/>
                  </a:cxn>
                  <a:cxn ang="0">
                    <a:pos x="11" y="110"/>
                  </a:cxn>
                  <a:cxn ang="0">
                    <a:pos x="15" y="118"/>
                  </a:cxn>
                  <a:cxn ang="0">
                    <a:pos x="31" y="120"/>
                  </a:cxn>
                  <a:cxn ang="0">
                    <a:pos x="44" y="127"/>
                  </a:cxn>
                  <a:cxn ang="0">
                    <a:pos x="69" y="134"/>
                  </a:cxn>
                  <a:cxn ang="0">
                    <a:pos x="91" y="136"/>
                  </a:cxn>
                  <a:cxn ang="0">
                    <a:pos x="96" y="174"/>
                  </a:cxn>
                  <a:cxn ang="0">
                    <a:pos x="99" y="201"/>
                  </a:cxn>
                  <a:cxn ang="0">
                    <a:pos x="132" y="222"/>
                  </a:cxn>
                  <a:cxn ang="0">
                    <a:pos x="137" y="240"/>
                  </a:cxn>
                  <a:cxn ang="0">
                    <a:pos x="167" y="240"/>
                  </a:cxn>
                  <a:cxn ang="0">
                    <a:pos x="191" y="239"/>
                  </a:cxn>
                  <a:cxn ang="0">
                    <a:pos x="204" y="238"/>
                  </a:cxn>
                  <a:cxn ang="0">
                    <a:pos x="209" y="222"/>
                  </a:cxn>
                  <a:cxn ang="0">
                    <a:pos x="224" y="220"/>
                  </a:cxn>
                  <a:cxn ang="0">
                    <a:pos x="236" y="209"/>
                  </a:cxn>
                  <a:cxn ang="0">
                    <a:pos x="248" y="218"/>
                  </a:cxn>
                  <a:cxn ang="0">
                    <a:pos x="263" y="220"/>
                  </a:cxn>
                  <a:cxn ang="0">
                    <a:pos x="257" y="205"/>
                  </a:cxn>
                  <a:cxn ang="0">
                    <a:pos x="255" y="190"/>
                  </a:cxn>
                  <a:cxn ang="0">
                    <a:pos x="263" y="168"/>
                  </a:cxn>
                  <a:cxn ang="0">
                    <a:pos x="266" y="151"/>
                  </a:cxn>
                  <a:cxn ang="0">
                    <a:pos x="274" y="140"/>
                  </a:cxn>
                  <a:cxn ang="0">
                    <a:pos x="288" y="132"/>
                  </a:cxn>
                  <a:cxn ang="0">
                    <a:pos x="309" y="129"/>
                  </a:cxn>
                  <a:cxn ang="0">
                    <a:pos x="310" y="107"/>
                  </a:cxn>
                  <a:cxn ang="0">
                    <a:pos x="301" y="99"/>
                  </a:cxn>
                  <a:cxn ang="0">
                    <a:pos x="309" y="87"/>
                  </a:cxn>
                  <a:cxn ang="0">
                    <a:pos x="313" y="80"/>
                  </a:cxn>
                  <a:cxn ang="0">
                    <a:pos x="307" y="73"/>
                  </a:cxn>
                  <a:cxn ang="0">
                    <a:pos x="282" y="48"/>
                  </a:cxn>
                  <a:cxn ang="0">
                    <a:pos x="239" y="30"/>
                  </a:cxn>
                  <a:cxn ang="0">
                    <a:pos x="221" y="5"/>
                  </a:cxn>
                  <a:cxn ang="0">
                    <a:pos x="208" y="2"/>
                  </a:cxn>
                  <a:cxn ang="0">
                    <a:pos x="181" y="17"/>
                  </a:cxn>
                  <a:cxn ang="0">
                    <a:pos x="143" y="6"/>
                  </a:cxn>
                  <a:cxn ang="0">
                    <a:pos x="118" y="6"/>
                  </a:cxn>
                  <a:cxn ang="0">
                    <a:pos x="103" y="7"/>
                  </a:cxn>
                  <a:cxn ang="0">
                    <a:pos x="89" y="3"/>
                  </a:cxn>
                  <a:cxn ang="0">
                    <a:pos x="64" y="3"/>
                  </a:cxn>
                  <a:cxn ang="0">
                    <a:pos x="26" y="19"/>
                  </a:cxn>
                  <a:cxn ang="0">
                    <a:pos x="10" y="38"/>
                  </a:cxn>
                </a:cxnLst>
                <a:rect l="0" t="0" r="r" b="b"/>
                <a:pathLst>
                  <a:path w="317" h="244">
                    <a:moveTo>
                      <a:pt x="0" y="35"/>
                    </a:moveTo>
                    <a:lnTo>
                      <a:pt x="3" y="57"/>
                    </a:lnTo>
                    <a:lnTo>
                      <a:pt x="3" y="71"/>
                    </a:lnTo>
                    <a:lnTo>
                      <a:pt x="5" y="78"/>
                    </a:lnTo>
                    <a:lnTo>
                      <a:pt x="3" y="54"/>
                    </a:lnTo>
                    <a:lnTo>
                      <a:pt x="4" y="64"/>
                    </a:lnTo>
                    <a:lnTo>
                      <a:pt x="6" y="72"/>
                    </a:lnTo>
                    <a:lnTo>
                      <a:pt x="11" y="94"/>
                    </a:lnTo>
                    <a:lnTo>
                      <a:pt x="13" y="102"/>
                    </a:lnTo>
                    <a:lnTo>
                      <a:pt x="11" y="110"/>
                    </a:lnTo>
                    <a:lnTo>
                      <a:pt x="14" y="110"/>
                    </a:lnTo>
                    <a:lnTo>
                      <a:pt x="15" y="118"/>
                    </a:lnTo>
                    <a:lnTo>
                      <a:pt x="25" y="115"/>
                    </a:lnTo>
                    <a:lnTo>
                      <a:pt x="31" y="120"/>
                    </a:lnTo>
                    <a:lnTo>
                      <a:pt x="38" y="123"/>
                    </a:lnTo>
                    <a:lnTo>
                      <a:pt x="44" y="127"/>
                    </a:lnTo>
                    <a:lnTo>
                      <a:pt x="52" y="131"/>
                    </a:lnTo>
                    <a:lnTo>
                      <a:pt x="69" y="134"/>
                    </a:lnTo>
                    <a:lnTo>
                      <a:pt x="85" y="132"/>
                    </a:lnTo>
                    <a:lnTo>
                      <a:pt x="91" y="136"/>
                    </a:lnTo>
                    <a:lnTo>
                      <a:pt x="102" y="159"/>
                    </a:lnTo>
                    <a:lnTo>
                      <a:pt x="96" y="174"/>
                    </a:lnTo>
                    <a:lnTo>
                      <a:pt x="96" y="191"/>
                    </a:lnTo>
                    <a:lnTo>
                      <a:pt x="99" y="201"/>
                    </a:lnTo>
                    <a:lnTo>
                      <a:pt x="113" y="209"/>
                    </a:lnTo>
                    <a:lnTo>
                      <a:pt x="132" y="222"/>
                    </a:lnTo>
                    <a:lnTo>
                      <a:pt x="137" y="233"/>
                    </a:lnTo>
                    <a:lnTo>
                      <a:pt x="137" y="240"/>
                    </a:lnTo>
                    <a:lnTo>
                      <a:pt x="151" y="244"/>
                    </a:lnTo>
                    <a:lnTo>
                      <a:pt x="167" y="240"/>
                    </a:lnTo>
                    <a:lnTo>
                      <a:pt x="183" y="243"/>
                    </a:lnTo>
                    <a:lnTo>
                      <a:pt x="191" y="239"/>
                    </a:lnTo>
                    <a:lnTo>
                      <a:pt x="197" y="234"/>
                    </a:lnTo>
                    <a:lnTo>
                      <a:pt x="204" y="238"/>
                    </a:lnTo>
                    <a:lnTo>
                      <a:pt x="212" y="237"/>
                    </a:lnTo>
                    <a:lnTo>
                      <a:pt x="209" y="222"/>
                    </a:lnTo>
                    <a:lnTo>
                      <a:pt x="215" y="220"/>
                    </a:lnTo>
                    <a:lnTo>
                      <a:pt x="224" y="220"/>
                    </a:lnTo>
                    <a:lnTo>
                      <a:pt x="229" y="213"/>
                    </a:lnTo>
                    <a:lnTo>
                      <a:pt x="236" y="209"/>
                    </a:lnTo>
                    <a:lnTo>
                      <a:pt x="245" y="211"/>
                    </a:lnTo>
                    <a:lnTo>
                      <a:pt x="248" y="218"/>
                    </a:lnTo>
                    <a:lnTo>
                      <a:pt x="256" y="222"/>
                    </a:lnTo>
                    <a:lnTo>
                      <a:pt x="263" y="220"/>
                    </a:lnTo>
                    <a:lnTo>
                      <a:pt x="262" y="211"/>
                    </a:lnTo>
                    <a:lnTo>
                      <a:pt x="257" y="205"/>
                    </a:lnTo>
                    <a:lnTo>
                      <a:pt x="253" y="197"/>
                    </a:lnTo>
                    <a:lnTo>
                      <a:pt x="255" y="190"/>
                    </a:lnTo>
                    <a:lnTo>
                      <a:pt x="263" y="175"/>
                    </a:lnTo>
                    <a:lnTo>
                      <a:pt x="263" y="168"/>
                    </a:lnTo>
                    <a:lnTo>
                      <a:pt x="266" y="159"/>
                    </a:lnTo>
                    <a:lnTo>
                      <a:pt x="266" y="151"/>
                    </a:lnTo>
                    <a:lnTo>
                      <a:pt x="267" y="143"/>
                    </a:lnTo>
                    <a:lnTo>
                      <a:pt x="274" y="140"/>
                    </a:lnTo>
                    <a:lnTo>
                      <a:pt x="283" y="137"/>
                    </a:lnTo>
                    <a:lnTo>
                      <a:pt x="288" y="132"/>
                    </a:lnTo>
                    <a:lnTo>
                      <a:pt x="295" y="129"/>
                    </a:lnTo>
                    <a:lnTo>
                      <a:pt x="309" y="129"/>
                    </a:lnTo>
                    <a:lnTo>
                      <a:pt x="317" y="110"/>
                    </a:lnTo>
                    <a:lnTo>
                      <a:pt x="310" y="107"/>
                    </a:lnTo>
                    <a:lnTo>
                      <a:pt x="301" y="107"/>
                    </a:lnTo>
                    <a:lnTo>
                      <a:pt x="301" y="99"/>
                    </a:lnTo>
                    <a:lnTo>
                      <a:pt x="301" y="91"/>
                    </a:lnTo>
                    <a:lnTo>
                      <a:pt x="309" y="87"/>
                    </a:lnTo>
                    <a:lnTo>
                      <a:pt x="315" y="81"/>
                    </a:lnTo>
                    <a:lnTo>
                      <a:pt x="313" y="80"/>
                    </a:lnTo>
                    <a:lnTo>
                      <a:pt x="313" y="78"/>
                    </a:lnTo>
                    <a:lnTo>
                      <a:pt x="307" y="73"/>
                    </a:lnTo>
                    <a:lnTo>
                      <a:pt x="300" y="71"/>
                    </a:lnTo>
                    <a:lnTo>
                      <a:pt x="282" y="48"/>
                    </a:lnTo>
                    <a:lnTo>
                      <a:pt x="255" y="29"/>
                    </a:lnTo>
                    <a:lnTo>
                      <a:pt x="239" y="30"/>
                    </a:lnTo>
                    <a:lnTo>
                      <a:pt x="231" y="28"/>
                    </a:lnTo>
                    <a:lnTo>
                      <a:pt x="221" y="5"/>
                    </a:lnTo>
                    <a:lnTo>
                      <a:pt x="215" y="0"/>
                    </a:lnTo>
                    <a:lnTo>
                      <a:pt x="208" y="2"/>
                    </a:lnTo>
                    <a:lnTo>
                      <a:pt x="197" y="13"/>
                    </a:lnTo>
                    <a:lnTo>
                      <a:pt x="181" y="17"/>
                    </a:lnTo>
                    <a:lnTo>
                      <a:pt x="150" y="6"/>
                    </a:lnTo>
                    <a:lnTo>
                      <a:pt x="143" y="6"/>
                    </a:lnTo>
                    <a:lnTo>
                      <a:pt x="126" y="3"/>
                    </a:lnTo>
                    <a:lnTo>
                      <a:pt x="118" y="6"/>
                    </a:lnTo>
                    <a:lnTo>
                      <a:pt x="111" y="3"/>
                    </a:lnTo>
                    <a:lnTo>
                      <a:pt x="103" y="7"/>
                    </a:lnTo>
                    <a:lnTo>
                      <a:pt x="95" y="7"/>
                    </a:lnTo>
                    <a:lnTo>
                      <a:pt x="89" y="3"/>
                    </a:lnTo>
                    <a:lnTo>
                      <a:pt x="80" y="2"/>
                    </a:lnTo>
                    <a:lnTo>
                      <a:pt x="64" y="3"/>
                    </a:lnTo>
                    <a:lnTo>
                      <a:pt x="41" y="11"/>
                    </a:lnTo>
                    <a:lnTo>
                      <a:pt x="26" y="19"/>
                    </a:lnTo>
                    <a:lnTo>
                      <a:pt x="17" y="33"/>
                    </a:lnTo>
                    <a:lnTo>
                      <a:pt x="10" y="38"/>
                    </a:lnTo>
                    <a:lnTo>
                      <a:pt x="0" y="3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99" name="Freeform 213"/>
              <p:cNvSpPr>
                <a:spLocks noChangeAspect="1"/>
              </p:cNvSpPr>
              <p:nvPr/>
            </p:nvSpPr>
            <p:spPr bwMode="gray">
              <a:xfrm>
                <a:off x="5053806" y="2700685"/>
                <a:ext cx="95250" cy="47625"/>
              </a:xfrm>
              <a:custGeom>
                <a:avLst/>
                <a:gdLst/>
                <a:ahLst/>
                <a:cxnLst>
                  <a:cxn ang="0">
                    <a:pos x="285" y="96"/>
                  </a:cxn>
                  <a:cxn ang="0">
                    <a:pos x="273" y="100"/>
                  </a:cxn>
                  <a:cxn ang="0">
                    <a:pos x="256" y="89"/>
                  </a:cxn>
                  <a:cxn ang="0">
                    <a:pos x="241" y="84"/>
                  </a:cxn>
                  <a:cxn ang="0">
                    <a:pos x="229" y="88"/>
                  </a:cxn>
                  <a:cxn ang="0">
                    <a:pos x="211" y="85"/>
                  </a:cxn>
                  <a:cxn ang="0">
                    <a:pos x="196" y="94"/>
                  </a:cxn>
                  <a:cxn ang="0">
                    <a:pos x="191" y="106"/>
                  </a:cxn>
                  <a:cxn ang="0">
                    <a:pos x="181" y="108"/>
                  </a:cxn>
                  <a:cxn ang="0">
                    <a:pos x="167" y="116"/>
                  </a:cxn>
                  <a:cxn ang="0">
                    <a:pos x="150" y="110"/>
                  </a:cxn>
                  <a:cxn ang="0">
                    <a:pos x="134" y="119"/>
                  </a:cxn>
                  <a:cxn ang="0">
                    <a:pos x="103" y="128"/>
                  </a:cxn>
                  <a:cxn ang="0">
                    <a:pos x="90" y="148"/>
                  </a:cxn>
                  <a:cxn ang="0">
                    <a:pos x="84" y="148"/>
                  </a:cxn>
                  <a:cxn ang="0">
                    <a:pos x="51" y="149"/>
                  </a:cxn>
                  <a:cxn ang="0">
                    <a:pos x="27" y="131"/>
                  </a:cxn>
                  <a:cxn ang="0">
                    <a:pos x="12" y="123"/>
                  </a:cxn>
                  <a:cxn ang="0">
                    <a:pos x="6" y="110"/>
                  </a:cxn>
                  <a:cxn ang="0">
                    <a:pos x="0" y="88"/>
                  </a:cxn>
                  <a:cxn ang="0">
                    <a:pos x="5" y="76"/>
                  </a:cxn>
                  <a:cxn ang="0">
                    <a:pos x="12" y="67"/>
                  </a:cxn>
                  <a:cxn ang="0">
                    <a:pos x="20" y="67"/>
                  </a:cxn>
                  <a:cxn ang="0">
                    <a:pos x="25" y="72"/>
                  </a:cxn>
                  <a:cxn ang="0">
                    <a:pos x="40" y="69"/>
                  </a:cxn>
                  <a:cxn ang="0">
                    <a:pos x="53" y="59"/>
                  </a:cxn>
                  <a:cxn ang="0">
                    <a:pos x="53" y="53"/>
                  </a:cxn>
                  <a:cxn ang="0">
                    <a:pos x="62" y="51"/>
                  </a:cxn>
                  <a:cxn ang="0">
                    <a:pos x="67" y="42"/>
                  </a:cxn>
                  <a:cxn ang="0">
                    <a:pos x="68" y="30"/>
                  </a:cxn>
                  <a:cxn ang="0">
                    <a:pos x="70" y="25"/>
                  </a:cxn>
                  <a:cxn ang="0">
                    <a:pos x="79" y="22"/>
                  </a:cxn>
                  <a:cxn ang="0">
                    <a:pos x="84" y="15"/>
                  </a:cxn>
                  <a:cxn ang="0">
                    <a:pos x="89" y="8"/>
                  </a:cxn>
                  <a:cxn ang="0">
                    <a:pos x="100" y="9"/>
                  </a:cxn>
                  <a:cxn ang="0">
                    <a:pos x="107" y="2"/>
                  </a:cxn>
                  <a:cxn ang="0">
                    <a:pos x="118" y="8"/>
                  </a:cxn>
                  <a:cxn ang="0">
                    <a:pos x="129" y="5"/>
                  </a:cxn>
                  <a:cxn ang="0">
                    <a:pos x="139" y="0"/>
                  </a:cxn>
                  <a:cxn ang="0">
                    <a:pos x="148" y="6"/>
                  </a:cxn>
                  <a:cxn ang="0">
                    <a:pos x="157" y="16"/>
                  </a:cxn>
                  <a:cxn ang="0">
                    <a:pos x="165" y="25"/>
                  </a:cxn>
                  <a:cxn ang="0">
                    <a:pos x="172" y="27"/>
                  </a:cxn>
                  <a:cxn ang="0">
                    <a:pos x="182" y="22"/>
                  </a:cxn>
                  <a:cxn ang="0">
                    <a:pos x="191" y="14"/>
                  </a:cxn>
                  <a:cxn ang="0">
                    <a:pos x="210" y="14"/>
                  </a:cxn>
                  <a:cxn ang="0">
                    <a:pos x="220" y="21"/>
                  </a:cxn>
                  <a:cxn ang="0">
                    <a:pos x="227" y="15"/>
                  </a:cxn>
                  <a:cxn ang="0">
                    <a:pos x="239" y="10"/>
                  </a:cxn>
                  <a:cxn ang="0">
                    <a:pos x="251" y="9"/>
                  </a:cxn>
                  <a:cxn ang="0">
                    <a:pos x="264" y="10"/>
                  </a:cxn>
                  <a:cxn ang="0">
                    <a:pos x="274" y="18"/>
                  </a:cxn>
                  <a:cxn ang="0">
                    <a:pos x="283" y="25"/>
                  </a:cxn>
                  <a:cxn ang="0">
                    <a:pos x="294" y="33"/>
                  </a:cxn>
                  <a:cxn ang="0">
                    <a:pos x="304" y="37"/>
                  </a:cxn>
                  <a:cxn ang="0">
                    <a:pos x="302" y="43"/>
                  </a:cxn>
                  <a:cxn ang="0">
                    <a:pos x="291" y="73"/>
                  </a:cxn>
                  <a:cxn ang="0">
                    <a:pos x="285" y="96"/>
                  </a:cxn>
                </a:cxnLst>
                <a:rect l="0" t="0" r="r" b="b"/>
                <a:pathLst>
                  <a:path w="304" h="149">
                    <a:moveTo>
                      <a:pt x="285" y="96"/>
                    </a:moveTo>
                    <a:lnTo>
                      <a:pt x="273" y="100"/>
                    </a:lnTo>
                    <a:lnTo>
                      <a:pt x="256" y="89"/>
                    </a:lnTo>
                    <a:lnTo>
                      <a:pt x="241" y="84"/>
                    </a:lnTo>
                    <a:lnTo>
                      <a:pt x="229" y="88"/>
                    </a:lnTo>
                    <a:lnTo>
                      <a:pt x="211" y="85"/>
                    </a:lnTo>
                    <a:lnTo>
                      <a:pt x="196" y="94"/>
                    </a:lnTo>
                    <a:lnTo>
                      <a:pt x="191" y="106"/>
                    </a:lnTo>
                    <a:lnTo>
                      <a:pt x="181" y="108"/>
                    </a:lnTo>
                    <a:lnTo>
                      <a:pt x="167" y="116"/>
                    </a:lnTo>
                    <a:lnTo>
                      <a:pt x="150" y="110"/>
                    </a:lnTo>
                    <a:lnTo>
                      <a:pt x="134" y="119"/>
                    </a:lnTo>
                    <a:lnTo>
                      <a:pt x="103" y="128"/>
                    </a:lnTo>
                    <a:lnTo>
                      <a:pt x="90" y="148"/>
                    </a:lnTo>
                    <a:lnTo>
                      <a:pt x="84" y="148"/>
                    </a:lnTo>
                    <a:lnTo>
                      <a:pt x="51" y="149"/>
                    </a:lnTo>
                    <a:lnTo>
                      <a:pt x="27" y="131"/>
                    </a:lnTo>
                    <a:lnTo>
                      <a:pt x="12" y="123"/>
                    </a:lnTo>
                    <a:lnTo>
                      <a:pt x="6" y="110"/>
                    </a:lnTo>
                    <a:lnTo>
                      <a:pt x="0" y="88"/>
                    </a:lnTo>
                    <a:lnTo>
                      <a:pt x="5" y="76"/>
                    </a:lnTo>
                    <a:lnTo>
                      <a:pt x="12" y="67"/>
                    </a:lnTo>
                    <a:lnTo>
                      <a:pt x="20" y="67"/>
                    </a:lnTo>
                    <a:lnTo>
                      <a:pt x="25" y="72"/>
                    </a:lnTo>
                    <a:lnTo>
                      <a:pt x="40" y="69"/>
                    </a:lnTo>
                    <a:lnTo>
                      <a:pt x="53" y="59"/>
                    </a:lnTo>
                    <a:lnTo>
                      <a:pt x="53" y="53"/>
                    </a:lnTo>
                    <a:lnTo>
                      <a:pt x="62" y="51"/>
                    </a:lnTo>
                    <a:lnTo>
                      <a:pt x="67" y="42"/>
                    </a:lnTo>
                    <a:lnTo>
                      <a:pt x="68" y="30"/>
                    </a:lnTo>
                    <a:lnTo>
                      <a:pt x="70" y="25"/>
                    </a:lnTo>
                    <a:lnTo>
                      <a:pt x="79" y="22"/>
                    </a:lnTo>
                    <a:lnTo>
                      <a:pt x="84" y="15"/>
                    </a:lnTo>
                    <a:lnTo>
                      <a:pt x="89" y="8"/>
                    </a:lnTo>
                    <a:lnTo>
                      <a:pt x="100" y="9"/>
                    </a:lnTo>
                    <a:lnTo>
                      <a:pt x="107" y="2"/>
                    </a:lnTo>
                    <a:lnTo>
                      <a:pt x="118" y="8"/>
                    </a:lnTo>
                    <a:lnTo>
                      <a:pt x="129" y="5"/>
                    </a:lnTo>
                    <a:lnTo>
                      <a:pt x="139" y="0"/>
                    </a:lnTo>
                    <a:lnTo>
                      <a:pt x="148" y="6"/>
                    </a:lnTo>
                    <a:lnTo>
                      <a:pt x="157" y="16"/>
                    </a:lnTo>
                    <a:lnTo>
                      <a:pt x="165" y="25"/>
                    </a:lnTo>
                    <a:lnTo>
                      <a:pt x="172" y="27"/>
                    </a:lnTo>
                    <a:lnTo>
                      <a:pt x="182" y="22"/>
                    </a:lnTo>
                    <a:lnTo>
                      <a:pt x="191" y="14"/>
                    </a:lnTo>
                    <a:lnTo>
                      <a:pt x="210" y="14"/>
                    </a:lnTo>
                    <a:lnTo>
                      <a:pt x="220" y="21"/>
                    </a:lnTo>
                    <a:lnTo>
                      <a:pt x="227" y="15"/>
                    </a:lnTo>
                    <a:lnTo>
                      <a:pt x="239" y="10"/>
                    </a:lnTo>
                    <a:lnTo>
                      <a:pt x="251" y="9"/>
                    </a:lnTo>
                    <a:lnTo>
                      <a:pt x="264" y="10"/>
                    </a:lnTo>
                    <a:lnTo>
                      <a:pt x="274" y="18"/>
                    </a:lnTo>
                    <a:lnTo>
                      <a:pt x="283" y="25"/>
                    </a:lnTo>
                    <a:lnTo>
                      <a:pt x="294" y="33"/>
                    </a:lnTo>
                    <a:lnTo>
                      <a:pt x="304" y="37"/>
                    </a:lnTo>
                    <a:lnTo>
                      <a:pt x="302" y="43"/>
                    </a:lnTo>
                    <a:lnTo>
                      <a:pt x="291" y="73"/>
                    </a:lnTo>
                    <a:lnTo>
                      <a:pt x="285" y="9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00" name="Freeform 214"/>
              <p:cNvSpPr>
                <a:spLocks noChangeAspect="1"/>
              </p:cNvSpPr>
              <p:nvPr/>
            </p:nvSpPr>
            <p:spPr bwMode="gray">
              <a:xfrm>
                <a:off x="4993481" y="2770535"/>
                <a:ext cx="53975" cy="39688"/>
              </a:xfrm>
              <a:custGeom>
                <a:avLst/>
                <a:gdLst/>
                <a:ahLst/>
                <a:cxnLst>
                  <a:cxn ang="0">
                    <a:pos x="136" y="4"/>
                  </a:cxn>
                  <a:cxn ang="0">
                    <a:pos x="117" y="10"/>
                  </a:cxn>
                  <a:cxn ang="0">
                    <a:pos x="108" y="19"/>
                  </a:cxn>
                  <a:cxn ang="0">
                    <a:pos x="75" y="17"/>
                  </a:cxn>
                  <a:cxn ang="0">
                    <a:pos x="58" y="33"/>
                  </a:cxn>
                  <a:cxn ang="0">
                    <a:pos x="14" y="31"/>
                  </a:cxn>
                  <a:cxn ang="0">
                    <a:pos x="0" y="48"/>
                  </a:cxn>
                  <a:cxn ang="0">
                    <a:pos x="2" y="54"/>
                  </a:cxn>
                  <a:cxn ang="0">
                    <a:pos x="5" y="60"/>
                  </a:cxn>
                  <a:cxn ang="0">
                    <a:pos x="9" y="74"/>
                  </a:cxn>
                  <a:cxn ang="0">
                    <a:pos x="11" y="85"/>
                  </a:cxn>
                  <a:cxn ang="0">
                    <a:pos x="21" y="94"/>
                  </a:cxn>
                  <a:cxn ang="0">
                    <a:pos x="27" y="98"/>
                  </a:cxn>
                  <a:cxn ang="0">
                    <a:pos x="22" y="106"/>
                  </a:cxn>
                  <a:cxn ang="0">
                    <a:pos x="12" y="106"/>
                  </a:cxn>
                  <a:cxn ang="0">
                    <a:pos x="14" y="117"/>
                  </a:cxn>
                  <a:cxn ang="0">
                    <a:pos x="30" y="111"/>
                  </a:cxn>
                  <a:cxn ang="0">
                    <a:pos x="53" y="116"/>
                  </a:cxn>
                  <a:cxn ang="0">
                    <a:pos x="63" y="100"/>
                  </a:cxn>
                  <a:cxn ang="0">
                    <a:pos x="79" y="118"/>
                  </a:cxn>
                  <a:cxn ang="0">
                    <a:pos x="81" y="114"/>
                  </a:cxn>
                  <a:cxn ang="0">
                    <a:pos x="87" y="117"/>
                  </a:cxn>
                  <a:cxn ang="0">
                    <a:pos x="96" y="123"/>
                  </a:cxn>
                  <a:cxn ang="0">
                    <a:pos x="100" y="107"/>
                  </a:cxn>
                  <a:cxn ang="0">
                    <a:pos x="100" y="97"/>
                  </a:cxn>
                  <a:cxn ang="0">
                    <a:pos x="119" y="87"/>
                  </a:cxn>
                  <a:cxn ang="0">
                    <a:pos x="124" y="69"/>
                  </a:cxn>
                  <a:cxn ang="0">
                    <a:pos x="117" y="58"/>
                  </a:cxn>
                  <a:cxn ang="0">
                    <a:pos x="140" y="46"/>
                  </a:cxn>
                  <a:cxn ang="0">
                    <a:pos x="144" y="38"/>
                  </a:cxn>
                  <a:cxn ang="0">
                    <a:pos x="155" y="39"/>
                  </a:cxn>
                  <a:cxn ang="0">
                    <a:pos x="154" y="32"/>
                  </a:cxn>
                  <a:cxn ang="0">
                    <a:pos x="157" y="24"/>
                  </a:cxn>
                  <a:cxn ang="0">
                    <a:pos x="170" y="31"/>
                  </a:cxn>
                  <a:cxn ang="0">
                    <a:pos x="173" y="31"/>
                  </a:cxn>
                  <a:cxn ang="0">
                    <a:pos x="160" y="4"/>
                  </a:cxn>
                  <a:cxn ang="0">
                    <a:pos x="145" y="0"/>
                  </a:cxn>
                </a:cxnLst>
                <a:rect l="0" t="0" r="r" b="b"/>
                <a:pathLst>
                  <a:path w="173" h="123">
                    <a:moveTo>
                      <a:pt x="145" y="0"/>
                    </a:moveTo>
                    <a:lnTo>
                      <a:pt x="136" y="4"/>
                    </a:lnTo>
                    <a:lnTo>
                      <a:pt x="134" y="12"/>
                    </a:lnTo>
                    <a:lnTo>
                      <a:pt x="117" y="10"/>
                    </a:lnTo>
                    <a:lnTo>
                      <a:pt x="113" y="10"/>
                    </a:lnTo>
                    <a:lnTo>
                      <a:pt x="108" y="19"/>
                    </a:lnTo>
                    <a:lnTo>
                      <a:pt x="88" y="15"/>
                    </a:lnTo>
                    <a:lnTo>
                      <a:pt x="75" y="17"/>
                    </a:lnTo>
                    <a:lnTo>
                      <a:pt x="66" y="28"/>
                    </a:lnTo>
                    <a:lnTo>
                      <a:pt x="58" y="33"/>
                    </a:lnTo>
                    <a:lnTo>
                      <a:pt x="30" y="31"/>
                    </a:lnTo>
                    <a:lnTo>
                      <a:pt x="14" y="31"/>
                    </a:lnTo>
                    <a:lnTo>
                      <a:pt x="2" y="41"/>
                    </a:lnTo>
                    <a:lnTo>
                      <a:pt x="0" y="48"/>
                    </a:lnTo>
                    <a:lnTo>
                      <a:pt x="0" y="53"/>
                    </a:lnTo>
                    <a:lnTo>
                      <a:pt x="2" y="54"/>
                    </a:lnTo>
                    <a:lnTo>
                      <a:pt x="7" y="53"/>
                    </a:lnTo>
                    <a:lnTo>
                      <a:pt x="5" y="60"/>
                    </a:lnTo>
                    <a:lnTo>
                      <a:pt x="4" y="68"/>
                    </a:lnTo>
                    <a:lnTo>
                      <a:pt x="9" y="74"/>
                    </a:lnTo>
                    <a:lnTo>
                      <a:pt x="9" y="82"/>
                    </a:lnTo>
                    <a:lnTo>
                      <a:pt x="11" y="85"/>
                    </a:lnTo>
                    <a:lnTo>
                      <a:pt x="18" y="89"/>
                    </a:lnTo>
                    <a:lnTo>
                      <a:pt x="21" y="94"/>
                    </a:lnTo>
                    <a:lnTo>
                      <a:pt x="25" y="95"/>
                    </a:lnTo>
                    <a:lnTo>
                      <a:pt x="27" y="98"/>
                    </a:lnTo>
                    <a:lnTo>
                      <a:pt x="26" y="103"/>
                    </a:lnTo>
                    <a:lnTo>
                      <a:pt x="22" y="106"/>
                    </a:lnTo>
                    <a:lnTo>
                      <a:pt x="17" y="107"/>
                    </a:lnTo>
                    <a:lnTo>
                      <a:pt x="12" y="106"/>
                    </a:lnTo>
                    <a:lnTo>
                      <a:pt x="6" y="111"/>
                    </a:lnTo>
                    <a:lnTo>
                      <a:pt x="14" y="117"/>
                    </a:lnTo>
                    <a:lnTo>
                      <a:pt x="27" y="116"/>
                    </a:lnTo>
                    <a:lnTo>
                      <a:pt x="30" y="111"/>
                    </a:lnTo>
                    <a:lnTo>
                      <a:pt x="36" y="116"/>
                    </a:lnTo>
                    <a:lnTo>
                      <a:pt x="53" y="116"/>
                    </a:lnTo>
                    <a:lnTo>
                      <a:pt x="60" y="100"/>
                    </a:lnTo>
                    <a:lnTo>
                      <a:pt x="63" y="100"/>
                    </a:lnTo>
                    <a:lnTo>
                      <a:pt x="74" y="119"/>
                    </a:lnTo>
                    <a:lnTo>
                      <a:pt x="79" y="118"/>
                    </a:lnTo>
                    <a:lnTo>
                      <a:pt x="79" y="114"/>
                    </a:lnTo>
                    <a:lnTo>
                      <a:pt x="81" y="114"/>
                    </a:lnTo>
                    <a:lnTo>
                      <a:pt x="84" y="117"/>
                    </a:lnTo>
                    <a:lnTo>
                      <a:pt x="87" y="117"/>
                    </a:lnTo>
                    <a:lnTo>
                      <a:pt x="92" y="123"/>
                    </a:lnTo>
                    <a:lnTo>
                      <a:pt x="96" y="123"/>
                    </a:lnTo>
                    <a:lnTo>
                      <a:pt x="101" y="119"/>
                    </a:lnTo>
                    <a:lnTo>
                      <a:pt x="100" y="107"/>
                    </a:lnTo>
                    <a:lnTo>
                      <a:pt x="103" y="102"/>
                    </a:lnTo>
                    <a:lnTo>
                      <a:pt x="100" y="97"/>
                    </a:lnTo>
                    <a:lnTo>
                      <a:pt x="111" y="89"/>
                    </a:lnTo>
                    <a:lnTo>
                      <a:pt x="119" y="87"/>
                    </a:lnTo>
                    <a:lnTo>
                      <a:pt x="124" y="80"/>
                    </a:lnTo>
                    <a:lnTo>
                      <a:pt x="124" y="69"/>
                    </a:lnTo>
                    <a:lnTo>
                      <a:pt x="118" y="62"/>
                    </a:lnTo>
                    <a:lnTo>
                      <a:pt x="117" y="58"/>
                    </a:lnTo>
                    <a:lnTo>
                      <a:pt x="120" y="53"/>
                    </a:lnTo>
                    <a:lnTo>
                      <a:pt x="140" y="46"/>
                    </a:lnTo>
                    <a:lnTo>
                      <a:pt x="144" y="43"/>
                    </a:lnTo>
                    <a:lnTo>
                      <a:pt x="144" y="38"/>
                    </a:lnTo>
                    <a:lnTo>
                      <a:pt x="151" y="38"/>
                    </a:lnTo>
                    <a:lnTo>
                      <a:pt x="155" y="39"/>
                    </a:lnTo>
                    <a:lnTo>
                      <a:pt x="155" y="38"/>
                    </a:lnTo>
                    <a:lnTo>
                      <a:pt x="154" y="32"/>
                    </a:lnTo>
                    <a:lnTo>
                      <a:pt x="154" y="27"/>
                    </a:lnTo>
                    <a:lnTo>
                      <a:pt x="157" y="24"/>
                    </a:lnTo>
                    <a:lnTo>
                      <a:pt x="161" y="25"/>
                    </a:lnTo>
                    <a:lnTo>
                      <a:pt x="170" y="31"/>
                    </a:lnTo>
                    <a:lnTo>
                      <a:pt x="173" y="28"/>
                    </a:lnTo>
                    <a:lnTo>
                      <a:pt x="173" y="31"/>
                    </a:lnTo>
                    <a:lnTo>
                      <a:pt x="165" y="17"/>
                    </a:lnTo>
                    <a:lnTo>
                      <a:pt x="160" y="4"/>
                    </a:lnTo>
                    <a:lnTo>
                      <a:pt x="152" y="0"/>
                    </a:lnTo>
                    <a:lnTo>
                      <a:pt x="145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01" name="Freeform 215"/>
              <p:cNvSpPr>
                <a:spLocks noChangeAspect="1"/>
              </p:cNvSpPr>
              <p:nvPr/>
            </p:nvSpPr>
            <p:spPr bwMode="gray">
              <a:xfrm>
                <a:off x="5117306" y="2881660"/>
                <a:ext cx="41275" cy="33338"/>
              </a:xfrm>
              <a:custGeom>
                <a:avLst/>
                <a:gdLst/>
                <a:ahLst/>
                <a:cxnLst>
                  <a:cxn ang="0">
                    <a:pos x="25" y="107"/>
                  </a:cxn>
                  <a:cxn ang="0">
                    <a:pos x="8" y="90"/>
                  </a:cxn>
                  <a:cxn ang="0">
                    <a:pos x="0" y="70"/>
                  </a:cxn>
                  <a:cxn ang="0">
                    <a:pos x="0" y="53"/>
                  </a:cxn>
                  <a:cxn ang="0">
                    <a:pos x="5" y="17"/>
                  </a:cxn>
                  <a:cxn ang="0">
                    <a:pos x="6" y="19"/>
                  </a:cxn>
                  <a:cxn ang="0">
                    <a:pos x="11" y="19"/>
                  </a:cxn>
                  <a:cxn ang="0">
                    <a:pos x="14" y="16"/>
                  </a:cxn>
                  <a:cxn ang="0">
                    <a:pos x="14" y="8"/>
                  </a:cxn>
                  <a:cxn ang="0">
                    <a:pos x="32" y="1"/>
                  </a:cxn>
                  <a:cxn ang="0">
                    <a:pos x="35" y="3"/>
                  </a:cxn>
                  <a:cxn ang="0">
                    <a:pos x="41" y="10"/>
                  </a:cxn>
                  <a:cxn ang="0">
                    <a:pos x="44" y="10"/>
                  </a:cxn>
                  <a:cxn ang="0">
                    <a:pos x="44" y="5"/>
                  </a:cxn>
                  <a:cxn ang="0">
                    <a:pos x="51" y="0"/>
                  </a:cxn>
                  <a:cxn ang="0">
                    <a:pos x="67" y="4"/>
                  </a:cxn>
                  <a:cxn ang="0">
                    <a:pos x="71" y="0"/>
                  </a:cxn>
                  <a:cxn ang="0">
                    <a:pos x="86" y="3"/>
                  </a:cxn>
                  <a:cxn ang="0">
                    <a:pos x="97" y="1"/>
                  </a:cxn>
                  <a:cxn ang="0">
                    <a:pos x="103" y="4"/>
                  </a:cxn>
                  <a:cxn ang="0">
                    <a:pos x="126" y="24"/>
                  </a:cxn>
                  <a:cxn ang="0">
                    <a:pos x="131" y="53"/>
                  </a:cxn>
                  <a:cxn ang="0">
                    <a:pos x="132" y="69"/>
                  </a:cxn>
                  <a:cxn ang="0">
                    <a:pos x="126" y="71"/>
                  </a:cxn>
                  <a:cxn ang="0">
                    <a:pos x="111" y="85"/>
                  </a:cxn>
                  <a:cxn ang="0">
                    <a:pos x="91" y="85"/>
                  </a:cxn>
                  <a:cxn ang="0">
                    <a:pos x="72" y="92"/>
                  </a:cxn>
                  <a:cxn ang="0">
                    <a:pos x="61" y="102"/>
                  </a:cxn>
                  <a:cxn ang="0">
                    <a:pos x="25" y="107"/>
                  </a:cxn>
                </a:cxnLst>
                <a:rect l="0" t="0" r="r" b="b"/>
                <a:pathLst>
                  <a:path w="132" h="107">
                    <a:moveTo>
                      <a:pt x="25" y="107"/>
                    </a:moveTo>
                    <a:lnTo>
                      <a:pt x="8" y="90"/>
                    </a:lnTo>
                    <a:lnTo>
                      <a:pt x="0" y="70"/>
                    </a:lnTo>
                    <a:lnTo>
                      <a:pt x="0" y="53"/>
                    </a:lnTo>
                    <a:lnTo>
                      <a:pt x="5" y="17"/>
                    </a:lnTo>
                    <a:lnTo>
                      <a:pt x="6" y="19"/>
                    </a:lnTo>
                    <a:lnTo>
                      <a:pt x="11" y="19"/>
                    </a:lnTo>
                    <a:lnTo>
                      <a:pt x="14" y="16"/>
                    </a:lnTo>
                    <a:lnTo>
                      <a:pt x="14" y="8"/>
                    </a:lnTo>
                    <a:lnTo>
                      <a:pt x="32" y="1"/>
                    </a:lnTo>
                    <a:lnTo>
                      <a:pt x="35" y="3"/>
                    </a:lnTo>
                    <a:lnTo>
                      <a:pt x="41" y="10"/>
                    </a:lnTo>
                    <a:lnTo>
                      <a:pt x="44" y="10"/>
                    </a:lnTo>
                    <a:lnTo>
                      <a:pt x="44" y="5"/>
                    </a:lnTo>
                    <a:lnTo>
                      <a:pt x="51" y="0"/>
                    </a:lnTo>
                    <a:lnTo>
                      <a:pt x="67" y="4"/>
                    </a:lnTo>
                    <a:lnTo>
                      <a:pt x="71" y="0"/>
                    </a:lnTo>
                    <a:lnTo>
                      <a:pt x="86" y="3"/>
                    </a:lnTo>
                    <a:lnTo>
                      <a:pt x="97" y="1"/>
                    </a:lnTo>
                    <a:lnTo>
                      <a:pt x="103" y="4"/>
                    </a:lnTo>
                    <a:lnTo>
                      <a:pt x="126" y="24"/>
                    </a:lnTo>
                    <a:lnTo>
                      <a:pt x="131" y="53"/>
                    </a:lnTo>
                    <a:lnTo>
                      <a:pt x="132" y="69"/>
                    </a:lnTo>
                    <a:lnTo>
                      <a:pt x="126" y="71"/>
                    </a:lnTo>
                    <a:lnTo>
                      <a:pt x="111" y="85"/>
                    </a:lnTo>
                    <a:lnTo>
                      <a:pt x="91" y="85"/>
                    </a:lnTo>
                    <a:lnTo>
                      <a:pt x="72" y="92"/>
                    </a:lnTo>
                    <a:lnTo>
                      <a:pt x="61" y="102"/>
                    </a:lnTo>
                    <a:lnTo>
                      <a:pt x="25" y="10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02" name="Freeform 216"/>
              <p:cNvSpPr>
                <a:spLocks noChangeAspect="1"/>
              </p:cNvSpPr>
              <p:nvPr/>
            </p:nvSpPr>
            <p:spPr bwMode="gray">
              <a:xfrm>
                <a:off x="5110956" y="2734022"/>
                <a:ext cx="165100" cy="115888"/>
              </a:xfrm>
              <a:custGeom>
                <a:avLst/>
                <a:gdLst/>
                <a:ahLst/>
                <a:cxnLst>
                  <a:cxn ang="0">
                    <a:pos x="449" y="356"/>
                  </a:cxn>
                  <a:cxn ang="0">
                    <a:pos x="399" y="334"/>
                  </a:cxn>
                  <a:cxn ang="0">
                    <a:pos x="373" y="328"/>
                  </a:cxn>
                  <a:cxn ang="0">
                    <a:pos x="327" y="347"/>
                  </a:cxn>
                  <a:cxn ang="0">
                    <a:pos x="291" y="364"/>
                  </a:cxn>
                  <a:cxn ang="0">
                    <a:pos x="206" y="355"/>
                  </a:cxn>
                  <a:cxn ang="0">
                    <a:pos x="158" y="351"/>
                  </a:cxn>
                  <a:cxn ang="0">
                    <a:pos x="153" y="328"/>
                  </a:cxn>
                  <a:cxn ang="0">
                    <a:pos x="131" y="322"/>
                  </a:cxn>
                  <a:cxn ang="0">
                    <a:pos x="134" y="295"/>
                  </a:cxn>
                  <a:cxn ang="0">
                    <a:pos x="115" y="293"/>
                  </a:cxn>
                  <a:cxn ang="0">
                    <a:pos x="72" y="270"/>
                  </a:cxn>
                  <a:cxn ang="0">
                    <a:pos x="69" y="246"/>
                  </a:cxn>
                  <a:cxn ang="0">
                    <a:pos x="49" y="238"/>
                  </a:cxn>
                  <a:cxn ang="0">
                    <a:pos x="35" y="207"/>
                  </a:cxn>
                  <a:cxn ang="0">
                    <a:pos x="19" y="182"/>
                  </a:cxn>
                  <a:cxn ang="0">
                    <a:pos x="0" y="172"/>
                  </a:cxn>
                  <a:cxn ang="0">
                    <a:pos x="35" y="162"/>
                  </a:cxn>
                  <a:cxn ang="0">
                    <a:pos x="59" y="138"/>
                  </a:cxn>
                  <a:cxn ang="0">
                    <a:pos x="73" y="112"/>
                  </a:cxn>
                  <a:cxn ang="0">
                    <a:pos x="91" y="85"/>
                  </a:cxn>
                  <a:cxn ang="0">
                    <a:pos x="99" y="63"/>
                  </a:cxn>
                  <a:cxn ang="0">
                    <a:pos x="110" y="46"/>
                  </a:cxn>
                  <a:cxn ang="0">
                    <a:pos x="132" y="39"/>
                  </a:cxn>
                  <a:cxn ang="0">
                    <a:pos x="144" y="25"/>
                  </a:cxn>
                  <a:cxn ang="0">
                    <a:pos x="168" y="22"/>
                  </a:cxn>
                  <a:cxn ang="0">
                    <a:pos x="210" y="27"/>
                  </a:cxn>
                  <a:cxn ang="0">
                    <a:pos x="241" y="22"/>
                  </a:cxn>
                  <a:cxn ang="0">
                    <a:pos x="261" y="37"/>
                  </a:cxn>
                  <a:cxn ang="0">
                    <a:pos x="295" y="21"/>
                  </a:cxn>
                  <a:cxn ang="0">
                    <a:pos x="346" y="0"/>
                  </a:cxn>
                  <a:cxn ang="0">
                    <a:pos x="360" y="1"/>
                  </a:cxn>
                  <a:cxn ang="0">
                    <a:pos x="386" y="25"/>
                  </a:cxn>
                  <a:cxn ang="0">
                    <a:pos x="397" y="55"/>
                  </a:cxn>
                  <a:cxn ang="0">
                    <a:pos x="422" y="97"/>
                  </a:cxn>
                  <a:cxn ang="0">
                    <a:pos x="438" y="146"/>
                  </a:cxn>
                  <a:cxn ang="0">
                    <a:pos x="436" y="182"/>
                  </a:cxn>
                  <a:cxn ang="0">
                    <a:pos x="440" y="207"/>
                  </a:cxn>
                  <a:cxn ang="0">
                    <a:pos x="440" y="225"/>
                  </a:cxn>
                  <a:cxn ang="0">
                    <a:pos x="462" y="241"/>
                  </a:cxn>
                  <a:cxn ang="0">
                    <a:pos x="483" y="232"/>
                  </a:cxn>
                  <a:cxn ang="0">
                    <a:pos x="506" y="226"/>
                  </a:cxn>
                  <a:cxn ang="0">
                    <a:pos x="521" y="230"/>
                  </a:cxn>
                  <a:cxn ang="0">
                    <a:pos x="523" y="254"/>
                  </a:cxn>
                  <a:cxn ang="0">
                    <a:pos x="518" y="270"/>
                  </a:cxn>
                  <a:cxn ang="0">
                    <a:pos x="502" y="279"/>
                  </a:cxn>
                  <a:cxn ang="0">
                    <a:pos x="485" y="296"/>
                  </a:cxn>
                  <a:cxn ang="0">
                    <a:pos x="475" y="296"/>
                  </a:cxn>
                  <a:cxn ang="0">
                    <a:pos x="487" y="277"/>
                  </a:cxn>
                  <a:cxn ang="0">
                    <a:pos x="480" y="263"/>
                  </a:cxn>
                  <a:cxn ang="0">
                    <a:pos x="472" y="299"/>
                  </a:cxn>
                  <a:cxn ang="0">
                    <a:pos x="467" y="317"/>
                  </a:cxn>
                  <a:cxn ang="0">
                    <a:pos x="465" y="344"/>
                  </a:cxn>
                </a:cxnLst>
                <a:rect l="0" t="0" r="r" b="b"/>
                <a:pathLst>
                  <a:path w="523" h="364">
                    <a:moveTo>
                      <a:pt x="467" y="355"/>
                    </a:moveTo>
                    <a:lnTo>
                      <a:pt x="449" y="356"/>
                    </a:lnTo>
                    <a:lnTo>
                      <a:pt x="429" y="343"/>
                    </a:lnTo>
                    <a:lnTo>
                      <a:pt x="399" y="334"/>
                    </a:lnTo>
                    <a:lnTo>
                      <a:pt x="393" y="329"/>
                    </a:lnTo>
                    <a:lnTo>
                      <a:pt x="373" y="328"/>
                    </a:lnTo>
                    <a:lnTo>
                      <a:pt x="347" y="337"/>
                    </a:lnTo>
                    <a:lnTo>
                      <a:pt x="327" y="347"/>
                    </a:lnTo>
                    <a:lnTo>
                      <a:pt x="308" y="359"/>
                    </a:lnTo>
                    <a:lnTo>
                      <a:pt x="291" y="364"/>
                    </a:lnTo>
                    <a:lnTo>
                      <a:pt x="247" y="356"/>
                    </a:lnTo>
                    <a:lnTo>
                      <a:pt x="206" y="355"/>
                    </a:lnTo>
                    <a:lnTo>
                      <a:pt x="172" y="351"/>
                    </a:lnTo>
                    <a:lnTo>
                      <a:pt x="158" y="351"/>
                    </a:lnTo>
                    <a:lnTo>
                      <a:pt x="147" y="343"/>
                    </a:lnTo>
                    <a:lnTo>
                      <a:pt x="153" y="328"/>
                    </a:lnTo>
                    <a:lnTo>
                      <a:pt x="141" y="324"/>
                    </a:lnTo>
                    <a:lnTo>
                      <a:pt x="131" y="322"/>
                    </a:lnTo>
                    <a:lnTo>
                      <a:pt x="124" y="306"/>
                    </a:lnTo>
                    <a:lnTo>
                      <a:pt x="134" y="295"/>
                    </a:lnTo>
                    <a:lnTo>
                      <a:pt x="126" y="284"/>
                    </a:lnTo>
                    <a:lnTo>
                      <a:pt x="115" y="293"/>
                    </a:lnTo>
                    <a:lnTo>
                      <a:pt x="87" y="283"/>
                    </a:lnTo>
                    <a:lnTo>
                      <a:pt x="72" y="270"/>
                    </a:lnTo>
                    <a:lnTo>
                      <a:pt x="71" y="256"/>
                    </a:lnTo>
                    <a:lnTo>
                      <a:pt x="69" y="246"/>
                    </a:lnTo>
                    <a:lnTo>
                      <a:pt x="60" y="241"/>
                    </a:lnTo>
                    <a:lnTo>
                      <a:pt x="49" y="238"/>
                    </a:lnTo>
                    <a:lnTo>
                      <a:pt x="40" y="225"/>
                    </a:lnTo>
                    <a:lnTo>
                      <a:pt x="35" y="207"/>
                    </a:lnTo>
                    <a:lnTo>
                      <a:pt x="30" y="194"/>
                    </a:lnTo>
                    <a:lnTo>
                      <a:pt x="19" y="182"/>
                    </a:lnTo>
                    <a:lnTo>
                      <a:pt x="5" y="176"/>
                    </a:lnTo>
                    <a:lnTo>
                      <a:pt x="0" y="172"/>
                    </a:lnTo>
                    <a:lnTo>
                      <a:pt x="3" y="172"/>
                    </a:lnTo>
                    <a:lnTo>
                      <a:pt x="35" y="162"/>
                    </a:lnTo>
                    <a:lnTo>
                      <a:pt x="51" y="155"/>
                    </a:lnTo>
                    <a:lnTo>
                      <a:pt x="59" y="138"/>
                    </a:lnTo>
                    <a:lnTo>
                      <a:pt x="66" y="128"/>
                    </a:lnTo>
                    <a:lnTo>
                      <a:pt x="73" y="112"/>
                    </a:lnTo>
                    <a:lnTo>
                      <a:pt x="78" y="98"/>
                    </a:lnTo>
                    <a:lnTo>
                      <a:pt x="91" y="85"/>
                    </a:lnTo>
                    <a:lnTo>
                      <a:pt x="93" y="74"/>
                    </a:lnTo>
                    <a:lnTo>
                      <a:pt x="99" y="63"/>
                    </a:lnTo>
                    <a:lnTo>
                      <a:pt x="101" y="55"/>
                    </a:lnTo>
                    <a:lnTo>
                      <a:pt x="110" y="46"/>
                    </a:lnTo>
                    <a:lnTo>
                      <a:pt x="125" y="39"/>
                    </a:lnTo>
                    <a:lnTo>
                      <a:pt x="132" y="39"/>
                    </a:lnTo>
                    <a:lnTo>
                      <a:pt x="140" y="32"/>
                    </a:lnTo>
                    <a:lnTo>
                      <a:pt x="144" y="25"/>
                    </a:lnTo>
                    <a:lnTo>
                      <a:pt x="151" y="22"/>
                    </a:lnTo>
                    <a:lnTo>
                      <a:pt x="168" y="22"/>
                    </a:lnTo>
                    <a:lnTo>
                      <a:pt x="187" y="25"/>
                    </a:lnTo>
                    <a:lnTo>
                      <a:pt x="210" y="27"/>
                    </a:lnTo>
                    <a:lnTo>
                      <a:pt x="225" y="24"/>
                    </a:lnTo>
                    <a:lnTo>
                      <a:pt x="241" y="22"/>
                    </a:lnTo>
                    <a:lnTo>
                      <a:pt x="252" y="32"/>
                    </a:lnTo>
                    <a:lnTo>
                      <a:pt x="261" y="37"/>
                    </a:lnTo>
                    <a:lnTo>
                      <a:pt x="277" y="26"/>
                    </a:lnTo>
                    <a:lnTo>
                      <a:pt x="295" y="21"/>
                    </a:lnTo>
                    <a:lnTo>
                      <a:pt x="312" y="21"/>
                    </a:lnTo>
                    <a:lnTo>
                      <a:pt x="346" y="0"/>
                    </a:lnTo>
                    <a:lnTo>
                      <a:pt x="352" y="1"/>
                    </a:lnTo>
                    <a:lnTo>
                      <a:pt x="360" y="1"/>
                    </a:lnTo>
                    <a:lnTo>
                      <a:pt x="372" y="11"/>
                    </a:lnTo>
                    <a:lnTo>
                      <a:pt x="386" y="25"/>
                    </a:lnTo>
                    <a:lnTo>
                      <a:pt x="394" y="38"/>
                    </a:lnTo>
                    <a:lnTo>
                      <a:pt x="397" y="55"/>
                    </a:lnTo>
                    <a:lnTo>
                      <a:pt x="409" y="76"/>
                    </a:lnTo>
                    <a:lnTo>
                      <a:pt x="422" y="97"/>
                    </a:lnTo>
                    <a:lnTo>
                      <a:pt x="433" y="117"/>
                    </a:lnTo>
                    <a:lnTo>
                      <a:pt x="438" y="146"/>
                    </a:lnTo>
                    <a:lnTo>
                      <a:pt x="438" y="166"/>
                    </a:lnTo>
                    <a:lnTo>
                      <a:pt x="436" y="182"/>
                    </a:lnTo>
                    <a:lnTo>
                      <a:pt x="438" y="194"/>
                    </a:lnTo>
                    <a:lnTo>
                      <a:pt x="440" y="207"/>
                    </a:lnTo>
                    <a:lnTo>
                      <a:pt x="440" y="221"/>
                    </a:lnTo>
                    <a:lnTo>
                      <a:pt x="440" y="225"/>
                    </a:lnTo>
                    <a:lnTo>
                      <a:pt x="448" y="224"/>
                    </a:lnTo>
                    <a:lnTo>
                      <a:pt x="462" y="241"/>
                    </a:lnTo>
                    <a:lnTo>
                      <a:pt x="472" y="240"/>
                    </a:lnTo>
                    <a:lnTo>
                      <a:pt x="483" y="232"/>
                    </a:lnTo>
                    <a:lnTo>
                      <a:pt x="497" y="230"/>
                    </a:lnTo>
                    <a:lnTo>
                      <a:pt x="506" y="226"/>
                    </a:lnTo>
                    <a:lnTo>
                      <a:pt x="515" y="226"/>
                    </a:lnTo>
                    <a:lnTo>
                      <a:pt x="521" y="230"/>
                    </a:lnTo>
                    <a:lnTo>
                      <a:pt x="523" y="237"/>
                    </a:lnTo>
                    <a:lnTo>
                      <a:pt x="523" y="254"/>
                    </a:lnTo>
                    <a:lnTo>
                      <a:pt x="521" y="265"/>
                    </a:lnTo>
                    <a:lnTo>
                      <a:pt x="518" y="270"/>
                    </a:lnTo>
                    <a:lnTo>
                      <a:pt x="513" y="277"/>
                    </a:lnTo>
                    <a:lnTo>
                      <a:pt x="502" y="279"/>
                    </a:lnTo>
                    <a:lnTo>
                      <a:pt x="492" y="286"/>
                    </a:lnTo>
                    <a:lnTo>
                      <a:pt x="485" y="296"/>
                    </a:lnTo>
                    <a:lnTo>
                      <a:pt x="478" y="302"/>
                    </a:lnTo>
                    <a:lnTo>
                      <a:pt x="475" y="296"/>
                    </a:lnTo>
                    <a:lnTo>
                      <a:pt x="481" y="289"/>
                    </a:lnTo>
                    <a:lnTo>
                      <a:pt x="487" y="277"/>
                    </a:lnTo>
                    <a:lnTo>
                      <a:pt x="487" y="263"/>
                    </a:lnTo>
                    <a:lnTo>
                      <a:pt x="480" y="263"/>
                    </a:lnTo>
                    <a:lnTo>
                      <a:pt x="476" y="286"/>
                    </a:lnTo>
                    <a:lnTo>
                      <a:pt x="472" y="299"/>
                    </a:lnTo>
                    <a:lnTo>
                      <a:pt x="469" y="310"/>
                    </a:lnTo>
                    <a:lnTo>
                      <a:pt x="467" y="317"/>
                    </a:lnTo>
                    <a:lnTo>
                      <a:pt x="467" y="336"/>
                    </a:lnTo>
                    <a:lnTo>
                      <a:pt x="465" y="344"/>
                    </a:lnTo>
                    <a:lnTo>
                      <a:pt x="467" y="35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03" name="Freeform 217"/>
              <p:cNvSpPr>
                <a:spLocks noChangeAspect="1"/>
              </p:cNvSpPr>
              <p:nvPr/>
            </p:nvSpPr>
            <p:spPr bwMode="gray">
              <a:xfrm>
                <a:off x="5166519" y="2397472"/>
                <a:ext cx="85725" cy="69850"/>
              </a:xfrm>
              <a:custGeom>
                <a:avLst/>
                <a:gdLst/>
                <a:ahLst/>
                <a:cxnLst>
                  <a:cxn ang="0">
                    <a:pos x="124" y="0"/>
                  </a:cxn>
                  <a:cxn ang="0">
                    <a:pos x="140" y="5"/>
                  </a:cxn>
                  <a:cxn ang="0">
                    <a:pos x="159" y="13"/>
                  </a:cxn>
                  <a:cxn ang="0">
                    <a:pos x="184" y="21"/>
                  </a:cxn>
                  <a:cxn ang="0">
                    <a:pos x="239" y="26"/>
                  </a:cxn>
                  <a:cxn ang="0">
                    <a:pos x="253" y="15"/>
                  </a:cxn>
                  <a:cxn ang="0">
                    <a:pos x="265" y="22"/>
                  </a:cxn>
                  <a:cxn ang="0">
                    <a:pos x="264" y="38"/>
                  </a:cxn>
                  <a:cxn ang="0">
                    <a:pos x="244" y="64"/>
                  </a:cxn>
                  <a:cxn ang="0">
                    <a:pos x="242" y="91"/>
                  </a:cxn>
                  <a:cxn ang="0">
                    <a:pos x="240" y="116"/>
                  </a:cxn>
                  <a:cxn ang="0">
                    <a:pos x="243" y="127"/>
                  </a:cxn>
                  <a:cxn ang="0">
                    <a:pos x="232" y="143"/>
                  </a:cxn>
                  <a:cxn ang="0">
                    <a:pos x="224" y="154"/>
                  </a:cxn>
                  <a:cxn ang="0">
                    <a:pos x="237" y="162"/>
                  </a:cxn>
                  <a:cxn ang="0">
                    <a:pos x="261" y="178"/>
                  </a:cxn>
                  <a:cxn ang="0">
                    <a:pos x="250" y="194"/>
                  </a:cxn>
                  <a:cxn ang="0">
                    <a:pos x="233" y="176"/>
                  </a:cxn>
                  <a:cxn ang="0">
                    <a:pos x="229" y="198"/>
                  </a:cxn>
                  <a:cxn ang="0">
                    <a:pos x="224" y="220"/>
                  </a:cxn>
                  <a:cxn ang="0">
                    <a:pos x="206" y="215"/>
                  </a:cxn>
                  <a:cxn ang="0">
                    <a:pos x="183" y="220"/>
                  </a:cxn>
                  <a:cxn ang="0">
                    <a:pos x="153" y="201"/>
                  </a:cxn>
                  <a:cxn ang="0">
                    <a:pos x="134" y="186"/>
                  </a:cxn>
                  <a:cxn ang="0">
                    <a:pos x="104" y="171"/>
                  </a:cxn>
                  <a:cxn ang="0">
                    <a:pos x="65" y="185"/>
                  </a:cxn>
                  <a:cxn ang="0">
                    <a:pos x="50" y="192"/>
                  </a:cxn>
                  <a:cxn ang="0">
                    <a:pos x="56" y="155"/>
                  </a:cxn>
                  <a:cxn ang="0">
                    <a:pos x="60" y="139"/>
                  </a:cxn>
                  <a:cxn ang="0">
                    <a:pos x="43" y="144"/>
                  </a:cxn>
                  <a:cxn ang="0">
                    <a:pos x="28" y="140"/>
                  </a:cxn>
                  <a:cxn ang="0">
                    <a:pos x="14" y="139"/>
                  </a:cxn>
                  <a:cxn ang="0">
                    <a:pos x="5" y="119"/>
                  </a:cxn>
                  <a:cxn ang="0">
                    <a:pos x="7" y="100"/>
                  </a:cxn>
                  <a:cxn ang="0">
                    <a:pos x="16" y="94"/>
                  </a:cxn>
                  <a:cxn ang="0">
                    <a:pos x="3" y="79"/>
                  </a:cxn>
                  <a:cxn ang="0">
                    <a:pos x="5" y="72"/>
                  </a:cxn>
                  <a:cxn ang="0">
                    <a:pos x="3" y="49"/>
                  </a:cxn>
                  <a:cxn ang="0">
                    <a:pos x="35" y="38"/>
                  </a:cxn>
                  <a:cxn ang="0">
                    <a:pos x="39" y="30"/>
                  </a:cxn>
                  <a:cxn ang="0">
                    <a:pos x="54" y="21"/>
                  </a:cxn>
                  <a:cxn ang="0">
                    <a:pos x="77" y="13"/>
                  </a:cxn>
                  <a:cxn ang="0">
                    <a:pos x="108" y="16"/>
                  </a:cxn>
                  <a:cxn ang="0">
                    <a:pos x="111" y="5"/>
                  </a:cxn>
                </a:cxnLst>
                <a:rect l="0" t="0" r="r" b="b"/>
                <a:pathLst>
                  <a:path w="267" h="220">
                    <a:moveTo>
                      <a:pt x="121" y="5"/>
                    </a:moveTo>
                    <a:lnTo>
                      <a:pt x="124" y="0"/>
                    </a:lnTo>
                    <a:lnTo>
                      <a:pt x="131" y="9"/>
                    </a:lnTo>
                    <a:lnTo>
                      <a:pt x="140" y="5"/>
                    </a:lnTo>
                    <a:lnTo>
                      <a:pt x="147" y="6"/>
                    </a:lnTo>
                    <a:lnTo>
                      <a:pt x="159" y="13"/>
                    </a:lnTo>
                    <a:lnTo>
                      <a:pt x="179" y="15"/>
                    </a:lnTo>
                    <a:lnTo>
                      <a:pt x="184" y="21"/>
                    </a:lnTo>
                    <a:lnTo>
                      <a:pt x="196" y="25"/>
                    </a:lnTo>
                    <a:lnTo>
                      <a:pt x="239" y="26"/>
                    </a:lnTo>
                    <a:lnTo>
                      <a:pt x="250" y="22"/>
                    </a:lnTo>
                    <a:lnTo>
                      <a:pt x="253" y="15"/>
                    </a:lnTo>
                    <a:lnTo>
                      <a:pt x="260" y="16"/>
                    </a:lnTo>
                    <a:lnTo>
                      <a:pt x="265" y="22"/>
                    </a:lnTo>
                    <a:lnTo>
                      <a:pt x="267" y="30"/>
                    </a:lnTo>
                    <a:lnTo>
                      <a:pt x="264" y="38"/>
                    </a:lnTo>
                    <a:lnTo>
                      <a:pt x="253" y="49"/>
                    </a:lnTo>
                    <a:lnTo>
                      <a:pt x="244" y="64"/>
                    </a:lnTo>
                    <a:lnTo>
                      <a:pt x="238" y="78"/>
                    </a:lnTo>
                    <a:lnTo>
                      <a:pt x="242" y="91"/>
                    </a:lnTo>
                    <a:lnTo>
                      <a:pt x="239" y="110"/>
                    </a:lnTo>
                    <a:lnTo>
                      <a:pt x="240" y="116"/>
                    </a:lnTo>
                    <a:lnTo>
                      <a:pt x="243" y="121"/>
                    </a:lnTo>
                    <a:lnTo>
                      <a:pt x="243" y="127"/>
                    </a:lnTo>
                    <a:lnTo>
                      <a:pt x="240" y="134"/>
                    </a:lnTo>
                    <a:lnTo>
                      <a:pt x="232" y="143"/>
                    </a:lnTo>
                    <a:lnTo>
                      <a:pt x="227" y="146"/>
                    </a:lnTo>
                    <a:lnTo>
                      <a:pt x="224" y="154"/>
                    </a:lnTo>
                    <a:lnTo>
                      <a:pt x="228" y="161"/>
                    </a:lnTo>
                    <a:lnTo>
                      <a:pt x="237" y="162"/>
                    </a:lnTo>
                    <a:lnTo>
                      <a:pt x="250" y="161"/>
                    </a:lnTo>
                    <a:lnTo>
                      <a:pt x="261" y="178"/>
                    </a:lnTo>
                    <a:lnTo>
                      <a:pt x="260" y="194"/>
                    </a:lnTo>
                    <a:lnTo>
                      <a:pt x="250" y="194"/>
                    </a:lnTo>
                    <a:lnTo>
                      <a:pt x="242" y="183"/>
                    </a:lnTo>
                    <a:lnTo>
                      <a:pt x="233" y="176"/>
                    </a:lnTo>
                    <a:lnTo>
                      <a:pt x="233" y="191"/>
                    </a:lnTo>
                    <a:lnTo>
                      <a:pt x="229" y="198"/>
                    </a:lnTo>
                    <a:lnTo>
                      <a:pt x="223" y="213"/>
                    </a:lnTo>
                    <a:lnTo>
                      <a:pt x="224" y="220"/>
                    </a:lnTo>
                    <a:lnTo>
                      <a:pt x="223" y="219"/>
                    </a:lnTo>
                    <a:lnTo>
                      <a:pt x="206" y="215"/>
                    </a:lnTo>
                    <a:lnTo>
                      <a:pt x="191" y="217"/>
                    </a:lnTo>
                    <a:lnTo>
                      <a:pt x="183" y="220"/>
                    </a:lnTo>
                    <a:lnTo>
                      <a:pt x="175" y="220"/>
                    </a:lnTo>
                    <a:lnTo>
                      <a:pt x="153" y="201"/>
                    </a:lnTo>
                    <a:lnTo>
                      <a:pt x="148" y="191"/>
                    </a:lnTo>
                    <a:lnTo>
                      <a:pt x="134" y="186"/>
                    </a:lnTo>
                    <a:lnTo>
                      <a:pt x="120" y="175"/>
                    </a:lnTo>
                    <a:lnTo>
                      <a:pt x="104" y="171"/>
                    </a:lnTo>
                    <a:lnTo>
                      <a:pt x="78" y="175"/>
                    </a:lnTo>
                    <a:lnTo>
                      <a:pt x="65" y="185"/>
                    </a:lnTo>
                    <a:lnTo>
                      <a:pt x="56" y="186"/>
                    </a:lnTo>
                    <a:lnTo>
                      <a:pt x="50" y="192"/>
                    </a:lnTo>
                    <a:lnTo>
                      <a:pt x="54" y="180"/>
                    </a:lnTo>
                    <a:lnTo>
                      <a:pt x="56" y="155"/>
                    </a:lnTo>
                    <a:lnTo>
                      <a:pt x="60" y="144"/>
                    </a:lnTo>
                    <a:lnTo>
                      <a:pt x="60" y="139"/>
                    </a:lnTo>
                    <a:lnTo>
                      <a:pt x="45" y="137"/>
                    </a:lnTo>
                    <a:lnTo>
                      <a:pt x="43" y="144"/>
                    </a:lnTo>
                    <a:lnTo>
                      <a:pt x="34" y="149"/>
                    </a:lnTo>
                    <a:lnTo>
                      <a:pt x="28" y="140"/>
                    </a:lnTo>
                    <a:lnTo>
                      <a:pt x="22" y="142"/>
                    </a:lnTo>
                    <a:lnTo>
                      <a:pt x="14" y="139"/>
                    </a:lnTo>
                    <a:lnTo>
                      <a:pt x="11" y="128"/>
                    </a:lnTo>
                    <a:lnTo>
                      <a:pt x="5" y="119"/>
                    </a:lnTo>
                    <a:lnTo>
                      <a:pt x="3" y="110"/>
                    </a:lnTo>
                    <a:lnTo>
                      <a:pt x="7" y="100"/>
                    </a:lnTo>
                    <a:lnTo>
                      <a:pt x="18" y="97"/>
                    </a:lnTo>
                    <a:lnTo>
                      <a:pt x="16" y="94"/>
                    </a:lnTo>
                    <a:lnTo>
                      <a:pt x="2" y="92"/>
                    </a:lnTo>
                    <a:lnTo>
                      <a:pt x="3" y="79"/>
                    </a:lnTo>
                    <a:lnTo>
                      <a:pt x="6" y="75"/>
                    </a:lnTo>
                    <a:lnTo>
                      <a:pt x="5" y="72"/>
                    </a:lnTo>
                    <a:lnTo>
                      <a:pt x="0" y="70"/>
                    </a:lnTo>
                    <a:lnTo>
                      <a:pt x="3" y="49"/>
                    </a:lnTo>
                    <a:lnTo>
                      <a:pt x="8" y="46"/>
                    </a:lnTo>
                    <a:lnTo>
                      <a:pt x="35" y="38"/>
                    </a:lnTo>
                    <a:lnTo>
                      <a:pt x="35" y="33"/>
                    </a:lnTo>
                    <a:lnTo>
                      <a:pt x="39" y="30"/>
                    </a:lnTo>
                    <a:lnTo>
                      <a:pt x="48" y="27"/>
                    </a:lnTo>
                    <a:lnTo>
                      <a:pt x="54" y="21"/>
                    </a:lnTo>
                    <a:lnTo>
                      <a:pt x="75" y="22"/>
                    </a:lnTo>
                    <a:lnTo>
                      <a:pt x="77" y="13"/>
                    </a:lnTo>
                    <a:lnTo>
                      <a:pt x="87" y="19"/>
                    </a:lnTo>
                    <a:lnTo>
                      <a:pt x="108" y="16"/>
                    </a:lnTo>
                    <a:lnTo>
                      <a:pt x="113" y="13"/>
                    </a:lnTo>
                    <a:lnTo>
                      <a:pt x="111" y="5"/>
                    </a:lnTo>
                    <a:lnTo>
                      <a:pt x="121" y="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04" name="Freeform 218"/>
              <p:cNvSpPr>
                <a:spLocks noChangeAspect="1"/>
              </p:cNvSpPr>
              <p:nvPr/>
            </p:nvSpPr>
            <p:spPr bwMode="gray">
              <a:xfrm>
                <a:off x="5117306" y="1964085"/>
                <a:ext cx="188913" cy="425450"/>
              </a:xfrm>
              <a:custGeom>
                <a:avLst/>
                <a:gdLst/>
                <a:ahLst/>
                <a:cxnLst>
                  <a:cxn ang="0">
                    <a:pos x="46" y="207"/>
                  </a:cxn>
                  <a:cxn ang="0">
                    <a:pos x="162" y="322"/>
                  </a:cxn>
                  <a:cxn ang="0">
                    <a:pos x="159" y="379"/>
                  </a:cxn>
                  <a:cxn ang="0">
                    <a:pos x="161" y="435"/>
                  </a:cxn>
                  <a:cxn ang="0">
                    <a:pos x="183" y="520"/>
                  </a:cxn>
                  <a:cxn ang="0">
                    <a:pos x="189" y="605"/>
                  </a:cxn>
                  <a:cxn ang="0">
                    <a:pos x="211" y="625"/>
                  </a:cxn>
                  <a:cxn ang="0">
                    <a:pos x="240" y="648"/>
                  </a:cxn>
                  <a:cxn ang="0">
                    <a:pos x="270" y="734"/>
                  </a:cxn>
                  <a:cxn ang="0">
                    <a:pos x="251" y="743"/>
                  </a:cxn>
                  <a:cxn ang="0">
                    <a:pos x="200" y="801"/>
                  </a:cxn>
                  <a:cxn ang="0">
                    <a:pos x="118" y="918"/>
                  </a:cxn>
                  <a:cxn ang="0">
                    <a:pos x="90" y="949"/>
                  </a:cxn>
                  <a:cxn ang="0">
                    <a:pos x="63" y="972"/>
                  </a:cxn>
                  <a:cxn ang="0">
                    <a:pos x="39" y="990"/>
                  </a:cxn>
                  <a:cxn ang="0">
                    <a:pos x="21" y="1019"/>
                  </a:cxn>
                  <a:cxn ang="0">
                    <a:pos x="33" y="1065"/>
                  </a:cxn>
                  <a:cxn ang="0">
                    <a:pos x="43" y="1120"/>
                  </a:cxn>
                  <a:cxn ang="0">
                    <a:pos x="57" y="1152"/>
                  </a:cxn>
                  <a:cxn ang="0">
                    <a:pos x="44" y="1159"/>
                  </a:cxn>
                  <a:cxn ang="0">
                    <a:pos x="39" y="1202"/>
                  </a:cxn>
                  <a:cxn ang="0">
                    <a:pos x="37" y="1224"/>
                  </a:cxn>
                  <a:cxn ang="0">
                    <a:pos x="43" y="1241"/>
                  </a:cxn>
                  <a:cxn ang="0">
                    <a:pos x="64" y="1257"/>
                  </a:cxn>
                  <a:cxn ang="0">
                    <a:pos x="100" y="1278"/>
                  </a:cxn>
                  <a:cxn ang="0">
                    <a:pos x="122" y="1288"/>
                  </a:cxn>
                  <a:cxn ang="0">
                    <a:pos x="136" y="1324"/>
                  </a:cxn>
                  <a:cxn ang="0">
                    <a:pos x="139" y="1333"/>
                  </a:cxn>
                  <a:cxn ang="0">
                    <a:pos x="157" y="1327"/>
                  </a:cxn>
                  <a:cxn ang="0">
                    <a:pos x="200" y="1316"/>
                  </a:cxn>
                  <a:cxn ang="0">
                    <a:pos x="229" y="1299"/>
                  </a:cxn>
                  <a:cxn ang="0">
                    <a:pos x="268" y="1276"/>
                  </a:cxn>
                  <a:cxn ang="0">
                    <a:pos x="290" y="1272"/>
                  </a:cxn>
                  <a:cxn ang="0">
                    <a:pos x="329" y="1268"/>
                  </a:cxn>
                  <a:cxn ang="0">
                    <a:pos x="377" y="1265"/>
                  </a:cxn>
                  <a:cxn ang="0">
                    <a:pos x="423" y="1231"/>
                  </a:cxn>
                  <a:cxn ang="0">
                    <a:pos x="576" y="1050"/>
                  </a:cxn>
                  <a:cxn ang="0">
                    <a:pos x="579" y="962"/>
                  </a:cxn>
                  <a:cxn ang="0">
                    <a:pos x="530" y="891"/>
                  </a:cxn>
                  <a:cxn ang="0">
                    <a:pos x="549" y="822"/>
                  </a:cxn>
                  <a:cxn ang="0">
                    <a:pos x="520" y="753"/>
                  </a:cxn>
                  <a:cxn ang="0">
                    <a:pos x="507" y="699"/>
                  </a:cxn>
                  <a:cxn ang="0">
                    <a:pos x="525" y="639"/>
                  </a:cxn>
                  <a:cxn ang="0">
                    <a:pos x="495" y="546"/>
                  </a:cxn>
                  <a:cxn ang="0">
                    <a:pos x="474" y="469"/>
                  </a:cxn>
                  <a:cxn ang="0">
                    <a:pos x="514" y="354"/>
                  </a:cxn>
                  <a:cxn ang="0">
                    <a:pos x="456" y="291"/>
                  </a:cxn>
                  <a:cxn ang="0">
                    <a:pos x="434" y="232"/>
                  </a:cxn>
                  <a:cxn ang="0">
                    <a:pos x="436" y="185"/>
                  </a:cxn>
                  <a:cxn ang="0">
                    <a:pos x="460" y="126"/>
                  </a:cxn>
                  <a:cxn ang="0">
                    <a:pos x="453" y="41"/>
                  </a:cxn>
                  <a:cxn ang="0">
                    <a:pos x="409" y="0"/>
                  </a:cxn>
                  <a:cxn ang="0">
                    <a:pos x="310" y="32"/>
                  </a:cxn>
                  <a:cxn ang="0">
                    <a:pos x="283" y="132"/>
                  </a:cxn>
                  <a:cxn ang="0">
                    <a:pos x="248" y="201"/>
                  </a:cxn>
                  <a:cxn ang="0">
                    <a:pos x="207" y="205"/>
                  </a:cxn>
                  <a:cxn ang="0">
                    <a:pos x="156" y="214"/>
                  </a:cxn>
                  <a:cxn ang="0">
                    <a:pos x="98" y="196"/>
                  </a:cxn>
                  <a:cxn ang="0">
                    <a:pos x="37" y="116"/>
                  </a:cxn>
                  <a:cxn ang="0">
                    <a:pos x="20" y="150"/>
                  </a:cxn>
                </a:cxnLst>
                <a:rect l="0" t="0" r="r" b="b"/>
                <a:pathLst>
                  <a:path w="593" h="1339">
                    <a:moveTo>
                      <a:pt x="0" y="156"/>
                    </a:moveTo>
                    <a:lnTo>
                      <a:pt x="3" y="156"/>
                    </a:lnTo>
                    <a:lnTo>
                      <a:pt x="5" y="161"/>
                    </a:lnTo>
                    <a:lnTo>
                      <a:pt x="46" y="207"/>
                    </a:lnTo>
                    <a:lnTo>
                      <a:pt x="76" y="237"/>
                    </a:lnTo>
                    <a:lnTo>
                      <a:pt x="112" y="248"/>
                    </a:lnTo>
                    <a:lnTo>
                      <a:pt x="130" y="266"/>
                    </a:lnTo>
                    <a:lnTo>
                      <a:pt x="162" y="322"/>
                    </a:lnTo>
                    <a:lnTo>
                      <a:pt x="165" y="329"/>
                    </a:lnTo>
                    <a:lnTo>
                      <a:pt x="160" y="342"/>
                    </a:lnTo>
                    <a:lnTo>
                      <a:pt x="159" y="358"/>
                    </a:lnTo>
                    <a:lnTo>
                      <a:pt x="159" y="379"/>
                    </a:lnTo>
                    <a:lnTo>
                      <a:pt x="160" y="393"/>
                    </a:lnTo>
                    <a:lnTo>
                      <a:pt x="165" y="399"/>
                    </a:lnTo>
                    <a:lnTo>
                      <a:pt x="167" y="414"/>
                    </a:lnTo>
                    <a:lnTo>
                      <a:pt x="161" y="435"/>
                    </a:lnTo>
                    <a:lnTo>
                      <a:pt x="164" y="452"/>
                    </a:lnTo>
                    <a:lnTo>
                      <a:pt x="184" y="498"/>
                    </a:lnTo>
                    <a:lnTo>
                      <a:pt x="184" y="510"/>
                    </a:lnTo>
                    <a:lnTo>
                      <a:pt x="183" y="520"/>
                    </a:lnTo>
                    <a:lnTo>
                      <a:pt x="175" y="533"/>
                    </a:lnTo>
                    <a:lnTo>
                      <a:pt x="171" y="551"/>
                    </a:lnTo>
                    <a:lnTo>
                      <a:pt x="175" y="571"/>
                    </a:lnTo>
                    <a:lnTo>
                      <a:pt x="189" y="605"/>
                    </a:lnTo>
                    <a:lnTo>
                      <a:pt x="197" y="613"/>
                    </a:lnTo>
                    <a:lnTo>
                      <a:pt x="202" y="614"/>
                    </a:lnTo>
                    <a:lnTo>
                      <a:pt x="205" y="622"/>
                    </a:lnTo>
                    <a:lnTo>
                      <a:pt x="211" y="625"/>
                    </a:lnTo>
                    <a:lnTo>
                      <a:pt x="216" y="619"/>
                    </a:lnTo>
                    <a:lnTo>
                      <a:pt x="220" y="623"/>
                    </a:lnTo>
                    <a:lnTo>
                      <a:pt x="224" y="637"/>
                    </a:lnTo>
                    <a:lnTo>
                      <a:pt x="240" y="648"/>
                    </a:lnTo>
                    <a:lnTo>
                      <a:pt x="257" y="671"/>
                    </a:lnTo>
                    <a:lnTo>
                      <a:pt x="262" y="684"/>
                    </a:lnTo>
                    <a:lnTo>
                      <a:pt x="259" y="714"/>
                    </a:lnTo>
                    <a:lnTo>
                      <a:pt x="270" y="734"/>
                    </a:lnTo>
                    <a:lnTo>
                      <a:pt x="262" y="732"/>
                    </a:lnTo>
                    <a:lnTo>
                      <a:pt x="258" y="740"/>
                    </a:lnTo>
                    <a:lnTo>
                      <a:pt x="262" y="750"/>
                    </a:lnTo>
                    <a:lnTo>
                      <a:pt x="251" y="743"/>
                    </a:lnTo>
                    <a:lnTo>
                      <a:pt x="241" y="745"/>
                    </a:lnTo>
                    <a:lnTo>
                      <a:pt x="222" y="752"/>
                    </a:lnTo>
                    <a:lnTo>
                      <a:pt x="214" y="788"/>
                    </a:lnTo>
                    <a:lnTo>
                      <a:pt x="200" y="801"/>
                    </a:lnTo>
                    <a:lnTo>
                      <a:pt x="181" y="828"/>
                    </a:lnTo>
                    <a:lnTo>
                      <a:pt x="156" y="855"/>
                    </a:lnTo>
                    <a:lnTo>
                      <a:pt x="140" y="879"/>
                    </a:lnTo>
                    <a:lnTo>
                      <a:pt x="118" y="918"/>
                    </a:lnTo>
                    <a:lnTo>
                      <a:pt x="108" y="925"/>
                    </a:lnTo>
                    <a:lnTo>
                      <a:pt x="102" y="935"/>
                    </a:lnTo>
                    <a:lnTo>
                      <a:pt x="97" y="940"/>
                    </a:lnTo>
                    <a:lnTo>
                      <a:pt x="90" y="949"/>
                    </a:lnTo>
                    <a:lnTo>
                      <a:pt x="70" y="952"/>
                    </a:lnTo>
                    <a:lnTo>
                      <a:pt x="62" y="949"/>
                    </a:lnTo>
                    <a:lnTo>
                      <a:pt x="55" y="962"/>
                    </a:lnTo>
                    <a:lnTo>
                      <a:pt x="63" y="972"/>
                    </a:lnTo>
                    <a:lnTo>
                      <a:pt x="59" y="974"/>
                    </a:lnTo>
                    <a:lnTo>
                      <a:pt x="42" y="976"/>
                    </a:lnTo>
                    <a:lnTo>
                      <a:pt x="43" y="982"/>
                    </a:lnTo>
                    <a:lnTo>
                      <a:pt x="39" y="990"/>
                    </a:lnTo>
                    <a:lnTo>
                      <a:pt x="33" y="990"/>
                    </a:lnTo>
                    <a:lnTo>
                      <a:pt x="30" y="993"/>
                    </a:lnTo>
                    <a:lnTo>
                      <a:pt x="26" y="1000"/>
                    </a:lnTo>
                    <a:lnTo>
                      <a:pt x="21" y="1019"/>
                    </a:lnTo>
                    <a:lnTo>
                      <a:pt x="23" y="1039"/>
                    </a:lnTo>
                    <a:lnTo>
                      <a:pt x="26" y="1047"/>
                    </a:lnTo>
                    <a:lnTo>
                      <a:pt x="30" y="1053"/>
                    </a:lnTo>
                    <a:lnTo>
                      <a:pt x="33" y="1065"/>
                    </a:lnTo>
                    <a:lnTo>
                      <a:pt x="30" y="1091"/>
                    </a:lnTo>
                    <a:lnTo>
                      <a:pt x="35" y="1101"/>
                    </a:lnTo>
                    <a:lnTo>
                      <a:pt x="42" y="1109"/>
                    </a:lnTo>
                    <a:lnTo>
                      <a:pt x="43" y="1120"/>
                    </a:lnTo>
                    <a:lnTo>
                      <a:pt x="47" y="1135"/>
                    </a:lnTo>
                    <a:lnTo>
                      <a:pt x="50" y="1144"/>
                    </a:lnTo>
                    <a:lnTo>
                      <a:pt x="55" y="1150"/>
                    </a:lnTo>
                    <a:lnTo>
                      <a:pt x="57" y="1152"/>
                    </a:lnTo>
                    <a:lnTo>
                      <a:pt x="52" y="1148"/>
                    </a:lnTo>
                    <a:lnTo>
                      <a:pt x="47" y="1148"/>
                    </a:lnTo>
                    <a:lnTo>
                      <a:pt x="43" y="1152"/>
                    </a:lnTo>
                    <a:lnTo>
                      <a:pt x="44" y="1159"/>
                    </a:lnTo>
                    <a:lnTo>
                      <a:pt x="43" y="1165"/>
                    </a:lnTo>
                    <a:lnTo>
                      <a:pt x="44" y="1173"/>
                    </a:lnTo>
                    <a:lnTo>
                      <a:pt x="44" y="1188"/>
                    </a:lnTo>
                    <a:lnTo>
                      <a:pt x="39" y="1202"/>
                    </a:lnTo>
                    <a:lnTo>
                      <a:pt x="36" y="1202"/>
                    </a:lnTo>
                    <a:lnTo>
                      <a:pt x="33" y="1211"/>
                    </a:lnTo>
                    <a:lnTo>
                      <a:pt x="37" y="1218"/>
                    </a:lnTo>
                    <a:lnTo>
                      <a:pt x="37" y="1224"/>
                    </a:lnTo>
                    <a:lnTo>
                      <a:pt x="36" y="1229"/>
                    </a:lnTo>
                    <a:lnTo>
                      <a:pt x="37" y="1234"/>
                    </a:lnTo>
                    <a:lnTo>
                      <a:pt x="44" y="1237"/>
                    </a:lnTo>
                    <a:lnTo>
                      <a:pt x="43" y="1241"/>
                    </a:lnTo>
                    <a:lnTo>
                      <a:pt x="38" y="1242"/>
                    </a:lnTo>
                    <a:lnTo>
                      <a:pt x="39" y="1249"/>
                    </a:lnTo>
                    <a:lnTo>
                      <a:pt x="53" y="1249"/>
                    </a:lnTo>
                    <a:lnTo>
                      <a:pt x="64" y="1257"/>
                    </a:lnTo>
                    <a:lnTo>
                      <a:pt x="69" y="1264"/>
                    </a:lnTo>
                    <a:lnTo>
                      <a:pt x="80" y="1269"/>
                    </a:lnTo>
                    <a:lnTo>
                      <a:pt x="97" y="1274"/>
                    </a:lnTo>
                    <a:lnTo>
                      <a:pt x="100" y="1278"/>
                    </a:lnTo>
                    <a:lnTo>
                      <a:pt x="97" y="1285"/>
                    </a:lnTo>
                    <a:lnTo>
                      <a:pt x="106" y="1291"/>
                    </a:lnTo>
                    <a:lnTo>
                      <a:pt x="121" y="1283"/>
                    </a:lnTo>
                    <a:lnTo>
                      <a:pt x="122" y="1288"/>
                    </a:lnTo>
                    <a:lnTo>
                      <a:pt x="122" y="1300"/>
                    </a:lnTo>
                    <a:lnTo>
                      <a:pt x="130" y="1313"/>
                    </a:lnTo>
                    <a:lnTo>
                      <a:pt x="129" y="1321"/>
                    </a:lnTo>
                    <a:lnTo>
                      <a:pt x="136" y="1324"/>
                    </a:lnTo>
                    <a:lnTo>
                      <a:pt x="134" y="1331"/>
                    </a:lnTo>
                    <a:lnTo>
                      <a:pt x="124" y="1338"/>
                    </a:lnTo>
                    <a:lnTo>
                      <a:pt x="129" y="1339"/>
                    </a:lnTo>
                    <a:lnTo>
                      <a:pt x="139" y="1333"/>
                    </a:lnTo>
                    <a:lnTo>
                      <a:pt x="150" y="1313"/>
                    </a:lnTo>
                    <a:lnTo>
                      <a:pt x="152" y="1316"/>
                    </a:lnTo>
                    <a:lnTo>
                      <a:pt x="152" y="1326"/>
                    </a:lnTo>
                    <a:lnTo>
                      <a:pt x="157" y="1327"/>
                    </a:lnTo>
                    <a:lnTo>
                      <a:pt x="181" y="1315"/>
                    </a:lnTo>
                    <a:lnTo>
                      <a:pt x="189" y="1315"/>
                    </a:lnTo>
                    <a:lnTo>
                      <a:pt x="197" y="1311"/>
                    </a:lnTo>
                    <a:lnTo>
                      <a:pt x="200" y="1316"/>
                    </a:lnTo>
                    <a:lnTo>
                      <a:pt x="203" y="1316"/>
                    </a:lnTo>
                    <a:lnTo>
                      <a:pt x="213" y="1306"/>
                    </a:lnTo>
                    <a:lnTo>
                      <a:pt x="221" y="1300"/>
                    </a:lnTo>
                    <a:lnTo>
                      <a:pt x="229" y="1299"/>
                    </a:lnTo>
                    <a:lnTo>
                      <a:pt x="235" y="1301"/>
                    </a:lnTo>
                    <a:lnTo>
                      <a:pt x="251" y="1291"/>
                    </a:lnTo>
                    <a:lnTo>
                      <a:pt x="261" y="1290"/>
                    </a:lnTo>
                    <a:lnTo>
                      <a:pt x="268" y="1276"/>
                    </a:lnTo>
                    <a:lnTo>
                      <a:pt x="273" y="1286"/>
                    </a:lnTo>
                    <a:lnTo>
                      <a:pt x="291" y="1279"/>
                    </a:lnTo>
                    <a:lnTo>
                      <a:pt x="289" y="1269"/>
                    </a:lnTo>
                    <a:lnTo>
                      <a:pt x="290" y="1272"/>
                    </a:lnTo>
                    <a:lnTo>
                      <a:pt x="299" y="1275"/>
                    </a:lnTo>
                    <a:lnTo>
                      <a:pt x="305" y="1275"/>
                    </a:lnTo>
                    <a:lnTo>
                      <a:pt x="311" y="1269"/>
                    </a:lnTo>
                    <a:lnTo>
                      <a:pt x="329" y="1268"/>
                    </a:lnTo>
                    <a:lnTo>
                      <a:pt x="342" y="1263"/>
                    </a:lnTo>
                    <a:lnTo>
                      <a:pt x="351" y="1258"/>
                    </a:lnTo>
                    <a:lnTo>
                      <a:pt x="359" y="1263"/>
                    </a:lnTo>
                    <a:lnTo>
                      <a:pt x="377" y="1265"/>
                    </a:lnTo>
                    <a:lnTo>
                      <a:pt x="382" y="1262"/>
                    </a:lnTo>
                    <a:lnTo>
                      <a:pt x="386" y="1257"/>
                    </a:lnTo>
                    <a:lnTo>
                      <a:pt x="387" y="1258"/>
                    </a:lnTo>
                    <a:lnTo>
                      <a:pt x="423" y="1231"/>
                    </a:lnTo>
                    <a:lnTo>
                      <a:pt x="473" y="1182"/>
                    </a:lnTo>
                    <a:lnTo>
                      <a:pt x="511" y="1139"/>
                    </a:lnTo>
                    <a:lnTo>
                      <a:pt x="563" y="1070"/>
                    </a:lnTo>
                    <a:lnTo>
                      <a:pt x="576" y="1050"/>
                    </a:lnTo>
                    <a:lnTo>
                      <a:pt x="592" y="1012"/>
                    </a:lnTo>
                    <a:lnTo>
                      <a:pt x="593" y="973"/>
                    </a:lnTo>
                    <a:lnTo>
                      <a:pt x="589" y="979"/>
                    </a:lnTo>
                    <a:lnTo>
                      <a:pt x="579" y="962"/>
                    </a:lnTo>
                    <a:lnTo>
                      <a:pt x="574" y="945"/>
                    </a:lnTo>
                    <a:lnTo>
                      <a:pt x="544" y="922"/>
                    </a:lnTo>
                    <a:lnTo>
                      <a:pt x="536" y="909"/>
                    </a:lnTo>
                    <a:lnTo>
                      <a:pt x="530" y="891"/>
                    </a:lnTo>
                    <a:lnTo>
                      <a:pt x="534" y="875"/>
                    </a:lnTo>
                    <a:lnTo>
                      <a:pt x="544" y="860"/>
                    </a:lnTo>
                    <a:lnTo>
                      <a:pt x="550" y="842"/>
                    </a:lnTo>
                    <a:lnTo>
                      <a:pt x="549" y="822"/>
                    </a:lnTo>
                    <a:lnTo>
                      <a:pt x="533" y="807"/>
                    </a:lnTo>
                    <a:lnTo>
                      <a:pt x="526" y="791"/>
                    </a:lnTo>
                    <a:lnTo>
                      <a:pt x="528" y="770"/>
                    </a:lnTo>
                    <a:lnTo>
                      <a:pt x="520" y="753"/>
                    </a:lnTo>
                    <a:lnTo>
                      <a:pt x="504" y="750"/>
                    </a:lnTo>
                    <a:lnTo>
                      <a:pt x="503" y="729"/>
                    </a:lnTo>
                    <a:lnTo>
                      <a:pt x="509" y="718"/>
                    </a:lnTo>
                    <a:lnTo>
                      <a:pt x="507" y="699"/>
                    </a:lnTo>
                    <a:lnTo>
                      <a:pt x="504" y="689"/>
                    </a:lnTo>
                    <a:lnTo>
                      <a:pt x="509" y="673"/>
                    </a:lnTo>
                    <a:lnTo>
                      <a:pt x="511" y="651"/>
                    </a:lnTo>
                    <a:lnTo>
                      <a:pt x="525" y="639"/>
                    </a:lnTo>
                    <a:lnTo>
                      <a:pt x="523" y="624"/>
                    </a:lnTo>
                    <a:lnTo>
                      <a:pt x="521" y="607"/>
                    </a:lnTo>
                    <a:lnTo>
                      <a:pt x="510" y="573"/>
                    </a:lnTo>
                    <a:lnTo>
                      <a:pt x="495" y="546"/>
                    </a:lnTo>
                    <a:lnTo>
                      <a:pt x="493" y="527"/>
                    </a:lnTo>
                    <a:lnTo>
                      <a:pt x="485" y="510"/>
                    </a:lnTo>
                    <a:lnTo>
                      <a:pt x="476" y="490"/>
                    </a:lnTo>
                    <a:lnTo>
                      <a:pt x="474" y="469"/>
                    </a:lnTo>
                    <a:lnTo>
                      <a:pt x="480" y="456"/>
                    </a:lnTo>
                    <a:lnTo>
                      <a:pt x="499" y="413"/>
                    </a:lnTo>
                    <a:lnTo>
                      <a:pt x="517" y="376"/>
                    </a:lnTo>
                    <a:lnTo>
                      <a:pt x="514" y="354"/>
                    </a:lnTo>
                    <a:lnTo>
                      <a:pt x="504" y="339"/>
                    </a:lnTo>
                    <a:lnTo>
                      <a:pt x="484" y="301"/>
                    </a:lnTo>
                    <a:lnTo>
                      <a:pt x="469" y="294"/>
                    </a:lnTo>
                    <a:lnTo>
                      <a:pt x="456" y="291"/>
                    </a:lnTo>
                    <a:lnTo>
                      <a:pt x="446" y="285"/>
                    </a:lnTo>
                    <a:lnTo>
                      <a:pt x="441" y="278"/>
                    </a:lnTo>
                    <a:lnTo>
                      <a:pt x="436" y="258"/>
                    </a:lnTo>
                    <a:lnTo>
                      <a:pt x="434" y="232"/>
                    </a:lnTo>
                    <a:lnTo>
                      <a:pt x="435" y="223"/>
                    </a:lnTo>
                    <a:lnTo>
                      <a:pt x="446" y="194"/>
                    </a:lnTo>
                    <a:lnTo>
                      <a:pt x="446" y="189"/>
                    </a:lnTo>
                    <a:lnTo>
                      <a:pt x="436" y="185"/>
                    </a:lnTo>
                    <a:lnTo>
                      <a:pt x="467" y="158"/>
                    </a:lnTo>
                    <a:lnTo>
                      <a:pt x="457" y="150"/>
                    </a:lnTo>
                    <a:lnTo>
                      <a:pt x="456" y="139"/>
                    </a:lnTo>
                    <a:lnTo>
                      <a:pt x="460" y="126"/>
                    </a:lnTo>
                    <a:lnTo>
                      <a:pt x="479" y="102"/>
                    </a:lnTo>
                    <a:lnTo>
                      <a:pt x="478" y="86"/>
                    </a:lnTo>
                    <a:lnTo>
                      <a:pt x="471" y="58"/>
                    </a:lnTo>
                    <a:lnTo>
                      <a:pt x="453" y="41"/>
                    </a:lnTo>
                    <a:lnTo>
                      <a:pt x="435" y="35"/>
                    </a:lnTo>
                    <a:lnTo>
                      <a:pt x="425" y="26"/>
                    </a:lnTo>
                    <a:lnTo>
                      <a:pt x="415" y="5"/>
                    </a:lnTo>
                    <a:lnTo>
                      <a:pt x="409" y="0"/>
                    </a:lnTo>
                    <a:lnTo>
                      <a:pt x="386" y="5"/>
                    </a:lnTo>
                    <a:lnTo>
                      <a:pt x="348" y="22"/>
                    </a:lnTo>
                    <a:lnTo>
                      <a:pt x="323" y="25"/>
                    </a:lnTo>
                    <a:lnTo>
                      <a:pt x="310" y="32"/>
                    </a:lnTo>
                    <a:lnTo>
                      <a:pt x="300" y="45"/>
                    </a:lnTo>
                    <a:lnTo>
                      <a:pt x="286" y="76"/>
                    </a:lnTo>
                    <a:lnTo>
                      <a:pt x="283" y="118"/>
                    </a:lnTo>
                    <a:lnTo>
                      <a:pt x="283" y="132"/>
                    </a:lnTo>
                    <a:lnTo>
                      <a:pt x="285" y="155"/>
                    </a:lnTo>
                    <a:lnTo>
                      <a:pt x="283" y="167"/>
                    </a:lnTo>
                    <a:lnTo>
                      <a:pt x="257" y="187"/>
                    </a:lnTo>
                    <a:lnTo>
                      <a:pt x="248" y="201"/>
                    </a:lnTo>
                    <a:lnTo>
                      <a:pt x="236" y="210"/>
                    </a:lnTo>
                    <a:lnTo>
                      <a:pt x="220" y="218"/>
                    </a:lnTo>
                    <a:lnTo>
                      <a:pt x="210" y="214"/>
                    </a:lnTo>
                    <a:lnTo>
                      <a:pt x="207" y="205"/>
                    </a:lnTo>
                    <a:lnTo>
                      <a:pt x="198" y="193"/>
                    </a:lnTo>
                    <a:lnTo>
                      <a:pt x="188" y="186"/>
                    </a:lnTo>
                    <a:lnTo>
                      <a:pt x="171" y="205"/>
                    </a:lnTo>
                    <a:lnTo>
                      <a:pt x="156" y="214"/>
                    </a:lnTo>
                    <a:lnTo>
                      <a:pt x="144" y="215"/>
                    </a:lnTo>
                    <a:lnTo>
                      <a:pt x="129" y="208"/>
                    </a:lnTo>
                    <a:lnTo>
                      <a:pt x="103" y="204"/>
                    </a:lnTo>
                    <a:lnTo>
                      <a:pt x="98" y="196"/>
                    </a:lnTo>
                    <a:lnTo>
                      <a:pt x="93" y="177"/>
                    </a:lnTo>
                    <a:lnTo>
                      <a:pt x="63" y="133"/>
                    </a:lnTo>
                    <a:lnTo>
                      <a:pt x="52" y="122"/>
                    </a:lnTo>
                    <a:lnTo>
                      <a:pt x="37" y="116"/>
                    </a:lnTo>
                    <a:lnTo>
                      <a:pt x="25" y="122"/>
                    </a:lnTo>
                    <a:lnTo>
                      <a:pt x="26" y="134"/>
                    </a:lnTo>
                    <a:lnTo>
                      <a:pt x="28" y="146"/>
                    </a:lnTo>
                    <a:lnTo>
                      <a:pt x="20" y="150"/>
                    </a:lnTo>
                    <a:lnTo>
                      <a:pt x="11" y="145"/>
                    </a:lnTo>
                    <a:lnTo>
                      <a:pt x="3" y="149"/>
                    </a:lnTo>
                    <a:lnTo>
                      <a:pt x="0" y="15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05" name="Freeform 219"/>
              <p:cNvSpPr>
                <a:spLocks noChangeAspect="1"/>
              </p:cNvSpPr>
              <p:nvPr/>
            </p:nvSpPr>
            <p:spPr bwMode="gray">
              <a:xfrm>
                <a:off x="4899819" y="2460972"/>
                <a:ext cx="49213" cy="90488"/>
              </a:xfrm>
              <a:custGeom>
                <a:avLst/>
                <a:gdLst/>
                <a:ahLst/>
                <a:cxnLst>
                  <a:cxn ang="0">
                    <a:pos x="43" y="278"/>
                  </a:cxn>
                  <a:cxn ang="0">
                    <a:pos x="75" y="280"/>
                  </a:cxn>
                  <a:cxn ang="0">
                    <a:pos x="80" y="276"/>
                  </a:cxn>
                  <a:cxn ang="0">
                    <a:pos x="84" y="279"/>
                  </a:cxn>
                  <a:cxn ang="0">
                    <a:pos x="89" y="275"/>
                  </a:cxn>
                  <a:cxn ang="0">
                    <a:pos x="83" y="266"/>
                  </a:cxn>
                  <a:cxn ang="0">
                    <a:pos x="75" y="262"/>
                  </a:cxn>
                  <a:cxn ang="0">
                    <a:pos x="85" y="247"/>
                  </a:cxn>
                  <a:cxn ang="0">
                    <a:pos x="83" y="243"/>
                  </a:cxn>
                  <a:cxn ang="0">
                    <a:pos x="84" y="223"/>
                  </a:cxn>
                  <a:cxn ang="0">
                    <a:pos x="91" y="210"/>
                  </a:cxn>
                  <a:cxn ang="0">
                    <a:pos x="84" y="200"/>
                  </a:cxn>
                  <a:cxn ang="0">
                    <a:pos x="102" y="199"/>
                  </a:cxn>
                  <a:cxn ang="0">
                    <a:pos x="98" y="185"/>
                  </a:cxn>
                  <a:cxn ang="0">
                    <a:pos x="116" y="182"/>
                  </a:cxn>
                  <a:cxn ang="0">
                    <a:pos x="118" y="163"/>
                  </a:cxn>
                  <a:cxn ang="0">
                    <a:pos x="127" y="149"/>
                  </a:cxn>
                  <a:cxn ang="0">
                    <a:pos x="130" y="161"/>
                  </a:cxn>
                  <a:cxn ang="0">
                    <a:pos x="138" y="156"/>
                  </a:cxn>
                  <a:cxn ang="0">
                    <a:pos x="154" y="133"/>
                  </a:cxn>
                  <a:cxn ang="0">
                    <a:pos x="146" y="123"/>
                  </a:cxn>
                  <a:cxn ang="0">
                    <a:pos x="129" y="126"/>
                  </a:cxn>
                  <a:cxn ang="0">
                    <a:pos x="119" y="120"/>
                  </a:cxn>
                  <a:cxn ang="0">
                    <a:pos x="112" y="123"/>
                  </a:cxn>
                  <a:cxn ang="0">
                    <a:pos x="119" y="109"/>
                  </a:cxn>
                  <a:cxn ang="0">
                    <a:pos x="108" y="109"/>
                  </a:cxn>
                  <a:cxn ang="0">
                    <a:pos x="117" y="102"/>
                  </a:cxn>
                  <a:cxn ang="0">
                    <a:pos x="118" y="92"/>
                  </a:cxn>
                  <a:cxn ang="0">
                    <a:pos x="122" y="66"/>
                  </a:cxn>
                  <a:cxn ang="0">
                    <a:pos x="132" y="39"/>
                  </a:cxn>
                  <a:cxn ang="0">
                    <a:pos x="128" y="10"/>
                  </a:cxn>
                  <a:cxn ang="0">
                    <a:pos x="129" y="0"/>
                  </a:cxn>
                  <a:cxn ang="0">
                    <a:pos x="101" y="17"/>
                  </a:cxn>
                  <a:cxn ang="0">
                    <a:pos x="83" y="45"/>
                  </a:cxn>
                  <a:cxn ang="0">
                    <a:pos x="28" y="63"/>
                  </a:cxn>
                  <a:cxn ang="0">
                    <a:pos x="15" y="82"/>
                  </a:cxn>
                  <a:cxn ang="0">
                    <a:pos x="6" y="119"/>
                  </a:cxn>
                  <a:cxn ang="0">
                    <a:pos x="0" y="146"/>
                  </a:cxn>
                  <a:cxn ang="0">
                    <a:pos x="6" y="185"/>
                  </a:cxn>
                  <a:cxn ang="0">
                    <a:pos x="4" y="216"/>
                  </a:cxn>
                  <a:cxn ang="0">
                    <a:pos x="12" y="214"/>
                  </a:cxn>
                  <a:cxn ang="0">
                    <a:pos x="28" y="226"/>
                  </a:cxn>
                  <a:cxn ang="0">
                    <a:pos x="33" y="269"/>
                  </a:cxn>
                </a:cxnLst>
                <a:rect l="0" t="0" r="r" b="b"/>
                <a:pathLst>
                  <a:path w="154" h="284">
                    <a:moveTo>
                      <a:pt x="35" y="279"/>
                    </a:moveTo>
                    <a:lnTo>
                      <a:pt x="43" y="278"/>
                    </a:lnTo>
                    <a:lnTo>
                      <a:pt x="67" y="284"/>
                    </a:lnTo>
                    <a:lnTo>
                      <a:pt x="75" y="280"/>
                    </a:lnTo>
                    <a:lnTo>
                      <a:pt x="79" y="279"/>
                    </a:lnTo>
                    <a:lnTo>
                      <a:pt x="80" y="276"/>
                    </a:lnTo>
                    <a:lnTo>
                      <a:pt x="83" y="276"/>
                    </a:lnTo>
                    <a:lnTo>
                      <a:pt x="84" y="279"/>
                    </a:lnTo>
                    <a:lnTo>
                      <a:pt x="89" y="279"/>
                    </a:lnTo>
                    <a:lnTo>
                      <a:pt x="89" y="275"/>
                    </a:lnTo>
                    <a:lnTo>
                      <a:pt x="86" y="270"/>
                    </a:lnTo>
                    <a:lnTo>
                      <a:pt x="83" y="266"/>
                    </a:lnTo>
                    <a:lnTo>
                      <a:pt x="75" y="266"/>
                    </a:lnTo>
                    <a:lnTo>
                      <a:pt x="75" y="262"/>
                    </a:lnTo>
                    <a:lnTo>
                      <a:pt x="75" y="253"/>
                    </a:lnTo>
                    <a:lnTo>
                      <a:pt x="85" y="247"/>
                    </a:lnTo>
                    <a:lnTo>
                      <a:pt x="85" y="243"/>
                    </a:lnTo>
                    <a:lnTo>
                      <a:pt x="83" y="243"/>
                    </a:lnTo>
                    <a:lnTo>
                      <a:pt x="81" y="235"/>
                    </a:lnTo>
                    <a:lnTo>
                      <a:pt x="84" y="223"/>
                    </a:lnTo>
                    <a:lnTo>
                      <a:pt x="81" y="220"/>
                    </a:lnTo>
                    <a:lnTo>
                      <a:pt x="91" y="210"/>
                    </a:lnTo>
                    <a:lnTo>
                      <a:pt x="90" y="206"/>
                    </a:lnTo>
                    <a:lnTo>
                      <a:pt x="84" y="200"/>
                    </a:lnTo>
                    <a:lnTo>
                      <a:pt x="90" y="198"/>
                    </a:lnTo>
                    <a:lnTo>
                      <a:pt x="102" y="199"/>
                    </a:lnTo>
                    <a:lnTo>
                      <a:pt x="103" y="193"/>
                    </a:lnTo>
                    <a:lnTo>
                      <a:pt x="98" y="185"/>
                    </a:lnTo>
                    <a:lnTo>
                      <a:pt x="102" y="180"/>
                    </a:lnTo>
                    <a:lnTo>
                      <a:pt x="116" y="182"/>
                    </a:lnTo>
                    <a:lnTo>
                      <a:pt x="121" y="176"/>
                    </a:lnTo>
                    <a:lnTo>
                      <a:pt x="118" y="163"/>
                    </a:lnTo>
                    <a:lnTo>
                      <a:pt x="122" y="151"/>
                    </a:lnTo>
                    <a:lnTo>
                      <a:pt x="127" y="149"/>
                    </a:lnTo>
                    <a:lnTo>
                      <a:pt x="127" y="153"/>
                    </a:lnTo>
                    <a:lnTo>
                      <a:pt x="130" y="161"/>
                    </a:lnTo>
                    <a:lnTo>
                      <a:pt x="137" y="152"/>
                    </a:lnTo>
                    <a:lnTo>
                      <a:pt x="138" y="156"/>
                    </a:lnTo>
                    <a:lnTo>
                      <a:pt x="153" y="144"/>
                    </a:lnTo>
                    <a:lnTo>
                      <a:pt x="154" y="133"/>
                    </a:lnTo>
                    <a:lnTo>
                      <a:pt x="151" y="125"/>
                    </a:lnTo>
                    <a:lnTo>
                      <a:pt x="146" y="123"/>
                    </a:lnTo>
                    <a:lnTo>
                      <a:pt x="137" y="124"/>
                    </a:lnTo>
                    <a:lnTo>
                      <a:pt x="129" y="126"/>
                    </a:lnTo>
                    <a:lnTo>
                      <a:pt x="126" y="120"/>
                    </a:lnTo>
                    <a:lnTo>
                      <a:pt x="119" y="120"/>
                    </a:lnTo>
                    <a:lnTo>
                      <a:pt x="114" y="128"/>
                    </a:lnTo>
                    <a:lnTo>
                      <a:pt x="112" y="123"/>
                    </a:lnTo>
                    <a:lnTo>
                      <a:pt x="113" y="117"/>
                    </a:lnTo>
                    <a:lnTo>
                      <a:pt x="119" y="109"/>
                    </a:lnTo>
                    <a:lnTo>
                      <a:pt x="118" y="107"/>
                    </a:lnTo>
                    <a:lnTo>
                      <a:pt x="108" y="109"/>
                    </a:lnTo>
                    <a:lnTo>
                      <a:pt x="108" y="106"/>
                    </a:lnTo>
                    <a:lnTo>
                      <a:pt x="117" y="102"/>
                    </a:lnTo>
                    <a:lnTo>
                      <a:pt x="117" y="93"/>
                    </a:lnTo>
                    <a:lnTo>
                      <a:pt x="118" y="92"/>
                    </a:lnTo>
                    <a:lnTo>
                      <a:pt x="118" y="80"/>
                    </a:lnTo>
                    <a:lnTo>
                      <a:pt x="122" y="66"/>
                    </a:lnTo>
                    <a:lnTo>
                      <a:pt x="132" y="48"/>
                    </a:lnTo>
                    <a:lnTo>
                      <a:pt x="132" y="39"/>
                    </a:lnTo>
                    <a:lnTo>
                      <a:pt x="126" y="20"/>
                    </a:lnTo>
                    <a:lnTo>
                      <a:pt x="128" y="10"/>
                    </a:lnTo>
                    <a:lnTo>
                      <a:pt x="130" y="2"/>
                    </a:lnTo>
                    <a:lnTo>
                      <a:pt x="129" y="0"/>
                    </a:lnTo>
                    <a:lnTo>
                      <a:pt x="123" y="6"/>
                    </a:lnTo>
                    <a:lnTo>
                      <a:pt x="101" y="17"/>
                    </a:lnTo>
                    <a:lnTo>
                      <a:pt x="85" y="34"/>
                    </a:lnTo>
                    <a:lnTo>
                      <a:pt x="83" y="45"/>
                    </a:lnTo>
                    <a:lnTo>
                      <a:pt x="71" y="54"/>
                    </a:lnTo>
                    <a:lnTo>
                      <a:pt x="28" y="63"/>
                    </a:lnTo>
                    <a:lnTo>
                      <a:pt x="20" y="71"/>
                    </a:lnTo>
                    <a:lnTo>
                      <a:pt x="15" y="82"/>
                    </a:lnTo>
                    <a:lnTo>
                      <a:pt x="8" y="107"/>
                    </a:lnTo>
                    <a:lnTo>
                      <a:pt x="6" y="119"/>
                    </a:lnTo>
                    <a:lnTo>
                      <a:pt x="0" y="134"/>
                    </a:lnTo>
                    <a:lnTo>
                      <a:pt x="0" y="146"/>
                    </a:lnTo>
                    <a:lnTo>
                      <a:pt x="3" y="174"/>
                    </a:lnTo>
                    <a:lnTo>
                      <a:pt x="6" y="185"/>
                    </a:lnTo>
                    <a:lnTo>
                      <a:pt x="6" y="199"/>
                    </a:lnTo>
                    <a:lnTo>
                      <a:pt x="4" y="216"/>
                    </a:lnTo>
                    <a:lnTo>
                      <a:pt x="9" y="216"/>
                    </a:lnTo>
                    <a:lnTo>
                      <a:pt x="12" y="214"/>
                    </a:lnTo>
                    <a:lnTo>
                      <a:pt x="21" y="219"/>
                    </a:lnTo>
                    <a:lnTo>
                      <a:pt x="28" y="226"/>
                    </a:lnTo>
                    <a:lnTo>
                      <a:pt x="33" y="236"/>
                    </a:lnTo>
                    <a:lnTo>
                      <a:pt x="33" y="269"/>
                    </a:lnTo>
                    <a:lnTo>
                      <a:pt x="35" y="27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06" name="Freeform 220"/>
              <p:cNvSpPr>
                <a:spLocks noChangeAspect="1"/>
              </p:cNvSpPr>
              <p:nvPr/>
            </p:nvSpPr>
            <p:spPr bwMode="gray">
              <a:xfrm>
                <a:off x="4847431" y="1911697"/>
                <a:ext cx="452438" cy="539750"/>
              </a:xfrm>
              <a:custGeom>
                <a:avLst/>
                <a:gdLst/>
                <a:ahLst/>
                <a:cxnLst>
                  <a:cxn ang="0">
                    <a:pos x="1358" y="214"/>
                  </a:cxn>
                  <a:cxn ang="0">
                    <a:pos x="1321" y="157"/>
                  </a:cxn>
                  <a:cxn ang="0">
                    <a:pos x="1355" y="75"/>
                  </a:cxn>
                  <a:cxn ang="0">
                    <a:pos x="1290" y="70"/>
                  </a:cxn>
                  <a:cxn ang="0">
                    <a:pos x="1260" y="47"/>
                  </a:cxn>
                  <a:cxn ang="0">
                    <a:pos x="1218" y="67"/>
                  </a:cxn>
                  <a:cxn ang="0">
                    <a:pos x="1176" y="31"/>
                  </a:cxn>
                  <a:cxn ang="0">
                    <a:pos x="1106" y="112"/>
                  </a:cxn>
                  <a:cxn ang="0">
                    <a:pos x="1074" y="26"/>
                  </a:cxn>
                  <a:cxn ang="0">
                    <a:pos x="1003" y="159"/>
                  </a:cxn>
                  <a:cxn ang="0">
                    <a:pos x="944" y="150"/>
                  </a:cxn>
                  <a:cxn ang="0">
                    <a:pos x="930" y="178"/>
                  </a:cxn>
                  <a:cxn ang="0">
                    <a:pos x="874" y="202"/>
                  </a:cxn>
                  <a:cxn ang="0">
                    <a:pos x="841" y="212"/>
                  </a:cxn>
                  <a:cxn ang="0">
                    <a:pos x="795" y="291"/>
                  </a:cxn>
                  <a:cxn ang="0">
                    <a:pos x="726" y="285"/>
                  </a:cxn>
                  <a:cxn ang="0">
                    <a:pos x="704" y="355"/>
                  </a:cxn>
                  <a:cxn ang="0">
                    <a:pos x="632" y="407"/>
                  </a:cxn>
                  <a:cxn ang="0">
                    <a:pos x="633" y="422"/>
                  </a:cxn>
                  <a:cxn ang="0">
                    <a:pos x="586" y="471"/>
                  </a:cxn>
                  <a:cxn ang="0">
                    <a:pos x="561" y="542"/>
                  </a:cxn>
                  <a:cxn ang="0">
                    <a:pos x="520" y="591"/>
                  </a:cxn>
                  <a:cxn ang="0">
                    <a:pos x="459" y="673"/>
                  </a:cxn>
                  <a:cxn ang="0">
                    <a:pos x="436" y="734"/>
                  </a:cxn>
                  <a:cxn ang="0">
                    <a:pos x="420" y="796"/>
                  </a:cxn>
                  <a:cxn ang="0">
                    <a:pos x="387" y="856"/>
                  </a:cxn>
                  <a:cxn ang="0">
                    <a:pos x="360" y="902"/>
                  </a:cxn>
                  <a:cxn ang="0">
                    <a:pos x="305" y="969"/>
                  </a:cxn>
                  <a:cxn ang="0">
                    <a:pos x="320" y="1052"/>
                  </a:cxn>
                  <a:cxn ang="0">
                    <a:pos x="284" y="1096"/>
                  </a:cxn>
                  <a:cxn ang="0">
                    <a:pos x="228" y="1097"/>
                  </a:cxn>
                  <a:cxn ang="0">
                    <a:pos x="167" y="1122"/>
                  </a:cxn>
                  <a:cxn ang="0">
                    <a:pos x="137" y="1182"/>
                  </a:cxn>
                  <a:cxn ang="0">
                    <a:pos x="75" y="1214"/>
                  </a:cxn>
                  <a:cxn ang="0">
                    <a:pos x="53" y="1253"/>
                  </a:cxn>
                  <a:cxn ang="0">
                    <a:pos x="53" y="1279"/>
                  </a:cxn>
                  <a:cxn ang="0">
                    <a:pos x="16" y="1310"/>
                  </a:cxn>
                  <a:cxn ang="0">
                    <a:pos x="74" y="1349"/>
                  </a:cxn>
                  <a:cxn ang="0">
                    <a:pos x="127" y="1354"/>
                  </a:cxn>
                  <a:cxn ang="0">
                    <a:pos x="57" y="1370"/>
                  </a:cxn>
                  <a:cxn ang="0">
                    <a:pos x="0" y="1407"/>
                  </a:cxn>
                  <a:cxn ang="0">
                    <a:pos x="30" y="1461"/>
                  </a:cxn>
                  <a:cxn ang="0">
                    <a:pos x="88" y="1428"/>
                  </a:cxn>
                  <a:cxn ang="0">
                    <a:pos x="40" y="1506"/>
                  </a:cxn>
                  <a:cxn ang="0">
                    <a:pos x="16" y="1560"/>
                  </a:cxn>
                  <a:cxn ang="0">
                    <a:pos x="64" y="1571"/>
                  </a:cxn>
                  <a:cxn ang="0">
                    <a:pos x="85" y="1677"/>
                  </a:cxn>
                  <a:cxn ang="0">
                    <a:pos x="190" y="1671"/>
                  </a:cxn>
                  <a:cxn ang="0">
                    <a:pos x="293" y="1556"/>
                  </a:cxn>
                  <a:cxn ang="0">
                    <a:pos x="299" y="1506"/>
                  </a:cxn>
                  <a:cxn ang="0">
                    <a:pos x="339" y="1614"/>
                  </a:cxn>
                  <a:cxn ang="0">
                    <a:pos x="400" y="1394"/>
                  </a:cxn>
                  <a:cxn ang="0">
                    <a:pos x="386" y="1186"/>
                  </a:cxn>
                  <a:cxn ang="0">
                    <a:pos x="488" y="1020"/>
                  </a:cxn>
                  <a:cxn ang="0">
                    <a:pos x="542" y="750"/>
                  </a:cxn>
                  <a:cxn ang="0">
                    <a:pos x="633" y="532"/>
                  </a:cxn>
                  <a:cxn ang="0">
                    <a:pos x="729" y="404"/>
                  </a:cxn>
                  <a:cxn ang="0">
                    <a:pos x="826" y="326"/>
                  </a:cxn>
                  <a:cxn ang="0">
                    <a:pos x="957" y="371"/>
                  </a:cxn>
                  <a:cxn ang="0">
                    <a:pos x="1139" y="322"/>
                  </a:cxn>
                  <a:cxn ang="0">
                    <a:pos x="1325" y="225"/>
                  </a:cxn>
                  <a:cxn ang="0">
                    <a:pos x="1381" y="239"/>
                  </a:cxn>
                </a:cxnLst>
                <a:rect l="0" t="0" r="r" b="b"/>
                <a:pathLst>
                  <a:path w="1427" h="1701">
                    <a:moveTo>
                      <a:pt x="1419" y="216"/>
                    </a:moveTo>
                    <a:lnTo>
                      <a:pt x="1397" y="212"/>
                    </a:lnTo>
                    <a:lnTo>
                      <a:pt x="1395" y="232"/>
                    </a:lnTo>
                    <a:lnTo>
                      <a:pt x="1388" y="232"/>
                    </a:lnTo>
                    <a:lnTo>
                      <a:pt x="1390" y="229"/>
                    </a:lnTo>
                    <a:lnTo>
                      <a:pt x="1380" y="225"/>
                    </a:lnTo>
                    <a:lnTo>
                      <a:pt x="1376" y="219"/>
                    </a:lnTo>
                    <a:lnTo>
                      <a:pt x="1376" y="231"/>
                    </a:lnTo>
                    <a:lnTo>
                      <a:pt x="1375" y="234"/>
                    </a:lnTo>
                    <a:lnTo>
                      <a:pt x="1370" y="224"/>
                    </a:lnTo>
                    <a:lnTo>
                      <a:pt x="1357" y="226"/>
                    </a:lnTo>
                    <a:lnTo>
                      <a:pt x="1347" y="232"/>
                    </a:lnTo>
                    <a:lnTo>
                      <a:pt x="1350" y="220"/>
                    </a:lnTo>
                    <a:lnTo>
                      <a:pt x="1358" y="214"/>
                    </a:lnTo>
                    <a:lnTo>
                      <a:pt x="1365" y="212"/>
                    </a:lnTo>
                    <a:lnTo>
                      <a:pt x="1368" y="205"/>
                    </a:lnTo>
                    <a:lnTo>
                      <a:pt x="1366" y="200"/>
                    </a:lnTo>
                    <a:lnTo>
                      <a:pt x="1361" y="193"/>
                    </a:lnTo>
                    <a:lnTo>
                      <a:pt x="1341" y="196"/>
                    </a:lnTo>
                    <a:lnTo>
                      <a:pt x="1344" y="189"/>
                    </a:lnTo>
                    <a:lnTo>
                      <a:pt x="1338" y="183"/>
                    </a:lnTo>
                    <a:lnTo>
                      <a:pt x="1326" y="177"/>
                    </a:lnTo>
                    <a:lnTo>
                      <a:pt x="1315" y="166"/>
                    </a:lnTo>
                    <a:lnTo>
                      <a:pt x="1301" y="162"/>
                    </a:lnTo>
                    <a:lnTo>
                      <a:pt x="1296" y="156"/>
                    </a:lnTo>
                    <a:lnTo>
                      <a:pt x="1299" y="153"/>
                    </a:lnTo>
                    <a:lnTo>
                      <a:pt x="1299" y="149"/>
                    </a:lnTo>
                    <a:lnTo>
                      <a:pt x="1321" y="157"/>
                    </a:lnTo>
                    <a:lnTo>
                      <a:pt x="1371" y="166"/>
                    </a:lnTo>
                    <a:lnTo>
                      <a:pt x="1407" y="137"/>
                    </a:lnTo>
                    <a:lnTo>
                      <a:pt x="1419" y="132"/>
                    </a:lnTo>
                    <a:lnTo>
                      <a:pt x="1427" y="126"/>
                    </a:lnTo>
                    <a:lnTo>
                      <a:pt x="1424" y="112"/>
                    </a:lnTo>
                    <a:lnTo>
                      <a:pt x="1412" y="106"/>
                    </a:lnTo>
                    <a:lnTo>
                      <a:pt x="1404" y="92"/>
                    </a:lnTo>
                    <a:lnTo>
                      <a:pt x="1388" y="91"/>
                    </a:lnTo>
                    <a:lnTo>
                      <a:pt x="1380" y="87"/>
                    </a:lnTo>
                    <a:lnTo>
                      <a:pt x="1388" y="80"/>
                    </a:lnTo>
                    <a:lnTo>
                      <a:pt x="1374" y="73"/>
                    </a:lnTo>
                    <a:lnTo>
                      <a:pt x="1369" y="63"/>
                    </a:lnTo>
                    <a:lnTo>
                      <a:pt x="1361" y="71"/>
                    </a:lnTo>
                    <a:lnTo>
                      <a:pt x="1355" y="75"/>
                    </a:lnTo>
                    <a:lnTo>
                      <a:pt x="1355" y="68"/>
                    </a:lnTo>
                    <a:lnTo>
                      <a:pt x="1353" y="63"/>
                    </a:lnTo>
                    <a:lnTo>
                      <a:pt x="1333" y="70"/>
                    </a:lnTo>
                    <a:lnTo>
                      <a:pt x="1332" y="68"/>
                    </a:lnTo>
                    <a:lnTo>
                      <a:pt x="1331" y="63"/>
                    </a:lnTo>
                    <a:lnTo>
                      <a:pt x="1332" y="59"/>
                    </a:lnTo>
                    <a:lnTo>
                      <a:pt x="1332" y="49"/>
                    </a:lnTo>
                    <a:lnTo>
                      <a:pt x="1327" y="46"/>
                    </a:lnTo>
                    <a:lnTo>
                      <a:pt x="1325" y="38"/>
                    </a:lnTo>
                    <a:lnTo>
                      <a:pt x="1316" y="42"/>
                    </a:lnTo>
                    <a:lnTo>
                      <a:pt x="1310" y="38"/>
                    </a:lnTo>
                    <a:lnTo>
                      <a:pt x="1301" y="41"/>
                    </a:lnTo>
                    <a:lnTo>
                      <a:pt x="1293" y="56"/>
                    </a:lnTo>
                    <a:lnTo>
                      <a:pt x="1290" y="70"/>
                    </a:lnTo>
                    <a:lnTo>
                      <a:pt x="1290" y="89"/>
                    </a:lnTo>
                    <a:lnTo>
                      <a:pt x="1293" y="103"/>
                    </a:lnTo>
                    <a:lnTo>
                      <a:pt x="1280" y="110"/>
                    </a:lnTo>
                    <a:lnTo>
                      <a:pt x="1271" y="102"/>
                    </a:lnTo>
                    <a:lnTo>
                      <a:pt x="1260" y="105"/>
                    </a:lnTo>
                    <a:lnTo>
                      <a:pt x="1257" y="101"/>
                    </a:lnTo>
                    <a:lnTo>
                      <a:pt x="1267" y="91"/>
                    </a:lnTo>
                    <a:lnTo>
                      <a:pt x="1277" y="76"/>
                    </a:lnTo>
                    <a:lnTo>
                      <a:pt x="1272" y="67"/>
                    </a:lnTo>
                    <a:lnTo>
                      <a:pt x="1257" y="78"/>
                    </a:lnTo>
                    <a:lnTo>
                      <a:pt x="1247" y="78"/>
                    </a:lnTo>
                    <a:lnTo>
                      <a:pt x="1262" y="67"/>
                    </a:lnTo>
                    <a:lnTo>
                      <a:pt x="1253" y="56"/>
                    </a:lnTo>
                    <a:lnTo>
                      <a:pt x="1260" y="47"/>
                    </a:lnTo>
                    <a:lnTo>
                      <a:pt x="1277" y="49"/>
                    </a:lnTo>
                    <a:lnTo>
                      <a:pt x="1284" y="35"/>
                    </a:lnTo>
                    <a:lnTo>
                      <a:pt x="1285" y="19"/>
                    </a:lnTo>
                    <a:lnTo>
                      <a:pt x="1273" y="19"/>
                    </a:lnTo>
                    <a:lnTo>
                      <a:pt x="1275" y="9"/>
                    </a:lnTo>
                    <a:lnTo>
                      <a:pt x="1268" y="3"/>
                    </a:lnTo>
                    <a:lnTo>
                      <a:pt x="1262" y="3"/>
                    </a:lnTo>
                    <a:lnTo>
                      <a:pt x="1250" y="13"/>
                    </a:lnTo>
                    <a:lnTo>
                      <a:pt x="1239" y="0"/>
                    </a:lnTo>
                    <a:lnTo>
                      <a:pt x="1236" y="17"/>
                    </a:lnTo>
                    <a:lnTo>
                      <a:pt x="1231" y="37"/>
                    </a:lnTo>
                    <a:lnTo>
                      <a:pt x="1226" y="49"/>
                    </a:lnTo>
                    <a:lnTo>
                      <a:pt x="1220" y="59"/>
                    </a:lnTo>
                    <a:lnTo>
                      <a:pt x="1218" y="67"/>
                    </a:lnTo>
                    <a:lnTo>
                      <a:pt x="1219" y="78"/>
                    </a:lnTo>
                    <a:lnTo>
                      <a:pt x="1212" y="79"/>
                    </a:lnTo>
                    <a:lnTo>
                      <a:pt x="1208" y="89"/>
                    </a:lnTo>
                    <a:lnTo>
                      <a:pt x="1208" y="103"/>
                    </a:lnTo>
                    <a:lnTo>
                      <a:pt x="1197" y="103"/>
                    </a:lnTo>
                    <a:lnTo>
                      <a:pt x="1182" y="118"/>
                    </a:lnTo>
                    <a:lnTo>
                      <a:pt x="1183" y="102"/>
                    </a:lnTo>
                    <a:lnTo>
                      <a:pt x="1188" y="85"/>
                    </a:lnTo>
                    <a:lnTo>
                      <a:pt x="1178" y="70"/>
                    </a:lnTo>
                    <a:lnTo>
                      <a:pt x="1188" y="62"/>
                    </a:lnTo>
                    <a:lnTo>
                      <a:pt x="1188" y="41"/>
                    </a:lnTo>
                    <a:lnTo>
                      <a:pt x="1187" y="28"/>
                    </a:lnTo>
                    <a:lnTo>
                      <a:pt x="1182" y="27"/>
                    </a:lnTo>
                    <a:lnTo>
                      <a:pt x="1176" y="31"/>
                    </a:lnTo>
                    <a:lnTo>
                      <a:pt x="1142" y="90"/>
                    </a:lnTo>
                    <a:lnTo>
                      <a:pt x="1135" y="96"/>
                    </a:lnTo>
                    <a:lnTo>
                      <a:pt x="1129" y="111"/>
                    </a:lnTo>
                    <a:lnTo>
                      <a:pt x="1121" y="122"/>
                    </a:lnTo>
                    <a:lnTo>
                      <a:pt x="1115" y="140"/>
                    </a:lnTo>
                    <a:lnTo>
                      <a:pt x="1123" y="132"/>
                    </a:lnTo>
                    <a:lnTo>
                      <a:pt x="1101" y="167"/>
                    </a:lnTo>
                    <a:lnTo>
                      <a:pt x="1092" y="172"/>
                    </a:lnTo>
                    <a:lnTo>
                      <a:pt x="1091" y="160"/>
                    </a:lnTo>
                    <a:lnTo>
                      <a:pt x="1092" y="148"/>
                    </a:lnTo>
                    <a:lnTo>
                      <a:pt x="1099" y="139"/>
                    </a:lnTo>
                    <a:lnTo>
                      <a:pt x="1104" y="137"/>
                    </a:lnTo>
                    <a:lnTo>
                      <a:pt x="1104" y="129"/>
                    </a:lnTo>
                    <a:lnTo>
                      <a:pt x="1106" y="112"/>
                    </a:lnTo>
                    <a:lnTo>
                      <a:pt x="1105" y="105"/>
                    </a:lnTo>
                    <a:lnTo>
                      <a:pt x="1111" y="87"/>
                    </a:lnTo>
                    <a:lnTo>
                      <a:pt x="1133" y="58"/>
                    </a:lnTo>
                    <a:lnTo>
                      <a:pt x="1140" y="42"/>
                    </a:lnTo>
                    <a:lnTo>
                      <a:pt x="1131" y="37"/>
                    </a:lnTo>
                    <a:lnTo>
                      <a:pt x="1116" y="48"/>
                    </a:lnTo>
                    <a:lnTo>
                      <a:pt x="1107" y="51"/>
                    </a:lnTo>
                    <a:lnTo>
                      <a:pt x="1106" y="37"/>
                    </a:lnTo>
                    <a:lnTo>
                      <a:pt x="1100" y="33"/>
                    </a:lnTo>
                    <a:lnTo>
                      <a:pt x="1096" y="27"/>
                    </a:lnTo>
                    <a:lnTo>
                      <a:pt x="1095" y="20"/>
                    </a:lnTo>
                    <a:lnTo>
                      <a:pt x="1085" y="32"/>
                    </a:lnTo>
                    <a:lnTo>
                      <a:pt x="1081" y="26"/>
                    </a:lnTo>
                    <a:lnTo>
                      <a:pt x="1074" y="26"/>
                    </a:lnTo>
                    <a:lnTo>
                      <a:pt x="1073" y="51"/>
                    </a:lnTo>
                    <a:lnTo>
                      <a:pt x="1059" y="46"/>
                    </a:lnTo>
                    <a:lnTo>
                      <a:pt x="1065" y="59"/>
                    </a:lnTo>
                    <a:lnTo>
                      <a:pt x="1073" y="67"/>
                    </a:lnTo>
                    <a:lnTo>
                      <a:pt x="1074" y="71"/>
                    </a:lnTo>
                    <a:lnTo>
                      <a:pt x="1061" y="79"/>
                    </a:lnTo>
                    <a:lnTo>
                      <a:pt x="1053" y="91"/>
                    </a:lnTo>
                    <a:lnTo>
                      <a:pt x="1057" y="105"/>
                    </a:lnTo>
                    <a:lnTo>
                      <a:pt x="1032" y="105"/>
                    </a:lnTo>
                    <a:lnTo>
                      <a:pt x="1020" y="118"/>
                    </a:lnTo>
                    <a:lnTo>
                      <a:pt x="1015" y="129"/>
                    </a:lnTo>
                    <a:lnTo>
                      <a:pt x="1002" y="144"/>
                    </a:lnTo>
                    <a:lnTo>
                      <a:pt x="1000" y="150"/>
                    </a:lnTo>
                    <a:lnTo>
                      <a:pt x="1003" y="159"/>
                    </a:lnTo>
                    <a:lnTo>
                      <a:pt x="1000" y="169"/>
                    </a:lnTo>
                    <a:lnTo>
                      <a:pt x="1000" y="183"/>
                    </a:lnTo>
                    <a:lnTo>
                      <a:pt x="992" y="184"/>
                    </a:lnTo>
                    <a:lnTo>
                      <a:pt x="987" y="178"/>
                    </a:lnTo>
                    <a:lnTo>
                      <a:pt x="987" y="170"/>
                    </a:lnTo>
                    <a:lnTo>
                      <a:pt x="992" y="166"/>
                    </a:lnTo>
                    <a:lnTo>
                      <a:pt x="978" y="162"/>
                    </a:lnTo>
                    <a:lnTo>
                      <a:pt x="986" y="151"/>
                    </a:lnTo>
                    <a:lnTo>
                      <a:pt x="984" y="150"/>
                    </a:lnTo>
                    <a:lnTo>
                      <a:pt x="954" y="145"/>
                    </a:lnTo>
                    <a:lnTo>
                      <a:pt x="956" y="159"/>
                    </a:lnTo>
                    <a:lnTo>
                      <a:pt x="952" y="160"/>
                    </a:lnTo>
                    <a:lnTo>
                      <a:pt x="944" y="156"/>
                    </a:lnTo>
                    <a:lnTo>
                      <a:pt x="944" y="150"/>
                    </a:lnTo>
                    <a:lnTo>
                      <a:pt x="941" y="140"/>
                    </a:lnTo>
                    <a:lnTo>
                      <a:pt x="938" y="143"/>
                    </a:lnTo>
                    <a:lnTo>
                      <a:pt x="935" y="133"/>
                    </a:lnTo>
                    <a:lnTo>
                      <a:pt x="929" y="138"/>
                    </a:lnTo>
                    <a:lnTo>
                      <a:pt x="927" y="133"/>
                    </a:lnTo>
                    <a:lnTo>
                      <a:pt x="922" y="138"/>
                    </a:lnTo>
                    <a:lnTo>
                      <a:pt x="920" y="155"/>
                    </a:lnTo>
                    <a:lnTo>
                      <a:pt x="916" y="146"/>
                    </a:lnTo>
                    <a:lnTo>
                      <a:pt x="911" y="135"/>
                    </a:lnTo>
                    <a:lnTo>
                      <a:pt x="907" y="132"/>
                    </a:lnTo>
                    <a:lnTo>
                      <a:pt x="907" y="157"/>
                    </a:lnTo>
                    <a:lnTo>
                      <a:pt x="924" y="167"/>
                    </a:lnTo>
                    <a:lnTo>
                      <a:pt x="930" y="167"/>
                    </a:lnTo>
                    <a:lnTo>
                      <a:pt x="930" y="178"/>
                    </a:lnTo>
                    <a:lnTo>
                      <a:pt x="928" y="188"/>
                    </a:lnTo>
                    <a:lnTo>
                      <a:pt x="928" y="199"/>
                    </a:lnTo>
                    <a:lnTo>
                      <a:pt x="933" y="210"/>
                    </a:lnTo>
                    <a:lnTo>
                      <a:pt x="933" y="225"/>
                    </a:lnTo>
                    <a:lnTo>
                      <a:pt x="925" y="219"/>
                    </a:lnTo>
                    <a:lnTo>
                      <a:pt x="907" y="191"/>
                    </a:lnTo>
                    <a:lnTo>
                      <a:pt x="891" y="175"/>
                    </a:lnTo>
                    <a:lnTo>
                      <a:pt x="895" y="194"/>
                    </a:lnTo>
                    <a:lnTo>
                      <a:pt x="890" y="194"/>
                    </a:lnTo>
                    <a:lnTo>
                      <a:pt x="886" y="205"/>
                    </a:lnTo>
                    <a:lnTo>
                      <a:pt x="881" y="204"/>
                    </a:lnTo>
                    <a:lnTo>
                      <a:pt x="877" y="212"/>
                    </a:lnTo>
                    <a:lnTo>
                      <a:pt x="874" y="208"/>
                    </a:lnTo>
                    <a:lnTo>
                      <a:pt x="874" y="202"/>
                    </a:lnTo>
                    <a:lnTo>
                      <a:pt x="877" y="191"/>
                    </a:lnTo>
                    <a:lnTo>
                      <a:pt x="870" y="194"/>
                    </a:lnTo>
                    <a:lnTo>
                      <a:pt x="863" y="204"/>
                    </a:lnTo>
                    <a:lnTo>
                      <a:pt x="859" y="218"/>
                    </a:lnTo>
                    <a:lnTo>
                      <a:pt x="853" y="220"/>
                    </a:lnTo>
                    <a:lnTo>
                      <a:pt x="855" y="235"/>
                    </a:lnTo>
                    <a:lnTo>
                      <a:pt x="857" y="241"/>
                    </a:lnTo>
                    <a:lnTo>
                      <a:pt x="841" y="256"/>
                    </a:lnTo>
                    <a:lnTo>
                      <a:pt x="834" y="275"/>
                    </a:lnTo>
                    <a:lnTo>
                      <a:pt x="827" y="285"/>
                    </a:lnTo>
                    <a:lnTo>
                      <a:pt x="837" y="264"/>
                    </a:lnTo>
                    <a:lnTo>
                      <a:pt x="838" y="252"/>
                    </a:lnTo>
                    <a:lnTo>
                      <a:pt x="839" y="229"/>
                    </a:lnTo>
                    <a:lnTo>
                      <a:pt x="841" y="212"/>
                    </a:lnTo>
                    <a:lnTo>
                      <a:pt x="838" y="191"/>
                    </a:lnTo>
                    <a:lnTo>
                      <a:pt x="828" y="194"/>
                    </a:lnTo>
                    <a:lnTo>
                      <a:pt x="822" y="208"/>
                    </a:lnTo>
                    <a:lnTo>
                      <a:pt x="812" y="223"/>
                    </a:lnTo>
                    <a:lnTo>
                      <a:pt x="809" y="246"/>
                    </a:lnTo>
                    <a:lnTo>
                      <a:pt x="804" y="266"/>
                    </a:lnTo>
                    <a:lnTo>
                      <a:pt x="803" y="214"/>
                    </a:lnTo>
                    <a:lnTo>
                      <a:pt x="777" y="218"/>
                    </a:lnTo>
                    <a:lnTo>
                      <a:pt x="768" y="235"/>
                    </a:lnTo>
                    <a:lnTo>
                      <a:pt x="767" y="240"/>
                    </a:lnTo>
                    <a:lnTo>
                      <a:pt x="769" y="261"/>
                    </a:lnTo>
                    <a:lnTo>
                      <a:pt x="779" y="274"/>
                    </a:lnTo>
                    <a:lnTo>
                      <a:pt x="788" y="278"/>
                    </a:lnTo>
                    <a:lnTo>
                      <a:pt x="795" y="291"/>
                    </a:lnTo>
                    <a:lnTo>
                      <a:pt x="794" y="301"/>
                    </a:lnTo>
                    <a:lnTo>
                      <a:pt x="785" y="300"/>
                    </a:lnTo>
                    <a:lnTo>
                      <a:pt x="779" y="284"/>
                    </a:lnTo>
                    <a:lnTo>
                      <a:pt x="768" y="277"/>
                    </a:lnTo>
                    <a:lnTo>
                      <a:pt x="760" y="261"/>
                    </a:lnTo>
                    <a:lnTo>
                      <a:pt x="751" y="252"/>
                    </a:lnTo>
                    <a:lnTo>
                      <a:pt x="739" y="254"/>
                    </a:lnTo>
                    <a:lnTo>
                      <a:pt x="746" y="272"/>
                    </a:lnTo>
                    <a:lnTo>
                      <a:pt x="760" y="284"/>
                    </a:lnTo>
                    <a:lnTo>
                      <a:pt x="750" y="294"/>
                    </a:lnTo>
                    <a:lnTo>
                      <a:pt x="741" y="286"/>
                    </a:lnTo>
                    <a:lnTo>
                      <a:pt x="737" y="293"/>
                    </a:lnTo>
                    <a:lnTo>
                      <a:pt x="735" y="280"/>
                    </a:lnTo>
                    <a:lnTo>
                      <a:pt x="726" y="285"/>
                    </a:lnTo>
                    <a:lnTo>
                      <a:pt x="726" y="280"/>
                    </a:lnTo>
                    <a:lnTo>
                      <a:pt x="729" y="267"/>
                    </a:lnTo>
                    <a:lnTo>
                      <a:pt x="724" y="261"/>
                    </a:lnTo>
                    <a:lnTo>
                      <a:pt x="721" y="266"/>
                    </a:lnTo>
                    <a:lnTo>
                      <a:pt x="714" y="290"/>
                    </a:lnTo>
                    <a:lnTo>
                      <a:pt x="715" y="299"/>
                    </a:lnTo>
                    <a:lnTo>
                      <a:pt x="720" y="306"/>
                    </a:lnTo>
                    <a:lnTo>
                      <a:pt x="697" y="318"/>
                    </a:lnTo>
                    <a:lnTo>
                      <a:pt x="691" y="325"/>
                    </a:lnTo>
                    <a:lnTo>
                      <a:pt x="688" y="332"/>
                    </a:lnTo>
                    <a:lnTo>
                      <a:pt x="687" y="343"/>
                    </a:lnTo>
                    <a:lnTo>
                      <a:pt x="690" y="350"/>
                    </a:lnTo>
                    <a:lnTo>
                      <a:pt x="698" y="347"/>
                    </a:lnTo>
                    <a:lnTo>
                      <a:pt x="704" y="355"/>
                    </a:lnTo>
                    <a:lnTo>
                      <a:pt x="692" y="355"/>
                    </a:lnTo>
                    <a:lnTo>
                      <a:pt x="696" y="365"/>
                    </a:lnTo>
                    <a:lnTo>
                      <a:pt x="696" y="372"/>
                    </a:lnTo>
                    <a:lnTo>
                      <a:pt x="683" y="368"/>
                    </a:lnTo>
                    <a:lnTo>
                      <a:pt x="678" y="370"/>
                    </a:lnTo>
                    <a:lnTo>
                      <a:pt x="686" y="377"/>
                    </a:lnTo>
                    <a:lnTo>
                      <a:pt x="681" y="383"/>
                    </a:lnTo>
                    <a:lnTo>
                      <a:pt x="670" y="380"/>
                    </a:lnTo>
                    <a:lnTo>
                      <a:pt x="667" y="386"/>
                    </a:lnTo>
                    <a:lnTo>
                      <a:pt x="659" y="383"/>
                    </a:lnTo>
                    <a:lnTo>
                      <a:pt x="643" y="390"/>
                    </a:lnTo>
                    <a:lnTo>
                      <a:pt x="639" y="399"/>
                    </a:lnTo>
                    <a:lnTo>
                      <a:pt x="633" y="403"/>
                    </a:lnTo>
                    <a:lnTo>
                      <a:pt x="632" y="407"/>
                    </a:lnTo>
                    <a:lnTo>
                      <a:pt x="642" y="414"/>
                    </a:lnTo>
                    <a:lnTo>
                      <a:pt x="651" y="410"/>
                    </a:lnTo>
                    <a:lnTo>
                      <a:pt x="656" y="404"/>
                    </a:lnTo>
                    <a:lnTo>
                      <a:pt x="672" y="414"/>
                    </a:lnTo>
                    <a:lnTo>
                      <a:pt x="685" y="406"/>
                    </a:lnTo>
                    <a:lnTo>
                      <a:pt x="687" y="409"/>
                    </a:lnTo>
                    <a:lnTo>
                      <a:pt x="691" y="418"/>
                    </a:lnTo>
                    <a:lnTo>
                      <a:pt x="681" y="418"/>
                    </a:lnTo>
                    <a:lnTo>
                      <a:pt x="676" y="425"/>
                    </a:lnTo>
                    <a:lnTo>
                      <a:pt x="674" y="439"/>
                    </a:lnTo>
                    <a:lnTo>
                      <a:pt x="659" y="430"/>
                    </a:lnTo>
                    <a:lnTo>
                      <a:pt x="648" y="430"/>
                    </a:lnTo>
                    <a:lnTo>
                      <a:pt x="645" y="424"/>
                    </a:lnTo>
                    <a:lnTo>
                      <a:pt x="633" y="422"/>
                    </a:lnTo>
                    <a:lnTo>
                      <a:pt x="619" y="430"/>
                    </a:lnTo>
                    <a:lnTo>
                      <a:pt x="616" y="438"/>
                    </a:lnTo>
                    <a:lnTo>
                      <a:pt x="626" y="453"/>
                    </a:lnTo>
                    <a:lnTo>
                      <a:pt x="626" y="462"/>
                    </a:lnTo>
                    <a:lnTo>
                      <a:pt x="619" y="461"/>
                    </a:lnTo>
                    <a:lnTo>
                      <a:pt x="624" y="476"/>
                    </a:lnTo>
                    <a:lnTo>
                      <a:pt x="626" y="487"/>
                    </a:lnTo>
                    <a:lnTo>
                      <a:pt x="617" y="483"/>
                    </a:lnTo>
                    <a:lnTo>
                      <a:pt x="617" y="494"/>
                    </a:lnTo>
                    <a:lnTo>
                      <a:pt x="610" y="495"/>
                    </a:lnTo>
                    <a:lnTo>
                      <a:pt x="605" y="457"/>
                    </a:lnTo>
                    <a:lnTo>
                      <a:pt x="597" y="460"/>
                    </a:lnTo>
                    <a:lnTo>
                      <a:pt x="594" y="473"/>
                    </a:lnTo>
                    <a:lnTo>
                      <a:pt x="586" y="471"/>
                    </a:lnTo>
                    <a:lnTo>
                      <a:pt x="583" y="474"/>
                    </a:lnTo>
                    <a:lnTo>
                      <a:pt x="594" y="479"/>
                    </a:lnTo>
                    <a:lnTo>
                      <a:pt x="591" y="483"/>
                    </a:lnTo>
                    <a:lnTo>
                      <a:pt x="583" y="485"/>
                    </a:lnTo>
                    <a:lnTo>
                      <a:pt x="575" y="490"/>
                    </a:lnTo>
                    <a:lnTo>
                      <a:pt x="573" y="499"/>
                    </a:lnTo>
                    <a:lnTo>
                      <a:pt x="574" y="509"/>
                    </a:lnTo>
                    <a:lnTo>
                      <a:pt x="583" y="516"/>
                    </a:lnTo>
                    <a:lnTo>
                      <a:pt x="575" y="520"/>
                    </a:lnTo>
                    <a:lnTo>
                      <a:pt x="580" y="525"/>
                    </a:lnTo>
                    <a:lnTo>
                      <a:pt x="574" y="527"/>
                    </a:lnTo>
                    <a:lnTo>
                      <a:pt x="570" y="539"/>
                    </a:lnTo>
                    <a:lnTo>
                      <a:pt x="567" y="542"/>
                    </a:lnTo>
                    <a:lnTo>
                      <a:pt x="561" y="542"/>
                    </a:lnTo>
                    <a:lnTo>
                      <a:pt x="562" y="546"/>
                    </a:lnTo>
                    <a:lnTo>
                      <a:pt x="572" y="549"/>
                    </a:lnTo>
                    <a:lnTo>
                      <a:pt x="591" y="542"/>
                    </a:lnTo>
                    <a:lnTo>
                      <a:pt x="578" y="558"/>
                    </a:lnTo>
                    <a:lnTo>
                      <a:pt x="572" y="562"/>
                    </a:lnTo>
                    <a:lnTo>
                      <a:pt x="553" y="558"/>
                    </a:lnTo>
                    <a:lnTo>
                      <a:pt x="548" y="553"/>
                    </a:lnTo>
                    <a:lnTo>
                      <a:pt x="547" y="546"/>
                    </a:lnTo>
                    <a:lnTo>
                      <a:pt x="540" y="547"/>
                    </a:lnTo>
                    <a:lnTo>
                      <a:pt x="529" y="557"/>
                    </a:lnTo>
                    <a:lnTo>
                      <a:pt x="524" y="574"/>
                    </a:lnTo>
                    <a:lnTo>
                      <a:pt x="514" y="581"/>
                    </a:lnTo>
                    <a:lnTo>
                      <a:pt x="513" y="591"/>
                    </a:lnTo>
                    <a:lnTo>
                      <a:pt x="520" y="591"/>
                    </a:lnTo>
                    <a:lnTo>
                      <a:pt x="519" y="598"/>
                    </a:lnTo>
                    <a:lnTo>
                      <a:pt x="518" y="603"/>
                    </a:lnTo>
                    <a:lnTo>
                      <a:pt x="509" y="607"/>
                    </a:lnTo>
                    <a:lnTo>
                      <a:pt x="504" y="625"/>
                    </a:lnTo>
                    <a:lnTo>
                      <a:pt x="497" y="624"/>
                    </a:lnTo>
                    <a:lnTo>
                      <a:pt x="491" y="628"/>
                    </a:lnTo>
                    <a:lnTo>
                      <a:pt x="484" y="629"/>
                    </a:lnTo>
                    <a:lnTo>
                      <a:pt x="476" y="640"/>
                    </a:lnTo>
                    <a:lnTo>
                      <a:pt x="482" y="650"/>
                    </a:lnTo>
                    <a:lnTo>
                      <a:pt x="478" y="654"/>
                    </a:lnTo>
                    <a:lnTo>
                      <a:pt x="467" y="656"/>
                    </a:lnTo>
                    <a:lnTo>
                      <a:pt x="467" y="666"/>
                    </a:lnTo>
                    <a:lnTo>
                      <a:pt x="456" y="667"/>
                    </a:lnTo>
                    <a:lnTo>
                      <a:pt x="459" y="673"/>
                    </a:lnTo>
                    <a:lnTo>
                      <a:pt x="454" y="677"/>
                    </a:lnTo>
                    <a:lnTo>
                      <a:pt x="452" y="686"/>
                    </a:lnTo>
                    <a:lnTo>
                      <a:pt x="465" y="688"/>
                    </a:lnTo>
                    <a:lnTo>
                      <a:pt x="462" y="694"/>
                    </a:lnTo>
                    <a:lnTo>
                      <a:pt x="454" y="699"/>
                    </a:lnTo>
                    <a:lnTo>
                      <a:pt x="448" y="694"/>
                    </a:lnTo>
                    <a:lnTo>
                      <a:pt x="448" y="697"/>
                    </a:lnTo>
                    <a:lnTo>
                      <a:pt x="448" y="711"/>
                    </a:lnTo>
                    <a:lnTo>
                      <a:pt x="454" y="720"/>
                    </a:lnTo>
                    <a:lnTo>
                      <a:pt x="459" y="713"/>
                    </a:lnTo>
                    <a:lnTo>
                      <a:pt x="463" y="716"/>
                    </a:lnTo>
                    <a:lnTo>
                      <a:pt x="461" y="726"/>
                    </a:lnTo>
                    <a:lnTo>
                      <a:pt x="440" y="729"/>
                    </a:lnTo>
                    <a:lnTo>
                      <a:pt x="436" y="734"/>
                    </a:lnTo>
                    <a:lnTo>
                      <a:pt x="435" y="748"/>
                    </a:lnTo>
                    <a:lnTo>
                      <a:pt x="427" y="754"/>
                    </a:lnTo>
                    <a:lnTo>
                      <a:pt x="418" y="757"/>
                    </a:lnTo>
                    <a:lnTo>
                      <a:pt x="412" y="772"/>
                    </a:lnTo>
                    <a:lnTo>
                      <a:pt x="420" y="770"/>
                    </a:lnTo>
                    <a:lnTo>
                      <a:pt x="429" y="762"/>
                    </a:lnTo>
                    <a:lnTo>
                      <a:pt x="440" y="757"/>
                    </a:lnTo>
                    <a:lnTo>
                      <a:pt x="440" y="767"/>
                    </a:lnTo>
                    <a:lnTo>
                      <a:pt x="446" y="779"/>
                    </a:lnTo>
                    <a:lnTo>
                      <a:pt x="427" y="773"/>
                    </a:lnTo>
                    <a:lnTo>
                      <a:pt x="425" y="781"/>
                    </a:lnTo>
                    <a:lnTo>
                      <a:pt x="429" y="785"/>
                    </a:lnTo>
                    <a:lnTo>
                      <a:pt x="423" y="790"/>
                    </a:lnTo>
                    <a:lnTo>
                      <a:pt x="420" y="796"/>
                    </a:lnTo>
                    <a:lnTo>
                      <a:pt x="423" y="806"/>
                    </a:lnTo>
                    <a:lnTo>
                      <a:pt x="419" y="808"/>
                    </a:lnTo>
                    <a:lnTo>
                      <a:pt x="413" y="805"/>
                    </a:lnTo>
                    <a:lnTo>
                      <a:pt x="409" y="811"/>
                    </a:lnTo>
                    <a:lnTo>
                      <a:pt x="412" y="821"/>
                    </a:lnTo>
                    <a:lnTo>
                      <a:pt x="418" y="826"/>
                    </a:lnTo>
                    <a:lnTo>
                      <a:pt x="420" y="845"/>
                    </a:lnTo>
                    <a:lnTo>
                      <a:pt x="413" y="837"/>
                    </a:lnTo>
                    <a:lnTo>
                      <a:pt x="406" y="834"/>
                    </a:lnTo>
                    <a:lnTo>
                      <a:pt x="400" y="821"/>
                    </a:lnTo>
                    <a:lnTo>
                      <a:pt x="401" y="838"/>
                    </a:lnTo>
                    <a:lnTo>
                      <a:pt x="397" y="844"/>
                    </a:lnTo>
                    <a:lnTo>
                      <a:pt x="391" y="847"/>
                    </a:lnTo>
                    <a:lnTo>
                      <a:pt x="387" y="856"/>
                    </a:lnTo>
                    <a:lnTo>
                      <a:pt x="392" y="859"/>
                    </a:lnTo>
                    <a:lnTo>
                      <a:pt x="398" y="856"/>
                    </a:lnTo>
                    <a:lnTo>
                      <a:pt x="403" y="848"/>
                    </a:lnTo>
                    <a:lnTo>
                      <a:pt x="405" y="851"/>
                    </a:lnTo>
                    <a:lnTo>
                      <a:pt x="403" y="856"/>
                    </a:lnTo>
                    <a:lnTo>
                      <a:pt x="403" y="864"/>
                    </a:lnTo>
                    <a:lnTo>
                      <a:pt x="406" y="871"/>
                    </a:lnTo>
                    <a:lnTo>
                      <a:pt x="398" y="877"/>
                    </a:lnTo>
                    <a:lnTo>
                      <a:pt x="387" y="872"/>
                    </a:lnTo>
                    <a:lnTo>
                      <a:pt x="382" y="880"/>
                    </a:lnTo>
                    <a:lnTo>
                      <a:pt x="376" y="876"/>
                    </a:lnTo>
                    <a:lnTo>
                      <a:pt x="369" y="886"/>
                    </a:lnTo>
                    <a:lnTo>
                      <a:pt x="368" y="896"/>
                    </a:lnTo>
                    <a:lnTo>
                      <a:pt x="360" y="902"/>
                    </a:lnTo>
                    <a:lnTo>
                      <a:pt x="352" y="904"/>
                    </a:lnTo>
                    <a:lnTo>
                      <a:pt x="347" y="925"/>
                    </a:lnTo>
                    <a:lnTo>
                      <a:pt x="357" y="921"/>
                    </a:lnTo>
                    <a:lnTo>
                      <a:pt x="366" y="915"/>
                    </a:lnTo>
                    <a:lnTo>
                      <a:pt x="370" y="919"/>
                    </a:lnTo>
                    <a:lnTo>
                      <a:pt x="353" y="926"/>
                    </a:lnTo>
                    <a:lnTo>
                      <a:pt x="353" y="937"/>
                    </a:lnTo>
                    <a:lnTo>
                      <a:pt x="355" y="948"/>
                    </a:lnTo>
                    <a:lnTo>
                      <a:pt x="352" y="955"/>
                    </a:lnTo>
                    <a:lnTo>
                      <a:pt x="341" y="958"/>
                    </a:lnTo>
                    <a:lnTo>
                      <a:pt x="327" y="947"/>
                    </a:lnTo>
                    <a:lnTo>
                      <a:pt x="323" y="947"/>
                    </a:lnTo>
                    <a:lnTo>
                      <a:pt x="315" y="962"/>
                    </a:lnTo>
                    <a:lnTo>
                      <a:pt x="305" y="969"/>
                    </a:lnTo>
                    <a:lnTo>
                      <a:pt x="304" y="976"/>
                    </a:lnTo>
                    <a:lnTo>
                      <a:pt x="296" y="980"/>
                    </a:lnTo>
                    <a:lnTo>
                      <a:pt x="280" y="1006"/>
                    </a:lnTo>
                    <a:lnTo>
                      <a:pt x="277" y="1012"/>
                    </a:lnTo>
                    <a:lnTo>
                      <a:pt x="280" y="1022"/>
                    </a:lnTo>
                    <a:lnTo>
                      <a:pt x="280" y="1026"/>
                    </a:lnTo>
                    <a:lnTo>
                      <a:pt x="258" y="1038"/>
                    </a:lnTo>
                    <a:lnTo>
                      <a:pt x="258" y="1048"/>
                    </a:lnTo>
                    <a:lnTo>
                      <a:pt x="263" y="1053"/>
                    </a:lnTo>
                    <a:lnTo>
                      <a:pt x="274" y="1048"/>
                    </a:lnTo>
                    <a:lnTo>
                      <a:pt x="269" y="1064"/>
                    </a:lnTo>
                    <a:lnTo>
                      <a:pt x="277" y="1075"/>
                    </a:lnTo>
                    <a:lnTo>
                      <a:pt x="283" y="1079"/>
                    </a:lnTo>
                    <a:lnTo>
                      <a:pt x="320" y="1052"/>
                    </a:lnTo>
                    <a:lnTo>
                      <a:pt x="342" y="1042"/>
                    </a:lnTo>
                    <a:lnTo>
                      <a:pt x="347" y="1036"/>
                    </a:lnTo>
                    <a:lnTo>
                      <a:pt x="352" y="1038"/>
                    </a:lnTo>
                    <a:lnTo>
                      <a:pt x="348" y="1044"/>
                    </a:lnTo>
                    <a:lnTo>
                      <a:pt x="335" y="1052"/>
                    </a:lnTo>
                    <a:lnTo>
                      <a:pt x="327" y="1053"/>
                    </a:lnTo>
                    <a:lnTo>
                      <a:pt x="316" y="1060"/>
                    </a:lnTo>
                    <a:lnTo>
                      <a:pt x="307" y="1068"/>
                    </a:lnTo>
                    <a:lnTo>
                      <a:pt x="314" y="1075"/>
                    </a:lnTo>
                    <a:lnTo>
                      <a:pt x="312" y="1079"/>
                    </a:lnTo>
                    <a:lnTo>
                      <a:pt x="295" y="1086"/>
                    </a:lnTo>
                    <a:lnTo>
                      <a:pt x="285" y="1086"/>
                    </a:lnTo>
                    <a:lnTo>
                      <a:pt x="282" y="1090"/>
                    </a:lnTo>
                    <a:lnTo>
                      <a:pt x="284" y="1096"/>
                    </a:lnTo>
                    <a:lnTo>
                      <a:pt x="280" y="1097"/>
                    </a:lnTo>
                    <a:lnTo>
                      <a:pt x="271" y="1096"/>
                    </a:lnTo>
                    <a:lnTo>
                      <a:pt x="271" y="1086"/>
                    </a:lnTo>
                    <a:lnTo>
                      <a:pt x="263" y="1071"/>
                    </a:lnTo>
                    <a:lnTo>
                      <a:pt x="258" y="1066"/>
                    </a:lnTo>
                    <a:lnTo>
                      <a:pt x="253" y="1066"/>
                    </a:lnTo>
                    <a:lnTo>
                      <a:pt x="250" y="1073"/>
                    </a:lnTo>
                    <a:lnTo>
                      <a:pt x="242" y="1074"/>
                    </a:lnTo>
                    <a:lnTo>
                      <a:pt x="236" y="1080"/>
                    </a:lnTo>
                    <a:lnTo>
                      <a:pt x="235" y="1087"/>
                    </a:lnTo>
                    <a:lnTo>
                      <a:pt x="241" y="1092"/>
                    </a:lnTo>
                    <a:lnTo>
                      <a:pt x="242" y="1097"/>
                    </a:lnTo>
                    <a:lnTo>
                      <a:pt x="231" y="1103"/>
                    </a:lnTo>
                    <a:lnTo>
                      <a:pt x="228" y="1097"/>
                    </a:lnTo>
                    <a:lnTo>
                      <a:pt x="228" y="1089"/>
                    </a:lnTo>
                    <a:lnTo>
                      <a:pt x="225" y="1082"/>
                    </a:lnTo>
                    <a:lnTo>
                      <a:pt x="198" y="1093"/>
                    </a:lnTo>
                    <a:lnTo>
                      <a:pt x="194" y="1098"/>
                    </a:lnTo>
                    <a:lnTo>
                      <a:pt x="190" y="1109"/>
                    </a:lnTo>
                    <a:lnTo>
                      <a:pt x="183" y="1108"/>
                    </a:lnTo>
                    <a:lnTo>
                      <a:pt x="185" y="1116"/>
                    </a:lnTo>
                    <a:lnTo>
                      <a:pt x="183" y="1119"/>
                    </a:lnTo>
                    <a:lnTo>
                      <a:pt x="175" y="1120"/>
                    </a:lnTo>
                    <a:lnTo>
                      <a:pt x="175" y="1117"/>
                    </a:lnTo>
                    <a:lnTo>
                      <a:pt x="174" y="1112"/>
                    </a:lnTo>
                    <a:lnTo>
                      <a:pt x="169" y="1113"/>
                    </a:lnTo>
                    <a:lnTo>
                      <a:pt x="166" y="1117"/>
                    </a:lnTo>
                    <a:lnTo>
                      <a:pt x="167" y="1122"/>
                    </a:lnTo>
                    <a:lnTo>
                      <a:pt x="166" y="1124"/>
                    </a:lnTo>
                    <a:lnTo>
                      <a:pt x="156" y="1124"/>
                    </a:lnTo>
                    <a:lnTo>
                      <a:pt x="143" y="1132"/>
                    </a:lnTo>
                    <a:lnTo>
                      <a:pt x="140" y="1145"/>
                    </a:lnTo>
                    <a:lnTo>
                      <a:pt x="135" y="1156"/>
                    </a:lnTo>
                    <a:lnTo>
                      <a:pt x="128" y="1151"/>
                    </a:lnTo>
                    <a:lnTo>
                      <a:pt x="118" y="1150"/>
                    </a:lnTo>
                    <a:lnTo>
                      <a:pt x="110" y="1157"/>
                    </a:lnTo>
                    <a:lnTo>
                      <a:pt x="107" y="1163"/>
                    </a:lnTo>
                    <a:lnTo>
                      <a:pt x="117" y="1171"/>
                    </a:lnTo>
                    <a:lnTo>
                      <a:pt x="111" y="1177"/>
                    </a:lnTo>
                    <a:lnTo>
                      <a:pt x="121" y="1178"/>
                    </a:lnTo>
                    <a:lnTo>
                      <a:pt x="132" y="1176"/>
                    </a:lnTo>
                    <a:lnTo>
                      <a:pt x="137" y="1182"/>
                    </a:lnTo>
                    <a:lnTo>
                      <a:pt x="142" y="1184"/>
                    </a:lnTo>
                    <a:lnTo>
                      <a:pt x="135" y="1193"/>
                    </a:lnTo>
                    <a:lnTo>
                      <a:pt x="138" y="1199"/>
                    </a:lnTo>
                    <a:lnTo>
                      <a:pt x="131" y="1195"/>
                    </a:lnTo>
                    <a:lnTo>
                      <a:pt x="122" y="1195"/>
                    </a:lnTo>
                    <a:lnTo>
                      <a:pt x="99" y="1192"/>
                    </a:lnTo>
                    <a:lnTo>
                      <a:pt x="91" y="1193"/>
                    </a:lnTo>
                    <a:lnTo>
                      <a:pt x="86" y="1197"/>
                    </a:lnTo>
                    <a:lnTo>
                      <a:pt x="80" y="1195"/>
                    </a:lnTo>
                    <a:lnTo>
                      <a:pt x="74" y="1200"/>
                    </a:lnTo>
                    <a:lnTo>
                      <a:pt x="75" y="1203"/>
                    </a:lnTo>
                    <a:lnTo>
                      <a:pt x="81" y="1205"/>
                    </a:lnTo>
                    <a:lnTo>
                      <a:pt x="75" y="1208"/>
                    </a:lnTo>
                    <a:lnTo>
                      <a:pt x="75" y="1214"/>
                    </a:lnTo>
                    <a:lnTo>
                      <a:pt x="83" y="1213"/>
                    </a:lnTo>
                    <a:lnTo>
                      <a:pt x="89" y="1210"/>
                    </a:lnTo>
                    <a:lnTo>
                      <a:pt x="81" y="1220"/>
                    </a:lnTo>
                    <a:lnTo>
                      <a:pt x="81" y="1227"/>
                    </a:lnTo>
                    <a:lnTo>
                      <a:pt x="86" y="1243"/>
                    </a:lnTo>
                    <a:lnTo>
                      <a:pt x="83" y="1245"/>
                    </a:lnTo>
                    <a:lnTo>
                      <a:pt x="78" y="1230"/>
                    </a:lnTo>
                    <a:lnTo>
                      <a:pt x="74" y="1224"/>
                    </a:lnTo>
                    <a:lnTo>
                      <a:pt x="64" y="1230"/>
                    </a:lnTo>
                    <a:lnTo>
                      <a:pt x="59" y="1238"/>
                    </a:lnTo>
                    <a:lnTo>
                      <a:pt x="56" y="1248"/>
                    </a:lnTo>
                    <a:lnTo>
                      <a:pt x="61" y="1253"/>
                    </a:lnTo>
                    <a:lnTo>
                      <a:pt x="62" y="1259"/>
                    </a:lnTo>
                    <a:lnTo>
                      <a:pt x="53" y="1253"/>
                    </a:lnTo>
                    <a:lnTo>
                      <a:pt x="50" y="1246"/>
                    </a:lnTo>
                    <a:lnTo>
                      <a:pt x="41" y="1248"/>
                    </a:lnTo>
                    <a:lnTo>
                      <a:pt x="27" y="1248"/>
                    </a:lnTo>
                    <a:lnTo>
                      <a:pt x="27" y="1254"/>
                    </a:lnTo>
                    <a:lnTo>
                      <a:pt x="29" y="1259"/>
                    </a:lnTo>
                    <a:lnTo>
                      <a:pt x="13" y="1247"/>
                    </a:lnTo>
                    <a:lnTo>
                      <a:pt x="9" y="1251"/>
                    </a:lnTo>
                    <a:lnTo>
                      <a:pt x="15" y="1265"/>
                    </a:lnTo>
                    <a:lnTo>
                      <a:pt x="11" y="1272"/>
                    </a:lnTo>
                    <a:lnTo>
                      <a:pt x="13" y="1274"/>
                    </a:lnTo>
                    <a:lnTo>
                      <a:pt x="41" y="1274"/>
                    </a:lnTo>
                    <a:lnTo>
                      <a:pt x="67" y="1268"/>
                    </a:lnTo>
                    <a:lnTo>
                      <a:pt x="51" y="1275"/>
                    </a:lnTo>
                    <a:lnTo>
                      <a:pt x="53" y="1279"/>
                    </a:lnTo>
                    <a:lnTo>
                      <a:pt x="65" y="1279"/>
                    </a:lnTo>
                    <a:lnTo>
                      <a:pt x="74" y="1275"/>
                    </a:lnTo>
                    <a:lnTo>
                      <a:pt x="77" y="1278"/>
                    </a:lnTo>
                    <a:lnTo>
                      <a:pt x="67" y="1284"/>
                    </a:lnTo>
                    <a:lnTo>
                      <a:pt x="52" y="1286"/>
                    </a:lnTo>
                    <a:lnTo>
                      <a:pt x="36" y="1286"/>
                    </a:lnTo>
                    <a:lnTo>
                      <a:pt x="30" y="1281"/>
                    </a:lnTo>
                    <a:lnTo>
                      <a:pt x="24" y="1281"/>
                    </a:lnTo>
                    <a:lnTo>
                      <a:pt x="13" y="1291"/>
                    </a:lnTo>
                    <a:lnTo>
                      <a:pt x="11" y="1296"/>
                    </a:lnTo>
                    <a:lnTo>
                      <a:pt x="4" y="1295"/>
                    </a:lnTo>
                    <a:lnTo>
                      <a:pt x="2" y="1297"/>
                    </a:lnTo>
                    <a:lnTo>
                      <a:pt x="0" y="1305"/>
                    </a:lnTo>
                    <a:lnTo>
                      <a:pt x="16" y="1310"/>
                    </a:lnTo>
                    <a:lnTo>
                      <a:pt x="15" y="1316"/>
                    </a:lnTo>
                    <a:lnTo>
                      <a:pt x="15" y="1322"/>
                    </a:lnTo>
                    <a:lnTo>
                      <a:pt x="10" y="1327"/>
                    </a:lnTo>
                    <a:lnTo>
                      <a:pt x="3" y="1335"/>
                    </a:lnTo>
                    <a:lnTo>
                      <a:pt x="5" y="1343"/>
                    </a:lnTo>
                    <a:lnTo>
                      <a:pt x="3" y="1346"/>
                    </a:lnTo>
                    <a:lnTo>
                      <a:pt x="3" y="1354"/>
                    </a:lnTo>
                    <a:lnTo>
                      <a:pt x="7" y="1358"/>
                    </a:lnTo>
                    <a:lnTo>
                      <a:pt x="7" y="1365"/>
                    </a:lnTo>
                    <a:lnTo>
                      <a:pt x="22" y="1367"/>
                    </a:lnTo>
                    <a:lnTo>
                      <a:pt x="53" y="1356"/>
                    </a:lnTo>
                    <a:lnTo>
                      <a:pt x="59" y="1360"/>
                    </a:lnTo>
                    <a:lnTo>
                      <a:pt x="72" y="1360"/>
                    </a:lnTo>
                    <a:lnTo>
                      <a:pt x="74" y="1349"/>
                    </a:lnTo>
                    <a:lnTo>
                      <a:pt x="83" y="1333"/>
                    </a:lnTo>
                    <a:lnTo>
                      <a:pt x="85" y="1343"/>
                    </a:lnTo>
                    <a:lnTo>
                      <a:pt x="81" y="1356"/>
                    </a:lnTo>
                    <a:lnTo>
                      <a:pt x="88" y="1359"/>
                    </a:lnTo>
                    <a:lnTo>
                      <a:pt x="99" y="1359"/>
                    </a:lnTo>
                    <a:lnTo>
                      <a:pt x="106" y="1356"/>
                    </a:lnTo>
                    <a:lnTo>
                      <a:pt x="111" y="1360"/>
                    </a:lnTo>
                    <a:lnTo>
                      <a:pt x="122" y="1348"/>
                    </a:lnTo>
                    <a:lnTo>
                      <a:pt x="126" y="1324"/>
                    </a:lnTo>
                    <a:lnTo>
                      <a:pt x="138" y="1317"/>
                    </a:lnTo>
                    <a:lnTo>
                      <a:pt x="139" y="1322"/>
                    </a:lnTo>
                    <a:lnTo>
                      <a:pt x="131" y="1338"/>
                    </a:lnTo>
                    <a:lnTo>
                      <a:pt x="129" y="1349"/>
                    </a:lnTo>
                    <a:lnTo>
                      <a:pt x="127" y="1354"/>
                    </a:lnTo>
                    <a:lnTo>
                      <a:pt x="133" y="1353"/>
                    </a:lnTo>
                    <a:lnTo>
                      <a:pt x="140" y="1349"/>
                    </a:lnTo>
                    <a:lnTo>
                      <a:pt x="145" y="1351"/>
                    </a:lnTo>
                    <a:lnTo>
                      <a:pt x="131" y="1362"/>
                    </a:lnTo>
                    <a:lnTo>
                      <a:pt x="113" y="1369"/>
                    </a:lnTo>
                    <a:lnTo>
                      <a:pt x="111" y="1378"/>
                    </a:lnTo>
                    <a:lnTo>
                      <a:pt x="118" y="1385"/>
                    </a:lnTo>
                    <a:lnTo>
                      <a:pt x="105" y="1393"/>
                    </a:lnTo>
                    <a:lnTo>
                      <a:pt x="105" y="1383"/>
                    </a:lnTo>
                    <a:lnTo>
                      <a:pt x="101" y="1376"/>
                    </a:lnTo>
                    <a:lnTo>
                      <a:pt x="91" y="1369"/>
                    </a:lnTo>
                    <a:lnTo>
                      <a:pt x="81" y="1369"/>
                    </a:lnTo>
                    <a:lnTo>
                      <a:pt x="68" y="1372"/>
                    </a:lnTo>
                    <a:lnTo>
                      <a:pt x="57" y="1370"/>
                    </a:lnTo>
                    <a:lnTo>
                      <a:pt x="47" y="1371"/>
                    </a:lnTo>
                    <a:lnTo>
                      <a:pt x="37" y="1370"/>
                    </a:lnTo>
                    <a:lnTo>
                      <a:pt x="29" y="1378"/>
                    </a:lnTo>
                    <a:lnTo>
                      <a:pt x="10" y="1373"/>
                    </a:lnTo>
                    <a:lnTo>
                      <a:pt x="5" y="1386"/>
                    </a:lnTo>
                    <a:lnTo>
                      <a:pt x="4" y="1397"/>
                    </a:lnTo>
                    <a:lnTo>
                      <a:pt x="14" y="1397"/>
                    </a:lnTo>
                    <a:lnTo>
                      <a:pt x="18" y="1396"/>
                    </a:lnTo>
                    <a:lnTo>
                      <a:pt x="18" y="1410"/>
                    </a:lnTo>
                    <a:lnTo>
                      <a:pt x="9" y="1407"/>
                    </a:lnTo>
                    <a:lnTo>
                      <a:pt x="3" y="1401"/>
                    </a:lnTo>
                    <a:lnTo>
                      <a:pt x="2" y="1403"/>
                    </a:lnTo>
                    <a:lnTo>
                      <a:pt x="0" y="1403"/>
                    </a:lnTo>
                    <a:lnTo>
                      <a:pt x="0" y="1407"/>
                    </a:lnTo>
                    <a:lnTo>
                      <a:pt x="10" y="1425"/>
                    </a:lnTo>
                    <a:lnTo>
                      <a:pt x="16" y="1426"/>
                    </a:lnTo>
                    <a:lnTo>
                      <a:pt x="30" y="1418"/>
                    </a:lnTo>
                    <a:lnTo>
                      <a:pt x="38" y="1415"/>
                    </a:lnTo>
                    <a:lnTo>
                      <a:pt x="25" y="1429"/>
                    </a:lnTo>
                    <a:lnTo>
                      <a:pt x="20" y="1436"/>
                    </a:lnTo>
                    <a:lnTo>
                      <a:pt x="24" y="1440"/>
                    </a:lnTo>
                    <a:lnTo>
                      <a:pt x="14" y="1446"/>
                    </a:lnTo>
                    <a:lnTo>
                      <a:pt x="9" y="1452"/>
                    </a:lnTo>
                    <a:lnTo>
                      <a:pt x="10" y="1461"/>
                    </a:lnTo>
                    <a:lnTo>
                      <a:pt x="15" y="1466"/>
                    </a:lnTo>
                    <a:lnTo>
                      <a:pt x="18" y="1472"/>
                    </a:lnTo>
                    <a:lnTo>
                      <a:pt x="24" y="1467"/>
                    </a:lnTo>
                    <a:lnTo>
                      <a:pt x="30" y="1461"/>
                    </a:lnTo>
                    <a:lnTo>
                      <a:pt x="30" y="1469"/>
                    </a:lnTo>
                    <a:lnTo>
                      <a:pt x="38" y="1483"/>
                    </a:lnTo>
                    <a:lnTo>
                      <a:pt x="31" y="1484"/>
                    </a:lnTo>
                    <a:lnTo>
                      <a:pt x="22" y="1490"/>
                    </a:lnTo>
                    <a:lnTo>
                      <a:pt x="22" y="1495"/>
                    </a:lnTo>
                    <a:lnTo>
                      <a:pt x="27" y="1499"/>
                    </a:lnTo>
                    <a:lnTo>
                      <a:pt x="37" y="1493"/>
                    </a:lnTo>
                    <a:lnTo>
                      <a:pt x="43" y="1482"/>
                    </a:lnTo>
                    <a:lnTo>
                      <a:pt x="45" y="1469"/>
                    </a:lnTo>
                    <a:lnTo>
                      <a:pt x="53" y="1463"/>
                    </a:lnTo>
                    <a:lnTo>
                      <a:pt x="63" y="1451"/>
                    </a:lnTo>
                    <a:lnTo>
                      <a:pt x="73" y="1431"/>
                    </a:lnTo>
                    <a:lnTo>
                      <a:pt x="83" y="1423"/>
                    </a:lnTo>
                    <a:lnTo>
                      <a:pt x="88" y="1428"/>
                    </a:lnTo>
                    <a:lnTo>
                      <a:pt x="88" y="1431"/>
                    </a:lnTo>
                    <a:lnTo>
                      <a:pt x="100" y="1429"/>
                    </a:lnTo>
                    <a:lnTo>
                      <a:pt x="110" y="1430"/>
                    </a:lnTo>
                    <a:lnTo>
                      <a:pt x="94" y="1437"/>
                    </a:lnTo>
                    <a:lnTo>
                      <a:pt x="91" y="1448"/>
                    </a:lnTo>
                    <a:lnTo>
                      <a:pt x="89" y="1455"/>
                    </a:lnTo>
                    <a:lnTo>
                      <a:pt x="88" y="1443"/>
                    </a:lnTo>
                    <a:lnTo>
                      <a:pt x="83" y="1442"/>
                    </a:lnTo>
                    <a:lnTo>
                      <a:pt x="74" y="1456"/>
                    </a:lnTo>
                    <a:lnTo>
                      <a:pt x="64" y="1467"/>
                    </a:lnTo>
                    <a:lnTo>
                      <a:pt x="70" y="1472"/>
                    </a:lnTo>
                    <a:lnTo>
                      <a:pt x="70" y="1475"/>
                    </a:lnTo>
                    <a:lnTo>
                      <a:pt x="59" y="1482"/>
                    </a:lnTo>
                    <a:lnTo>
                      <a:pt x="40" y="1506"/>
                    </a:lnTo>
                    <a:lnTo>
                      <a:pt x="47" y="1511"/>
                    </a:lnTo>
                    <a:lnTo>
                      <a:pt x="67" y="1511"/>
                    </a:lnTo>
                    <a:lnTo>
                      <a:pt x="72" y="1506"/>
                    </a:lnTo>
                    <a:lnTo>
                      <a:pt x="74" y="1510"/>
                    </a:lnTo>
                    <a:lnTo>
                      <a:pt x="53" y="1518"/>
                    </a:lnTo>
                    <a:lnTo>
                      <a:pt x="48" y="1525"/>
                    </a:lnTo>
                    <a:lnTo>
                      <a:pt x="47" y="1528"/>
                    </a:lnTo>
                    <a:lnTo>
                      <a:pt x="37" y="1528"/>
                    </a:lnTo>
                    <a:lnTo>
                      <a:pt x="32" y="1531"/>
                    </a:lnTo>
                    <a:lnTo>
                      <a:pt x="26" y="1528"/>
                    </a:lnTo>
                    <a:lnTo>
                      <a:pt x="18" y="1539"/>
                    </a:lnTo>
                    <a:lnTo>
                      <a:pt x="13" y="1549"/>
                    </a:lnTo>
                    <a:lnTo>
                      <a:pt x="13" y="1558"/>
                    </a:lnTo>
                    <a:lnTo>
                      <a:pt x="16" y="1560"/>
                    </a:lnTo>
                    <a:lnTo>
                      <a:pt x="18" y="1564"/>
                    </a:lnTo>
                    <a:lnTo>
                      <a:pt x="26" y="1563"/>
                    </a:lnTo>
                    <a:lnTo>
                      <a:pt x="30" y="1554"/>
                    </a:lnTo>
                    <a:lnTo>
                      <a:pt x="32" y="1563"/>
                    </a:lnTo>
                    <a:lnTo>
                      <a:pt x="40" y="1563"/>
                    </a:lnTo>
                    <a:lnTo>
                      <a:pt x="42" y="1556"/>
                    </a:lnTo>
                    <a:lnTo>
                      <a:pt x="41" y="1550"/>
                    </a:lnTo>
                    <a:lnTo>
                      <a:pt x="48" y="1555"/>
                    </a:lnTo>
                    <a:lnTo>
                      <a:pt x="63" y="1547"/>
                    </a:lnTo>
                    <a:lnTo>
                      <a:pt x="68" y="1541"/>
                    </a:lnTo>
                    <a:lnTo>
                      <a:pt x="73" y="1544"/>
                    </a:lnTo>
                    <a:lnTo>
                      <a:pt x="58" y="1561"/>
                    </a:lnTo>
                    <a:lnTo>
                      <a:pt x="64" y="1561"/>
                    </a:lnTo>
                    <a:lnTo>
                      <a:pt x="64" y="1571"/>
                    </a:lnTo>
                    <a:lnTo>
                      <a:pt x="58" y="1580"/>
                    </a:lnTo>
                    <a:lnTo>
                      <a:pt x="56" y="1587"/>
                    </a:lnTo>
                    <a:lnTo>
                      <a:pt x="50" y="1593"/>
                    </a:lnTo>
                    <a:lnTo>
                      <a:pt x="51" y="1599"/>
                    </a:lnTo>
                    <a:lnTo>
                      <a:pt x="51" y="1604"/>
                    </a:lnTo>
                    <a:lnTo>
                      <a:pt x="45" y="1603"/>
                    </a:lnTo>
                    <a:lnTo>
                      <a:pt x="40" y="1606"/>
                    </a:lnTo>
                    <a:lnTo>
                      <a:pt x="36" y="1598"/>
                    </a:lnTo>
                    <a:lnTo>
                      <a:pt x="32" y="1598"/>
                    </a:lnTo>
                    <a:lnTo>
                      <a:pt x="25" y="1630"/>
                    </a:lnTo>
                    <a:lnTo>
                      <a:pt x="38" y="1647"/>
                    </a:lnTo>
                    <a:lnTo>
                      <a:pt x="59" y="1666"/>
                    </a:lnTo>
                    <a:lnTo>
                      <a:pt x="74" y="1674"/>
                    </a:lnTo>
                    <a:lnTo>
                      <a:pt x="85" y="1677"/>
                    </a:lnTo>
                    <a:lnTo>
                      <a:pt x="92" y="1665"/>
                    </a:lnTo>
                    <a:lnTo>
                      <a:pt x="92" y="1682"/>
                    </a:lnTo>
                    <a:lnTo>
                      <a:pt x="90" y="1694"/>
                    </a:lnTo>
                    <a:lnTo>
                      <a:pt x="96" y="1689"/>
                    </a:lnTo>
                    <a:lnTo>
                      <a:pt x="106" y="1695"/>
                    </a:lnTo>
                    <a:lnTo>
                      <a:pt x="110" y="1685"/>
                    </a:lnTo>
                    <a:lnTo>
                      <a:pt x="124" y="1687"/>
                    </a:lnTo>
                    <a:lnTo>
                      <a:pt x="117" y="1695"/>
                    </a:lnTo>
                    <a:lnTo>
                      <a:pt x="134" y="1701"/>
                    </a:lnTo>
                    <a:lnTo>
                      <a:pt x="145" y="1697"/>
                    </a:lnTo>
                    <a:lnTo>
                      <a:pt x="158" y="1687"/>
                    </a:lnTo>
                    <a:lnTo>
                      <a:pt x="163" y="1673"/>
                    </a:lnTo>
                    <a:lnTo>
                      <a:pt x="170" y="1684"/>
                    </a:lnTo>
                    <a:lnTo>
                      <a:pt x="190" y="1671"/>
                    </a:lnTo>
                    <a:lnTo>
                      <a:pt x="210" y="1644"/>
                    </a:lnTo>
                    <a:lnTo>
                      <a:pt x="221" y="1638"/>
                    </a:lnTo>
                    <a:lnTo>
                      <a:pt x="225" y="1627"/>
                    </a:lnTo>
                    <a:lnTo>
                      <a:pt x="231" y="1622"/>
                    </a:lnTo>
                    <a:lnTo>
                      <a:pt x="234" y="1615"/>
                    </a:lnTo>
                    <a:lnTo>
                      <a:pt x="251" y="1597"/>
                    </a:lnTo>
                    <a:lnTo>
                      <a:pt x="249" y="1590"/>
                    </a:lnTo>
                    <a:lnTo>
                      <a:pt x="261" y="1597"/>
                    </a:lnTo>
                    <a:lnTo>
                      <a:pt x="274" y="1597"/>
                    </a:lnTo>
                    <a:lnTo>
                      <a:pt x="282" y="1593"/>
                    </a:lnTo>
                    <a:lnTo>
                      <a:pt x="285" y="1581"/>
                    </a:lnTo>
                    <a:lnTo>
                      <a:pt x="287" y="1574"/>
                    </a:lnTo>
                    <a:lnTo>
                      <a:pt x="294" y="1566"/>
                    </a:lnTo>
                    <a:lnTo>
                      <a:pt x="293" y="1556"/>
                    </a:lnTo>
                    <a:lnTo>
                      <a:pt x="287" y="1549"/>
                    </a:lnTo>
                    <a:lnTo>
                      <a:pt x="283" y="1541"/>
                    </a:lnTo>
                    <a:lnTo>
                      <a:pt x="285" y="1538"/>
                    </a:lnTo>
                    <a:lnTo>
                      <a:pt x="287" y="1533"/>
                    </a:lnTo>
                    <a:lnTo>
                      <a:pt x="284" y="1522"/>
                    </a:lnTo>
                    <a:lnTo>
                      <a:pt x="289" y="1526"/>
                    </a:lnTo>
                    <a:lnTo>
                      <a:pt x="293" y="1533"/>
                    </a:lnTo>
                    <a:lnTo>
                      <a:pt x="293" y="1541"/>
                    </a:lnTo>
                    <a:lnTo>
                      <a:pt x="299" y="1539"/>
                    </a:lnTo>
                    <a:lnTo>
                      <a:pt x="300" y="1533"/>
                    </a:lnTo>
                    <a:lnTo>
                      <a:pt x="295" y="1525"/>
                    </a:lnTo>
                    <a:lnTo>
                      <a:pt x="294" y="1509"/>
                    </a:lnTo>
                    <a:lnTo>
                      <a:pt x="296" y="1505"/>
                    </a:lnTo>
                    <a:lnTo>
                      <a:pt x="299" y="1506"/>
                    </a:lnTo>
                    <a:lnTo>
                      <a:pt x="305" y="1502"/>
                    </a:lnTo>
                    <a:lnTo>
                      <a:pt x="310" y="1505"/>
                    </a:lnTo>
                    <a:lnTo>
                      <a:pt x="310" y="1512"/>
                    </a:lnTo>
                    <a:lnTo>
                      <a:pt x="303" y="1516"/>
                    </a:lnTo>
                    <a:lnTo>
                      <a:pt x="303" y="1522"/>
                    </a:lnTo>
                    <a:lnTo>
                      <a:pt x="305" y="1533"/>
                    </a:lnTo>
                    <a:lnTo>
                      <a:pt x="307" y="1563"/>
                    </a:lnTo>
                    <a:lnTo>
                      <a:pt x="310" y="1574"/>
                    </a:lnTo>
                    <a:lnTo>
                      <a:pt x="317" y="1572"/>
                    </a:lnTo>
                    <a:lnTo>
                      <a:pt x="327" y="1581"/>
                    </a:lnTo>
                    <a:lnTo>
                      <a:pt x="333" y="1580"/>
                    </a:lnTo>
                    <a:lnTo>
                      <a:pt x="337" y="1587"/>
                    </a:lnTo>
                    <a:lnTo>
                      <a:pt x="339" y="1592"/>
                    </a:lnTo>
                    <a:lnTo>
                      <a:pt x="339" y="1614"/>
                    </a:lnTo>
                    <a:lnTo>
                      <a:pt x="343" y="1601"/>
                    </a:lnTo>
                    <a:lnTo>
                      <a:pt x="347" y="1609"/>
                    </a:lnTo>
                    <a:lnTo>
                      <a:pt x="355" y="1603"/>
                    </a:lnTo>
                    <a:lnTo>
                      <a:pt x="363" y="1566"/>
                    </a:lnTo>
                    <a:lnTo>
                      <a:pt x="359" y="1554"/>
                    </a:lnTo>
                    <a:lnTo>
                      <a:pt x="358" y="1537"/>
                    </a:lnTo>
                    <a:lnTo>
                      <a:pt x="370" y="1516"/>
                    </a:lnTo>
                    <a:lnTo>
                      <a:pt x="370" y="1502"/>
                    </a:lnTo>
                    <a:lnTo>
                      <a:pt x="397" y="1491"/>
                    </a:lnTo>
                    <a:lnTo>
                      <a:pt x="403" y="1480"/>
                    </a:lnTo>
                    <a:lnTo>
                      <a:pt x="405" y="1466"/>
                    </a:lnTo>
                    <a:lnTo>
                      <a:pt x="401" y="1457"/>
                    </a:lnTo>
                    <a:lnTo>
                      <a:pt x="408" y="1428"/>
                    </a:lnTo>
                    <a:lnTo>
                      <a:pt x="400" y="1394"/>
                    </a:lnTo>
                    <a:lnTo>
                      <a:pt x="390" y="1382"/>
                    </a:lnTo>
                    <a:lnTo>
                      <a:pt x="392" y="1375"/>
                    </a:lnTo>
                    <a:lnTo>
                      <a:pt x="407" y="1369"/>
                    </a:lnTo>
                    <a:lnTo>
                      <a:pt x="417" y="1358"/>
                    </a:lnTo>
                    <a:lnTo>
                      <a:pt x="423" y="1339"/>
                    </a:lnTo>
                    <a:lnTo>
                      <a:pt x="420" y="1318"/>
                    </a:lnTo>
                    <a:lnTo>
                      <a:pt x="400" y="1303"/>
                    </a:lnTo>
                    <a:lnTo>
                      <a:pt x="391" y="1287"/>
                    </a:lnTo>
                    <a:lnTo>
                      <a:pt x="390" y="1267"/>
                    </a:lnTo>
                    <a:lnTo>
                      <a:pt x="391" y="1225"/>
                    </a:lnTo>
                    <a:lnTo>
                      <a:pt x="386" y="1210"/>
                    </a:lnTo>
                    <a:lnTo>
                      <a:pt x="384" y="1206"/>
                    </a:lnTo>
                    <a:lnTo>
                      <a:pt x="384" y="1194"/>
                    </a:lnTo>
                    <a:lnTo>
                      <a:pt x="386" y="1186"/>
                    </a:lnTo>
                    <a:lnTo>
                      <a:pt x="386" y="1166"/>
                    </a:lnTo>
                    <a:lnTo>
                      <a:pt x="390" y="1156"/>
                    </a:lnTo>
                    <a:lnTo>
                      <a:pt x="391" y="1144"/>
                    </a:lnTo>
                    <a:lnTo>
                      <a:pt x="397" y="1134"/>
                    </a:lnTo>
                    <a:lnTo>
                      <a:pt x="392" y="1129"/>
                    </a:lnTo>
                    <a:lnTo>
                      <a:pt x="386" y="1116"/>
                    </a:lnTo>
                    <a:lnTo>
                      <a:pt x="382" y="1097"/>
                    </a:lnTo>
                    <a:lnTo>
                      <a:pt x="387" y="1077"/>
                    </a:lnTo>
                    <a:lnTo>
                      <a:pt x="393" y="1063"/>
                    </a:lnTo>
                    <a:lnTo>
                      <a:pt x="418" y="1032"/>
                    </a:lnTo>
                    <a:lnTo>
                      <a:pt x="435" y="1021"/>
                    </a:lnTo>
                    <a:lnTo>
                      <a:pt x="456" y="1015"/>
                    </a:lnTo>
                    <a:lnTo>
                      <a:pt x="473" y="1018"/>
                    </a:lnTo>
                    <a:lnTo>
                      <a:pt x="488" y="1020"/>
                    </a:lnTo>
                    <a:lnTo>
                      <a:pt x="498" y="1007"/>
                    </a:lnTo>
                    <a:lnTo>
                      <a:pt x="500" y="995"/>
                    </a:lnTo>
                    <a:lnTo>
                      <a:pt x="500" y="976"/>
                    </a:lnTo>
                    <a:lnTo>
                      <a:pt x="494" y="964"/>
                    </a:lnTo>
                    <a:lnTo>
                      <a:pt x="479" y="948"/>
                    </a:lnTo>
                    <a:lnTo>
                      <a:pt x="478" y="939"/>
                    </a:lnTo>
                    <a:lnTo>
                      <a:pt x="498" y="907"/>
                    </a:lnTo>
                    <a:lnTo>
                      <a:pt x="515" y="870"/>
                    </a:lnTo>
                    <a:lnTo>
                      <a:pt x="524" y="820"/>
                    </a:lnTo>
                    <a:lnTo>
                      <a:pt x="525" y="790"/>
                    </a:lnTo>
                    <a:lnTo>
                      <a:pt x="525" y="769"/>
                    </a:lnTo>
                    <a:lnTo>
                      <a:pt x="524" y="754"/>
                    </a:lnTo>
                    <a:lnTo>
                      <a:pt x="531" y="750"/>
                    </a:lnTo>
                    <a:lnTo>
                      <a:pt x="542" y="750"/>
                    </a:lnTo>
                    <a:lnTo>
                      <a:pt x="559" y="736"/>
                    </a:lnTo>
                    <a:lnTo>
                      <a:pt x="564" y="724"/>
                    </a:lnTo>
                    <a:lnTo>
                      <a:pt x="567" y="704"/>
                    </a:lnTo>
                    <a:lnTo>
                      <a:pt x="573" y="688"/>
                    </a:lnTo>
                    <a:lnTo>
                      <a:pt x="596" y="657"/>
                    </a:lnTo>
                    <a:lnTo>
                      <a:pt x="604" y="644"/>
                    </a:lnTo>
                    <a:lnTo>
                      <a:pt x="616" y="629"/>
                    </a:lnTo>
                    <a:lnTo>
                      <a:pt x="622" y="618"/>
                    </a:lnTo>
                    <a:lnTo>
                      <a:pt x="624" y="609"/>
                    </a:lnTo>
                    <a:lnTo>
                      <a:pt x="623" y="596"/>
                    </a:lnTo>
                    <a:lnTo>
                      <a:pt x="610" y="574"/>
                    </a:lnTo>
                    <a:lnTo>
                      <a:pt x="613" y="560"/>
                    </a:lnTo>
                    <a:lnTo>
                      <a:pt x="627" y="543"/>
                    </a:lnTo>
                    <a:lnTo>
                      <a:pt x="633" y="532"/>
                    </a:lnTo>
                    <a:lnTo>
                      <a:pt x="635" y="520"/>
                    </a:lnTo>
                    <a:lnTo>
                      <a:pt x="639" y="503"/>
                    </a:lnTo>
                    <a:lnTo>
                      <a:pt x="648" y="492"/>
                    </a:lnTo>
                    <a:lnTo>
                      <a:pt x="666" y="472"/>
                    </a:lnTo>
                    <a:lnTo>
                      <a:pt x="678" y="469"/>
                    </a:lnTo>
                    <a:lnTo>
                      <a:pt x="691" y="476"/>
                    </a:lnTo>
                    <a:lnTo>
                      <a:pt x="701" y="488"/>
                    </a:lnTo>
                    <a:lnTo>
                      <a:pt x="704" y="490"/>
                    </a:lnTo>
                    <a:lnTo>
                      <a:pt x="714" y="473"/>
                    </a:lnTo>
                    <a:lnTo>
                      <a:pt x="719" y="452"/>
                    </a:lnTo>
                    <a:lnTo>
                      <a:pt x="721" y="442"/>
                    </a:lnTo>
                    <a:lnTo>
                      <a:pt x="719" y="419"/>
                    </a:lnTo>
                    <a:lnTo>
                      <a:pt x="724" y="409"/>
                    </a:lnTo>
                    <a:lnTo>
                      <a:pt x="729" y="404"/>
                    </a:lnTo>
                    <a:lnTo>
                      <a:pt x="739" y="403"/>
                    </a:lnTo>
                    <a:lnTo>
                      <a:pt x="769" y="407"/>
                    </a:lnTo>
                    <a:lnTo>
                      <a:pt x="812" y="423"/>
                    </a:lnTo>
                    <a:lnTo>
                      <a:pt x="821" y="420"/>
                    </a:lnTo>
                    <a:lnTo>
                      <a:pt x="828" y="412"/>
                    </a:lnTo>
                    <a:lnTo>
                      <a:pt x="819" y="403"/>
                    </a:lnTo>
                    <a:lnTo>
                      <a:pt x="817" y="392"/>
                    </a:lnTo>
                    <a:lnTo>
                      <a:pt x="823" y="382"/>
                    </a:lnTo>
                    <a:lnTo>
                      <a:pt x="827" y="366"/>
                    </a:lnTo>
                    <a:lnTo>
                      <a:pt x="831" y="361"/>
                    </a:lnTo>
                    <a:lnTo>
                      <a:pt x="833" y="352"/>
                    </a:lnTo>
                    <a:lnTo>
                      <a:pt x="832" y="342"/>
                    </a:lnTo>
                    <a:lnTo>
                      <a:pt x="827" y="336"/>
                    </a:lnTo>
                    <a:lnTo>
                      <a:pt x="826" y="326"/>
                    </a:lnTo>
                    <a:lnTo>
                      <a:pt x="831" y="323"/>
                    </a:lnTo>
                    <a:lnTo>
                      <a:pt x="854" y="323"/>
                    </a:lnTo>
                    <a:lnTo>
                      <a:pt x="857" y="316"/>
                    </a:lnTo>
                    <a:lnTo>
                      <a:pt x="865" y="313"/>
                    </a:lnTo>
                    <a:lnTo>
                      <a:pt x="874" y="317"/>
                    </a:lnTo>
                    <a:lnTo>
                      <a:pt x="882" y="313"/>
                    </a:lnTo>
                    <a:lnTo>
                      <a:pt x="880" y="302"/>
                    </a:lnTo>
                    <a:lnTo>
                      <a:pt x="879" y="290"/>
                    </a:lnTo>
                    <a:lnTo>
                      <a:pt x="891" y="283"/>
                    </a:lnTo>
                    <a:lnTo>
                      <a:pt x="906" y="289"/>
                    </a:lnTo>
                    <a:lnTo>
                      <a:pt x="917" y="300"/>
                    </a:lnTo>
                    <a:lnTo>
                      <a:pt x="947" y="344"/>
                    </a:lnTo>
                    <a:lnTo>
                      <a:pt x="952" y="363"/>
                    </a:lnTo>
                    <a:lnTo>
                      <a:pt x="957" y="371"/>
                    </a:lnTo>
                    <a:lnTo>
                      <a:pt x="983" y="375"/>
                    </a:lnTo>
                    <a:lnTo>
                      <a:pt x="998" y="383"/>
                    </a:lnTo>
                    <a:lnTo>
                      <a:pt x="1010" y="382"/>
                    </a:lnTo>
                    <a:lnTo>
                      <a:pt x="1025" y="374"/>
                    </a:lnTo>
                    <a:lnTo>
                      <a:pt x="1042" y="353"/>
                    </a:lnTo>
                    <a:lnTo>
                      <a:pt x="1052" y="360"/>
                    </a:lnTo>
                    <a:lnTo>
                      <a:pt x="1061" y="374"/>
                    </a:lnTo>
                    <a:lnTo>
                      <a:pt x="1064" y="382"/>
                    </a:lnTo>
                    <a:lnTo>
                      <a:pt x="1074" y="385"/>
                    </a:lnTo>
                    <a:lnTo>
                      <a:pt x="1090" y="377"/>
                    </a:lnTo>
                    <a:lnTo>
                      <a:pt x="1102" y="368"/>
                    </a:lnTo>
                    <a:lnTo>
                      <a:pt x="1111" y="354"/>
                    </a:lnTo>
                    <a:lnTo>
                      <a:pt x="1137" y="334"/>
                    </a:lnTo>
                    <a:lnTo>
                      <a:pt x="1139" y="322"/>
                    </a:lnTo>
                    <a:lnTo>
                      <a:pt x="1137" y="299"/>
                    </a:lnTo>
                    <a:lnTo>
                      <a:pt x="1137" y="285"/>
                    </a:lnTo>
                    <a:lnTo>
                      <a:pt x="1140" y="243"/>
                    </a:lnTo>
                    <a:lnTo>
                      <a:pt x="1154" y="212"/>
                    </a:lnTo>
                    <a:lnTo>
                      <a:pt x="1164" y="199"/>
                    </a:lnTo>
                    <a:lnTo>
                      <a:pt x="1177" y="192"/>
                    </a:lnTo>
                    <a:lnTo>
                      <a:pt x="1202" y="189"/>
                    </a:lnTo>
                    <a:lnTo>
                      <a:pt x="1240" y="172"/>
                    </a:lnTo>
                    <a:lnTo>
                      <a:pt x="1263" y="167"/>
                    </a:lnTo>
                    <a:lnTo>
                      <a:pt x="1268" y="172"/>
                    </a:lnTo>
                    <a:lnTo>
                      <a:pt x="1278" y="193"/>
                    </a:lnTo>
                    <a:lnTo>
                      <a:pt x="1289" y="202"/>
                    </a:lnTo>
                    <a:lnTo>
                      <a:pt x="1307" y="208"/>
                    </a:lnTo>
                    <a:lnTo>
                      <a:pt x="1325" y="225"/>
                    </a:lnTo>
                    <a:lnTo>
                      <a:pt x="1332" y="253"/>
                    </a:lnTo>
                    <a:lnTo>
                      <a:pt x="1333" y="269"/>
                    </a:lnTo>
                    <a:lnTo>
                      <a:pt x="1314" y="294"/>
                    </a:lnTo>
                    <a:lnTo>
                      <a:pt x="1310" y="306"/>
                    </a:lnTo>
                    <a:lnTo>
                      <a:pt x="1311" y="317"/>
                    </a:lnTo>
                    <a:lnTo>
                      <a:pt x="1321" y="325"/>
                    </a:lnTo>
                    <a:lnTo>
                      <a:pt x="1323" y="323"/>
                    </a:lnTo>
                    <a:lnTo>
                      <a:pt x="1332" y="315"/>
                    </a:lnTo>
                    <a:lnTo>
                      <a:pt x="1333" y="311"/>
                    </a:lnTo>
                    <a:lnTo>
                      <a:pt x="1334" y="300"/>
                    </a:lnTo>
                    <a:lnTo>
                      <a:pt x="1337" y="295"/>
                    </a:lnTo>
                    <a:lnTo>
                      <a:pt x="1369" y="275"/>
                    </a:lnTo>
                    <a:lnTo>
                      <a:pt x="1375" y="269"/>
                    </a:lnTo>
                    <a:lnTo>
                      <a:pt x="1381" y="239"/>
                    </a:lnTo>
                    <a:lnTo>
                      <a:pt x="1403" y="252"/>
                    </a:lnTo>
                    <a:lnTo>
                      <a:pt x="1416" y="250"/>
                    </a:lnTo>
                    <a:lnTo>
                      <a:pt x="1418" y="243"/>
                    </a:lnTo>
                    <a:lnTo>
                      <a:pt x="1422" y="231"/>
                    </a:lnTo>
                    <a:lnTo>
                      <a:pt x="1422" y="220"/>
                    </a:lnTo>
                    <a:lnTo>
                      <a:pt x="1419" y="21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207" name="Freeform 221"/>
              <p:cNvSpPr>
                <a:spLocks noChangeAspect="1"/>
              </p:cNvSpPr>
              <p:nvPr/>
            </p:nvSpPr>
            <p:spPr bwMode="gray">
              <a:xfrm>
                <a:off x="4952206" y="2013297"/>
                <a:ext cx="227013" cy="520700"/>
              </a:xfrm>
              <a:custGeom>
                <a:avLst/>
                <a:gdLst/>
                <a:ahLst/>
                <a:cxnLst>
                  <a:cxn ang="0">
                    <a:pos x="13" y="1339"/>
                  </a:cxn>
                  <a:cxn ang="0">
                    <a:pos x="27" y="1349"/>
                  </a:cxn>
                  <a:cxn ang="0">
                    <a:pos x="43" y="1396"/>
                  </a:cxn>
                  <a:cxn ang="0">
                    <a:pos x="56" y="1468"/>
                  </a:cxn>
                  <a:cxn ang="0">
                    <a:pos x="92" y="1538"/>
                  </a:cxn>
                  <a:cxn ang="0">
                    <a:pos x="91" y="1593"/>
                  </a:cxn>
                  <a:cxn ang="0">
                    <a:pos x="107" y="1636"/>
                  </a:cxn>
                  <a:cxn ang="0">
                    <a:pos x="169" y="1598"/>
                  </a:cxn>
                  <a:cxn ang="0">
                    <a:pos x="227" y="1564"/>
                  </a:cxn>
                  <a:cxn ang="0">
                    <a:pos x="286" y="1484"/>
                  </a:cxn>
                  <a:cxn ang="0">
                    <a:pos x="300" y="1407"/>
                  </a:cxn>
                  <a:cxn ang="0">
                    <a:pos x="301" y="1378"/>
                  </a:cxn>
                  <a:cxn ang="0">
                    <a:pos x="288" y="1329"/>
                  </a:cxn>
                  <a:cxn ang="0">
                    <a:pos x="276" y="1310"/>
                  </a:cxn>
                  <a:cxn ang="0">
                    <a:pos x="350" y="1279"/>
                  </a:cxn>
                  <a:cxn ang="0">
                    <a:pos x="389" y="1243"/>
                  </a:cxn>
                  <a:cxn ang="0">
                    <a:pos x="341" y="1241"/>
                  </a:cxn>
                  <a:cxn ang="0">
                    <a:pos x="290" y="1219"/>
                  </a:cxn>
                  <a:cxn ang="0">
                    <a:pos x="338" y="1218"/>
                  </a:cxn>
                  <a:cxn ang="0">
                    <a:pos x="371" y="1232"/>
                  </a:cxn>
                  <a:cxn ang="0">
                    <a:pos x="394" y="1138"/>
                  </a:cxn>
                  <a:cxn ang="0">
                    <a:pos x="352" y="1100"/>
                  </a:cxn>
                  <a:cxn ang="0">
                    <a:pos x="308" y="1148"/>
                  </a:cxn>
                  <a:cxn ang="0">
                    <a:pos x="319" y="1127"/>
                  </a:cxn>
                  <a:cxn ang="0">
                    <a:pos x="331" y="1060"/>
                  </a:cxn>
                  <a:cxn ang="0">
                    <a:pos x="344" y="979"/>
                  </a:cxn>
                  <a:cxn ang="0">
                    <a:pos x="340" y="879"/>
                  </a:cxn>
                  <a:cxn ang="0">
                    <a:pos x="370" y="850"/>
                  </a:cxn>
                  <a:cxn ang="0">
                    <a:pos x="393" y="840"/>
                  </a:cxn>
                  <a:cxn ang="0">
                    <a:pos x="410" y="809"/>
                  </a:cxn>
                  <a:cxn ang="0">
                    <a:pos x="449" y="764"/>
                  </a:cxn>
                  <a:cxn ang="0">
                    <a:pos x="503" y="735"/>
                  </a:cxn>
                  <a:cxn ang="0">
                    <a:pos x="555" y="664"/>
                  </a:cxn>
                  <a:cxn ang="0">
                    <a:pos x="572" y="639"/>
                  </a:cxn>
                  <a:cxn ang="0">
                    <a:pos x="551" y="594"/>
                  </a:cxn>
                  <a:cxn ang="0">
                    <a:pos x="569" y="527"/>
                  </a:cxn>
                  <a:cxn ang="0">
                    <a:pos x="593" y="503"/>
                  </a:cxn>
                  <a:cxn ang="0">
                    <a:pos x="614" y="493"/>
                  </a:cxn>
                  <a:cxn ang="0">
                    <a:pos x="628" y="460"/>
                  </a:cxn>
                  <a:cxn ang="0">
                    <a:pos x="661" y="473"/>
                  </a:cxn>
                  <a:cxn ang="0">
                    <a:pos x="712" y="449"/>
                  </a:cxn>
                  <a:cxn ang="0">
                    <a:pos x="687" y="296"/>
                  </a:cxn>
                  <a:cxn ang="0">
                    <a:pos x="683" y="186"/>
                  </a:cxn>
                  <a:cxn ang="0">
                    <a:pos x="528" y="5"/>
                  </a:cxn>
                  <a:cxn ang="0">
                    <a:pos x="502" y="29"/>
                  </a:cxn>
                  <a:cxn ang="0">
                    <a:pos x="490" y="97"/>
                  </a:cxn>
                  <a:cxn ang="0">
                    <a:pos x="390" y="119"/>
                  </a:cxn>
                  <a:cxn ang="0">
                    <a:pos x="335" y="149"/>
                  </a:cxn>
                  <a:cxn ang="0">
                    <a:pos x="279" y="251"/>
                  </a:cxn>
                  <a:cxn ang="0">
                    <a:pos x="242" y="364"/>
                  </a:cxn>
                  <a:cxn ang="0">
                    <a:pos x="194" y="446"/>
                  </a:cxn>
                  <a:cxn ang="0">
                    <a:pos x="163" y="641"/>
                  </a:cxn>
                  <a:cxn ang="0">
                    <a:pos x="104" y="697"/>
                  </a:cxn>
                  <a:cxn ang="0">
                    <a:pos x="66" y="811"/>
                  </a:cxn>
                  <a:cxn ang="0">
                    <a:pos x="55" y="886"/>
                  </a:cxn>
                  <a:cxn ang="0">
                    <a:pos x="86" y="1035"/>
                  </a:cxn>
                  <a:cxn ang="0">
                    <a:pos x="74" y="1143"/>
                  </a:cxn>
                  <a:cxn ang="0">
                    <a:pos x="32" y="1242"/>
                  </a:cxn>
                </a:cxnLst>
                <a:rect l="0" t="0" r="r" b="b"/>
                <a:pathLst>
                  <a:path w="715" h="1640">
                    <a:moveTo>
                      <a:pt x="6" y="1264"/>
                    </a:moveTo>
                    <a:lnTo>
                      <a:pt x="0" y="1276"/>
                    </a:lnTo>
                    <a:lnTo>
                      <a:pt x="0" y="1288"/>
                    </a:lnTo>
                    <a:lnTo>
                      <a:pt x="5" y="1328"/>
                    </a:lnTo>
                    <a:lnTo>
                      <a:pt x="7" y="1333"/>
                    </a:lnTo>
                    <a:lnTo>
                      <a:pt x="12" y="1335"/>
                    </a:lnTo>
                    <a:lnTo>
                      <a:pt x="13" y="1339"/>
                    </a:lnTo>
                    <a:lnTo>
                      <a:pt x="15" y="1346"/>
                    </a:lnTo>
                    <a:lnTo>
                      <a:pt x="13" y="1350"/>
                    </a:lnTo>
                    <a:lnTo>
                      <a:pt x="19" y="1343"/>
                    </a:lnTo>
                    <a:lnTo>
                      <a:pt x="21" y="1335"/>
                    </a:lnTo>
                    <a:lnTo>
                      <a:pt x="26" y="1340"/>
                    </a:lnTo>
                    <a:lnTo>
                      <a:pt x="22" y="1350"/>
                    </a:lnTo>
                    <a:lnTo>
                      <a:pt x="27" y="1349"/>
                    </a:lnTo>
                    <a:lnTo>
                      <a:pt x="29" y="1351"/>
                    </a:lnTo>
                    <a:lnTo>
                      <a:pt x="24" y="1355"/>
                    </a:lnTo>
                    <a:lnTo>
                      <a:pt x="17" y="1366"/>
                    </a:lnTo>
                    <a:lnTo>
                      <a:pt x="33" y="1371"/>
                    </a:lnTo>
                    <a:lnTo>
                      <a:pt x="35" y="1381"/>
                    </a:lnTo>
                    <a:lnTo>
                      <a:pt x="33" y="1398"/>
                    </a:lnTo>
                    <a:lnTo>
                      <a:pt x="43" y="1396"/>
                    </a:lnTo>
                    <a:lnTo>
                      <a:pt x="45" y="1407"/>
                    </a:lnTo>
                    <a:lnTo>
                      <a:pt x="39" y="1415"/>
                    </a:lnTo>
                    <a:lnTo>
                      <a:pt x="42" y="1431"/>
                    </a:lnTo>
                    <a:lnTo>
                      <a:pt x="40" y="1442"/>
                    </a:lnTo>
                    <a:lnTo>
                      <a:pt x="49" y="1442"/>
                    </a:lnTo>
                    <a:lnTo>
                      <a:pt x="54" y="1456"/>
                    </a:lnTo>
                    <a:lnTo>
                      <a:pt x="56" y="1468"/>
                    </a:lnTo>
                    <a:lnTo>
                      <a:pt x="62" y="1487"/>
                    </a:lnTo>
                    <a:lnTo>
                      <a:pt x="74" y="1496"/>
                    </a:lnTo>
                    <a:lnTo>
                      <a:pt x="78" y="1509"/>
                    </a:lnTo>
                    <a:lnTo>
                      <a:pt x="91" y="1516"/>
                    </a:lnTo>
                    <a:lnTo>
                      <a:pt x="98" y="1526"/>
                    </a:lnTo>
                    <a:lnTo>
                      <a:pt x="98" y="1534"/>
                    </a:lnTo>
                    <a:lnTo>
                      <a:pt x="92" y="1538"/>
                    </a:lnTo>
                    <a:lnTo>
                      <a:pt x="85" y="1537"/>
                    </a:lnTo>
                    <a:lnTo>
                      <a:pt x="82" y="1541"/>
                    </a:lnTo>
                    <a:lnTo>
                      <a:pt x="89" y="1557"/>
                    </a:lnTo>
                    <a:lnTo>
                      <a:pt x="82" y="1555"/>
                    </a:lnTo>
                    <a:lnTo>
                      <a:pt x="75" y="1553"/>
                    </a:lnTo>
                    <a:lnTo>
                      <a:pt x="75" y="1559"/>
                    </a:lnTo>
                    <a:lnTo>
                      <a:pt x="91" y="1593"/>
                    </a:lnTo>
                    <a:lnTo>
                      <a:pt x="98" y="1604"/>
                    </a:lnTo>
                    <a:lnTo>
                      <a:pt x="102" y="1614"/>
                    </a:lnTo>
                    <a:lnTo>
                      <a:pt x="99" y="1620"/>
                    </a:lnTo>
                    <a:lnTo>
                      <a:pt x="98" y="1631"/>
                    </a:lnTo>
                    <a:lnTo>
                      <a:pt x="94" y="1633"/>
                    </a:lnTo>
                    <a:lnTo>
                      <a:pt x="93" y="1638"/>
                    </a:lnTo>
                    <a:lnTo>
                      <a:pt x="107" y="1636"/>
                    </a:lnTo>
                    <a:lnTo>
                      <a:pt x="118" y="1640"/>
                    </a:lnTo>
                    <a:lnTo>
                      <a:pt x="136" y="1634"/>
                    </a:lnTo>
                    <a:lnTo>
                      <a:pt x="152" y="1633"/>
                    </a:lnTo>
                    <a:lnTo>
                      <a:pt x="163" y="1638"/>
                    </a:lnTo>
                    <a:lnTo>
                      <a:pt x="168" y="1634"/>
                    </a:lnTo>
                    <a:lnTo>
                      <a:pt x="172" y="1620"/>
                    </a:lnTo>
                    <a:lnTo>
                      <a:pt x="169" y="1598"/>
                    </a:lnTo>
                    <a:lnTo>
                      <a:pt x="174" y="1585"/>
                    </a:lnTo>
                    <a:lnTo>
                      <a:pt x="180" y="1574"/>
                    </a:lnTo>
                    <a:lnTo>
                      <a:pt x="189" y="1576"/>
                    </a:lnTo>
                    <a:lnTo>
                      <a:pt x="194" y="1566"/>
                    </a:lnTo>
                    <a:lnTo>
                      <a:pt x="204" y="1559"/>
                    </a:lnTo>
                    <a:lnTo>
                      <a:pt x="218" y="1560"/>
                    </a:lnTo>
                    <a:lnTo>
                      <a:pt x="227" y="1564"/>
                    </a:lnTo>
                    <a:lnTo>
                      <a:pt x="238" y="1560"/>
                    </a:lnTo>
                    <a:lnTo>
                      <a:pt x="250" y="1564"/>
                    </a:lnTo>
                    <a:lnTo>
                      <a:pt x="261" y="1564"/>
                    </a:lnTo>
                    <a:lnTo>
                      <a:pt x="266" y="1544"/>
                    </a:lnTo>
                    <a:lnTo>
                      <a:pt x="276" y="1522"/>
                    </a:lnTo>
                    <a:lnTo>
                      <a:pt x="285" y="1505"/>
                    </a:lnTo>
                    <a:lnTo>
                      <a:pt x="286" y="1484"/>
                    </a:lnTo>
                    <a:lnTo>
                      <a:pt x="291" y="1472"/>
                    </a:lnTo>
                    <a:lnTo>
                      <a:pt x="290" y="1457"/>
                    </a:lnTo>
                    <a:lnTo>
                      <a:pt x="293" y="1446"/>
                    </a:lnTo>
                    <a:lnTo>
                      <a:pt x="298" y="1435"/>
                    </a:lnTo>
                    <a:lnTo>
                      <a:pt x="298" y="1424"/>
                    </a:lnTo>
                    <a:lnTo>
                      <a:pt x="295" y="1418"/>
                    </a:lnTo>
                    <a:lnTo>
                      <a:pt x="300" y="1407"/>
                    </a:lnTo>
                    <a:lnTo>
                      <a:pt x="298" y="1398"/>
                    </a:lnTo>
                    <a:lnTo>
                      <a:pt x="293" y="1392"/>
                    </a:lnTo>
                    <a:lnTo>
                      <a:pt x="292" y="1386"/>
                    </a:lnTo>
                    <a:lnTo>
                      <a:pt x="293" y="1382"/>
                    </a:lnTo>
                    <a:lnTo>
                      <a:pt x="300" y="1385"/>
                    </a:lnTo>
                    <a:lnTo>
                      <a:pt x="304" y="1385"/>
                    </a:lnTo>
                    <a:lnTo>
                      <a:pt x="301" y="1378"/>
                    </a:lnTo>
                    <a:lnTo>
                      <a:pt x="302" y="1374"/>
                    </a:lnTo>
                    <a:lnTo>
                      <a:pt x="304" y="1367"/>
                    </a:lnTo>
                    <a:lnTo>
                      <a:pt x="304" y="1362"/>
                    </a:lnTo>
                    <a:lnTo>
                      <a:pt x="307" y="1345"/>
                    </a:lnTo>
                    <a:lnTo>
                      <a:pt x="306" y="1340"/>
                    </a:lnTo>
                    <a:lnTo>
                      <a:pt x="297" y="1334"/>
                    </a:lnTo>
                    <a:lnTo>
                      <a:pt x="288" y="1329"/>
                    </a:lnTo>
                    <a:lnTo>
                      <a:pt x="291" y="1328"/>
                    </a:lnTo>
                    <a:lnTo>
                      <a:pt x="300" y="1332"/>
                    </a:lnTo>
                    <a:lnTo>
                      <a:pt x="309" y="1329"/>
                    </a:lnTo>
                    <a:lnTo>
                      <a:pt x="312" y="1326"/>
                    </a:lnTo>
                    <a:lnTo>
                      <a:pt x="302" y="1317"/>
                    </a:lnTo>
                    <a:lnTo>
                      <a:pt x="274" y="1312"/>
                    </a:lnTo>
                    <a:lnTo>
                      <a:pt x="276" y="1310"/>
                    </a:lnTo>
                    <a:lnTo>
                      <a:pt x="298" y="1307"/>
                    </a:lnTo>
                    <a:lnTo>
                      <a:pt x="311" y="1311"/>
                    </a:lnTo>
                    <a:lnTo>
                      <a:pt x="318" y="1307"/>
                    </a:lnTo>
                    <a:lnTo>
                      <a:pt x="320" y="1299"/>
                    </a:lnTo>
                    <a:lnTo>
                      <a:pt x="334" y="1297"/>
                    </a:lnTo>
                    <a:lnTo>
                      <a:pt x="345" y="1286"/>
                    </a:lnTo>
                    <a:lnTo>
                      <a:pt x="350" y="1279"/>
                    </a:lnTo>
                    <a:lnTo>
                      <a:pt x="350" y="1268"/>
                    </a:lnTo>
                    <a:lnTo>
                      <a:pt x="359" y="1270"/>
                    </a:lnTo>
                    <a:lnTo>
                      <a:pt x="359" y="1281"/>
                    </a:lnTo>
                    <a:lnTo>
                      <a:pt x="371" y="1280"/>
                    </a:lnTo>
                    <a:lnTo>
                      <a:pt x="378" y="1268"/>
                    </a:lnTo>
                    <a:lnTo>
                      <a:pt x="392" y="1256"/>
                    </a:lnTo>
                    <a:lnTo>
                      <a:pt x="389" y="1243"/>
                    </a:lnTo>
                    <a:lnTo>
                      <a:pt x="394" y="1248"/>
                    </a:lnTo>
                    <a:lnTo>
                      <a:pt x="400" y="1248"/>
                    </a:lnTo>
                    <a:lnTo>
                      <a:pt x="400" y="1242"/>
                    </a:lnTo>
                    <a:lnTo>
                      <a:pt x="406" y="1237"/>
                    </a:lnTo>
                    <a:lnTo>
                      <a:pt x="405" y="1232"/>
                    </a:lnTo>
                    <a:lnTo>
                      <a:pt x="352" y="1243"/>
                    </a:lnTo>
                    <a:lnTo>
                      <a:pt x="341" y="1241"/>
                    </a:lnTo>
                    <a:lnTo>
                      <a:pt x="336" y="1245"/>
                    </a:lnTo>
                    <a:lnTo>
                      <a:pt x="334" y="1238"/>
                    </a:lnTo>
                    <a:lnTo>
                      <a:pt x="328" y="1232"/>
                    </a:lnTo>
                    <a:lnTo>
                      <a:pt x="303" y="1222"/>
                    </a:lnTo>
                    <a:lnTo>
                      <a:pt x="290" y="1225"/>
                    </a:lnTo>
                    <a:lnTo>
                      <a:pt x="284" y="1221"/>
                    </a:lnTo>
                    <a:lnTo>
                      <a:pt x="290" y="1219"/>
                    </a:lnTo>
                    <a:lnTo>
                      <a:pt x="293" y="1211"/>
                    </a:lnTo>
                    <a:lnTo>
                      <a:pt x="300" y="1214"/>
                    </a:lnTo>
                    <a:lnTo>
                      <a:pt x="308" y="1211"/>
                    </a:lnTo>
                    <a:lnTo>
                      <a:pt x="320" y="1213"/>
                    </a:lnTo>
                    <a:lnTo>
                      <a:pt x="322" y="1211"/>
                    </a:lnTo>
                    <a:lnTo>
                      <a:pt x="331" y="1221"/>
                    </a:lnTo>
                    <a:lnTo>
                      <a:pt x="338" y="1218"/>
                    </a:lnTo>
                    <a:lnTo>
                      <a:pt x="339" y="1214"/>
                    </a:lnTo>
                    <a:lnTo>
                      <a:pt x="345" y="1220"/>
                    </a:lnTo>
                    <a:lnTo>
                      <a:pt x="352" y="1222"/>
                    </a:lnTo>
                    <a:lnTo>
                      <a:pt x="356" y="1216"/>
                    </a:lnTo>
                    <a:lnTo>
                      <a:pt x="359" y="1220"/>
                    </a:lnTo>
                    <a:lnTo>
                      <a:pt x="363" y="1230"/>
                    </a:lnTo>
                    <a:lnTo>
                      <a:pt x="371" y="1232"/>
                    </a:lnTo>
                    <a:lnTo>
                      <a:pt x="403" y="1216"/>
                    </a:lnTo>
                    <a:lnTo>
                      <a:pt x="414" y="1198"/>
                    </a:lnTo>
                    <a:lnTo>
                      <a:pt x="419" y="1193"/>
                    </a:lnTo>
                    <a:lnTo>
                      <a:pt x="422" y="1176"/>
                    </a:lnTo>
                    <a:lnTo>
                      <a:pt x="416" y="1161"/>
                    </a:lnTo>
                    <a:lnTo>
                      <a:pt x="404" y="1152"/>
                    </a:lnTo>
                    <a:lnTo>
                      <a:pt x="394" y="1138"/>
                    </a:lnTo>
                    <a:lnTo>
                      <a:pt x="403" y="1136"/>
                    </a:lnTo>
                    <a:lnTo>
                      <a:pt x="402" y="1133"/>
                    </a:lnTo>
                    <a:lnTo>
                      <a:pt x="381" y="1123"/>
                    </a:lnTo>
                    <a:lnTo>
                      <a:pt x="379" y="1113"/>
                    </a:lnTo>
                    <a:lnTo>
                      <a:pt x="374" y="1103"/>
                    </a:lnTo>
                    <a:lnTo>
                      <a:pt x="357" y="1106"/>
                    </a:lnTo>
                    <a:lnTo>
                      <a:pt x="352" y="1100"/>
                    </a:lnTo>
                    <a:lnTo>
                      <a:pt x="351" y="1096"/>
                    </a:lnTo>
                    <a:lnTo>
                      <a:pt x="347" y="1095"/>
                    </a:lnTo>
                    <a:lnTo>
                      <a:pt x="347" y="1098"/>
                    </a:lnTo>
                    <a:lnTo>
                      <a:pt x="341" y="1118"/>
                    </a:lnTo>
                    <a:lnTo>
                      <a:pt x="333" y="1129"/>
                    </a:lnTo>
                    <a:lnTo>
                      <a:pt x="314" y="1143"/>
                    </a:lnTo>
                    <a:lnTo>
                      <a:pt x="308" y="1148"/>
                    </a:lnTo>
                    <a:lnTo>
                      <a:pt x="298" y="1148"/>
                    </a:lnTo>
                    <a:lnTo>
                      <a:pt x="287" y="1151"/>
                    </a:lnTo>
                    <a:lnTo>
                      <a:pt x="280" y="1149"/>
                    </a:lnTo>
                    <a:lnTo>
                      <a:pt x="288" y="1143"/>
                    </a:lnTo>
                    <a:lnTo>
                      <a:pt x="300" y="1140"/>
                    </a:lnTo>
                    <a:lnTo>
                      <a:pt x="309" y="1132"/>
                    </a:lnTo>
                    <a:lnTo>
                      <a:pt x="319" y="1127"/>
                    </a:lnTo>
                    <a:lnTo>
                      <a:pt x="336" y="1112"/>
                    </a:lnTo>
                    <a:lnTo>
                      <a:pt x="339" y="1102"/>
                    </a:lnTo>
                    <a:lnTo>
                      <a:pt x="339" y="1089"/>
                    </a:lnTo>
                    <a:lnTo>
                      <a:pt x="330" y="1087"/>
                    </a:lnTo>
                    <a:lnTo>
                      <a:pt x="334" y="1080"/>
                    </a:lnTo>
                    <a:lnTo>
                      <a:pt x="335" y="1069"/>
                    </a:lnTo>
                    <a:lnTo>
                      <a:pt x="331" y="1060"/>
                    </a:lnTo>
                    <a:lnTo>
                      <a:pt x="328" y="1032"/>
                    </a:lnTo>
                    <a:lnTo>
                      <a:pt x="329" y="1015"/>
                    </a:lnTo>
                    <a:lnTo>
                      <a:pt x="325" y="992"/>
                    </a:lnTo>
                    <a:lnTo>
                      <a:pt x="327" y="985"/>
                    </a:lnTo>
                    <a:lnTo>
                      <a:pt x="330" y="977"/>
                    </a:lnTo>
                    <a:lnTo>
                      <a:pt x="329" y="971"/>
                    </a:lnTo>
                    <a:lnTo>
                      <a:pt x="344" y="979"/>
                    </a:lnTo>
                    <a:lnTo>
                      <a:pt x="345" y="971"/>
                    </a:lnTo>
                    <a:lnTo>
                      <a:pt x="340" y="950"/>
                    </a:lnTo>
                    <a:lnTo>
                      <a:pt x="345" y="928"/>
                    </a:lnTo>
                    <a:lnTo>
                      <a:pt x="350" y="910"/>
                    </a:lnTo>
                    <a:lnTo>
                      <a:pt x="343" y="901"/>
                    </a:lnTo>
                    <a:lnTo>
                      <a:pt x="340" y="892"/>
                    </a:lnTo>
                    <a:lnTo>
                      <a:pt x="340" y="879"/>
                    </a:lnTo>
                    <a:lnTo>
                      <a:pt x="356" y="887"/>
                    </a:lnTo>
                    <a:lnTo>
                      <a:pt x="357" y="885"/>
                    </a:lnTo>
                    <a:lnTo>
                      <a:pt x="361" y="881"/>
                    </a:lnTo>
                    <a:lnTo>
                      <a:pt x="367" y="872"/>
                    </a:lnTo>
                    <a:lnTo>
                      <a:pt x="368" y="870"/>
                    </a:lnTo>
                    <a:lnTo>
                      <a:pt x="367" y="866"/>
                    </a:lnTo>
                    <a:lnTo>
                      <a:pt x="370" y="850"/>
                    </a:lnTo>
                    <a:lnTo>
                      <a:pt x="365" y="839"/>
                    </a:lnTo>
                    <a:lnTo>
                      <a:pt x="366" y="831"/>
                    </a:lnTo>
                    <a:lnTo>
                      <a:pt x="368" y="840"/>
                    </a:lnTo>
                    <a:lnTo>
                      <a:pt x="377" y="848"/>
                    </a:lnTo>
                    <a:lnTo>
                      <a:pt x="381" y="847"/>
                    </a:lnTo>
                    <a:lnTo>
                      <a:pt x="386" y="837"/>
                    </a:lnTo>
                    <a:lnTo>
                      <a:pt x="393" y="840"/>
                    </a:lnTo>
                    <a:lnTo>
                      <a:pt x="394" y="833"/>
                    </a:lnTo>
                    <a:lnTo>
                      <a:pt x="398" y="827"/>
                    </a:lnTo>
                    <a:lnTo>
                      <a:pt x="387" y="822"/>
                    </a:lnTo>
                    <a:lnTo>
                      <a:pt x="394" y="823"/>
                    </a:lnTo>
                    <a:lnTo>
                      <a:pt x="403" y="817"/>
                    </a:lnTo>
                    <a:lnTo>
                      <a:pt x="403" y="812"/>
                    </a:lnTo>
                    <a:lnTo>
                      <a:pt x="410" y="809"/>
                    </a:lnTo>
                    <a:lnTo>
                      <a:pt x="411" y="799"/>
                    </a:lnTo>
                    <a:lnTo>
                      <a:pt x="417" y="796"/>
                    </a:lnTo>
                    <a:lnTo>
                      <a:pt x="417" y="784"/>
                    </a:lnTo>
                    <a:lnTo>
                      <a:pt x="425" y="783"/>
                    </a:lnTo>
                    <a:lnTo>
                      <a:pt x="435" y="785"/>
                    </a:lnTo>
                    <a:lnTo>
                      <a:pt x="446" y="775"/>
                    </a:lnTo>
                    <a:lnTo>
                      <a:pt x="449" y="764"/>
                    </a:lnTo>
                    <a:lnTo>
                      <a:pt x="464" y="753"/>
                    </a:lnTo>
                    <a:lnTo>
                      <a:pt x="470" y="761"/>
                    </a:lnTo>
                    <a:lnTo>
                      <a:pt x="481" y="753"/>
                    </a:lnTo>
                    <a:lnTo>
                      <a:pt x="484" y="743"/>
                    </a:lnTo>
                    <a:lnTo>
                      <a:pt x="492" y="737"/>
                    </a:lnTo>
                    <a:lnTo>
                      <a:pt x="500" y="740"/>
                    </a:lnTo>
                    <a:lnTo>
                      <a:pt x="503" y="735"/>
                    </a:lnTo>
                    <a:lnTo>
                      <a:pt x="516" y="727"/>
                    </a:lnTo>
                    <a:lnTo>
                      <a:pt x="521" y="719"/>
                    </a:lnTo>
                    <a:lnTo>
                      <a:pt x="528" y="715"/>
                    </a:lnTo>
                    <a:lnTo>
                      <a:pt x="535" y="699"/>
                    </a:lnTo>
                    <a:lnTo>
                      <a:pt x="538" y="691"/>
                    </a:lnTo>
                    <a:lnTo>
                      <a:pt x="549" y="677"/>
                    </a:lnTo>
                    <a:lnTo>
                      <a:pt x="555" y="664"/>
                    </a:lnTo>
                    <a:lnTo>
                      <a:pt x="562" y="651"/>
                    </a:lnTo>
                    <a:lnTo>
                      <a:pt x="566" y="646"/>
                    </a:lnTo>
                    <a:lnTo>
                      <a:pt x="567" y="651"/>
                    </a:lnTo>
                    <a:lnTo>
                      <a:pt x="566" y="662"/>
                    </a:lnTo>
                    <a:lnTo>
                      <a:pt x="576" y="649"/>
                    </a:lnTo>
                    <a:lnTo>
                      <a:pt x="577" y="644"/>
                    </a:lnTo>
                    <a:lnTo>
                      <a:pt x="572" y="639"/>
                    </a:lnTo>
                    <a:lnTo>
                      <a:pt x="571" y="633"/>
                    </a:lnTo>
                    <a:lnTo>
                      <a:pt x="556" y="618"/>
                    </a:lnTo>
                    <a:lnTo>
                      <a:pt x="555" y="612"/>
                    </a:lnTo>
                    <a:lnTo>
                      <a:pt x="558" y="610"/>
                    </a:lnTo>
                    <a:lnTo>
                      <a:pt x="556" y="602"/>
                    </a:lnTo>
                    <a:lnTo>
                      <a:pt x="551" y="596"/>
                    </a:lnTo>
                    <a:lnTo>
                      <a:pt x="551" y="594"/>
                    </a:lnTo>
                    <a:lnTo>
                      <a:pt x="556" y="589"/>
                    </a:lnTo>
                    <a:lnTo>
                      <a:pt x="558" y="582"/>
                    </a:lnTo>
                    <a:lnTo>
                      <a:pt x="566" y="579"/>
                    </a:lnTo>
                    <a:lnTo>
                      <a:pt x="576" y="554"/>
                    </a:lnTo>
                    <a:lnTo>
                      <a:pt x="577" y="547"/>
                    </a:lnTo>
                    <a:lnTo>
                      <a:pt x="567" y="530"/>
                    </a:lnTo>
                    <a:lnTo>
                      <a:pt x="569" y="527"/>
                    </a:lnTo>
                    <a:lnTo>
                      <a:pt x="580" y="520"/>
                    </a:lnTo>
                    <a:lnTo>
                      <a:pt x="580" y="512"/>
                    </a:lnTo>
                    <a:lnTo>
                      <a:pt x="585" y="511"/>
                    </a:lnTo>
                    <a:lnTo>
                      <a:pt x="592" y="515"/>
                    </a:lnTo>
                    <a:lnTo>
                      <a:pt x="596" y="514"/>
                    </a:lnTo>
                    <a:lnTo>
                      <a:pt x="597" y="506"/>
                    </a:lnTo>
                    <a:lnTo>
                      <a:pt x="593" y="503"/>
                    </a:lnTo>
                    <a:lnTo>
                      <a:pt x="603" y="501"/>
                    </a:lnTo>
                    <a:lnTo>
                      <a:pt x="604" y="495"/>
                    </a:lnTo>
                    <a:lnTo>
                      <a:pt x="593" y="481"/>
                    </a:lnTo>
                    <a:lnTo>
                      <a:pt x="593" y="476"/>
                    </a:lnTo>
                    <a:lnTo>
                      <a:pt x="605" y="484"/>
                    </a:lnTo>
                    <a:lnTo>
                      <a:pt x="610" y="493"/>
                    </a:lnTo>
                    <a:lnTo>
                      <a:pt x="614" y="493"/>
                    </a:lnTo>
                    <a:lnTo>
                      <a:pt x="613" y="476"/>
                    </a:lnTo>
                    <a:lnTo>
                      <a:pt x="614" y="478"/>
                    </a:lnTo>
                    <a:lnTo>
                      <a:pt x="618" y="476"/>
                    </a:lnTo>
                    <a:lnTo>
                      <a:pt x="619" y="455"/>
                    </a:lnTo>
                    <a:lnTo>
                      <a:pt x="623" y="454"/>
                    </a:lnTo>
                    <a:lnTo>
                      <a:pt x="628" y="454"/>
                    </a:lnTo>
                    <a:lnTo>
                      <a:pt x="628" y="460"/>
                    </a:lnTo>
                    <a:lnTo>
                      <a:pt x="631" y="465"/>
                    </a:lnTo>
                    <a:lnTo>
                      <a:pt x="635" y="467"/>
                    </a:lnTo>
                    <a:lnTo>
                      <a:pt x="640" y="454"/>
                    </a:lnTo>
                    <a:lnTo>
                      <a:pt x="645" y="457"/>
                    </a:lnTo>
                    <a:lnTo>
                      <a:pt x="651" y="468"/>
                    </a:lnTo>
                    <a:lnTo>
                      <a:pt x="655" y="468"/>
                    </a:lnTo>
                    <a:lnTo>
                      <a:pt x="661" y="473"/>
                    </a:lnTo>
                    <a:lnTo>
                      <a:pt x="666" y="461"/>
                    </a:lnTo>
                    <a:lnTo>
                      <a:pt x="691" y="458"/>
                    </a:lnTo>
                    <a:lnTo>
                      <a:pt x="700" y="465"/>
                    </a:lnTo>
                    <a:lnTo>
                      <a:pt x="706" y="472"/>
                    </a:lnTo>
                    <a:lnTo>
                      <a:pt x="710" y="465"/>
                    </a:lnTo>
                    <a:lnTo>
                      <a:pt x="715" y="461"/>
                    </a:lnTo>
                    <a:lnTo>
                      <a:pt x="712" y="449"/>
                    </a:lnTo>
                    <a:lnTo>
                      <a:pt x="698" y="415"/>
                    </a:lnTo>
                    <a:lnTo>
                      <a:pt x="694" y="395"/>
                    </a:lnTo>
                    <a:lnTo>
                      <a:pt x="698" y="377"/>
                    </a:lnTo>
                    <a:lnTo>
                      <a:pt x="706" y="364"/>
                    </a:lnTo>
                    <a:lnTo>
                      <a:pt x="707" y="354"/>
                    </a:lnTo>
                    <a:lnTo>
                      <a:pt x="707" y="342"/>
                    </a:lnTo>
                    <a:lnTo>
                      <a:pt x="687" y="296"/>
                    </a:lnTo>
                    <a:lnTo>
                      <a:pt x="684" y="279"/>
                    </a:lnTo>
                    <a:lnTo>
                      <a:pt x="690" y="258"/>
                    </a:lnTo>
                    <a:lnTo>
                      <a:pt x="688" y="243"/>
                    </a:lnTo>
                    <a:lnTo>
                      <a:pt x="683" y="237"/>
                    </a:lnTo>
                    <a:lnTo>
                      <a:pt x="682" y="223"/>
                    </a:lnTo>
                    <a:lnTo>
                      <a:pt x="682" y="202"/>
                    </a:lnTo>
                    <a:lnTo>
                      <a:pt x="683" y="186"/>
                    </a:lnTo>
                    <a:lnTo>
                      <a:pt x="688" y="173"/>
                    </a:lnTo>
                    <a:lnTo>
                      <a:pt x="685" y="166"/>
                    </a:lnTo>
                    <a:lnTo>
                      <a:pt x="653" y="110"/>
                    </a:lnTo>
                    <a:lnTo>
                      <a:pt x="635" y="92"/>
                    </a:lnTo>
                    <a:lnTo>
                      <a:pt x="599" y="81"/>
                    </a:lnTo>
                    <a:lnTo>
                      <a:pt x="569" y="51"/>
                    </a:lnTo>
                    <a:lnTo>
                      <a:pt x="528" y="5"/>
                    </a:lnTo>
                    <a:lnTo>
                      <a:pt x="526" y="0"/>
                    </a:lnTo>
                    <a:lnTo>
                      <a:pt x="523" y="0"/>
                    </a:lnTo>
                    <a:lnTo>
                      <a:pt x="500" y="0"/>
                    </a:lnTo>
                    <a:lnTo>
                      <a:pt x="495" y="3"/>
                    </a:lnTo>
                    <a:lnTo>
                      <a:pt x="496" y="13"/>
                    </a:lnTo>
                    <a:lnTo>
                      <a:pt x="501" y="17"/>
                    </a:lnTo>
                    <a:lnTo>
                      <a:pt x="502" y="29"/>
                    </a:lnTo>
                    <a:lnTo>
                      <a:pt x="500" y="38"/>
                    </a:lnTo>
                    <a:lnTo>
                      <a:pt x="496" y="43"/>
                    </a:lnTo>
                    <a:lnTo>
                      <a:pt x="492" y="58"/>
                    </a:lnTo>
                    <a:lnTo>
                      <a:pt x="486" y="69"/>
                    </a:lnTo>
                    <a:lnTo>
                      <a:pt x="488" y="79"/>
                    </a:lnTo>
                    <a:lnTo>
                      <a:pt x="497" y="89"/>
                    </a:lnTo>
                    <a:lnTo>
                      <a:pt x="490" y="97"/>
                    </a:lnTo>
                    <a:lnTo>
                      <a:pt x="481" y="100"/>
                    </a:lnTo>
                    <a:lnTo>
                      <a:pt x="438" y="84"/>
                    </a:lnTo>
                    <a:lnTo>
                      <a:pt x="408" y="80"/>
                    </a:lnTo>
                    <a:lnTo>
                      <a:pt x="398" y="81"/>
                    </a:lnTo>
                    <a:lnTo>
                      <a:pt x="393" y="86"/>
                    </a:lnTo>
                    <a:lnTo>
                      <a:pt x="388" y="96"/>
                    </a:lnTo>
                    <a:lnTo>
                      <a:pt x="390" y="119"/>
                    </a:lnTo>
                    <a:lnTo>
                      <a:pt x="388" y="129"/>
                    </a:lnTo>
                    <a:lnTo>
                      <a:pt x="383" y="150"/>
                    </a:lnTo>
                    <a:lnTo>
                      <a:pt x="373" y="166"/>
                    </a:lnTo>
                    <a:lnTo>
                      <a:pt x="370" y="165"/>
                    </a:lnTo>
                    <a:lnTo>
                      <a:pt x="360" y="153"/>
                    </a:lnTo>
                    <a:lnTo>
                      <a:pt x="347" y="145"/>
                    </a:lnTo>
                    <a:lnTo>
                      <a:pt x="335" y="149"/>
                    </a:lnTo>
                    <a:lnTo>
                      <a:pt x="317" y="167"/>
                    </a:lnTo>
                    <a:lnTo>
                      <a:pt x="308" y="180"/>
                    </a:lnTo>
                    <a:lnTo>
                      <a:pt x="304" y="196"/>
                    </a:lnTo>
                    <a:lnTo>
                      <a:pt x="302" y="209"/>
                    </a:lnTo>
                    <a:lnTo>
                      <a:pt x="296" y="219"/>
                    </a:lnTo>
                    <a:lnTo>
                      <a:pt x="282" y="237"/>
                    </a:lnTo>
                    <a:lnTo>
                      <a:pt x="279" y="251"/>
                    </a:lnTo>
                    <a:lnTo>
                      <a:pt x="292" y="273"/>
                    </a:lnTo>
                    <a:lnTo>
                      <a:pt x="293" y="285"/>
                    </a:lnTo>
                    <a:lnTo>
                      <a:pt x="291" y="294"/>
                    </a:lnTo>
                    <a:lnTo>
                      <a:pt x="285" y="306"/>
                    </a:lnTo>
                    <a:lnTo>
                      <a:pt x="273" y="320"/>
                    </a:lnTo>
                    <a:lnTo>
                      <a:pt x="265" y="334"/>
                    </a:lnTo>
                    <a:lnTo>
                      <a:pt x="242" y="364"/>
                    </a:lnTo>
                    <a:lnTo>
                      <a:pt x="236" y="381"/>
                    </a:lnTo>
                    <a:lnTo>
                      <a:pt x="233" y="401"/>
                    </a:lnTo>
                    <a:lnTo>
                      <a:pt x="228" y="413"/>
                    </a:lnTo>
                    <a:lnTo>
                      <a:pt x="211" y="427"/>
                    </a:lnTo>
                    <a:lnTo>
                      <a:pt x="200" y="427"/>
                    </a:lnTo>
                    <a:lnTo>
                      <a:pt x="193" y="431"/>
                    </a:lnTo>
                    <a:lnTo>
                      <a:pt x="194" y="446"/>
                    </a:lnTo>
                    <a:lnTo>
                      <a:pt x="194" y="467"/>
                    </a:lnTo>
                    <a:lnTo>
                      <a:pt x="193" y="497"/>
                    </a:lnTo>
                    <a:lnTo>
                      <a:pt x="184" y="547"/>
                    </a:lnTo>
                    <a:lnTo>
                      <a:pt x="167" y="584"/>
                    </a:lnTo>
                    <a:lnTo>
                      <a:pt x="147" y="616"/>
                    </a:lnTo>
                    <a:lnTo>
                      <a:pt x="148" y="625"/>
                    </a:lnTo>
                    <a:lnTo>
                      <a:pt x="163" y="641"/>
                    </a:lnTo>
                    <a:lnTo>
                      <a:pt x="169" y="653"/>
                    </a:lnTo>
                    <a:lnTo>
                      <a:pt x="169" y="672"/>
                    </a:lnTo>
                    <a:lnTo>
                      <a:pt x="167" y="683"/>
                    </a:lnTo>
                    <a:lnTo>
                      <a:pt x="157" y="695"/>
                    </a:lnTo>
                    <a:lnTo>
                      <a:pt x="142" y="695"/>
                    </a:lnTo>
                    <a:lnTo>
                      <a:pt x="125" y="692"/>
                    </a:lnTo>
                    <a:lnTo>
                      <a:pt x="104" y="697"/>
                    </a:lnTo>
                    <a:lnTo>
                      <a:pt x="87" y="708"/>
                    </a:lnTo>
                    <a:lnTo>
                      <a:pt x="62" y="738"/>
                    </a:lnTo>
                    <a:lnTo>
                      <a:pt x="56" y="754"/>
                    </a:lnTo>
                    <a:lnTo>
                      <a:pt x="51" y="774"/>
                    </a:lnTo>
                    <a:lnTo>
                      <a:pt x="55" y="793"/>
                    </a:lnTo>
                    <a:lnTo>
                      <a:pt x="61" y="806"/>
                    </a:lnTo>
                    <a:lnTo>
                      <a:pt x="66" y="811"/>
                    </a:lnTo>
                    <a:lnTo>
                      <a:pt x="60" y="821"/>
                    </a:lnTo>
                    <a:lnTo>
                      <a:pt x="59" y="833"/>
                    </a:lnTo>
                    <a:lnTo>
                      <a:pt x="55" y="843"/>
                    </a:lnTo>
                    <a:lnTo>
                      <a:pt x="55" y="863"/>
                    </a:lnTo>
                    <a:lnTo>
                      <a:pt x="53" y="871"/>
                    </a:lnTo>
                    <a:lnTo>
                      <a:pt x="53" y="883"/>
                    </a:lnTo>
                    <a:lnTo>
                      <a:pt x="55" y="886"/>
                    </a:lnTo>
                    <a:lnTo>
                      <a:pt x="60" y="902"/>
                    </a:lnTo>
                    <a:lnTo>
                      <a:pt x="59" y="944"/>
                    </a:lnTo>
                    <a:lnTo>
                      <a:pt x="60" y="964"/>
                    </a:lnTo>
                    <a:lnTo>
                      <a:pt x="69" y="979"/>
                    </a:lnTo>
                    <a:lnTo>
                      <a:pt x="89" y="995"/>
                    </a:lnTo>
                    <a:lnTo>
                      <a:pt x="92" y="1016"/>
                    </a:lnTo>
                    <a:lnTo>
                      <a:pt x="86" y="1035"/>
                    </a:lnTo>
                    <a:lnTo>
                      <a:pt x="76" y="1046"/>
                    </a:lnTo>
                    <a:lnTo>
                      <a:pt x="61" y="1052"/>
                    </a:lnTo>
                    <a:lnTo>
                      <a:pt x="59" y="1058"/>
                    </a:lnTo>
                    <a:lnTo>
                      <a:pt x="69" y="1071"/>
                    </a:lnTo>
                    <a:lnTo>
                      <a:pt x="77" y="1105"/>
                    </a:lnTo>
                    <a:lnTo>
                      <a:pt x="70" y="1134"/>
                    </a:lnTo>
                    <a:lnTo>
                      <a:pt x="74" y="1143"/>
                    </a:lnTo>
                    <a:lnTo>
                      <a:pt x="72" y="1157"/>
                    </a:lnTo>
                    <a:lnTo>
                      <a:pt x="66" y="1168"/>
                    </a:lnTo>
                    <a:lnTo>
                      <a:pt x="39" y="1179"/>
                    </a:lnTo>
                    <a:lnTo>
                      <a:pt x="39" y="1193"/>
                    </a:lnTo>
                    <a:lnTo>
                      <a:pt x="27" y="1214"/>
                    </a:lnTo>
                    <a:lnTo>
                      <a:pt x="28" y="1230"/>
                    </a:lnTo>
                    <a:lnTo>
                      <a:pt x="32" y="1242"/>
                    </a:lnTo>
                    <a:lnTo>
                      <a:pt x="24" y="1280"/>
                    </a:lnTo>
                    <a:lnTo>
                      <a:pt x="16" y="1286"/>
                    </a:lnTo>
                    <a:lnTo>
                      <a:pt x="12" y="1278"/>
                    </a:lnTo>
                    <a:lnTo>
                      <a:pt x="8" y="1291"/>
                    </a:lnTo>
                    <a:lnTo>
                      <a:pt x="8" y="1268"/>
                    </a:lnTo>
                    <a:lnTo>
                      <a:pt x="6" y="126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grpSp>
            <p:nvGrpSpPr>
              <p:cNvPr id="208" name="Group 359"/>
              <p:cNvGrpSpPr/>
              <p:nvPr/>
            </p:nvGrpSpPr>
            <p:grpSpPr>
              <a:xfrm>
                <a:off x="5080794" y="2788583"/>
                <a:ext cx="75600" cy="108000"/>
                <a:chOff x="4160739" y="2986112"/>
                <a:chExt cx="187325" cy="233362"/>
              </a:xfrm>
              <a:grpFill/>
            </p:grpSpPr>
            <p:sp>
              <p:nvSpPr>
                <p:cNvPr id="209" name="Freeform 45"/>
                <p:cNvSpPr>
                  <a:spLocks noChangeAspect="1"/>
                </p:cNvSpPr>
                <p:nvPr/>
              </p:nvSpPr>
              <p:spPr bwMode="gray">
                <a:xfrm>
                  <a:off x="4171851" y="2986112"/>
                  <a:ext cx="176213" cy="225425"/>
                </a:xfrm>
                <a:custGeom>
                  <a:avLst/>
                  <a:gdLst/>
                  <a:ahLst/>
                  <a:cxnLst>
                    <a:cxn ang="0">
                      <a:pos x="72" y="248"/>
                    </a:cxn>
                    <a:cxn ang="0">
                      <a:pos x="72" y="234"/>
                    </a:cxn>
                    <a:cxn ang="0">
                      <a:pos x="82" y="239"/>
                    </a:cxn>
                    <a:cxn ang="0">
                      <a:pos x="91" y="229"/>
                    </a:cxn>
                    <a:cxn ang="0">
                      <a:pos x="34" y="195"/>
                    </a:cxn>
                    <a:cxn ang="0">
                      <a:pos x="34" y="185"/>
                    </a:cxn>
                    <a:cxn ang="0">
                      <a:pos x="39" y="176"/>
                    </a:cxn>
                    <a:cxn ang="0">
                      <a:pos x="48" y="176"/>
                    </a:cxn>
                    <a:cxn ang="0">
                      <a:pos x="39" y="151"/>
                    </a:cxn>
                    <a:cxn ang="0">
                      <a:pos x="53" y="151"/>
                    </a:cxn>
                    <a:cxn ang="0">
                      <a:pos x="53" y="147"/>
                    </a:cxn>
                    <a:cxn ang="0">
                      <a:pos x="29" y="132"/>
                    </a:cxn>
                    <a:cxn ang="0">
                      <a:pos x="43" y="97"/>
                    </a:cxn>
                    <a:cxn ang="0">
                      <a:pos x="24" y="88"/>
                    </a:cxn>
                    <a:cxn ang="0">
                      <a:pos x="29" y="77"/>
                    </a:cxn>
                    <a:cxn ang="0">
                      <a:pos x="43" y="72"/>
                    </a:cxn>
                    <a:cxn ang="0">
                      <a:pos x="15" y="58"/>
                    </a:cxn>
                    <a:cxn ang="0">
                      <a:pos x="10" y="34"/>
                    </a:cxn>
                    <a:cxn ang="0">
                      <a:pos x="0" y="23"/>
                    </a:cxn>
                    <a:cxn ang="0">
                      <a:pos x="43" y="4"/>
                    </a:cxn>
                    <a:cxn ang="0">
                      <a:pos x="62" y="0"/>
                    </a:cxn>
                    <a:cxn ang="0">
                      <a:pos x="72" y="4"/>
                    </a:cxn>
                    <a:cxn ang="0">
                      <a:pos x="91" y="14"/>
                    </a:cxn>
                    <a:cxn ang="0">
                      <a:pos x="101" y="34"/>
                    </a:cxn>
                    <a:cxn ang="0">
                      <a:pos x="115" y="58"/>
                    </a:cxn>
                    <a:cxn ang="0">
                      <a:pos x="134" y="67"/>
                    </a:cxn>
                    <a:cxn ang="0">
                      <a:pos x="139" y="88"/>
                    </a:cxn>
                    <a:cxn ang="0">
                      <a:pos x="153" y="97"/>
                    </a:cxn>
                    <a:cxn ang="0">
                      <a:pos x="168" y="102"/>
                    </a:cxn>
                    <a:cxn ang="0">
                      <a:pos x="187" y="92"/>
                    </a:cxn>
                    <a:cxn ang="0">
                      <a:pos x="187" y="112"/>
                    </a:cxn>
                    <a:cxn ang="0">
                      <a:pos x="206" y="132"/>
                    </a:cxn>
                    <a:cxn ang="0">
                      <a:pos x="192" y="156"/>
                    </a:cxn>
                    <a:cxn ang="0">
                      <a:pos x="201" y="190"/>
                    </a:cxn>
                    <a:cxn ang="0">
                      <a:pos x="211" y="215"/>
                    </a:cxn>
                    <a:cxn ang="0">
                      <a:pos x="201" y="239"/>
                    </a:cxn>
                    <a:cxn ang="0">
                      <a:pos x="201" y="259"/>
                    </a:cxn>
                    <a:cxn ang="0">
                      <a:pos x="192" y="254"/>
                    </a:cxn>
                    <a:cxn ang="0">
                      <a:pos x="149" y="254"/>
                    </a:cxn>
                    <a:cxn ang="0">
                      <a:pos x="134" y="264"/>
                    </a:cxn>
                    <a:cxn ang="0">
                      <a:pos x="115" y="278"/>
                    </a:cxn>
                    <a:cxn ang="0">
                      <a:pos x="115" y="289"/>
                    </a:cxn>
                    <a:cxn ang="0">
                      <a:pos x="110" y="294"/>
                    </a:cxn>
                    <a:cxn ang="0">
                      <a:pos x="101" y="269"/>
                    </a:cxn>
                    <a:cxn ang="0">
                      <a:pos x="86" y="254"/>
                    </a:cxn>
                    <a:cxn ang="0">
                      <a:pos x="72" y="248"/>
                    </a:cxn>
                  </a:cxnLst>
                  <a:rect l="0" t="0" r="r" b="b"/>
                  <a:pathLst>
                    <a:path w="211" h="295">
                      <a:moveTo>
                        <a:pt x="72" y="248"/>
                      </a:moveTo>
                      <a:lnTo>
                        <a:pt x="72" y="234"/>
                      </a:lnTo>
                      <a:lnTo>
                        <a:pt x="82" y="239"/>
                      </a:lnTo>
                      <a:lnTo>
                        <a:pt x="91" y="229"/>
                      </a:lnTo>
                      <a:lnTo>
                        <a:pt x="34" y="195"/>
                      </a:lnTo>
                      <a:lnTo>
                        <a:pt x="34" y="185"/>
                      </a:lnTo>
                      <a:lnTo>
                        <a:pt x="39" y="176"/>
                      </a:lnTo>
                      <a:lnTo>
                        <a:pt x="48" y="176"/>
                      </a:lnTo>
                      <a:lnTo>
                        <a:pt x="39" y="151"/>
                      </a:lnTo>
                      <a:lnTo>
                        <a:pt x="53" y="151"/>
                      </a:lnTo>
                      <a:lnTo>
                        <a:pt x="53" y="147"/>
                      </a:lnTo>
                      <a:lnTo>
                        <a:pt x="29" y="132"/>
                      </a:lnTo>
                      <a:lnTo>
                        <a:pt x="43" y="97"/>
                      </a:lnTo>
                      <a:lnTo>
                        <a:pt x="24" y="88"/>
                      </a:lnTo>
                      <a:lnTo>
                        <a:pt x="29" y="77"/>
                      </a:lnTo>
                      <a:lnTo>
                        <a:pt x="43" y="72"/>
                      </a:lnTo>
                      <a:lnTo>
                        <a:pt x="15" y="58"/>
                      </a:lnTo>
                      <a:lnTo>
                        <a:pt x="10" y="34"/>
                      </a:lnTo>
                      <a:lnTo>
                        <a:pt x="0" y="23"/>
                      </a:lnTo>
                      <a:lnTo>
                        <a:pt x="43" y="4"/>
                      </a:lnTo>
                      <a:lnTo>
                        <a:pt x="62" y="0"/>
                      </a:lnTo>
                      <a:lnTo>
                        <a:pt x="72" y="4"/>
                      </a:lnTo>
                      <a:lnTo>
                        <a:pt x="91" y="14"/>
                      </a:lnTo>
                      <a:lnTo>
                        <a:pt x="101" y="34"/>
                      </a:lnTo>
                      <a:lnTo>
                        <a:pt x="115" y="58"/>
                      </a:lnTo>
                      <a:lnTo>
                        <a:pt x="134" y="67"/>
                      </a:lnTo>
                      <a:lnTo>
                        <a:pt x="139" y="88"/>
                      </a:lnTo>
                      <a:lnTo>
                        <a:pt x="153" y="97"/>
                      </a:lnTo>
                      <a:lnTo>
                        <a:pt x="168" y="102"/>
                      </a:lnTo>
                      <a:lnTo>
                        <a:pt x="187" y="92"/>
                      </a:lnTo>
                      <a:lnTo>
                        <a:pt x="187" y="112"/>
                      </a:lnTo>
                      <a:lnTo>
                        <a:pt x="206" y="132"/>
                      </a:lnTo>
                      <a:lnTo>
                        <a:pt x="192" y="156"/>
                      </a:lnTo>
                      <a:lnTo>
                        <a:pt x="201" y="190"/>
                      </a:lnTo>
                      <a:lnTo>
                        <a:pt x="211" y="215"/>
                      </a:lnTo>
                      <a:lnTo>
                        <a:pt x="201" y="239"/>
                      </a:lnTo>
                      <a:lnTo>
                        <a:pt x="201" y="259"/>
                      </a:lnTo>
                      <a:lnTo>
                        <a:pt x="192" y="254"/>
                      </a:lnTo>
                      <a:lnTo>
                        <a:pt x="149" y="254"/>
                      </a:lnTo>
                      <a:lnTo>
                        <a:pt x="134" y="264"/>
                      </a:lnTo>
                      <a:lnTo>
                        <a:pt x="115" y="278"/>
                      </a:lnTo>
                      <a:lnTo>
                        <a:pt x="115" y="289"/>
                      </a:lnTo>
                      <a:lnTo>
                        <a:pt x="110" y="294"/>
                      </a:lnTo>
                      <a:lnTo>
                        <a:pt x="101" y="269"/>
                      </a:lnTo>
                      <a:lnTo>
                        <a:pt x="86" y="254"/>
                      </a:lnTo>
                      <a:lnTo>
                        <a:pt x="72" y="248"/>
                      </a:lnTo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210" name="Freeform 46"/>
                <p:cNvSpPr>
                  <a:spLocks noChangeAspect="1"/>
                </p:cNvSpPr>
                <p:nvPr/>
              </p:nvSpPr>
              <p:spPr bwMode="gray">
                <a:xfrm>
                  <a:off x="4160739" y="3130574"/>
                  <a:ext cx="87313" cy="88900"/>
                </a:xfrm>
                <a:custGeom>
                  <a:avLst/>
                  <a:gdLst/>
                  <a:ahLst/>
                  <a:cxnLst>
                    <a:cxn ang="0">
                      <a:pos x="9" y="68"/>
                    </a:cxn>
                    <a:cxn ang="0">
                      <a:pos x="14" y="63"/>
                    </a:cxn>
                    <a:cxn ang="0">
                      <a:pos x="9" y="35"/>
                    </a:cxn>
                    <a:cxn ang="0">
                      <a:pos x="24" y="29"/>
                    </a:cxn>
                    <a:cxn ang="0">
                      <a:pos x="14" y="5"/>
                    </a:cxn>
                    <a:cxn ang="0">
                      <a:pos x="24" y="0"/>
                    </a:cxn>
                    <a:cxn ang="0">
                      <a:pos x="43" y="16"/>
                    </a:cxn>
                    <a:cxn ang="0">
                      <a:pos x="38" y="0"/>
                    </a:cxn>
                    <a:cxn ang="0">
                      <a:pos x="48" y="0"/>
                    </a:cxn>
                    <a:cxn ang="0">
                      <a:pos x="48" y="10"/>
                    </a:cxn>
                    <a:cxn ang="0">
                      <a:pos x="105" y="44"/>
                    </a:cxn>
                    <a:cxn ang="0">
                      <a:pos x="96" y="54"/>
                    </a:cxn>
                    <a:cxn ang="0">
                      <a:pos x="86" y="49"/>
                    </a:cxn>
                    <a:cxn ang="0">
                      <a:pos x="86" y="63"/>
                    </a:cxn>
                    <a:cxn ang="0">
                      <a:pos x="76" y="63"/>
                    </a:cxn>
                    <a:cxn ang="0">
                      <a:pos x="67" y="79"/>
                    </a:cxn>
                    <a:cxn ang="0">
                      <a:pos x="67" y="103"/>
                    </a:cxn>
                    <a:cxn ang="0">
                      <a:pos x="62" y="117"/>
                    </a:cxn>
                    <a:cxn ang="0">
                      <a:pos x="43" y="112"/>
                    </a:cxn>
                    <a:cxn ang="0">
                      <a:pos x="19" y="87"/>
                    </a:cxn>
                    <a:cxn ang="0">
                      <a:pos x="0" y="84"/>
                    </a:cxn>
                    <a:cxn ang="0">
                      <a:pos x="9" y="68"/>
                    </a:cxn>
                  </a:cxnLst>
                  <a:rect l="0" t="0" r="r" b="b"/>
                  <a:pathLst>
                    <a:path w="105" h="118">
                      <a:moveTo>
                        <a:pt x="9" y="68"/>
                      </a:moveTo>
                      <a:lnTo>
                        <a:pt x="14" y="63"/>
                      </a:lnTo>
                      <a:lnTo>
                        <a:pt x="9" y="35"/>
                      </a:lnTo>
                      <a:lnTo>
                        <a:pt x="24" y="29"/>
                      </a:lnTo>
                      <a:lnTo>
                        <a:pt x="14" y="5"/>
                      </a:lnTo>
                      <a:lnTo>
                        <a:pt x="24" y="0"/>
                      </a:lnTo>
                      <a:lnTo>
                        <a:pt x="43" y="16"/>
                      </a:lnTo>
                      <a:lnTo>
                        <a:pt x="38" y="0"/>
                      </a:lnTo>
                      <a:lnTo>
                        <a:pt x="48" y="0"/>
                      </a:lnTo>
                      <a:lnTo>
                        <a:pt x="48" y="10"/>
                      </a:lnTo>
                      <a:lnTo>
                        <a:pt x="105" y="44"/>
                      </a:lnTo>
                      <a:lnTo>
                        <a:pt x="96" y="54"/>
                      </a:lnTo>
                      <a:lnTo>
                        <a:pt x="86" y="49"/>
                      </a:lnTo>
                      <a:lnTo>
                        <a:pt x="86" y="63"/>
                      </a:lnTo>
                      <a:lnTo>
                        <a:pt x="76" y="63"/>
                      </a:lnTo>
                      <a:lnTo>
                        <a:pt x="67" y="79"/>
                      </a:lnTo>
                      <a:lnTo>
                        <a:pt x="67" y="103"/>
                      </a:lnTo>
                      <a:lnTo>
                        <a:pt x="62" y="117"/>
                      </a:lnTo>
                      <a:lnTo>
                        <a:pt x="43" y="112"/>
                      </a:lnTo>
                      <a:lnTo>
                        <a:pt x="19" y="87"/>
                      </a:lnTo>
                      <a:lnTo>
                        <a:pt x="0" y="84"/>
                      </a:lnTo>
                      <a:lnTo>
                        <a:pt x="9" y="68"/>
                      </a:lnTo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</p:grpSp>
        </p:grpSp>
        <p:grpSp>
          <p:nvGrpSpPr>
            <p:cNvPr id="116" name="Group 368"/>
            <p:cNvGrpSpPr/>
            <p:nvPr/>
          </p:nvGrpSpPr>
          <p:grpSpPr>
            <a:xfrm>
              <a:off x="5591926" y="3492056"/>
              <a:ext cx="1198965" cy="1473737"/>
              <a:chOff x="4455318" y="2994372"/>
              <a:chExt cx="1196974" cy="1339850"/>
            </a:xfrm>
            <a:grpFill/>
          </p:grpSpPr>
          <p:sp>
            <p:nvSpPr>
              <p:cNvPr id="117" name="Freeform 116"/>
              <p:cNvSpPr>
                <a:spLocks noChangeAspect="1"/>
              </p:cNvSpPr>
              <p:nvPr/>
            </p:nvSpPr>
            <p:spPr bwMode="gray">
              <a:xfrm>
                <a:off x="4918868" y="3083272"/>
                <a:ext cx="276225" cy="265113"/>
              </a:xfrm>
              <a:custGeom>
                <a:avLst/>
                <a:gdLst/>
                <a:ahLst/>
                <a:cxnLst>
                  <a:cxn ang="0">
                    <a:pos x="134" y="578"/>
                  </a:cxn>
                  <a:cxn ang="0">
                    <a:pos x="76" y="535"/>
                  </a:cxn>
                  <a:cxn ang="0">
                    <a:pos x="40" y="507"/>
                  </a:cxn>
                  <a:cxn ang="0">
                    <a:pos x="11" y="449"/>
                  </a:cxn>
                  <a:cxn ang="0">
                    <a:pos x="18" y="425"/>
                  </a:cxn>
                  <a:cxn ang="0">
                    <a:pos x="32" y="340"/>
                  </a:cxn>
                  <a:cxn ang="0">
                    <a:pos x="29" y="288"/>
                  </a:cxn>
                  <a:cxn ang="0">
                    <a:pos x="11" y="222"/>
                  </a:cxn>
                  <a:cxn ang="0">
                    <a:pos x="11" y="184"/>
                  </a:cxn>
                  <a:cxn ang="0">
                    <a:pos x="36" y="171"/>
                  </a:cxn>
                  <a:cxn ang="0">
                    <a:pos x="52" y="143"/>
                  </a:cxn>
                  <a:cxn ang="0">
                    <a:pos x="52" y="98"/>
                  </a:cxn>
                  <a:cxn ang="0">
                    <a:pos x="79" y="74"/>
                  </a:cxn>
                  <a:cxn ang="0">
                    <a:pos x="119" y="39"/>
                  </a:cxn>
                  <a:cxn ang="0">
                    <a:pos x="130" y="2"/>
                  </a:cxn>
                  <a:cxn ang="0">
                    <a:pos x="190" y="22"/>
                  </a:cxn>
                  <a:cxn ang="0">
                    <a:pos x="237" y="23"/>
                  </a:cxn>
                  <a:cxn ang="0">
                    <a:pos x="276" y="35"/>
                  </a:cxn>
                  <a:cxn ang="0">
                    <a:pos x="323" y="52"/>
                  </a:cxn>
                  <a:cxn ang="0">
                    <a:pos x="333" y="84"/>
                  </a:cxn>
                  <a:cxn ang="0">
                    <a:pos x="371" y="121"/>
                  </a:cxn>
                  <a:cxn ang="0">
                    <a:pos x="431" y="130"/>
                  </a:cxn>
                  <a:cxn ang="0">
                    <a:pos x="482" y="151"/>
                  </a:cxn>
                  <a:cxn ang="0">
                    <a:pos x="514" y="178"/>
                  </a:cxn>
                  <a:cxn ang="0">
                    <a:pos x="561" y="176"/>
                  </a:cxn>
                  <a:cxn ang="0">
                    <a:pos x="587" y="148"/>
                  </a:cxn>
                  <a:cxn ang="0">
                    <a:pos x="589" y="117"/>
                  </a:cxn>
                  <a:cxn ang="0">
                    <a:pos x="582" y="83"/>
                  </a:cxn>
                  <a:cxn ang="0">
                    <a:pos x="606" y="47"/>
                  </a:cxn>
                  <a:cxn ang="0">
                    <a:pos x="658" y="22"/>
                  </a:cxn>
                  <a:cxn ang="0">
                    <a:pos x="729" y="25"/>
                  </a:cxn>
                  <a:cxn ang="0">
                    <a:pos x="754" y="35"/>
                  </a:cxn>
                  <a:cxn ang="0">
                    <a:pos x="751" y="46"/>
                  </a:cxn>
                  <a:cxn ang="0">
                    <a:pos x="767" y="63"/>
                  </a:cxn>
                  <a:cxn ang="0">
                    <a:pos x="797" y="67"/>
                  </a:cxn>
                  <a:cxn ang="0">
                    <a:pos x="831" y="77"/>
                  </a:cxn>
                  <a:cxn ang="0">
                    <a:pos x="868" y="95"/>
                  </a:cxn>
                  <a:cxn ang="0">
                    <a:pos x="860" y="108"/>
                  </a:cxn>
                  <a:cxn ang="0">
                    <a:pos x="856" y="127"/>
                  </a:cxn>
                  <a:cxn ang="0">
                    <a:pos x="858" y="180"/>
                  </a:cxn>
                  <a:cxn ang="0">
                    <a:pos x="845" y="192"/>
                  </a:cxn>
                  <a:cxn ang="0">
                    <a:pos x="853" y="227"/>
                  </a:cxn>
                  <a:cxn ang="0">
                    <a:pos x="869" y="261"/>
                  </a:cxn>
                  <a:cxn ang="0">
                    <a:pos x="869" y="421"/>
                  </a:cxn>
                  <a:cxn ang="0">
                    <a:pos x="869" y="593"/>
                  </a:cxn>
                  <a:cxn ang="0">
                    <a:pos x="869" y="740"/>
                  </a:cxn>
                  <a:cxn ang="0">
                    <a:pos x="817" y="832"/>
                  </a:cxn>
                  <a:cxn ang="0">
                    <a:pos x="715" y="783"/>
                  </a:cxn>
                  <a:cxn ang="0">
                    <a:pos x="573" y="709"/>
                  </a:cxn>
                  <a:cxn ang="0">
                    <a:pos x="433" y="635"/>
                  </a:cxn>
                  <a:cxn ang="0">
                    <a:pos x="326" y="622"/>
                  </a:cxn>
                  <a:cxn ang="0">
                    <a:pos x="297" y="620"/>
                  </a:cxn>
                  <a:cxn ang="0">
                    <a:pos x="275" y="605"/>
                  </a:cxn>
                  <a:cxn ang="0">
                    <a:pos x="222" y="595"/>
                  </a:cxn>
                  <a:cxn ang="0">
                    <a:pos x="145" y="595"/>
                  </a:cxn>
                </a:cxnLst>
                <a:rect l="0" t="0" r="r" b="b"/>
                <a:pathLst>
                  <a:path w="871" h="832">
                    <a:moveTo>
                      <a:pt x="140" y="598"/>
                    </a:moveTo>
                    <a:lnTo>
                      <a:pt x="138" y="592"/>
                    </a:lnTo>
                    <a:lnTo>
                      <a:pt x="134" y="578"/>
                    </a:lnTo>
                    <a:lnTo>
                      <a:pt x="116" y="549"/>
                    </a:lnTo>
                    <a:lnTo>
                      <a:pt x="87" y="535"/>
                    </a:lnTo>
                    <a:lnTo>
                      <a:pt x="76" y="535"/>
                    </a:lnTo>
                    <a:lnTo>
                      <a:pt x="57" y="534"/>
                    </a:lnTo>
                    <a:lnTo>
                      <a:pt x="43" y="519"/>
                    </a:lnTo>
                    <a:lnTo>
                      <a:pt x="40" y="507"/>
                    </a:lnTo>
                    <a:lnTo>
                      <a:pt x="39" y="487"/>
                    </a:lnTo>
                    <a:lnTo>
                      <a:pt x="29" y="471"/>
                    </a:lnTo>
                    <a:lnTo>
                      <a:pt x="11" y="449"/>
                    </a:lnTo>
                    <a:lnTo>
                      <a:pt x="6" y="436"/>
                    </a:lnTo>
                    <a:lnTo>
                      <a:pt x="7" y="428"/>
                    </a:lnTo>
                    <a:lnTo>
                      <a:pt x="18" y="425"/>
                    </a:lnTo>
                    <a:lnTo>
                      <a:pt x="27" y="418"/>
                    </a:lnTo>
                    <a:lnTo>
                      <a:pt x="28" y="362"/>
                    </a:lnTo>
                    <a:lnTo>
                      <a:pt x="32" y="340"/>
                    </a:lnTo>
                    <a:lnTo>
                      <a:pt x="32" y="327"/>
                    </a:lnTo>
                    <a:lnTo>
                      <a:pt x="29" y="319"/>
                    </a:lnTo>
                    <a:lnTo>
                      <a:pt x="29" y="288"/>
                    </a:lnTo>
                    <a:lnTo>
                      <a:pt x="28" y="266"/>
                    </a:lnTo>
                    <a:lnTo>
                      <a:pt x="23" y="243"/>
                    </a:lnTo>
                    <a:lnTo>
                      <a:pt x="11" y="222"/>
                    </a:lnTo>
                    <a:lnTo>
                      <a:pt x="0" y="207"/>
                    </a:lnTo>
                    <a:lnTo>
                      <a:pt x="1" y="191"/>
                    </a:lnTo>
                    <a:lnTo>
                      <a:pt x="11" y="184"/>
                    </a:lnTo>
                    <a:lnTo>
                      <a:pt x="12" y="181"/>
                    </a:lnTo>
                    <a:lnTo>
                      <a:pt x="24" y="180"/>
                    </a:lnTo>
                    <a:lnTo>
                      <a:pt x="36" y="171"/>
                    </a:lnTo>
                    <a:lnTo>
                      <a:pt x="46" y="163"/>
                    </a:lnTo>
                    <a:lnTo>
                      <a:pt x="52" y="153"/>
                    </a:lnTo>
                    <a:lnTo>
                      <a:pt x="52" y="143"/>
                    </a:lnTo>
                    <a:lnTo>
                      <a:pt x="46" y="115"/>
                    </a:lnTo>
                    <a:lnTo>
                      <a:pt x="48" y="106"/>
                    </a:lnTo>
                    <a:lnTo>
                      <a:pt x="52" y="98"/>
                    </a:lnTo>
                    <a:lnTo>
                      <a:pt x="65" y="92"/>
                    </a:lnTo>
                    <a:lnTo>
                      <a:pt x="75" y="85"/>
                    </a:lnTo>
                    <a:lnTo>
                      <a:pt x="79" y="74"/>
                    </a:lnTo>
                    <a:lnTo>
                      <a:pt x="108" y="55"/>
                    </a:lnTo>
                    <a:lnTo>
                      <a:pt x="114" y="50"/>
                    </a:lnTo>
                    <a:lnTo>
                      <a:pt x="119" y="39"/>
                    </a:lnTo>
                    <a:lnTo>
                      <a:pt x="118" y="3"/>
                    </a:lnTo>
                    <a:lnTo>
                      <a:pt x="119" y="0"/>
                    </a:lnTo>
                    <a:lnTo>
                      <a:pt x="130" y="2"/>
                    </a:lnTo>
                    <a:lnTo>
                      <a:pt x="142" y="9"/>
                    </a:lnTo>
                    <a:lnTo>
                      <a:pt x="169" y="20"/>
                    </a:lnTo>
                    <a:lnTo>
                      <a:pt x="190" y="22"/>
                    </a:lnTo>
                    <a:lnTo>
                      <a:pt x="211" y="17"/>
                    </a:lnTo>
                    <a:lnTo>
                      <a:pt x="226" y="18"/>
                    </a:lnTo>
                    <a:lnTo>
                      <a:pt x="237" y="23"/>
                    </a:lnTo>
                    <a:lnTo>
                      <a:pt x="250" y="24"/>
                    </a:lnTo>
                    <a:lnTo>
                      <a:pt x="267" y="29"/>
                    </a:lnTo>
                    <a:lnTo>
                      <a:pt x="276" y="35"/>
                    </a:lnTo>
                    <a:lnTo>
                      <a:pt x="297" y="45"/>
                    </a:lnTo>
                    <a:lnTo>
                      <a:pt x="309" y="47"/>
                    </a:lnTo>
                    <a:lnTo>
                      <a:pt x="323" y="52"/>
                    </a:lnTo>
                    <a:lnTo>
                      <a:pt x="329" y="58"/>
                    </a:lnTo>
                    <a:lnTo>
                      <a:pt x="333" y="71"/>
                    </a:lnTo>
                    <a:lnTo>
                      <a:pt x="333" y="84"/>
                    </a:lnTo>
                    <a:lnTo>
                      <a:pt x="342" y="99"/>
                    </a:lnTo>
                    <a:lnTo>
                      <a:pt x="358" y="115"/>
                    </a:lnTo>
                    <a:lnTo>
                      <a:pt x="371" y="121"/>
                    </a:lnTo>
                    <a:lnTo>
                      <a:pt x="379" y="124"/>
                    </a:lnTo>
                    <a:lnTo>
                      <a:pt x="415" y="125"/>
                    </a:lnTo>
                    <a:lnTo>
                      <a:pt x="431" y="130"/>
                    </a:lnTo>
                    <a:lnTo>
                      <a:pt x="459" y="140"/>
                    </a:lnTo>
                    <a:lnTo>
                      <a:pt x="474" y="149"/>
                    </a:lnTo>
                    <a:lnTo>
                      <a:pt x="482" y="151"/>
                    </a:lnTo>
                    <a:lnTo>
                      <a:pt x="490" y="154"/>
                    </a:lnTo>
                    <a:lnTo>
                      <a:pt x="496" y="162"/>
                    </a:lnTo>
                    <a:lnTo>
                      <a:pt x="514" y="178"/>
                    </a:lnTo>
                    <a:lnTo>
                      <a:pt x="529" y="184"/>
                    </a:lnTo>
                    <a:lnTo>
                      <a:pt x="543" y="184"/>
                    </a:lnTo>
                    <a:lnTo>
                      <a:pt x="561" y="176"/>
                    </a:lnTo>
                    <a:lnTo>
                      <a:pt x="571" y="170"/>
                    </a:lnTo>
                    <a:lnTo>
                      <a:pt x="581" y="159"/>
                    </a:lnTo>
                    <a:lnTo>
                      <a:pt x="587" y="148"/>
                    </a:lnTo>
                    <a:lnTo>
                      <a:pt x="593" y="138"/>
                    </a:lnTo>
                    <a:lnTo>
                      <a:pt x="594" y="130"/>
                    </a:lnTo>
                    <a:lnTo>
                      <a:pt x="589" y="117"/>
                    </a:lnTo>
                    <a:lnTo>
                      <a:pt x="588" y="108"/>
                    </a:lnTo>
                    <a:lnTo>
                      <a:pt x="582" y="98"/>
                    </a:lnTo>
                    <a:lnTo>
                      <a:pt x="582" y="83"/>
                    </a:lnTo>
                    <a:lnTo>
                      <a:pt x="586" y="70"/>
                    </a:lnTo>
                    <a:lnTo>
                      <a:pt x="598" y="55"/>
                    </a:lnTo>
                    <a:lnTo>
                      <a:pt x="606" y="47"/>
                    </a:lnTo>
                    <a:lnTo>
                      <a:pt x="625" y="33"/>
                    </a:lnTo>
                    <a:lnTo>
                      <a:pt x="641" y="24"/>
                    </a:lnTo>
                    <a:lnTo>
                      <a:pt x="658" y="22"/>
                    </a:lnTo>
                    <a:lnTo>
                      <a:pt x="670" y="17"/>
                    </a:lnTo>
                    <a:lnTo>
                      <a:pt x="701" y="15"/>
                    </a:lnTo>
                    <a:lnTo>
                      <a:pt x="729" y="25"/>
                    </a:lnTo>
                    <a:lnTo>
                      <a:pt x="737" y="29"/>
                    </a:lnTo>
                    <a:lnTo>
                      <a:pt x="745" y="30"/>
                    </a:lnTo>
                    <a:lnTo>
                      <a:pt x="754" y="35"/>
                    </a:lnTo>
                    <a:lnTo>
                      <a:pt x="755" y="45"/>
                    </a:lnTo>
                    <a:lnTo>
                      <a:pt x="754" y="47"/>
                    </a:lnTo>
                    <a:lnTo>
                      <a:pt x="751" y="46"/>
                    </a:lnTo>
                    <a:lnTo>
                      <a:pt x="753" y="54"/>
                    </a:lnTo>
                    <a:lnTo>
                      <a:pt x="762" y="61"/>
                    </a:lnTo>
                    <a:lnTo>
                      <a:pt x="767" y="63"/>
                    </a:lnTo>
                    <a:lnTo>
                      <a:pt x="772" y="62"/>
                    </a:lnTo>
                    <a:lnTo>
                      <a:pt x="787" y="65"/>
                    </a:lnTo>
                    <a:lnTo>
                      <a:pt x="797" y="67"/>
                    </a:lnTo>
                    <a:lnTo>
                      <a:pt x="801" y="68"/>
                    </a:lnTo>
                    <a:lnTo>
                      <a:pt x="815" y="74"/>
                    </a:lnTo>
                    <a:lnTo>
                      <a:pt x="831" y="77"/>
                    </a:lnTo>
                    <a:lnTo>
                      <a:pt x="856" y="78"/>
                    </a:lnTo>
                    <a:lnTo>
                      <a:pt x="864" y="83"/>
                    </a:lnTo>
                    <a:lnTo>
                      <a:pt x="868" y="95"/>
                    </a:lnTo>
                    <a:lnTo>
                      <a:pt x="871" y="97"/>
                    </a:lnTo>
                    <a:lnTo>
                      <a:pt x="863" y="99"/>
                    </a:lnTo>
                    <a:lnTo>
                      <a:pt x="860" y="108"/>
                    </a:lnTo>
                    <a:lnTo>
                      <a:pt x="852" y="116"/>
                    </a:lnTo>
                    <a:lnTo>
                      <a:pt x="852" y="119"/>
                    </a:lnTo>
                    <a:lnTo>
                      <a:pt x="856" y="127"/>
                    </a:lnTo>
                    <a:lnTo>
                      <a:pt x="857" y="154"/>
                    </a:lnTo>
                    <a:lnTo>
                      <a:pt x="860" y="171"/>
                    </a:lnTo>
                    <a:lnTo>
                      <a:pt x="858" y="180"/>
                    </a:lnTo>
                    <a:lnTo>
                      <a:pt x="858" y="183"/>
                    </a:lnTo>
                    <a:lnTo>
                      <a:pt x="848" y="187"/>
                    </a:lnTo>
                    <a:lnTo>
                      <a:pt x="845" y="192"/>
                    </a:lnTo>
                    <a:lnTo>
                      <a:pt x="845" y="196"/>
                    </a:lnTo>
                    <a:lnTo>
                      <a:pt x="846" y="217"/>
                    </a:lnTo>
                    <a:lnTo>
                      <a:pt x="853" y="227"/>
                    </a:lnTo>
                    <a:lnTo>
                      <a:pt x="855" y="230"/>
                    </a:lnTo>
                    <a:lnTo>
                      <a:pt x="852" y="243"/>
                    </a:lnTo>
                    <a:lnTo>
                      <a:pt x="869" y="261"/>
                    </a:lnTo>
                    <a:lnTo>
                      <a:pt x="869" y="304"/>
                    </a:lnTo>
                    <a:lnTo>
                      <a:pt x="869" y="362"/>
                    </a:lnTo>
                    <a:lnTo>
                      <a:pt x="869" y="421"/>
                    </a:lnTo>
                    <a:lnTo>
                      <a:pt x="869" y="479"/>
                    </a:lnTo>
                    <a:lnTo>
                      <a:pt x="869" y="535"/>
                    </a:lnTo>
                    <a:lnTo>
                      <a:pt x="869" y="593"/>
                    </a:lnTo>
                    <a:lnTo>
                      <a:pt x="869" y="649"/>
                    </a:lnTo>
                    <a:lnTo>
                      <a:pt x="869" y="687"/>
                    </a:lnTo>
                    <a:lnTo>
                      <a:pt x="869" y="740"/>
                    </a:lnTo>
                    <a:lnTo>
                      <a:pt x="869" y="799"/>
                    </a:lnTo>
                    <a:lnTo>
                      <a:pt x="817" y="799"/>
                    </a:lnTo>
                    <a:lnTo>
                      <a:pt x="817" y="832"/>
                    </a:lnTo>
                    <a:lnTo>
                      <a:pt x="808" y="831"/>
                    </a:lnTo>
                    <a:lnTo>
                      <a:pt x="761" y="807"/>
                    </a:lnTo>
                    <a:lnTo>
                      <a:pt x="715" y="783"/>
                    </a:lnTo>
                    <a:lnTo>
                      <a:pt x="667" y="759"/>
                    </a:lnTo>
                    <a:lnTo>
                      <a:pt x="620" y="734"/>
                    </a:lnTo>
                    <a:lnTo>
                      <a:pt x="573" y="709"/>
                    </a:lnTo>
                    <a:lnTo>
                      <a:pt x="527" y="685"/>
                    </a:lnTo>
                    <a:lnTo>
                      <a:pt x="480" y="659"/>
                    </a:lnTo>
                    <a:lnTo>
                      <a:pt x="433" y="635"/>
                    </a:lnTo>
                    <a:lnTo>
                      <a:pt x="387" y="610"/>
                    </a:lnTo>
                    <a:lnTo>
                      <a:pt x="376" y="605"/>
                    </a:lnTo>
                    <a:lnTo>
                      <a:pt x="326" y="622"/>
                    </a:lnTo>
                    <a:lnTo>
                      <a:pt x="320" y="625"/>
                    </a:lnTo>
                    <a:lnTo>
                      <a:pt x="303" y="630"/>
                    </a:lnTo>
                    <a:lnTo>
                      <a:pt x="297" y="620"/>
                    </a:lnTo>
                    <a:lnTo>
                      <a:pt x="293" y="616"/>
                    </a:lnTo>
                    <a:lnTo>
                      <a:pt x="278" y="609"/>
                    </a:lnTo>
                    <a:lnTo>
                      <a:pt x="275" y="605"/>
                    </a:lnTo>
                    <a:lnTo>
                      <a:pt x="270" y="601"/>
                    </a:lnTo>
                    <a:lnTo>
                      <a:pt x="261" y="599"/>
                    </a:lnTo>
                    <a:lnTo>
                      <a:pt x="222" y="595"/>
                    </a:lnTo>
                    <a:lnTo>
                      <a:pt x="179" y="596"/>
                    </a:lnTo>
                    <a:lnTo>
                      <a:pt x="148" y="594"/>
                    </a:lnTo>
                    <a:lnTo>
                      <a:pt x="145" y="595"/>
                    </a:lnTo>
                    <a:lnTo>
                      <a:pt x="140" y="59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18" name="Freeform 117"/>
              <p:cNvSpPr>
                <a:spLocks noChangeAspect="1"/>
              </p:cNvSpPr>
              <p:nvPr/>
            </p:nvSpPr>
            <p:spPr bwMode="gray">
              <a:xfrm>
                <a:off x="4464843" y="3192809"/>
                <a:ext cx="146050" cy="127000"/>
              </a:xfrm>
              <a:custGeom>
                <a:avLst/>
                <a:gdLst/>
                <a:ahLst/>
                <a:cxnLst>
                  <a:cxn ang="0">
                    <a:pos x="196" y="379"/>
                  </a:cxn>
                  <a:cxn ang="0">
                    <a:pos x="148" y="379"/>
                  </a:cxn>
                  <a:cxn ang="0">
                    <a:pos x="96" y="379"/>
                  </a:cxn>
                  <a:cxn ang="0">
                    <a:pos x="45" y="379"/>
                  </a:cxn>
                  <a:cxn ang="0">
                    <a:pos x="16" y="379"/>
                  </a:cxn>
                  <a:cxn ang="0">
                    <a:pos x="14" y="385"/>
                  </a:cxn>
                  <a:cxn ang="0">
                    <a:pos x="6" y="392"/>
                  </a:cxn>
                  <a:cxn ang="0">
                    <a:pos x="2" y="397"/>
                  </a:cxn>
                  <a:cxn ang="0">
                    <a:pos x="5" y="396"/>
                  </a:cxn>
                  <a:cxn ang="0">
                    <a:pos x="0" y="401"/>
                  </a:cxn>
                  <a:cxn ang="0">
                    <a:pos x="0" y="392"/>
                  </a:cxn>
                  <a:cxn ang="0">
                    <a:pos x="5" y="355"/>
                  </a:cxn>
                  <a:cxn ang="0">
                    <a:pos x="16" y="329"/>
                  </a:cxn>
                  <a:cxn ang="0">
                    <a:pos x="28" y="323"/>
                  </a:cxn>
                  <a:cxn ang="0">
                    <a:pos x="40" y="296"/>
                  </a:cxn>
                  <a:cxn ang="0">
                    <a:pos x="48" y="284"/>
                  </a:cxn>
                  <a:cxn ang="0">
                    <a:pos x="45" y="275"/>
                  </a:cxn>
                  <a:cxn ang="0">
                    <a:pos x="65" y="246"/>
                  </a:cxn>
                  <a:cxn ang="0">
                    <a:pos x="69" y="240"/>
                  </a:cxn>
                  <a:cxn ang="0">
                    <a:pos x="71" y="229"/>
                  </a:cxn>
                  <a:cxn ang="0">
                    <a:pos x="76" y="221"/>
                  </a:cxn>
                  <a:cxn ang="0">
                    <a:pos x="105" y="188"/>
                  </a:cxn>
                  <a:cxn ang="0">
                    <a:pos x="120" y="164"/>
                  </a:cxn>
                  <a:cxn ang="0">
                    <a:pos x="123" y="145"/>
                  </a:cxn>
                  <a:cxn ang="0">
                    <a:pos x="132" y="122"/>
                  </a:cxn>
                  <a:cxn ang="0">
                    <a:pos x="139" y="100"/>
                  </a:cxn>
                  <a:cxn ang="0">
                    <a:pos x="155" y="80"/>
                  </a:cxn>
                  <a:cxn ang="0">
                    <a:pos x="174" y="70"/>
                  </a:cxn>
                  <a:cxn ang="0">
                    <a:pos x="190" y="57"/>
                  </a:cxn>
                  <a:cxn ang="0">
                    <a:pos x="196" y="38"/>
                  </a:cxn>
                  <a:cxn ang="0">
                    <a:pos x="199" y="33"/>
                  </a:cxn>
                  <a:cxn ang="0">
                    <a:pos x="204" y="22"/>
                  </a:cxn>
                  <a:cxn ang="0">
                    <a:pos x="213" y="6"/>
                  </a:cxn>
                  <a:cxn ang="0">
                    <a:pos x="218" y="0"/>
                  </a:cxn>
                  <a:cxn ang="0">
                    <a:pos x="227" y="0"/>
                  </a:cxn>
                  <a:cxn ang="0">
                    <a:pos x="261" y="0"/>
                  </a:cxn>
                  <a:cxn ang="0">
                    <a:pos x="297" y="0"/>
                  </a:cxn>
                  <a:cxn ang="0">
                    <a:pos x="338" y="0"/>
                  </a:cxn>
                  <a:cxn ang="0">
                    <a:pos x="379" y="0"/>
                  </a:cxn>
                  <a:cxn ang="0">
                    <a:pos x="422" y="0"/>
                  </a:cxn>
                  <a:cxn ang="0">
                    <a:pos x="459" y="0"/>
                  </a:cxn>
                  <a:cxn ang="0">
                    <a:pos x="459" y="32"/>
                  </a:cxn>
                  <a:cxn ang="0">
                    <a:pos x="459" y="102"/>
                  </a:cxn>
                  <a:cxn ang="0">
                    <a:pos x="405" y="102"/>
                  </a:cxn>
                  <a:cxn ang="0">
                    <a:pos x="352" y="102"/>
                  </a:cxn>
                  <a:cxn ang="0">
                    <a:pos x="299" y="102"/>
                  </a:cxn>
                  <a:cxn ang="0">
                    <a:pos x="281" y="102"/>
                  </a:cxn>
                  <a:cxn ang="0">
                    <a:pos x="281" y="160"/>
                  </a:cxn>
                  <a:cxn ang="0">
                    <a:pos x="281" y="219"/>
                  </a:cxn>
                  <a:cxn ang="0">
                    <a:pos x="281" y="254"/>
                  </a:cxn>
                  <a:cxn ang="0">
                    <a:pos x="261" y="261"/>
                  </a:cxn>
                  <a:cxn ang="0">
                    <a:pos x="244" y="263"/>
                  </a:cxn>
                  <a:cxn ang="0">
                    <a:pos x="228" y="268"/>
                  </a:cxn>
                  <a:cxn ang="0">
                    <a:pos x="223" y="272"/>
                  </a:cxn>
                  <a:cxn ang="0">
                    <a:pos x="220" y="277"/>
                  </a:cxn>
                  <a:cxn ang="0">
                    <a:pos x="215" y="288"/>
                  </a:cxn>
                  <a:cxn ang="0">
                    <a:pos x="213" y="296"/>
                  </a:cxn>
                  <a:cxn ang="0">
                    <a:pos x="215" y="322"/>
                  </a:cxn>
                  <a:cxn ang="0">
                    <a:pos x="218" y="342"/>
                  </a:cxn>
                  <a:cxn ang="0">
                    <a:pos x="218" y="363"/>
                  </a:cxn>
                  <a:cxn ang="0">
                    <a:pos x="222" y="379"/>
                  </a:cxn>
                  <a:cxn ang="0">
                    <a:pos x="196" y="379"/>
                  </a:cxn>
                </a:cxnLst>
                <a:rect l="0" t="0" r="r" b="b"/>
                <a:pathLst>
                  <a:path w="459" h="401">
                    <a:moveTo>
                      <a:pt x="196" y="379"/>
                    </a:moveTo>
                    <a:lnTo>
                      <a:pt x="148" y="379"/>
                    </a:lnTo>
                    <a:lnTo>
                      <a:pt x="96" y="379"/>
                    </a:lnTo>
                    <a:lnTo>
                      <a:pt x="45" y="379"/>
                    </a:lnTo>
                    <a:lnTo>
                      <a:pt x="16" y="379"/>
                    </a:lnTo>
                    <a:lnTo>
                      <a:pt x="14" y="385"/>
                    </a:lnTo>
                    <a:lnTo>
                      <a:pt x="6" y="392"/>
                    </a:lnTo>
                    <a:lnTo>
                      <a:pt x="2" y="397"/>
                    </a:lnTo>
                    <a:lnTo>
                      <a:pt x="5" y="396"/>
                    </a:lnTo>
                    <a:lnTo>
                      <a:pt x="0" y="401"/>
                    </a:lnTo>
                    <a:lnTo>
                      <a:pt x="0" y="392"/>
                    </a:lnTo>
                    <a:lnTo>
                      <a:pt x="5" y="355"/>
                    </a:lnTo>
                    <a:lnTo>
                      <a:pt x="16" y="329"/>
                    </a:lnTo>
                    <a:lnTo>
                      <a:pt x="28" y="323"/>
                    </a:lnTo>
                    <a:lnTo>
                      <a:pt x="40" y="296"/>
                    </a:lnTo>
                    <a:lnTo>
                      <a:pt x="48" y="284"/>
                    </a:lnTo>
                    <a:lnTo>
                      <a:pt x="45" y="275"/>
                    </a:lnTo>
                    <a:lnTo>
                      <a:pt x="65" y="246"/>
                    </a:lnTo>
                    <a:lnTo>
                      <a:pt x="69" y="240"/>
                    </a:lnTo>
                    <a:lnTo>
                      <a:pt x="71" y="229"/>
                    </a:lnTo>
                    <a:lnTo>
                      <a:pt x="76" y="221"/>
                    </a:lnTo>
                    <a:lnTo>
                      <a:pt x="105" y="188"/>
                    </a:lnTo>
                    <a:lnTo>
                      <a:pt x="120" y="164"/>
                    </a:lnTo>
                    <a:lnTo>
                      <a:pt x="123" y="145"/>
                    </a:lnTo>
                    <a:lnTo>
                      <a:pt x="132" y="122"/>
                    </a:lnTo>
                    <a:lnTo>
                      <a:pt x="139" y="100"/>
                    </a:lnTo>
                    <a:lnTo>
                      <a:pt x="155" y="80"/>
                    </a:lnTo>
                    <a:lnTo>
                      <a:pt x="174" y="70"/>
                    </a:lnTo>
                    <a:lnTo>
                      <a:pt x="190" y="57"/>
                    </a:lnTo>
                    <a:lnTo>
                      <a:pt x="196" y="38"/>
                    </a:lnTo>
                    <a:lnTo>
                      <a:pt x="199" y="33"/>
                    </a:lnTo>
                    <a:lnTo>
                      <a:pt x="204" y="22"/>
                    </a:lnTo>
                    <a:lnTo>
                      <a:pt x="213" y="6"/>
                    </a:lnTo>
                    <a:lnTo>
                      <a:pt x="218" y="0"/>
                    </a:lnTo>
                    <a:lnTo>
                      <a:pt x="227" y="0"/>
                    </a:lnTo>
                    <a:lnTo>
                      <a:pt x="261" y="0"/>
                    </a:lnTo>
                    <a:lnTo>
                      <a:pt x="297" y="0"/>
                    </a:lnTo>
                    <a:lnTo>
                      <a:pt x="338" y="0"/>
                    </a:lnTo>
                    <a:lnTo>
                      <a:pt x="379" y="0"/>
                    </a:lnTo>
                    <a:lnTo>
                      <a:pt x="422" y="0"/>
                    </a:lnTo>
                    <a:lnTo>
                      <a:pt x="459" y="0"/>
                    </a:lnTo>
                    <a:lnTo>
                      <a:pt x="459" y="32"/>
                    </a:lnTo>
                    <a:lnTo>
                      <a:pt x="459" y="102"/>
                    </a:lnTo>
                    <a:lnTo>
                      <a:pt x="405" y="102"/>
                    </a:lnTo>
                    <a:lnTo>
                      <a:pt x="352" y="102"/>
                    </a:lnTo>
                    <a:lnTo>
                      <a:pt x="299" y="102"/>
                    </a:lnTo>
                    <a:lnTo>
                      <a:pt x="281" y="102"/>
                    </a:lnTo>
                    <a:lnTo>
                      <a:pt x="281" y="160"/>
                    </a:lnTo>
                    <a:lnTo>
                      <a:pt x="281" y="219"/>
                    </a:lnTo>
                    <a:lnTo>
                      <a:pt x="281" y="254"/>
                    </a:lnTo>
                    <a:lnTo>
                      <a:pt x="261" y="261"/>
                    </a:lnTo>
                    <a:lnTo>
                      <a:pt x="244" y="263"/>
                    </a:lnTo>
                    <a:lnTo>
                      <a:pt x="228" y="268"/>
                    </a:lnTo>
                    <a:lnTo>
                      <a:pt x="223" y="272"/>
                    </a:lnTo>
                    <a:lnTo>
                      <a:pt x="220" y="277"/>
                    </a:lnTo>
                    <a:lnTo>
                      <a:pt x="215" y="288"/>
                    </a:lnTo>
                    <a:lnTo>
                      <a:pt x="213" y="296"/>
                    </a:lnTo>
                    <a:lnTo>
                      <a:pt x="215" y="322"/>
                    </a:lnTo>
                    <a:lnTo>
                      <a:pt x="218" y="342"/>
                    </a:lnTo>
                    <a:lnTo>
                      <a:pt x="218" y="363"/>
                    </a:lnTo>
                    <a:lnTo>
                      <a:pt x="222" y="379"/>
                    </a:lnTo>
                    <a:lnTo>
                      <a:pt x="196" y="37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grpSp>
            <p:nvGrpSpPr>
              <p:cNvPr id="119" name="Group 367"/>
              <p:cNvGrpSpPr/>
              <p:nvPr/>
            </p:nvGrpSpPr>
            <p:grpSpPr>
              <a:xfrm>
                <a:off x="4455318" y="2994372"/>
                <a:ext cx="1196974" cy="1339850"/>
                <a:chOff x="4455318" y="2994372"/>
                <a:chExt cx="1196974" cy="1339850"/>
              </a:xfrm>
              <a:grpFill/>
            </p:grpSpPr>
            <p:sp>
              <p:nvSpPr>
                <p:cNvPr id="120" name="Freeform 119"/>
                <p:cNvSpPr>
                  <a:spLocks noChangeAspect="1"/>
                </p:cNvSpPr>
                <p:nvPr/>
              </p:nvSpPr>
              <p:spPr bwMode="gray">
                <a:xfrm>
                  <a:off x="4704556" y="3497609"/>
                  <a:ext cx="77788" cy="114300"/>
                </a:xfrm>
                <a:custGeom>
                  <a:avLst/>
                  <a:gdLst/>
                  <a:ahLst/>
                  <a:cxnLst>
                    <a:cxn ang="0">
                      <a:pos x="239" y="279"/>
                    </a:cxn>
                    <a:cxn ang="0">
                      <a:pos x="215" y="252"/>
                    </a:cxn>
                    <a:cxn ang="0">
                      <a:pos x="209" y="231"/>
                    </a:cxn>
                    <a:cxn ang="0">
                      <a:pos x="209" y="188"/>
                    </a:cxn>
                    <a:cxn ang="0">
                      <a:pos x="204" y="114"/>
                    </a:cxn>
                    <a:cxn ang="0">
                      <a:pos x="200" y="95"/>
                    </a:cxn>
                    <a:cxn ang="0">
                      <a:pos x="194" y="68"/>
                    </a:cxn>
                    <a:cxn ang="0">
                      <a:pos x="187" y="48"/>
                    </a:cxn>
                    <a:cxn ang="0">
                      <a:pos x="176" y="33"/>
                    </a:cxn>
                    <a:cxn ang="0">
                      <a:pos x="166" y="21"/>
                    </a:cxn>
                    <a:cxn ang="0">
                      <a:pos x="170" y="11"/>
                    </a:cxn>
                    <a:cxn ang="0">
                      <a:pos x="172" y="5"/>
                    </a:cxn>
                    <a:cxn ang="0">
                      <a:pos x="162" y="3"/>
                    </a:cxn>
                    <a:cxn ang="0">
                      <a:pos x="145" y="3"/>
                    </a:cxn>
                    <a:cxn ang="0">
                      <a:pos x="129" y="12"/>
                    </a:cxn>
                    <a:cxn ang="0">
                      <a:pos x="86" y="6"/>
                    </a:cxn>
                    <a:cxn ang="0">
                      <a:pos x="47" y="5"/>
                    </a:cxn>
                    <a:cxn ang="0">
                      <a:pos x="19" y="8"/>
                    </a:cxn>
                    <a:cxn ang="0">
                      <a:pos x="14" y="24"/>
                    </a:cxn>
                    <a:cxn ang="0">
                      <a:pos x="20" y="35"/>
                    </a:cxn>
                    <a:cxn ang="0">
                      <a:pos x="24" y="44"/>
                    </a:cxn>
                    <a:cxn ang="0">
                      <a:pos x="25" y="65"/>
                    </a:cxn>
                    <a:cxn ang="0">
                      <a:pos x="25" y="82"/>
                    </a:cxn>
                    <a:cxn ang="0">
                      <a:pos x="28" y="95"/>
                    </a:cxn>
                    <a:cxn ang="0">
                      <a:pos x="30" y="103"/>
                    </a:cxn>
                    <a:cxn ang="0">
                      <a:pos x="25" y="111"/>
                    </a:cxn>
                    <a:cxn ang="0">
                      <a:pos x="31" y="116"/>
                    </a:cxn>
                    <a:cxn ang="0">
                      <a:pos x="41" y="159"/>
                    </a:cxn>
                    <a:cxn ang="0">
                      <a:pos x="36" y="165"/>
                    </a:cxn>
                    <a:cxn ang="0">
                      <a:pos x="28" y="171"/>
                    </a:cxn>
                    <a:cxn ang="0">
                      <a:pos x="22" y="182"/>
                    </a:cxn>
                    <a:cxn ang="0">
                      <a:pos x="14" y="204"/>
                    </a:cxn>
                    <a:cxn ang="0">
                      <a:pos x="11" y="220"/>
                    </a:cxn>
                    <a:cxn ang="0">
                      <a:pos x="1" y="234"/>
                    </a:cxn>
                    <a:cxn ang="0">
                      <a:pos x="0" y="259"/>
                    </a:cxn>
                    <a:cxn ang="0">
                      <a:pos x="11" y="295"/>
                    </a:cxn>
                    <a:cxn ang="0">
                      <a:pos x="22" y="301"/>
                    </a:cxn>
                    <a:cxn ang="0">
                      <a:pos x="27" y="315"/>
                    </a:cxn>
                    <a:cxn ang="0">
                      <a:pos x="21" y="331"/>
                    </a:cxn>
                    <a:cxn ang="0">
                      <a:pos x="11" y="328"/>
                    </a:cxn>
                    <a:cxn ang="0">
                      <a:pos x="5" y="336"/>
                    </a:cxn>
                    <a:cxn ang="0">
                      <a:pos x="67" y="356"/>
                    </a:cxn>
                    <a:cxn ang="0">
                      <a:pos x="95" y="338"/>
                    </a:cxn>
                    <a:cxn ang="0">
                      <a:pos x="137" y="328"/>
                    </a:cxn>
                    <a:cxn ang="0">
                      <a:pos x="183" y="302"/>
                    </a:cxn>
                    <a:cxn ang="0">
                      <a:pos x="196" y="300"/>
                    </a:cxn>
                    <a:cxn ang="0">
                      <a:pos x="219" y="300"/>
                    </a:cxn>
                    <a:cxn ang="0">
                      <a:pos x="240" y="283"/>
                    </a:cxn>
                  </a:cxnLst>
                  <a:rect l="0" t="0" r="r" b="b"/>
                  <a:pathLst>
                    <a:path w="241" h="356">
                      <a:moveTo>
                        <a:pt x="242" y="281"/>
                      </a:moveTo>
                      <a:lnTo>
                        <a:pt x="239" y="279"/>
                      </a:lnTo>
                      <a:lnTo>
                        <a:pt x="223" y="262"/>
                      </a:lnTo>
                      <a:lnTo>
                        <a:pt x="215" y="252"/>
                      </a:lnTo>
                      <a:lnTo>
                        <a:pt x="210" y="241"/>
                      </a:lnTo>
                      <a:lnTo>
                        <a:pt x="209" y="231"/>
                      </a:lnTo>
                      <a:lnTo>
                        <a:pt x="208" y="209"/>
                      </a:lnTo>
                      <a:lnTo>
                        <a:pt x="209" y="188"/>
                      </a:lnTo>
                      <a:lnTo>
                        <a:pt x="205" y="148"/>
                      </a:lnTo>
                      <a:lnTo>
                        <a:pt x="204" y="114"/>
                      </a:lnTo>
                      <a:lnTo>
                        <a:pt x="203" y="101"/>
                      </a:lnTo>
                      <a:lnTo>
                        <a:pt x="200" y="95"/>
                      </a:lnTo>
                      <a:lnTo>
                        <a:pt x="196" y="89"/>
                      </a:lnTo>
                      <a:lnTo>
                        <a:pt x="194" y="68"/>
                      </a:lnTo>
                      <a:lnTo>
                        <a:pt x="191" y="53"/>
                      </a:lnTo>
                      <a:lnTo>
                        <a:pt x="187" y="48"/>
                      </a:lnTo>
                      <a:lnTo>
                        <a:pt x="180" y="41"/>
                      </a:lnTo>
                      <a:lnTo>
                        <a:pt x="176" y="33"/>
                      </a:lnTo>
                      <a:lnTo>
                        <a:pt x="167" y="27"/>
                      </a:lnTo>
                      <a:lnTo>
                        <a:pt x="166" y="21"/>
                      </a:lnTo>
                      <a:lnTo>
                        <a:pt x="170" y="16"/>
                      </a:lnTo>
                      <a:lnTo>
                        <a:pt x="170" y="11"/>
                      </a:lnTo>
                      <a:lnTo>
                        <a:pt x="173" y="6"/>
                      </a:lnTo>
                      <a:lnTo>
                        <a:pt x="172" y="5"/>
                      </a:lnTo>
                      <a:lnTo>
                        <a:pt x="164" y="4"/>
                      </a:lnTo>
                      <a:lnTo>
                        <a:pt x="162" y="3"/>
                      </a:lnTo>
                      <a:lnTo>
                        <a:pt x="162" y="0"/>
                      </a:lnTo>
                      <a:lnTo>
                        <a:pt x="145" y="3"/>
                      </a:lnTo>
                      <a:lnTo>
                        <a:pt x="133" y="11"/>
                      </a:lnTo>
                      <a:lnTo>
                        <a:pt x="129" y="12"/>
                      </a:lnTo>
                      <a:lnTo>
                        <a:pt x="112" y="11"/>
                      </a:lnTo>
                      <a:lnTo>
                        <a:pt x="86" y="6"/>
                      </a:lnTo>
                      <a:lnTo>
                        <a:pt x="58" y="8"/>
                      </a:lnTo>
                      <a:lnTo>
                        <a:pt x="47" y="5"/>
                      </a:lnTo>
                      <a:lnTo>
                        <a:pt x="36" y="5"/>
                      </a:lnTo>
                      <a:lnTo>
                        <a:pt x="19" y="8"/>
                      </a:lnTo>
                      <a:lnTo>
                        <a:pt x="14" y="16"/>
                      </a:lnTo>
                      <a:lnTo>
                        <a:pt x="14" y="24"/>
                      </a:lnTo>
                      <a:lnTo>
                        <a:pt x="17" y="32"/>
                      </a:lnTo>
                      <a:lnTo>
                        <a:pt x="20" y="35"/>
                      </a:lnTo>
                      <a:lnTo>
                        <a:pt x="20" y="43"/>
                      </a:lnTo>
                      <a:lnTo>
                        <a:pt x="24" y="44"/>
                      </a:lnTo>
                      <a:lnTo>
                        <a:pt x="22" y="57"/>
                      </a:lnTo>
                      <a:lnTo>
                        <a:pt x="25" y="65"/>
                      </a:lnTo>
                      <a:lnTo>
                        <a:pt x="25" y="76"/>
                      </a:lnTo>
                      <a:lnTo>
                        <a:pt x="25" y="82"/>
                      </a:lnTo>
                      <a:lnTo>
                        <a:pt x="28" y="89"/>
                      </a:lnTo>
                      <a:lnTo>
                        <a:pt x="28" y="95"/>
                      </a:lnTo>
                      <a:lnTo>
                        <a:pt x="27" y="98"/>
                      </a:lnTo>
                      <a:lnTo>
                        <a:pt x="30" y="103"/>
                      </a:lnTo>
                      <a:lnTo>
                        <a:pt x="25" y="108"/>
                      </a:lnTo>
                      <a:lnTo>
                        <a:pt x="25" y="111"/>
                      </a:lnTo>
                      <a:lnTo>
                        <a:pt x="28" y="112"/>
                      </a:lnTo>
                      <a:lnTo>
                        <a:pt x="31" y="116"/>
                      </a:lnTo>
                      <a:lnTo>
                        <a:pt x="38" y="143"/>
                      </a:lnTo>
                      <a:lnTo>
                        <a:pt x="41" y="159"/>
                      </a:lnTo>
                      <a:lnTo>
                        <a:pt x="36" y="160"/>
                      </a:lnTo>
                      <a:lnTo>
                        <a:pt x="36" y="165"/>
                      </a:lnTo>
                      <a:lnTo>
                        <a:pt x="32" y="166"/>
                      </a:lnTo>
                      <a:lnTo>
                        <a:pt x="28" y="171"/>
                      </a:lnTo>
                      <a:lnTo>
                        <a:pt x="26" y="173"/>
                      </a:lnTo>
                      <a:lnTo>
                        <a:pt x="22" y="182"/>
                      </a:lnTo>
                      <a:lnTo>
                        <a:pt x="16" y="195"/>
                      </a:lnTo>
                      <a:lnTo>
                        <a:pt x="14" y="204"/>
                      </a:lnTo>
                      <a:lnTo>
                        <a:pt x="14" y="215"/>
                      </a:lnTo>
                      <a:lnTo>
                        <a:pt x="11" y="220"/>
                      </a:lnTo>
                      <a:lnTo>
                        <a:pt x="5" y="227"/>
                      </a:lnTo>
                      <a:lnTo>
                        <a:pt x="1" y="234"/>
                      </a:lnTo>
                      <a:lnTo>
                        <a:pt x="0" y="251"/>
                      </a:lnTo>
                      <a:lnTo>
                        <a:pt x="0" y="259"/>
                      </a:lnTo>
                      <a:lnTo>
                        <a:pt x="8" y="279"/>
                      </a:lnTo>
                      <a:lnTo>
                        <a:pt x="11" y="295"/>
                      </a:lnTo>
                      <a:lnTo>
                        <a:pt x="15" y="300"/>
                      </a:lnTo>
                      <a:lnTo>
                        <a:pt x="22" y="301"/>
                      </a:lnTo>
                      <a:lnTo>
                        <a:pt x="25" y="302"/>
                      </a:lnTo>
                      <a:lnTo>
                        <a:pt x="27" y="315"/>
                      </a:lnTo>
                      <a:lnTo>
                        <a:pt x="27" y="329"/>
                      </a:lnTo>
                      <a:lnTo>
                        <a:pt x="21" y="331"/>
                      </a:lnTo>
                      <a:lnTo>
                        <a:pt x="17" y="328"/>
                      </a:lnTo>
                      <a:lnTo>
                        <a:pt x="11" y="328"/>
                      </a:lnTo>
                      <a:lnTo>
                        <a:pt x="9" y="329"/>
                      </a:lnTo>
                      <a:lnTo>
                        <a:pt x="5" y="336"/>
                      </a:lnTo>
                      <a:lnTo>
                        <a:pt x="41" y="345"/>
                      </a:lnTo>
                      <a:lnTo>
                        <a:pt x="67" y="356"/>
                      </a:lnTo>
                      <a:lnTo>
                        <a:pt x="87" y="345"/>
                      </a:lnTo>
                      <a:lnTo>
                        <a:pt x="95" y="338"/>
                      </a:lnTo>
                      <a:lnTo>
                        <a:pt x="103" y="336"/>
                      </a:lnTo>
                      <a:lnTo>
                        <a:pt x="137" y="328"/>
                      </a:lnTo>
                      <a:lnTo>
                        <a:pt x="166" y="311"/>
                      </a:lnTo>
                      <a:lnTo>
                        <a:pt x="183" y="302"/>
                      </a:lnTo>
                      <a:lnTo>
                        <a:pt x="188" y="300"/>
                      </a:lnTo>
                      <a:lnTo>
                        <a:pt x="196" y="300"/>
                      </a:lnTo>
                      <a:lnTo>
                        <a:pt x="215" y="296"/>
                      </a:lnTo>
                      <a:lnTo>
                        <a:pt x="219" y="300"/>
                      </a:lnTo>
                      <a:lnTo>
                        <a:pt x="229" y="299"/>
                      </a:lnTo>
                      <a:lnTo>
                        <a:pt x="240" y="283"/>
                      </a:lnTo>
                      <a:lnTo>
                        <a:pt x="242" y="281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21" name="Freeform 120"/>
                <p:cNvSpPr>
                  <a:spLocks noChangeAspect="1"/>
                </p:cNvSpPr>
                <p:nvPr/>
              </p:nvSpPr>
              <p:spPr bwMode="gray">
                <a:xfrm>
                  <a:off x="4669631" y="3429347"/>
                  <a:ext cx="131763" cy="98425"/>
                </a:xfrm>
                <a:custGeom>
                  <a:avLst/>
                  <a:gdLst/>
                  <a:ahLst/>
                  <a:cxnLst>
                    <a:cxn ang="0">
                      <a:pos x="242" y="9"/>
                    </a:cxn>
                    <a:cxn ang="0">
                      <a:pos x="182" y="49"/>
                    </a:cxn>
                    <a:cxn ang="0">
                      <a:pos x="113" y="91"/>
                    </a:cxn>
                    <a:cxn ang="0">
                      <a:pos x="83" y="96"/>
                    </a:cxn>
                    <a:cxn ang="0">
                      <a:pos x="64" y="119"/>
                    </a:cxn>
                    <a:cxn ang="0">
                      <a:pos x="46" y="162"/>
                    </a:cxn>
                    <a:cxn ang="0">
                      <a:pos x="16" y="188"/>
                    </a:cxn>
                    <a:cxn ang="0">
                      <a:pos x="1" y="224"/>
                    </a:cxn>
                    <a:cxn ang="0">
                      <a:pos x="1" y="259"/>
                    </a:cxn>
                    <a:cxn ang="0">
                      <a:pos x="5" y="267"/>
                    </a:cxn>
                    <a:cxn ang="0">
                      <a:pos x="11" y="275"/>
                    </a:cxn>
                    <a:cxn ang="0">
                      <a:pos x="15" y="284"/>
                    </a:cxn>
                    <a:cxn ang="0">
                      <a:pos x="24" y="291"/>
                    </a:cxn>
                    <a:cxn ang="0">
                      <a:pos x="35" y="294"/>
                    </a:cxn>
                    <a:cxn ang="0">
                      <a:pos x="40" y="295"/>
                    </a:cxn>
                    <a:cxn ang="0">
                      <a:pos x="53" y="290"/>
                    </a:cxn>
                    <a:cxn ang="0">
                      <a:pos x="79" y="283"/>
                    </a:cxn>
                    <a:cxn ang="0">
                      <a:pos x="107" y="285"/>
                    </a:cxn>
                    <a:cxn ang="0">
                      <a:pos x="119" y="290"/>
                    </a:cxn>
                    <a:cxn ang="0">
                      <a:pos x="130" y="306"/>
                    </a:cxn>
                    <a:cxn ang="0">
                      <a:pos x="141" y="305"/>
                    </a:cxn>
                    <a:cxn ang="0">
                      <a:pos x="138" y="281"/>
                    </a:cxn>
                    <a:cxn ang="0">
                      <a:pos x="133" y="259"/>
                    </a:cxn>
                    <a:cxn ang="0">
                      <a:pos x="127" y="240"/>
                    </a:cxn>
                    <a:cxn ang="0">
                      <a:pos x="149" y="221"/>
                    </a:cxn>
                    <a:cxn ang="0">
                      <a:pos x="199" y="222"/>
                    </a:cxn>
                    <a:cxn ang="0">
                      <a:pos x="246" y="227"/>
                    </a:cxn>
                    <a:cxn ang="0">
                      <a:pos x="275" y="217"/>
                    </a:cxn>
                    <a:cxn ang="0">
                      <a:pos x="317" y="227"/>
                    </a:cxn>
                    <a:cxn ang="0">
                      <a:pos x="336" y="224"/>
                    </a:cxn>
                    <a:cxn ang="0">
                      <a:pos x="344" y="214"/>
                    </a:cxn>
                    <a:cxn ang="0">
                      <a:pos x="350" y="208"/>
                    </a:cxn>
                    <a:cxn ang="0">
                      <a:pos x="364" y="195"/>
                    </a:cxn>
                    <a:cxn ang="0">
                      <a:pos x="387" y="197"/>
                    </a:cxn>
                    <a:cxn ang="0">
                      <a:pos x="410" y="185"/>
                    </a:cxn>
                    <a:cxn ang="0">
                      <a:pos x="415" y="177"/>
                    </a:cxn>
                    <a:cxn ang="0">
                      <a:pos x="417" y="171"/>
                    </a:cxn>
                    <a:cxn ang="0">
                      <a:pos x="398" y="150"/>
                    </a:cxn>
                    <a:cxn ang="0">
                      <a:pos x="408" y="145"/>
                    </a:cxn>
                    <a:cxn ang="0">
                      <a:pos x="402" y="130"/>
                    </a:cxn>
                    <a:cxn ang="0">
                      <a:pos x="387" y="133"/>
                    </a:cxn>
                    <a:cxn ang="0">
                      <a:pos x="368" y="131"/>
                    </a:cxn>
                    <a:cxn ang="0">
                      <a:pos x="345" y="108"/>
                    </a:cxn>
                    <a:cxn ang="0">
                      <a:pos x="317" y="70"/>
                    </a:cxn>
                    <a:cxn ang="0">
                      <a:pos x="302" y="39"/>
                    </a:cxn>
                    <a:cxn ang="0">
                      <a:pos x="290" y="26"/>
                    </a:cxn>
                    <a:cxn ang="0">
                      <a:pos x="295" y="0"/>
                    </a:cxn>
                  </a:cxnLst>
                  <a:rect l="0" t="0" r="r" b="b"/>
                  <a:pathLst>
                    <a:path w="417" h="307">
                      <a:moveTo>
                        <a:pt x="295" y="0"/>
                      </a:moveTo>
                      <a:lnTo>
                        <a:pt x="262" y="1"/>
                      </a:lnTo>
                      <a:lnTo>
                        <a:pt x="242" y="9"/>
                      </a:lnTo>
                      <a:lnTo>
                        <a:pt x="234" y="12"/>
                      </a:lnTo>
                      <a:lnTo>
                        <a:pt x="219" y="25"/>
                      </a:lnTo>
                      <a:lnTo>
                        <a:pt x="182" y="49"/>
                      </a:lnTo>
                      <a:lnTo>
                        <a:pt x="170" y="65"/>
                      </a:lnTo>
                      <a:lnTo>
                        <a:pt x="151" y="79"/>
                      </a:lnTo>
                      <a:lnTo>
                        <a:pt x="113" y="91"/>
                      </a:lnTo>
                      <a:lnTo>
                        <a:pt x="101" y="93"/>
                      </a:lnTo>
                      <a:lnTo>
                        <a:pt x="89" y="95"/>
                      </a:lnTo>
                      <a:lnTo>
                        <a:pt x="83" y="96"/>
                      </a:lnTo>
                      <a:lnTo>
                        <a:pt x="74" y="102"/>
                      </a:lnTo>
                      <a:lnTo>
                        <a:pt x="69" y="108"/>
                      </a:lnTo>
                      <a:lnTo>
                        <a:pt x="64" y="119"/>
                      </a:lnTo>
                      <a:lnTo>
                        <a:pt x="60" y="134"/>
                      </a:lnTo>
                      <a:lnTo>
                        <a:pt x="53" y="152"/>
                      </a:lnTo>
                      <a:lnTo>
                        <a:pt x="46" y="162"/>
                      </a:lnTo>
                      <a:lnTo>
                        <a:pt x="30" y="174"/>
                      </a:lnTo>
                      <a:lnTo>
                        <a:pt x="20" y="183"/>
                      </a:lnTo>
                      <a:lnTo>
                        <a:pt x="16" y="188"/>
                      </a:lnTo>
                      <a:lnTo>
                        <a:pt x="11" y="197"/>
                      </a:lnTo>
                      <a:lnTo>
                        <a:pt x="10" y="206"/>
                      </a:lnTo>
                      <a:lnTo>
                        <a:pt x="1" y="224"/>
                      </a:lnTo>
                      <a:lnTo>
                        <a:pt x="0" y="235"/>
                      </a:lnTo>
                      <a:lnTo>
                        <a:pt x="0" y="248"/>
                      </a:lnTo>
                      <a:lnTo>
                        <a:pt x="1" y="259"/>
                      </a:lnTo>
                      <a:lnTo>
                        <a:pt x="4" y="260"/>
                      </a:lnTo>
                      <a:lnTo>
                        <a:pt x="4" y="262"/>
                      </a:lnTo>
                      <a:lnTo>
                        <a:pt x="5" y="267"/>
                      </a:lnTo>
                      <a:lnTo>
                        <a:pt x="6" y="268"/>
                      </a:lnTo>
                      <a:lnTo>
                        <a:pt x="8" y="269"/>
                      </a:lnTo>
                      <a:lnTo>
                        <a:pt x="11" y="275"/>
                      </a:lnTo>
                      <a:lnTo>
                        <a:pt x="14" y="276"/>
                      </a:lnTo>
                      <a:lnTo>
                        <a:pt x="15" y="279"/>
                      </a:lnTo>
                      <a:lnTo>
                        <a:pt x="15" y="284"/>
                      </a:lnTo>
                      <a:lnTo>
                        <a:pt x="19" y="284"/>
                      </a:lnTo>
                      <a:lnTo>
                        <a:pt x="22" y="287"/>
                      </a:lnTo>
                      <a:lnTo>
                        <a:pt x="24" y="291"/>
                      </a:lnTo>
                      <a:lnTo>
                        <a:pt x="31" y="295"/>
                      </a:lnTo>
                      <a:lnTo>
                        <a:pt x="31" y="294"/>
                      </a:lnTo>
                      <a:lnTo>
                        <a:pt x="35" y="294"/>
                      </a:lnTo>
                      <a:lnTo>
                        <a:pt x="37" y="291"/>
                      </a:lnTo>
                      <a:lnTo>
                        <a:pt x="38" y="291"/>
                      </a:lnTo>
                      <a:lnTo>
                        <a:pt x="40" y="295"/>
                      </a:lnTo>
                      <a:lnTo>
                        <a:pt x="47" y="298"/>
                      </a:lnTo>
                      <a:lnTo>
                        <a:pt x="51" y="296"/>
                      </a:lnTo>
                      <a:lnTo>
                        <a:pt x="53" y="290"/>
                      </a:lnTo>
                      <a:lnTo>
                        <a:pt x="59" y="289"/>
                      </a:lnTo>
                      <a:lnTo>
                        <a:pt x="67" y="286"/>
                      </a:lnTo>
                      <a:lnTo>
                        <a:pt x="79" y="283"/>
                      </a:lnTo>
                      <a:lnTo>
                        <a:pt x="89" y="280"/>
                      </a:lnTo>
                      <a:lnTo>
                        <a:pt x="96" y="280"/>
                      </a:lnTo>
                      <a:lnTo>
                        <a:pt x="107" y="285"/>
                      </a:lnTo>
                      <a:lnTo>
                        <a:pt x="112" y="280"/>
                      </a:lnTo>
                      <a:lnTo>
                        <a:pt x="113" y="280"/>
                      </a:lnTo>
                      <a:lnTo>
                        <a:pt x="119" y="290"/>
                      </a:lnTo>
                      <a:lnTo>
                        <a:pt x="124" y="291"/>
                      </a:lnTo>
                      <a:lnTo>
                        <a:pt x="125" y="296"/>
                      </a:lnTo>
                      <a:lnTo>
                        <a:pt x="130" y="306"/>
                      </a:lnTo>
                      <a:lnTo>
                        <a:pt x="133" y="307"/>
                      </a:lnTo>
                      <a:lnTo>
                        <a:pt x="139" y="307"/>
                      </a:lnTo>
                      <a:lnTo>
                        <a:pt x="141" y="305"/>
                      </a:lnTo>
                      <a:lnTo>
                        <a:pt x="138" y="298"/>
                      </a:lnTo>
                      <a:lnTo>
                        <a:pt x="138" y="292"/>
                      </a:lnTo>
                      <a:lnTo>
                        <a:pt x="138" y="281"/>
                      </a:lnTo>
                      <a:lnTo>
                        <a:pt x="135" y="273"/>
                      </a:lnTo>
                      <a:lnTo>
                        <a:pt x="137" y="260"/>
                      </a:lnTo>
                      <a:lnTo>
                        <a:pt x="133" y="259"/>
                      </a:lnTo>
                      <a:lnTo>
                        <a:pt x="133" y="251"/>
                      </a:lnTo>
                      <a:lnTo>
                        <a:pt x="130" y="248"/>
                      </a:lnTo>
                      <a:lnTo>
                        <a:pt x="127" y="240"/>
                      </a:lnTo>
                      <a:lnTo>
                        <a:pt x="128" y="232"/>
                      </a:lnTo>
                      <a:lnTo>
                        <a:pt x="132" y="224"/>
                      </a:lnTo>
                      <a:lnTo>
                        <a:pt x="149" y="221"/>
                      </a:lnTo>
                      <a:lnTo>
                        <a:pt x="160" y="221"/>
                      </a:lnTo>
                      <a:lnTo>
                        <a:pt x="171" y="224"/>
                      </a:lnTo>
                      <a:lnTo>
                        <a:pt x="199" y="222"/>
                      </a:lnTo>
                      <a:lnTo>
                        <a:pt x="225" y="227"/>
                      </a:lnTo>
                      <a:lnTo>
                        <a:pt x="242" y="228"/>
                      </a:lnTo>
                      <a:lnTo>
                        <a:pt x="246" y="227"/>
                      </a:lnTo>
                      <a:lnTo>
                        <a:pt x="258" y="219"/>
                      </a:lnTo>
                      <a:lnTo>
                        <a:pt x="275" y="216"/>
                      </a:lnTo>
                      <a:lnTo>
                        <a:pt x="275" y="217"/>
                      </a:lnTo>
                      <a:lnTo>
                        <a:pt x="310" y="222"/>
                      </a:lnTo>
                      <a:lnTo>
                        <a:pt x="313" y="227"/>
                      </a:lnTo>
                      <a:lnTo>
                        <a:pt x="317" y="227"/>
                      </a:lnTo>
                      <a:lnTo>
                        <a:pt x="320" y="225"/>
                      </a:lnTo>
                      <a:lnTo>
                        <a:pt x="334" y="225"/>
                      </a:lnTo>
                      <a:lnTo>
                        <a:pt x="336" y="224"/>
                      </a:lnTo>
                      <a:lnTo>
                        <a:pt x="339" y="220"/>
                      </a:lnTo>
                      <a:lnTo>
                        <a:pt x="343" y="220"/>
                      </a:lnTo>
                      <a:lnTo>
                        <a:pt x="344" y="214"/>
                      </a:lnTo>
                      <a:lnTo>
                        <a:pt x="347" y="211"/>
                      </a:lnTo>
                      <a:lnTo>
                        <a:pt x="348" y="210"/>
                      </a:lnTo>
                      <a:lnTo>
                        <a:pt x="350" y="208"/>
                      </a:lnTo>
                      <a:lnTo>
                        <a:pt x="354" y="209"/>
                      </a:lnTo>
                      <a:lnTo>
                        <a:pt x="361" y="197"/>
                      </a:lnTo>
                      <a:lnTo>
                        <a:pt x="364" y="195"/>
                      </a:lnTo>
                      <a:lnTo>
                        <a:pt x="370" y="195"/>
                      </a:lnTo>
                      <a:lnTo>
                        <a:pt x="379" y="199"/>
                      </a:lnTo>
                      <a:lnTo>
                        <a:pt x="387" y="197"/>
                      </a:lnTo>
                      <a:lnTo>
                        <a:pt x="393" y="199"/>
                      </a:lnTo>
                      <a:lnTo>
                        <a:pt x="398" y="197"/>
                      </a:lnTo>
                      <a:lnTo>
                        <a:pt x="410" y="185"/>
                      </a:lnTo>
                      <a:lnTo>
                        <a:pt x="412" y="182"/>
                      </a:lnTo>
                      <a:lnTo>
                        <a:pt x="412" y="181"/>
                      </a:lnTo>
                      <a:lnTo>
                        <a:pt x="415" y="177"/>
                      </a:lnTo>
                      <a:lnTo>
                        <a:pt x="417" y="172"/>
                      </a:lnTo>
                      <a:lnTo>
                        <a:pt x="417" y="170"/>
                      </a:lnTo>
                      <a:lnTo>
                        <a:pt x="417" y="171"/>
                      </a:lnTo>
                      <a:lnTo>
                        <a:pt x="406" y="161"/>
                      </a:lnTo>
                      <a:lnTo>
                        <a:pt x="399" y="154"/>
                      </a:lnTo>
                      <a:lnTo>
                        <a:pt x="398" y="150"/>
                      </a:lnTo>
                      <a:lnTo>
                        <a:pt x="399" y="146"/>
                      </a:lnTo>
                      <a:lnTo>
                        <a:pt x="403" y="145"/>
                      </a:lnTo>
                      <a:lnTo>
                        <a:pt x="408" y="145"/>
                      </a:lnTo>
                      <a:lnTo>
                        <a:pt x="409" y="142"/>
                      </a:lnTo>
                      <a:lnTo>
                        <a:pt x="408" y="140"/>
                      </a:lnTo>
                      <a:lnTo>
                        <a:pt x="402" y="130"/>
                      </a:lnTo>
                      <a:lnTo>
                        <a:pt x="396" y="127"/>
                      </a:lnTo>
                      <a:lnTo>
                        <a:pt x="392" y="128"/>
                      </a:lnTo>
                      <a:lnTo>
                        <a:pt x="387" y="133"/>
                      </a:lnTo>
                      <a:lnTo>
                        <a:pt x="382" y="134"/>
                      </a:lnTo>
                      <a:lnTo>
                        <a:pt x="379" y="134"/>
                      </a:lnTo>
                      <a:lnTo>
                        <a:pt x="368" y="131"/>
                      </a:lnTo>
                      <a:lnTo>
                        <a:pt x="360" y="127"/>
                      </a:lnTo>
                      <a:lnTo>
                        <a:pt x="349" y="114"/>
                      </a:lnTo>
                      <a:lnTo>
                        <a:pt x="345" y="108"/>
                      </a:lnTo>
                      <a:lnTo>
                        <a:pt x="339" y="93"/>
                      </a:lnTo>
                      <a:lnTo>
                        <a:pt x="334" y="84"/>
                      </a:lnTo>
                      <a:lnTo>
                        <a:pt x="317" y="70"/>
                      </a:lnTo>
                      <a:lnTo>
                        <a:pt x="305" y="55"/>
                      </a:lnTo>
                      <a:lnTo>
                        <a:pt x="301" y="48"/>
                      </a:lnTo>
                      <a:lnTo>
                        <a:pt x="302" y="39"/>
                      </a:lnTo>
                      <a:lnTo>
                        <a:pt x="301" y="37"/>
                      </a:lnTo>
                      <a:lnTo>
                        <a:pt x="291" y="28"/>
                      </a:lnTo>
                      <a:lnTo>
                        <a:pt x="290" y="26"/>
                      </a:lnTo>
                      <a:lnTo>
                        <a:pt x="293" y="16"/>
                      </a:lnTo>
                      <a:lnTo>
                        <a:pt x="294" y="5"/>
                      </a:lnTo>
                      <a:lnTo>
                        <a:pt x="295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22" name="Freeform 121"/>
                <p:cNvSpPr>
                  <a:spLocks noChangeAspect="1"/>
                </p:cNvSpPr>
                <p:nvPr/>
              </p:nvSpPr>
              <p:spPr bwMode="gray">
                <a:xfrm>
                  <a:off x="4906168" y="3469034"/>
                  <a:ext cx="133350" cy="195263"/>
                </a:xfrm>
                <a:custGeom>
                  <a:avLst/>
                  <a:gdLst/>
                  <a:ahLst/>
                  <a:cxnLst>
                    <a:cxn ang="0">
                      <a:pos x="220" y="581"/>
                    </a:cxn>
                    <a:cxn ang="0">
                      <a:pos x="170" y="579"/>
                    </a:cxn>
                    <a:cxn ang="0">
                      <a:pos x="74" y="585"/>
                    </a:cxn>
                    <a:cxn ang="0">
                      <a:pos x="79" y="536"/>
                    </a:cxn>
                    <a:cxn ang="0">
                      <a:pos x="75" y="520"/>
                    </a:cxn>
                    <a:cxn ang="0">
                      <a:pos x="63" y="502"/>
                    </a:cxn>
                    <a:cxn ang="0">
                      <a:pos x="68" y="494"/>
                    </a:cxn>
                    <a:cxn ang="0">
                      <a:pos x="58" y="484"/>
                    </a:cxn>
                    <a:cxn ang="0">
                      <a:pos x="32" y="480"/>
                    </a:cxn>
                    <a:cxn ang="0">
                      <a:pos x="11" y="456"/>
                    </a:cxn>
                    <a:cxn ang="0">
                      <a:pos x="3" y="448"/>
                    </a:cxn>
                    <a:cxn ang="0">
                      <a:pos x="7" y="432"/>
                    </a:cxn>
                    <a:cxn ang="0">
                      <a:pos x="19" y="400"/>
                    </a:cxn>
                    <a:cxn ang="0">
                      <a:pos x="39" y="358"/>
                    </a:cxn>
                    <a:cxn ang="0">
                      <a:pos x="62" y="328"/>
                    </a:cxn>
                    <a:cxn ang="0">
                      <a:pos x="101" y="323"/>
                    </a:cxn>
                    <a:cxn ang="0">
                      <a:pos x="130" y="339"/>
                    </a:cxn>
                    <a:cxn ang="0">
                      <a:pos x="143" y="350"/>
                    </a:cxn>
                    <a:cxn ang="0">
                      <a:pos x="168" y="342"/>
                    </a:cxn>
                    <a:cxn ang="0">
                      <a:pos x="198" y="280"/>
                    </a:cxn>
                    <a:cxn ang="0">
                      <a:pos x="210" y="241"/>
                    </a:cxn>
                    <a:cxn ang="0">
                      <a:pos x="238" y="217"/>
                    </a:cxn>
                    <a:cxn ang="0">
                      <a:pos x="249" y="171"/>
                    </a:cxn>
                    <a:cxn ang="0">
                      <a:pos x="263" y="131"/>
                    </a:cxn>
                    <a:cxn ang="0">
                      <a:pos x="279" y="95"/>
                    </a:cxn>
                    <a:cxn ang="0">
                      <a:pos x="307" y="77"/>
                    </a:cxn>
                    <a:cxn ang="0">
                      <a:pos x="327" y="48"/>
                    </a:cxn>
                    <a:cxn ang="0">
                      <a:pos x="323" y="23"/>
                    </a:cxn>
                    <a:cxn ang="0">
                      <a:pos x="310" y="15"/>
                    </a:cxn>
                    <a:cxn ang="0">
                      <a:pos x="332" y="0"/>
                    </a:cxn>
                    <a:cxn ang="0">
                      <a:pos x="340" y="4"/>
                    </a:cxn>
                    <a:cxn ang="0">
                      <a:pos x="355" y="48"/>
                    </a:cxn>
                    <a:cxn ang="0">
                      <a:pos x="349" y="90"/>
                    </a:cxn>
                    <a:cxn ang="0">
                      <a:pos x="374" y="140"/>
                    </a:cxn>
                    <a:cxn ang="0">
                      <a:pos x="376" y="157"/>
                    </a:cxn>
                    <a:cxn ang="0">
                      <a:pos x="337" y="154"/>
                    </a:cxn>
                    <a:cxn ang="0">
                      <a:pos x="315" y="159"/>
                    </a:cxn>
                    <a:cxn ang="0">
                      <a:pos x="311" y="192"/>
                    </a:cxn>
                    <a:cxn ang="0">
                      <a:pos x="338" y="215"/>
                    </a:cxn>
                    <a:cxn ang="0">
                      <a:pos x="360" y="230"/>
                    </a:cxn>
                    <a:cxn ang="0">
                      <a:pos x="376" y="292"/>
                    </a:cxn>
                    <a:cxn ang="0">
                      <a:pos x="370" y="323"/>
                    </a:cxn>
                    <a:cxn ang="0">
                      <a:pos x="343" y="369"/>
                    </a:cxn>
                    <a:cxn ang="0">
                      <a:pos x="335" y="407"/>
                    </a:cxn>
                    <a:cxn ang="0">
                      <a:pos x="345" y="458"/>
                    </a:cxn>
                    <a:cxn ang="0">
                      <a:pos x="390" y="528"/>
                    </a:cxn>
                    <a:cxn ang="0">
                      <a:pos x="418" y="559"/>
                    </a:cxn>
                    <a:cxn ang="0">
                      <a:pos x="413" y="615"/>
                    </a:cxn>
                    <a:cxn ang="0">
                      <a:pos x="366" y="592"/>
                    </a:cxn>
                    <a:cxn ang="0">
                      <a:pos x="264" y="585"/>
                    </a:cxn>
                  </a:cxnLst>
                  <a:rect l="0" t="0" r="r" b="b"/>
                  <a:pathLst>
                    <a:path w="420" h="615">
                      <a:moveTo>
                        <a:pt x="264" y="585"/>
                      </a:moveTo>
                      <a:lnTo>
                        <a:pt x="256" y="582"/>
                      </a:lnTo>
                      <a:lnTo>
                        <a:pt x="220" y="581"/>
                      </a:lnTo>
                      <a:lnTo>
                        <a:pt x="204" y="577"/>
                      </a:lnTo>
                      <a:lnTo>
                        <a:pt x="184" y="581"/>
                      </a:lnTo>
                      <a:lnTo>
                        <a:pt x="170" y="579"/>
                      </a:lnTo>
                      <a:lnTo>
                        <a:pt x="156" y="582"/>
                      </a:lnTo>
                      <a:lnTo>
                        <a:pt x="116" y="582"/>
                      </a:lnTo>
                      <a:lnTo>
                        <a:pt x="74" y="585"/>
                      </a:lnTo>
                      <a:lnTo>
                        <a:pt x="70" y="586"/>
                      </a:lnTo>
                      <a:lnTo>
                        <a:pt x="74" y="552"/>
                      </a:lnTo>
                      <a:lnTo>
                        <a:pt x="79" y="536"/>
                      </a:lnTo>
                      <a:lnTo>
                        <a:pt x="79" y="529"/>
                      </a:lnTo>
                      <a:lnTo>
                        <a:pt x="81" y="527"/>
                      </a:lnTo>
                      <a:lnTo>
                        <a:pt x="75" y="520"/>
                      </a:lnTo>
                      <a:lnTo>
                        <a:pt x="69" y="513"/>
                      </a:lnTo>
                      <a:lnTo>
                        <a:pt x="66" y="509"/>
                      </a:lnTo>
                      <a:lnTo>
                        <a:pt x="63" y="502"/>
                      </a:lnTo>
                      <a:lnTo>
                        <a:pt x="63" y="500"/>
                      </a:lnTo>
                      <a:lnTo>
                        <a:pt x="66" y="499"/>
                      </a:lnTo>
                      <a:lnTo>
                        <a:pt x="68" y="494"/>
                      </a:lnTo>
                      <a:lnTo>
                        <a:pt x="68" y="485"/>
                      </a:lnTo>
                      <a:lnTo>
                        <a:pt x="64" y="483"/>
                      </a:lnTo>
                      <a:lnTo>
                        <a:pt x="58" y="484"/>
                      </a:lnTo>
                      <a:lnTo>
                        <a:pt x="57" y="488"/>
                      </a:lnTo>
                      <a:lnTo>
                        <a:pt x="52" y="489"/>
                      </a:lnTo>
                      <a:lnTo>
                        <a:pt x="32" y="480"/>
                      </a:lnTo>
                      <a:lnTo>
                        <a:pt x="27" y="471"/>
                      </a:lnTo>
                      <a:lnTo>
                        <a:pt x="21" y="456"/>
                      </a:lnTo>
                      <a:lnTo>
                        <a:pt x="11" y="456"/>
                      </a:lnTo>
                      <a:lnTo>
                        <a:pt x="6" y="458"/>
                      </a:lnTo>
                      <a:lnTo>
                        <a:pt x="1" y="455"/>
                      </a:lnTo>
                      <a:lnTo>
                        <a:pt x="3" y="448"/>
                      </a:lnTo>
                      <a:lnTo>
                        <a:pt x="0" y="446"/>
                      </a:lnTo>
                      <a:lnTo>
                        <a:pt x="0" y="439"/>
                      </a:lnTo>
                      <a:lnTo>
                        <a:pt x="7" y="432"/>
                      </a:lnTo>
                      <a:lnTo>
                        <a:pt x="14" y="423"/>
                      </a:lnTo>
                      <a:lnTo>
                        <a:pt x="17" y="414"/>
                      </a:lnTo>
                      <a:lnTo>
                        <a:pt x="19" y="400"/>
                      </a:lnTo>
                      <a:lnTo>
                        <a:pt x="22" y="385"/>
                      </a:lnTo>
                      <a:lnTo>
                        <a:pt x="31" y="369"/>
                      </a:lnTo>
                      <a:lnTo>
                        <a:pt x="39" y="358"/>
                      </a:lnTo>
                      <a:lnTo>
                        <a:pt x="47" y="350"/>
                      </a:lnTo>
                      <a:lnTo>
                        <a:pt x="58" y="345"/>
                      </a:lnTo>
                      <a:lnTo>
                        <a:pt x="62" y="328"/>
                      </a:lnTo>
                      <a:lnTo>
                        <a:pt x="64" y="328"/>
                      </a:lnTo>
                      <a:lnTo>
                        <a:pt x="79" y="328"/>
                      </a:lnTo>
                      <a:lnTo>
                        <a:pt x="101" y="323"/>
                      </a:lnTo>
                      <a:lnTo>
                        <a:pt x="116" y="324"/>
                      </a:lnTo>
                      <a:lnTo>
                        <a:pt x="127" y="334"/>
                      </a:lnTo>
                      <a:lnTo>
                        <a:pt x="130" y="339"/>
                      </a:lnTo>
                      <a:lnTo>
                        <a:pt x="130" y="340"/>
                      </a:lnTo>
                      <a:lnTo>
                        <a:pt x="134" y="343"/>
                      </a:lnTo>
                      <a:lnTo>
                        <a:pt x="143" y="350"/>
                      </a:lnTo>
                      <a:lnTo>
                        <a:pt x="156" y="351"/>
                      </a:lnTo>
                      <a:lnTo>
                        <a:pt x="165" y="348"/>
                      </a:lnTo>
                      <a:lnTo>
                        <a:pt x="168" y="342"/>
                      </a:lnTo>
                      <a:lnTo>
                        <a:pt x="170" y="333"/>
                      </a:lnTo>
                      <a:lnTo>
                        <a:pt x="188" y="302"/>
                      </a:lnTo>
                      <a:lnTo>
                        <a:pt x="198" y="280"/>
                      </a:lnTo>
                      <a:lnTo>
                        <a:pt x="200" y="273"/>
                      </a:lnTo>
                      <a:lnTo>
                        <a:pt x="204" y="257"/>
                      </a:lnTo>
                      <a:lnTo>
                        <a:pt x="210" y="241"/>
                      </a:lnTo>
                      <a:lnTo>
                        <a:pt x="221" y="229"/>
                      </a:lnTo>
                      <a:lnTo>
                        <a:pt x="236" y="222"/>
                      </a:lnTo>
                      <a:lnTo>
                        <a:pt x="238" y="217"/>
                      </a:lnTo>
                      <a:lnTo>
                        <a:pt x="240" y="211"/>
                      </a:lnTo>
                      <a:lnTo>
                        <a:pt x="241" y="199"/>
                      </a:lnTo>
                      <a:lnTo>
                        <a:pt x="249" y="171"/>
                      </a:lnTo>
                      <a:lnTo>
                        <a:pt x="251" y="160"/>
                      </a:lnTo>
                      <a:lnTo>
                        <a:pt x="254" y="149"/>
                      </a:lnTo>
                      <a:lnTo>
                        <a:pt x="263" y="131"/>
                      </a:lnTo>
                      <a:lnTo>
                        <a:pt x="270" y="108"/>
                      </a:lnTo>
                      <a:lnTo>
                        <a:pt x="274" y="101"/>
                      </a:lnTo>
                      <a:lnTo>
                        <a:pt x="279" y="95"/>
                      </a:lnTo>
                      <a:lnTo>
                        <a:pt x="288" y="85"/>
                      </a:lnTo>
                      <a:lnTo>
                        <a:pt x="291" y="84"/>
                      </a:lnTo>
                      <a:lnTo>
                        <a:pt x="307" y="77"/>
                      </a:lnTo>
                      <a:lnTo>
                        <a:pt x="310" y="74"/>
                      </a:lnTo>
                      <a:lnTo>
                        <a:pt x="329" y="61"/>
                      </a:lnTo>
                      <a:lnTo>
                        <a:pt x="327" y="48"/>
                      </a:lnTo>
                      <a:lnTo>
                        <a:pt x="328" y="31"/>
                      </a:lnTo>
                      <a:lnTo>
                        <a:pt x="326" y="26"/>
                      </a:lnTo>
                      <a:lnTo>
                        <a:pt x="323" y="23"/>
                      </a:lnTo>
                      <a:lnTo>
                        <a:pt x="322" y="22"/>
                      </a:lnTo>
                      <a:lnTo>
                        <a:pt x="311" y="18"/>
                      </a:lnTo>
                      <a:lnTo>
                        <a:pt x="310" y="15"/>
                      </a:lnTo>
                      <a:lnTo>
                        <a:pt x="315" y="15"/>
                      </a:lnTo>
                      <a:lnTo>
                        <a:pt x="323" y="3"/>
                      </a:lnTo>
                      <a:lnTo>
                        <a:pt x="332" y="0"/>
                      </a:lnTo>
                      <a:lnTo>
                        <a:pt x="338" y="0"/>
                      </a:lnTo>
                      <a:lnTo>
                        <a:pt x="340" y="1"/>
                      </a:lnTo>
                      <a:lnTo>
                        <a:pt x="340" y="4"/>
                      </a:lnTo>
                      <a:lnTo>
                        <a:pt x="347" y="32"/>
                      </a:lnTo>
                      <a:lnTo>
                        <a:pt x="353" y="41"/>
                      </a:lnTo>
                      <a:lnTo>
                        <a:pt x="355" y="48"/>
                      </a:lnTo>
                      <a:lnTo>
                        <a:pt x="354" y="68"/>
                      </a:lnTo>
                      <a:lnTo>
                        <a:pt x="353" y="79"/>
                      </a:lnTo>
                      <a:lnTo>
                        <a:pt x="349" y="90"/>
                      </a:lnTo>
                      <a:lnTo>
                        <a:pt x="349" y="98"/>
                      </a:lnTo>
                      <a:lnTo>
                        <a:pt x="359" y="119"/>
                      </a:lnTo>
                      <a:lnTo>
                        <a:pt x="374" y="140"/>
                      </a:lnTo>
                      <a:lnTo>
                        <a:pt x="376" y="146"/>
                      </a:lnTo>
                      <a:lnTo>
                        <a:pt x="377" y="155"/>
                      </a:lnTo>
                      <a:lnTo>
                        <a:pt x="376" y="157"/>
                      </a:lnTo>
                      <a:lnTo>
                        <a:pt x="372" y="160"/>
                      </a:lnTo>
                      <a:lnTo>
                        <a:pt x="353" y="156"/>
                      </a:lnTo>
                      <a:lnTo>
                        <a:pt x="337" y="154"/>
                      </a:lnTo>
                      <a:lnTo>
                        <a:pt x="322" y="155"/>
                      </a:lnTo>
                      <a:lnTo>
                        <a:pt x="318" y="156"/>
                      </a:lnTo>
                      <a:lnTo>
                        <a:pt x="315" y="159"/>
                      </a:lnTo>
                      <a:lnTo>
                        <a:pt x="310" y="165"/>
                      </a:lnTo>
                      <a:lnTo>
                        <a:pt x="310" y="179"/>
                      </a:lnTo>
                      <a:lnTo>
                        <a:pt x="311" y="192"/>
                      </a:lnTo>
                      <a:lnTo>
                        <a:pt x="322" y="205"/>
                      </a:lnTo>
                      <a:lnTo>
                        <a:pt x="329" y="211"/>
                      </a:lnTo>
                      <a:lnTo>
                        <a:pt x="338" y="215"/>
                      </a:lnTo>
                      <a:lnTo>
                        <a:pt x="350" y="217"/>
                      </a:lnTo>
                      <a:lnTo>
                        <a:pt x="354" y="220"/>
                      </a:lnTo>
                      <a:lnTo>
                        <a:pt x="360" y="230"/>
                      </a:lnTo>
                      <a:lnTo>
                        <a:pt x="370" y="257"/>
                      </a:lnTo>
                      <a:lnTo>
                        <a:pt x="375" y="275"/>
                      </a:lnTo>
                      <a:lnTo>
                        <a:pt x="376" y="292"/>
                      </a:lnTo>
                      <a:lnTo>
                        <a:pt x="377" y="295"/>
                      </a:lnTo>
                      <a:lnTo>
                        <a:pt x="380" y="297"/>
                      </a:lnTo>
                      <a:lnTo>
                        <a:pt x="370" y="323"/>
                      </a:lnTo>
                      <a:lnTo>
                        <a:pt x="360" y="338"/>
                      </a:lnTo>
                      <a:lnTo>
                        <a:pt x="353" y="354"/>
                      </a:lnTo>
                      <a:lnTo>
                        <a:pt x="343" y="369"/>
                      </a:lnTo>
                      <a:lnTo>
                        <a:pt x="332" y="380"/>
                      </a:lnTo>
                      <a:lnTo>
                        <a:pt x="332" y="393"/>
                      </a:lnTo>
                      <a:lnTo>
                        <a:pt x="335" y="407"/>
                      </a:lnTo>
                      <a:lnTo>
                        <a:pt x="334" y="424"/>
                      </a:lnTo>
                      <a:lnTo>
                        <a:pt x="335" y="440"/>
                      </a:lnTo>
                      <a:lnTo>
                        <a:pt x="345" y="458"/>
                      </a:lnTo>
                      <a:lnTo>
                        <a:pt x="354" y="469"/>
                      </a:lnTo>
                      <a:lnTo>
                        <a:pt x="378" y="516"/>
                      </a:lnTo>
                      <a:lnTo>
                        <a:pt x="390" y="528"/>
                      </a:lnTo>
                      <a:lnTo>
                        <a:pt x="413" y="548"/>
                      </a:lnTo>
                      <a:lnTo>
                        <a:pt x="420" y="548"/>
                      </a:lnTo>
                      <a:lnTo>
                        <a:pt x="418" y="559"/>
                      </a:lnTo>
                      <a:lnTo>
                        <a:pt x="420" y="602"/>
                      </a:lnTo>
                      <a:lnTo>
                        <a:pt x="418" y="612"/>
                      </a:lnTo>
                      <a:lnTo>
                        <a:pt x="413" y="615"/>
                      </a:lnTo>
                      <a:lnTo>
                        <a:pt x="390" y="597"/>
                      </a:lnTo>
                      <a:lnTo>
                        <a:pt x="380" y="597"/>
                      </a:lnTo>
                      <a:lnTo>
                        <a:pt x="366" y="592"/>
                      </a:lnTo>
                      <a:lnTo>
                        <a:pt x="351" y="591"/>
                      </a:lnTo>
                      <a:lnTo>
                        <a:pt x="340" y="585"/>
                      </a:lnTo>
                      <a:lnTo>
                        <a:pt x="264" y="585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23" name="Freeform 122"/>
                <p:cNvSpPr>
                  <a:spLocks noChangeAspect="1"/>
                </p:cNvSpPr>
                <p:nvPr/>
              </p:nvSpPr>
              <p:spPr bwMode="gray">
                <a:xfrm>
                  <a:off x="4772818" y="3475384"/>
                  <a:ext cx="52388" cy="107950"/>
                </a:xfrm>
                <a:custGeom>
                  <a:avLst/>
                  <a:gdLst/>
                  <a:ahLst/>
                  <a:cxnLst>
                    <a:cxn ang="0">
                      <a:pos x="147" y="30"/>
                    </a:cxn>
                    <a:cxn ang="0">
                      <a:pos x="128" y="12"/>
                    </a:cxn>
                    <a:cxn ang="0">
                      <a:pos x="114" y="0"/>
                    </a:cxn>
                    <a:cxn ang="0">
                      <a:pos x="101" y="5"/>
                    </a:cxn>
                    <a:cxn ang="0">
                      <a:pos x="90" y="12"/>
                    </a:cxn>
                    <a:cxn ang="0">
                      <a:pos x="90" y="25"/>
                    </a:cxn>
                    <a:cxn ang="0">
                      <a:pos x="90" y="26"/>
                    </a:cxn>
                    <a:cxn ang="0">
                      <a:pos x="85" y="35"/>
                    </a:cxn>
                    <a:cxn ang="0">
                      <a:pos x="83" y="39"/>
                    </a:cxn>
                    <a:cxn ang="0">
                      <a:pos x="66" y="53"/>
                    </a:cxn>
                    <a:cxn ang="0">
                      <a:pos x="52" y="53"/>
                    </a:cxn>
                    <a:cxn ang="0">
                      <a:pos x="37" y="49"/>
                    </a:cxn>
                    <a:cxn ang="0">
                      <a:pos x="27" y="63"/>
                    </a:cxn>
                    <a:cxn ang="0">
                      <a:pos x="21" y="64"/>
                    </a:cxn>
                    <a:cxn ang="0">
                      <a:pos x="17" y="68"/>
                    </a:cxn>
                    <a:cxn ang="0">
                      <a:pos x="12" y="74"/>
                    </a:cxn>
                    <a:cxn ang="0">
                      <a:pos x="6" y="80"/>
                    </a:cxn>
                    <a:cxn ang="0">
                      <a:pos x="1" y="95"/>
                    </a:cxn>
                    <a:cxn ang="0">
                      <a:pos x="0" y="113"/>
                    </a:cxn>
                    <a:cxn ang="0">
                      <a:pos x="11" y="121"/>
                    </a:cxn>
                    <a:cxn ang="0">
                      <a:pos x="20" y="124"/>
                    </a:cxn>
                    <a:cxn ang="0">
                      <a:pos x="41" y="159"/>
                    </a:cxn>
                    <a:cxn ang="0">
                      <a:pos x="50" y="189"/>
                    </a:cxn>
                    <a:cxn ang="0">
                      <a:pos x="54" y="204"/>
                    </a:cxn>
                    <a:cxn ang="0">
                      <a:pos x="58" y="234"/>
                    </a:cxn>
                    <a:cxn ang="0">
                      <a:pos x="54" y="308"/>
                    </a:cxn>
                    <a:cxn ang="0">
                      <a:pos x="58" y="331"/>
                    </a:cxn>
                    <a:cxn ang="0">
                      <a:pos x="61" y="339"/>
                    </a:cxn>
                    <a:cxn ang="0">
                      <a:pos x="112" y="337"/>
                    </a:cxn>
                    <a:cxn ang="0">
                      <a:pos x="107" y="295"/>
                    </a:cxn>
                    <a:cxn ang="0">
                      <a:pos x="113" y="265"/>
                    </a:cxn>
                    <a:cxn ang="0">
                      <a:pos x="113" y="215"/>
                    </a:cxn>
                    <a:cxn ang="0">
                      <a:pos x="129" y="183"/>
                    </a:cxn>
                    <a:cxn ang="0">
                      <a:pos x="133" y="159"/>
                    </a:cxn>
                    <a:cxn ang="0">
                      <a:pos x="156" y="138"/>
                    </a:cxn>
                    <a:cxn ang="0">
                      <a:pos x="160" y="129"/>
                    </a:cxn>
                    <a:cxn ang="0">
                      <a:pos x="160" y="124"/>
                    </a:cxn>
                    <a:cxn ang="0">
                      <a:pos x="155" y="117"/>
                    </a:cxn>
                    <a:cxn ang="0">
                      <a:pos x="160" y="109"/>
                    </a:cxn>
                    <a:cxn ang="0">
                      <a:pos x="166" y="107"/>
                    </a:cxn>
                    <a:cxn ang="0">
                      <a:pos x="162" y="74"/>
                    </a:cxn>
                    <a:cxn ang="0">
                      <a:pos x="151" y="59"/>
                    </a:cxn>
                    <a:cxn ang="0">
                      <a:pos x="151" y="43"/>
                    </a:cxn>
                  </a:cxnLst>
                  <a:rect l="0" t="0" r="r" b="b"/>
                  <a:pathLst>
                    <a:path w="166" h="340">
                      <a:moveTo>
                        <a:pt x="156" y="37"/>
                      </a:moveTo>
                      <a:lnTo>
                        <a:pt x="147" y="30"/>
                      </a:lnTo>
                      <a:lnTo>
                        <a:pt x="140" y="25"/>
                      </a:lnTo>
                      <a:lnTo>
                        <a:pt x="128" y="12"/>
                      </a:lnTo>
                      <a:lnTo>
                        <a:pt x="117" y="1"/>
                      </a:lnTo>
                      <a:lnTo>
                        <a:pt x="114" y="0"/>
                      </a:lnTo>
                      <a:lnTo>
                        <a:pt x="106" y="4"/>
                      </a:lnTo>
                      <a:lnTo>
                        <a:pt x="101" y="5"/>
                      </a:lnTo>
                      <a:lnTo>
                        <a:pt x="90" y="8"/>
                      </a:lnTo>
                      <a:lnTo>
                        <a:pt x="90" y="12"/>
                      </a:lnTo>
                      <a:lnTo>
                        <a:pt x="97" y="21"/>
                      </a:lnTo>
                      <a:lnTo>
                        <a:pt x="90" y="25"/>
                      </a:lnTo>
                      <a:lnTo>
                        <a:pt x="90" y="24"/>
                      </a:lnTo>
                      <a:lnTo>
                        <a:pt x="90" y="26"/>
                      </a:lnTo>
                      <a:lnTo>
                        <a:pt x="88" y="31"/>
                      </a:lnTo>
                      <a:lnTo>
                        <a:pt x="85" y="35"/>
                      </a:lnTo>
                      <a:lnTo>
                        <a:pt x="85" y="36"/>
                      </a:lnTo>
                      <a:lnTo>
                        <a:pt x="83" y="39"/>
                      </a:lnTo>
                      <a:lnTo>
                        <a:pt x="71" y="51"/>
                      </a:lnTo>
                      <a:lnTo>
                        <a:pt x="66" y="53"/>
                      </a:lnTo>
                      <a:lnTo>
                        <a:pt x="60" y="51"/>
                      </a:lnTo>
                      <a:lnTo>
                        <a:pt x="52" y="53"/>
                      </a:lnTo>
                      <a:lnTo>
                        <a:pt x="43" y="49"/>
                      </a:lnTo>
                      <a:lnTo>
                        <a:pt x="37" y="49"/>
                      </a:lnTo>
                      <a:lnTo>
                        <a:pt x="34" y="51"/>
                      </a:lnTo>
                      <a:lnTo>
                        <a:pt x="27" y="63"/>
                      </a:lnTo>
                      <a:lnTo>
                        <a:pt x="23" y="62"/>
                      </a:lnTo>
                      <a:lnTo>
                        <a:pt x="21" y="64"/>
                      </a:lnTo>
                      <a:lnTo>
                        <a:pt x="20" y="65"/>
                      </a:lnTo>
                      <a:lnTo>
                        <a:pt x="17" y="68"/>
                      </a:lnTo>
                      <a:lnTo>
                        <a:pt x="16" y="74"/>
                      </a:lnTo>
                      <a:lnTo>
                        <a:pt x="12" y="74"/>
                      </a:lnTo>
                      <a:lnTo>
                        <a:pt x="9" y="78"/>
                      </a:lnTo>
                      <a:lnTo>
                        <a:pt x="6" y="80"/>
                      </a:lnTo>
                      <a:lnTo>
                        <a:pt x="5" y="87"/>
                      </a:lnTo>
                      <a:lnTo>
                        <a:pt x="1" y="95"/>
                      </a:lnTo>
                      <a:lnTo>
                        <a:pt x="0" y="105"/>
                      </a:lnTo>
                      <a:lnTo>
                        <a:pt x="0" y="113"/>
                      </a:lnTo>
                      <a:lnTo>
                        <a:pt x="5" y="117"/>
                      </a:lnTo>
                      <a:lnTo>
                        <a:pt x="11" y="121"/>
                      </a:lnTo>
                      <a:lnTo>
                        <a:pt x="15" y="121"/>
                      </a:lnTo>
                      <a:lnTo>
                        <a:pt x="20" y="124"/>
                      </a:lnTo>
                      <a:lnTo>
                        <a:pt x="32" y="139"/>
                      </a:lnTo>
                      <a:lnTo>
                        <a:pt x="41" y="159"/>
                      </a:lnTo>
                      <a:lnTo>
                        <a:pt x="47" y="180"/>
                      </a:lnTo>
                      <a:lnTo>
                        <a:pt x="50" y="189"/>
                      </a:lnTo>
                      <a:lnTo>
                        <a:pt x="52" y="195"/>
                      </a:lnTo>
                      <a:lnTo>
                        <a:pt x="54" y="204"/>
                      </a:lnTo>
                      <a:lnTo>
                        <a:pt x="56" y="215"/>
                      </a:lnTo>
                      <a:lnTo>
                        <a:pt x="58" y="234"/>
                      </a:lnTo>
                      <a:lnTo>
                        <a:pt x="58" y="285"/>
                      </a:lnTo>
                      <a:lnTo>
                        <a:pt x="54" y="308"/>
                      </a:lnTo>
                      <a:lnTo>
                        <a:pt x="54" y="318"/>
                      </a:lnTo>
                      <a:lnTo>
                        <a:pt x="58" y="331"/>
                      </a:lnTo>
                      <a:lnTo>
                        <a:pt x="60" y="338"/>
                      </a:lnTo>
                      <a:lnTo>
                        <a:pt x="61" y="339"/>
                      </a:lnTo>
                      <a:lnTo>
                        <a:pt x="68" y="340"/>
                      </a:lnTo>
                      <a:lnTo>
                        <a:pt x="112" y="337"/>
                      </a:lnTo>
                      <a:lnTo>
                        <a:pt x="109" y="334"/>
                      </a:lnTo>
                      <a:lnTo>
                        <a:pt x="107" y="295"/>
                      </a:lnTo>
                      <a:lnTo>
                        <a:pt x="108" y="286"/>
                      </a:lnTo>
                      <a:lnTo>
                        <a:pt x="113" y="265"/>
                      </a:lnTo>
                      <a:lnTo>
                        <a:pt x="112" y="235"/>
                      </a:lnTo>
                      <a:lnTo>
                        <a:pt x="113" y="215"/>
                      </a:lnTo>
                      <a:lnTo>
                        <a:pt x="117" y="203"/>
                      </a:lnTo>
                      <a:lnTo>
                        <a:pt x="129" y="183"/>
                      </a:lnTo>
                      <a:lnTo>
                        <a:pt x="130" y="168"/>
                      </a:lnTo>
                      <a:lnTo>
                        <a:pt x="133" y="159"/>
                      </a:lnTo>
                      <a:lnTo>
                        <a:pt x="141" y="149"/>
                      </a:lnTo>
                      <a:lnTo>
                        <a:pt x="156" y="138"/>
                      </a:lnTo>
                      <a:lnTo>
                        <a:pt x="156" y="132"/>
                      </a:lnTo>
                      <a:lnTo>
                        <a:pt x="160" y="129"/>
                      </a:lnTo>
                      <a:lnTo>
                        <a:pt x="160" y="128"/>
                      </a:lnTo>
                      <a:lnTo>
                        <a:pt x="160" y="124"/>
                      </a:lnTo>
                      <a:lnTo>
                        <a:pt x="155" y="119"/>
                      </a:lnTo>
                      <a:lnTo>
                        <a:pt x="155" y="117"/>
                      </a:lnTo>
                      <a:lnTo>
                        <a:pt x="157" y="111"/>
                      </a:lnTo>
                      <a:lnTo>
                        <a:pt x="160" y="109"/>
                      </a:lnTo>
                      <a:lnTo>
                        <a:pt x="165" y="109"/>
                      </a:lnTo>
                      <a:lnTo>
                        <a:pt x="166" y="107"/>
                      </a:lnTo>
                      <a:lnTo>
                        <a:pt x="166" y="89"/>
                      </a:lnTo>
                      <a:lnTo>
                        <a:pt x="162" y="74"/>
                      </a:lnTo>
                      <a:lnTo>
                        <a:pt x="161" y="69"/>
                      </a:lnTo>
                      <a:lnTo>
                        <a:pt x="151" y="59"/>
                      </a:lnTo>
                      <a:lnTo>
                        <a:pt x="150" y="54"/>
                      </a:lnTo>
                      <a:lnTo>
                        <a:pt x="151" y="43"/>
                      </a:lnTo>
                      <a:lnTo>
                        <a:pt x="156" y="3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24" name="Freeform 123"/>
                <p:cNvSpPr>
                  <a:spLocks noChangeAspect="1"/>
                </p:cNvSpPr>
                <p:nvPr/>
              </p:nvSpPr>
              <p:spPr bwMode="gray">
                <a:xfrm>
                  <a:off x="4991892" y="3275359"/>
                  <a:ext cx="187325" cy="287338"/>
                </a:xfrm>
                <a:custGeom>
                  <a:avLst/>
                  <a:gdLst/>
                  <a:ahLst/>
                  <a:cxnLst>
                    <a:cxn ang="0">
                      <a:pos x="99" y="122"/>
                    </a:cxn>
                    <a:cxn ang="0">
                      <a:pos x="106" y="143"/>
                    </a:cxn>
                    <a:cxn ang="0">
                      <a:pos x="122" y="160"/>
                    </a:cxn>
                    <a:cxn ang="0">
                      <a:pos x="117" y="276"/>
                    </a:cxn>
                    <a:cxn ang="0">
                      <a:pos x="19" y="479"/>
                    </a:cxn>
                    <a:cxn ang="0">
                      <a:pos x="13" y="502"/>
                    </a:cxn>
                    <a:cxn ang="0">
                      <a:pos x="3" y="520"/>
                    </a:cxn>
                    <a:cxn ang="0">
                      <a:pos x="30" y="534"/>
                    </a:cxn>
                    <a:cxn ang="0">
                      <a:pos x="57" y="568"/>
                    </a:cxn>
                    <a:cxn ang="0">
                      <a:pos x="83" y="571"/>
                    </a:cxn>
                    <a:cxn ang="0">
                      <a:pos x="95" y="587"/>
                    </a:cxn>
                    <a:cxn ang="0">
                      <a:pos x="68" y="608"/>
                    </a:cxn>
                    <a:cxn ang="0">
                      <a:pos x="77" y="640"/>
                    </a:cxn>
                    <a:cxn ang="0">
                      <a:pos x="84" y="676"/>
                    </a:cxn>
                    <a:cxn ang="0">
                      <a:pos x="79" y="706"/>
                    </a:cxn>
                    <a:cxn ang="0">
                      <a:pos x="106" y="754"/>
                    </a:cxn>
                    <a:cxn ang="0">
                      <a:pos x="102" y="768"/>
                    </a:cxn>
                    <a:cxn ang="0">
                      <a:pos x="52" y="763"/>
                    </a:cxn>
                    <a:cxn ang="0">
                      <a:pos x="40" y="773"/>
                    </a:cxn>
                    <a:cxn ang="0">
                      <a:pos x="52" y="813"/>
                    </a:cxn>
                    <a:cxn ang="0">
                      <a:pos x="80" y="825"/>
                    </a:cxn>
                    <a:cxn ang="0">
                      <a:pos x="100" y="865"/>
                    </a:cxn>
                    <a:cxn ang="0">
                      <a:pos x="107" y="903"/>
                    </a:cxn>
                    <a:cxn ang="0">
                      <a:pos x="122" y="902"/>
                    </a:cxn>
                    <a:cxn ang="0">
                      <a:pos x="139" y="903"/>
                    </a:cxn>
                    <a:cxn ang="0">
                      <a:pos x="167" y="892"/>
                    </a:cxn>
                    <a:cxn ang="0">
                      <a:pos x="175" y="882"/>
                    </a:cxn>
                    <a:cxn ang="0">
                      <a:pos x="185" y="889"/>
                    </a:cxn>
                    <a:cxn ang="0">
                      <a:pos x="198" y="897"/>
                    </a:cxn>
                    <a:cxn ang="0">
                      <a:pos x="215" y="888"/>
                    </a:cxn>
                    <a:cxn ang="0">
                      <a:pos x="245" y="875"/>
                    </a:cxn>
                    <a:cxn ang="0">
                      <a:pos x="267" y="871"/>
                    </a:cxn>
                    <a:cxn ang="0">
                      <a:pos x="294" y="864"/>
                    </a:cxn>
                    <a:cxn ang="0">
                      <a:pos x="306" y="857"/>
                    </a:cxn>
                    <a:cxn ang="0">
                      <a:pos x="316" y="841"/>
                    </a:cxn>
                    <a:cxn ang="0">
                      <a:pos x="307" y="827"/>
                    </a:cxn>
                    <a:cxn ang="0">
                      <a:pos x="321" y="818"/>
                    </a:cxn>
                    <a:cxn ang="0">
                      <a:pos x="354" y="814"/>
                    </a:cxn>
                    <a:cxn ang="0">
                      <a:pos x="379" y="811"/>
                    </a:cxn>
                    <a:cxn ang="0">
                      <a:pos x="393" y="807"/>
                    </a:cxn>
                    <a:cxn ang="0">
                      <a:pos x="417" y="792"/>
                    </a:cxn>
                    <a:cxn ang="0">
                      <a:pos x="440" y="763"/>
                    </a:cxn>
                    <a:cxn ang="0">
                      <a:pos x="455" y="749"/>
                    </a:cxn>
                    <a:cxn ang="0">
                      <a:pos x="467" y="720"/>
                    </a:cxn>
                    <a:cxn ang="0">
                      <a:pos x="495" y="711"/>
                    </a:cxn>
                    <a:cxn ang="0">
                      <a:pos x="524" y="701"/>
                    </a:cxn>
                    <a:cxn ang="0">
                      <a:pos x="518" y="679"/>
                    </a:cxn>
                    <a:cxn ang="0">
                      <a:pos x="498" y="640"/>
                    </a:cxn>
                    <a:cxn ang="0">
                      <a:pos x="478" y="612"/>
                    </a:cxn>
                    <a:cxn ang="0">
                      <a:pos x="470" y="597"/>
                    </a:cxn>
                    <a:cxn ang="0">
                      <a:pos x="479" y="572"/>
                    </a:cxn>
                    <a:cxn ang="0">
                      <a:pos x="484" y="544"/>
                    </a:cxn>
                    <a:cxn ang="0">
                      <a:pos x="494" y="533"/>
                    </a:cxn>
                    <a:cxn ang="0">
                      <a:pos x="509" y="494"/>
                    </a:cxn>
                    <a:cxn ang="0">
                      <a:pos x="526" y="455"/>
                    </a:cxn>
                    <a:cxn ang="0">
                      <a:pos x="542" y="443"/>
                    </a:cxn>
                    <a:cxn ang="0">
                      <a:pos x="586" y="441"/>
                    </a:cxn>
                    <a:cxn ang="0">
                      <a:pos x="588" y="283"/>
                    </a:cxn>
                    <a:cxn ang="0">
                      <a:pos x="532" y="202"/>
                    </a:cxn>
                    <a:cxn ang="0">
                      <a:pos x="391" y="129"/>
                    </a:cxn>
                    <a:cxn ang="0">
                      <a:pos x="251" y="54"/>
                    </a:cxn>
                    <a:cxn ang="0">
                      <a:pos x="147" y="0"/>
                    </a:cxn>
                    <a:cxn ang="0">
                      <a:pos x="91" y="106"/>
                    </a:cxn>
                  </a:cxnLst>
                  <a:rect l="0" t="0" r="r" b="b"/>
                  <a:pathLst>
                    <a:path w="588" h="905">
                      <a:moveTo>
                        <a:pt x="91" y="106"/>
                      </a:moveTo>
                      <a:lnTo>
                        <a:pt x="94" y="112"/>
                      </a:lnTo>
                      <a:lnTo>
                        <a:pt x="99" y="122"/>
                      </a:lnTo>
                      <a:lnTo>
                        <a:pt x="99" y="124"/>
                      </a:lnTo>
                      <a:lnTo>
                        <a:pt x="102" y="131"/>
                      </a:lnTo>
                      <a:lnTo>
                        <a:pt x="106" y="143"/>
                      </a:lnTo>
                      <a:lnTo>
                        <a:pt x="110" y="149"/>
                      </a:lnTo>
                      <a:lnTo>
                        <a:pt x="116" y="155"/>
                      </a:lnTo>
                      <a:lnTo>
                        <a:pt x="122" y="160"/>
                      </a:lnTo>
                      <a:lnTo>
                        <a:pt x="145" y="173"/>
                      </a:lnTo>
                      <a:lnTo>
                        <a:pt x="132" y="197"/>
                      </a:lnTo>
                      <a:lnTo>
                        <a:pt x="117" y="276"/>
                      </a:lnTo>
                      <a:lnTo>
                        <a:pt x="111" y="375"/>
                      </a:lnTo>
                      <a:lnTo>
                        <a:pt x="107" y="380"/>
                      </a:lnTo>
                      <a:lnTo>
                        <a:pt x="19" y="479"/>
                      </a:lnTo>
                      <a:lnTo>
                        <a:pt x="19" y="490"/>
                      </a:lnTo>
                      <a:lnTo>
                        <a:pt x="13" y="493"/>
                      </a:lnTo>
                      <a:lnTo>
                        <a:pt x="13" y="502"/>
                      </a:lnTo>
                      <a:lnTo>
                        <a:pt x="5" y="504"/>
                      </a:lnTo>
                      <a:lnTo>
                        <a:pt x="0" y="509"/>
                      </a:lnTo>
                      <a:lnTo>
                        <a:pt x="3" y="520"/>
                      </a:lnTo>
                      <a:lnTo>
                        <a:pt x="19" y="525"/>
                      </a:lnTo>
                      <a:lnTo>
                        <a:pt x="22" y="531"/>
                      </a:lnTo>
                      <a:lnTo>
                        <a:pt x="30" y="534"/>
                      </a:lnTo>
                      <a:lnTo>
                        <a:pt x="36" y="543"/>
                      </a:lnTo>
                      <a:lnTo>
                        <a:pt x="40" y="564"/>
                      </a:lnTo>
                      <a:lnTo>
                        <a:pt x="57" y="568"/>
                      </a:lnTo>
                      <a:lnTo>
                        <a:pt x="69" y="565"/>
                      </a:lnTo>
                      <a:lnTo>
                        <a:pt x="75" y="569"/>
                      </a:lnTo>
                      <a:lnTo>
                        <a:pt x="83" y="571"/>
                      </a:lnTo>
                      <a:lnTo>
                        <a:pt x="90" y="569"/>
                      </a:lnTo>
                      <a:lnTo>
                        <a:pt x="97" y="582"/>
                      </a:lnTo>
                      <a:lnTo>
                        <a:pt x="95" y="587"/>
                      </a:lnTo>
                      <a:lnTo>
                        <a:pt x="94" y="596"/>
                      </a:lnTo>
                      <a:lnTo>
                        <a:pt x="84" y="603"/>
                      </a:lnTo>
                      <a:lnTo>
                        <a:pt x="68" y="608"/>
                      </a:lnTo>
                      <a:lnTo>
                        <a:pt x="70" y="609"/>
                      </a:lnTo>
                      <a:lnTo>
                        <a:pt x="70" y="612"/>
                      </a:lnTo>
                      <a:lnTo>
                        <a:pt x="77" y="640"/>
                      </a:lnTo>
                      <a:lnTo>
                        <a:pt x="83" y="649"/>
                      </a:lnTo>
                      <a:lnTo>
                        <a:pt x="85" y="656"/>
                      </a:lnTo>
                      <a:lnTo>
                        <a:pt x="84" y="676"/>
                      </a:lnTo>
                      <a:lnTo>
                        <a:pt x="83" y="687"/>
                      </a:lnTo>
                      <a:lnTo>
                        <a:pt x="79" y="698"/>
                      </a:lnTo>
                      <a:lnTo>
                        <a:pt x="79" y="706"/>
                      </a:lnTo>
                      <a:lnTo>
                        <a:pt x="89" y="727"/>
                      </a:lnTo>
                      <a:lnTo>
                        <a:pt x="104" y="748"/>
                      </a:lnTo>
                      <a:lnTo>
                        <a:pt x="106" y="754"/>
                      </a:lnTo>
                      <a:lnTo>
                        <a:pt x="107" y="763"/>
                      </a:lnTo>
                      <a:lnTo>
                        <a:pt x="106" y="765"/>
                      </a:lnTo>
                      <a:lnTo>
                        <a:pt x="102" y="768"/>
                      </a:lnTo>
                      <a:lnTo>
                        <a:pt x="83" y="764"/>
                      </a:lnTo>
                      <a:lnTo>
                        <a:pt x="67" y="762"/>
                      </a:lnTo>
                      <a:lnTo>
                        <a:pt x="52" y="763"/>
                      </a:lnTo>
                      <a:lnTo>
                        <a:pt x="48" y="764"/>
                      </a:lnTo>
                      <a:lnTo>
                        <a:pt x="45" y="767"/>
                      </a:lnTo>
                      <a:lnTo>
                        <a:pt x="40" y="773"/>
                      </a:lnTo>
                      <a:lnTo>
                        <a:pt x="40" y="787"/>
                      </a:lnTo>
                      <a:lnTo>
                        <a:pt x="41" y="800"/>
                      </a:lnTo>
                      <a:lnTo>
                        <a:pt x="52" y="813"/>
                      </a:lnTo>
                      <a:lnTo>
                        <a:pt x="59" y="819"/>
                      </a:lnTo>
                      <a:lnTo>
                        <a:pt x="68" y="823"/>
                      </a:lnTo>
                      <a:lnTo>
                        <a:pt x="80" y="825"/>
                      </a:lnTo>
                      <a:lnTo>
                        <a:pt x="84" y="828"/>
                      </a:lnTo>
                      <a:lnTo>
                        <a:pt x="90" y="838"/>
                      </a:lnTo>
                      <a:lnTo>
                        <a:pt x="100" y="865"/>
                      </a:lnTo>
                      <a:lnTo>
                        <a:pt x="105" y="883"/>
                      </a:lnTo>
                      <a:lnTo>
                        <a:pt x="106" y="900"/>
                      </a:lnTo>
                      <a:lnTo>
                        <a:pt x="107" y="903"/>
                      </a:lnTo>
                      <a:lnTo>
                        <a:pt x="110" y="905"/>
                      </a:lnTo>
                      <a:lnTo>
                        <a:pt x="113" y="903"/>
                      </a:lnTo>
                      <a:lnTo>
                        <a:pt x="122" y="902"/>
                      </a:lnTo>
                      <a:lnTo>
                        <a:pt x="128" y="900"/>
                      </a:lnTo>
                      <a:lnTo>
                        <a:pt x="133" y="900"/>
                      </a:lnTo>
                      <a:lnTo>
                        <a:pt x="139" y="903"/>
                      </a:lnTo>
                      <a:lnTo>
                        <a:pt x="144" y="902"/>
                      </a:lnTo>
                      <a:lnTo>
                        <a:pt x="154" y="894"/>
                      </a:lnTo>
                      <a:lnTo>
                        <a:pt x="167" y="892"/>
                      </a:lnTo>
                      <a:lnTo>
                        <a:pt x="170" y="884"/>
                      </a:lnTo>
                      <a:lnTo>
                        <a:pt x="174" y="884"/>
                      </a:lnTo>
                      <a:lnTo>
                        <a:pt x="175" y="882"/>
                      </a:lnTo>
                      <a:lnTo>
                        <a:pt x="178" y="882"/>
                      </a:lnTo>
                      <a:lnTo>
                        <a:pt x="181" y="883"/>
                      </a:lnTo>
                      <a:lnTo>
                        <a:pt x="185" y="889"/>
                      </a:lnTo>
                      <a:lnTo>
                        <a:pt x="187" y="892"/>
                      </a:lnTo>
                      <a:lnTo>
                        <a:pt x="194" y="898"/>
                      </a:lnTo>
                      <a:lnTo>
                        <a:pt x="198" y="897"/>
                      </a:lnTo>
                      <a:lnTo>
                        <a:pt x="201" y="893"/>
                      </a:lnTo>
                      <a:lnTo>
                        <a:pt x="209" y="892"/>
                      </a:lnTo>
                      <a:lnTo>
                        <a:pt x="215" y="888"/>
                      </a:lnTo>
                      <a:lnTo>
                        <a:pt x="219" y="886"/>
                      </a:lnTo>
                      <a:lnTo>
                        <a:pt x="223" y="882"/>
                      </a:lnTo>
                      <a:lnTo>
                        <a:pt x="245" y="875"/>
                      </a:lnTo>
                      <a:lnTo>
                        <a:pt x="251" y="875"/>
                      </a:lnTo>
                      <a:lnTo>
                        <a:pt x="260" y="875"/>
                      </a:lnTo>
                      <a:lnTo>
                        <a:pt x="267" y="871"/>
                      </a:lnTo>
                      <a:lnTo>
                        <a:pt x="291" y="871"/>
                      </a:lnTo>
                      <a:lnTo>
                        <a:pt x="293" y="870"/>
                      </a:lnTo>
                      <a:lnTo>
                        <a:pt x="294" y="864"/>
                      </a:lnTo>
                      <a:lnTo>
                        <a:pt x="296" y="861"/>
                      </a:lnTo>
                      <a:lnTo>
                        <a:pt x="301" y="860"/>
                      </a:lnTo>
                      <a:lnTo>
                        <a:pt x="306" y="857"/>
                      </a:lnTo>
                      <a:lnTo>
                        <a:pt x="309" y="849"/>
                      </a:lnTo>
                      <a:lnTo>
                        <a:pt x="314" y="845"/>
                      </a:lnTo>
                      <a:lnTo>
                        <a:pt x="316" y="841"/>
                      </a:lnTo>
                      <a:lnTo>
                        <a:pt x="314" y="834"/>
                      </a:lnTo>
                      <a:lnTo>
                        <a:pt x="307" y="829"/>
                      </a:lnTo>
                      <a:lnTo>
                        <a:pt x="307" y="827"/>
                      </a:lnTo>
                      <a:lnTo>
                        <a:pt x="309" y="823"/>
                      </a:lnTo>
                      <a:lnTo>
                        <a:pt x="311" y="822"/>
                      </a:lnTo>
                      <a:lnTo>
                        <a:pt x="321" y="818"/>
                      </a:lnTo>
                      <a:lnTo>
                        <a:pt x="332" y="817"/>
                      </a:lnTo>
                      <a:lnTo>
                        <a:pt x="352" y="817"/>
                      </a:lnTo>
                      <a:lnTo>
                        <a:pt x="354" y="814"/>
                      </a:lnTo>
                      <a:lnTo>
                        <a:pt x="364" y="813"/>
                      </a:lnTo>
                      <a:lnTo>
                        <a:pt x="371" y="811"/>
                      </a:lnTo>
                      <a:lnTo>
                        <a:pt x="379" y="811"/>
                      </a:lnTo>
                      <a:lnTo>
                        <a:pt x="384" y="813"/>
                      </a:lnTo>
                      <a:lnTo>
                        <a:pt x="391" y="810"/>
                      </a:lnTo>
                      <a:lnTo>
                        <a:pt x="393" y="807"/>
                      </a:lnTo>
                      <a:lnTo>
                        <a:pt x="398" y="800"/>
                      </a:lnTo>
                      <a:lnTo>
                        <a:pt x="404" y="798"/>
                      </a:lnTo>
                      <a:lnTo>
                        <a:pt x="417" y="792"/>
                      </a:lnTo>
                      <a:lnTo>
                        <a:pt x="420" y="789"/>
                      </a:lnTo>
                      <a:lnTo>
                        <a:pt x="424" y="779"/>
                      </a:lnTo>
                      <a:lnTo>
                        <a:pt x="440" y="763"/>
                      </a:lnTo>
                      <a:lnTo>
                        <a:pt x="445" y="762"/>
                      </a:lnTo>
                      <a:lnTo>
                        <a:pt x="449" y="759"/>
                      </a:lnTo>
                      <a:lnTo>
                        <a:pt x="455" y="749"/>
                      </a:lnTo>
                      <a:lnTo>
                        <a:pt x="462" y="747"/>
                      </a:lnTo>
                      <a:lnTo>
                        <a:pt x="462" y="731"/>
                      </a:lnTo>
                      <a:lnTo>
                        <a:pt x="467" y="720"/>
                      </a:lnTo>
                      <a:lnTo>
                        <a:pt x="473" y="715"/>
                      </a:lnTo>
                      <a:lnTo>
                        <a:pt x="479" y="712"/>
                      </a:lnTo>
                      <a:lnTo>
                        <a:pt x="495" y="711"/>
                      </a:lnTo>
                      <a:lnTo>
                        <a:pt x="504" y="708"/>
                      </a:lnTo>
                      <a:lnTo>
                        <a:pt x="515" y="705"/>
                      </a:lnTo>
                      <a:lnTo>
                        <a:pt x="524" y="701"/>
                      </a:lnTo>
                      <a:lnTo>
                        <a:pt x="524" y="693"/>
                      </a:lnTo>
                      <a:lnTo>
                        <a:pt x="521" y="684"/>
                      </a:lnTo>
                      <a:lnTo>
                        <a:pt x="518" y="679"/>
                      </a:lnTo>
                      <a:lnTo>
                        <a:pt x="511" y="676"/>
                      </a:lnTo>
                      <a:lnTo>
                        <a:pt x="510" y="674"/>
                      </a:lnTo>
                      <a:lnTo>
                        <a:pt x="498" y="640"/>
                      </a:lnTo>
                      <a:lnTo>
                        <a:pt x="493" y="624"/>
                      </a:lnTo>
                      <a:lnTo>
                        <a:pt x="494" y="608"/>
                      </a:lnTo>
                      <a:lnTo>
                        <a:pt x="478" y="612"/>
                      </a:lnTo>
                      <a:lnTo>
                        <a:pt x="473" y="613"/>
                      </a:lnTo>
                      <a:lnTo>
                        <a:pt x="470" y="613"/>
                      </a:lnTo>
                      <a:lnTo>
                        <a:pt x="470" y="597"/>
                      </a:lnTo>
                      <a:lnTo>
                        <a:pt x="471" y="592"/>
                      </a:lnTo>
                      <a:lnTo>
                        <a:pt x="477" y="581"/>
                      </a:lnTo>
                      <a:lnTo>
                        <a:pt x="479" y="572"/>
                      </a:lnTo>
                      <a:lnTo>
                        <a:pt x="479" y="558"/>
                      </a:lnTo>
                      <a:lnTo>
                        <a:pt x="481" y="548"/>
                      </a:lnTo>
                      <a:lnTo>
                        <a:pt x="484" y="544"/>
                      </a:lnTo>
                      <a:lnTo>
                        <a:pt x="492" y="539"/>
                      </a:lnTo>
                      <a:lnTo>
                        <a:pt x="493" y="538"/>
                      </a:lnTo>
                      <a:lnTo>
                        <a:pt x="494" y="533"/>
                      </a:lnTo>
                      <a:lnTo>
                        <a:pt x="493" y="525"/>
                      </a:lnTo>
                      <a:lnTo>
                        <a:pt x="493" y="512"/>
                      </a:lnTo>
                      <a:lnTo>
                        <a:pt x="509" y="494"/>
                      </a:lnTo>
                      <a:lnTo>
                        <a:pt x="521" y="477"/>
                      </a:lnTo>
                      <a:lnTo>
                        <a:pt x="525" y="466"/>
                      </a:lnTo>
                      <a:lnTo>
                        <a:pt x="526" y="455"/>
                      </a:lnTo>
                      <a:lnTo>
                        <a:pt x="529" y="446"/>
                      </a:lnTo>
                      <a:lnTo>
                        <a:pt x="530" y="445"/>
                      </a:lnTo>
                      <a:lnTo>
                        <a:pt x="542" y="443"/>
                      </a:lnTo>
                      <a:lnTo>
                        <a:pt x="551" y="442"/>
                      </a:lnTo>
                      <a:lnTo>
                        <a:pt x="580" y="442"/>
                      </a:lnTo>
                      <a:lnTo>
                        <a:pt x="586" y="441"/>
                      </a:lnTo>
                      <a:lnTo>
                        <a:pt x="588" y="392"/>
                      </a:lnTo>
                      <a:lnTo>
                        <a:pt x="588" y="337"/>
                      </a:lnTo>
                      <a:lnTo>
                        <a:pt x="588" y="283"/>
                      </a:lnTo>
                      <a:lnTo>
                        <a:pt x="588" y="227"/>
                      </a:lnTo>
                      <a:lnTo>
                        <a:pt x="579" y="226"/>
                      </a:lnTo>
                      <a:lnTo>
                        <a:pt x="532" y="202"/>
                      </a:lnTo>
                      <a:lnTo>
                        <a:pt x="486" y="178"/>
                      </a:lnTo>
                      <a:lnTo>
                        <a:pt x="438" y="154"/>
                      </a:lnTo>
                      <a:lnTo>
                        <a:pt x="391" y="129"/>
                      </a:lnTo>
                      <a:lnTo>
                        <a:pt x="344" y="104"/>
                      </a:lnTo>
                      <a:lnTo>
                        <a:pt x="298" y="79"/>
                      </a:lnTo>
                      <a:lnTo>
                        <a:pt x="251" y="54"/>
                      </a:lnTo>
                      <a:lnTo>
                        <a:pt x="204" y="30"/>
                      </a:lnTo>
                      <a:lnTo>
                        <a:pt x="158" y="5"/>
                      </a:lnTo>
                      <a:lnTo>
                        <a:pt x="147" y="0"/>
                      </a:lnTo>
                      <a:lnTo>
                        <a:pt x="97" y="17"/>
                      </a:lnTo>
                      <a:lnTo>
                        <a:pt x="91" y="20"/>
                      </a:lnTo>
                      <a:lnTo>
                        <a:pt x="91" y="10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25" name="Freeform 124"/>
                <p:cNvSpPr>
                  <a:spLocks noChangeAspect="1"/>
                </p:cNvSpPr>
                <p:nvPr/>
              </p:nvSpPr>
              <p:spPr bwMode="gray">
                <a:xfrm>
                  <a:off x="5395117" y="3373784"/>
                  <a:ext cx="114300" cy="103188"/>
                </a:xfrm>
                <a:custGeom>
                  <a:avLst/>
                  <a:gdLst/>
                  <a:ahLst/>
                  <a:cxnLst>
                    <a:cxn ang="0">
                      <a:pos x="100" y="24"/>
                    </a:cxn>
                    <a:cxn ang="0">
                      <a:pos x="58" y="43"/>
                    </a:cxn>
                    <a:cxn ang="0">
                      <a:pos x="31" y="56"/>
                    </a:cxn>
                    <a:cxn ang="0">
                      <a:pos x="23" y="94"/>
                    </a:cxn>
                    <a:cxn ang="0">
                      <a:pos x="4" y="163"/>
                    </a:cxn>
                    <a:cxn ang="0">
                      <a:pos x="3" y="216"/>
                    </a:cxn>
                    <a:cxn ang="0">
                      <a:pos x="23" y="219"/>
                    </a:cxn>
                    <a:cxn ang="0">
                      <a:pos x="31" y="213"/>
                    </a:cxn>
                    <a:cxn ang="0">
                      <a:pos x="47" y="215"/>
                    </a:cxn>
                    <a:cxn ang="0">
                      <a:pos x="75" y="184"/>
                    </a:cxn>
                    <a:cxn ang="0">
                      <a:pos x="92" y="195"/>
                    </a:cxn>
                    <a:cxn ang="0">
                      <a:pos x="103" y="210"/>
                    </a:cxn>
                    <a:cxn ang="0">
                      <a:pos x="129" y="206"/>
                    </a:cxn>
                    <a:cxn ang="0">
                      <a:pos x="140" y="197"/>
                    </a:cxn>
                    <a:cxn ang="0">
                      <a:pos x="150" y="208"/>
                    </a:cxn>
                    <a:cxn ang="0">
                      <a:pos x="163" y="202"/>
                    </a:cxn>
                    <a:cxn ang="0">
                      <a:pos x="182" y="206"/>
                    </a:cxn>
                    <a:cxn ang="0">
                      <a:pos x="189" y="208"/>
                    </a:cxn>
                    <a:cxn ang="0">
                      <a:pos x="224" y="223"/>
                    </a:cxn>
                    <a:cxn ang="0">
                      <a:pos x="251" y="246"/>
                    </a:cxn>
                    <a:cxn ang="0">
                      <a:pos x="285" y="277"/>
                    </a:cxn>
                    <a:cxn ang="0">
                      <a:pos x="297" y="299"/>
                    </a:cxn>
                    <a:cxn ang="0">
                      <a:pos x="317" y="316"/>
                    </a:cxn>
                    <a:cxn ang="0">
                      <a:pos x="343" y="310"/>
                    </a:cxn>
                    <a:cxn ang="0">
                      <a:pos x="350" y="296"/>
                    </a:cxn>
                    <a:cxn ang="0">
                      <a:pos x="340" y="282"/>
                    </a:cxn>
                    <a:cxn ang="0">
                      <a:pos x="326" y="277"/>
                    </a:cxn>
                    <a:cxn ang="0">
                      <a:pos x="318" y="261"/>
                    </a:cxn>
                    <a:cxn ang="0">
                      <a:pos x="307" y="253"/>
                    </a:cxn>
                    <a:cxn ang="0">
                      <a:pos x="296" y="242"/>
                    </a:cxn>
                    <a:cxn ang="0">
                      <a:pos x="286" y="237"/>
                    </a:cxn>
                    <a:cxn ang="0">
                      <a:pos x="264" y="201"/>
                    </a:cxn>
                    <a:cxn ang="0">
                      <a:pos x="240" y="192"/>
                    </a:cxn>
                    <a:cxn ang="0">
                      <a:pos x="229" y="181"/>
                    </a:cxn>
                    <a:cxn ang="0">
                      <a:pos x="215" y="176"/>
                    </a:cxn>
                    <a:cxn ang="0">
                      <a:pos x="205" y="179"/>
                    </a:cxn>
                    <a:cxn ang="0">
                      <a:pos x="194" y="162"/>
                    </a:cxn>
                    <a:cxn ang="0">
                      <a:pos x="192" y="153"/>
                    </a:cxn>
                    <a:cxn ang="0">
                      <a:pos x="182" y="153"/>
                    </a:cxn>
                    <a:cxn ang="0">
                      <a:pos x="184" y="168"/>
                    </a:cxn>
                    <a:cxn ang="0">
                      <a:pos x="176" y="163"/>
                    </a:cxn>
                    <a:cxn ang="0">
                      <a:pos x="171" y="145"/>
                    </a:cxn>
                    <a:cxn ang="0">
                      <a:pos x="162" y="141"/>
                    </a:cxn>
                    <a:cxn ang="0">
                      <a:pos x="160" y="129"/>
                    </a:cxn>
                    <a:cxn ang="0">
                      <a:pos x="145" y="104"/>
                    </a:cxn>
                    <a:cxn ang="0">
                      <a:pos x="139" y="68"/>
                    </a:cxn>
                    <a:cxn ang="0">
                      <a:pos x="132" y="38"/>
                    </a:cxn>
                    <a:cxn ang="0">
                      <a:pos x="120" y="16"/>
                    </a:cxn>
                    <a:cxn ang="0">
                      <a:pos x="113" y="0"/>
                    </a:cxn>
                  </a:cxnLst>
                  <a:rect l="0" t="0" r="r" b="b"/>
                  <a:pathLst>
                    <a:path w="360" h="324">
                      <a:moveTo>
                        <a:pt x="109" y="0"/>
                      </a:moveTo>
                      <a:lnTo>
                        <a:pt x="107" y="9"/>
                      </a:lnTo>
                      <a:lnTo>
                        <a:pt x="100" y="24"/>
                      </a:lnTo>
                      <a:lnTo>
                        <a:pt x="87" y="30"/>
                      </a:lnTo>
                      <a:lnTo>
                        <a:pt x="79" y="33"/>
                      </a:lnTo>
                      <a:lnTo>
                        <a:pt x="58" y="43"/>
                      </a:lnTo>
                      <a:lnTo>
                        <a:pt x="53" y="50"/>
                      </a:lnTo>
                      <a:lnTo>
                        <a:pt x="44" y="55"/>
                      </a:lnTo>
                      <a:lnTo>
                        <a:pt x="31" y="56"/>
                      </a:lnTo>
                      <a:lnTo>
                        <a:pt x="27" y="65"/>
                      </a:lnTo>
                      <a:lnTo>
                        <a:pt x="23" y="86"/>
                      </a:lnTo>
                      <a:lnTo>
                        <a:pt x="23" y="94"/>
                      </a:lnTo>
                      <a:lnTo>
                        <a:pt x="20" y="115"/>
                      </a:lnTo>
                      <a:lnTo>
                        <a:pt x="11" y="149"/>
                      </a:lnTo>
                      <a:lnTo>
                        <a:pt x="4" y="163"/>
                      </a:lnTo>
                      <a:lnTo>
                        <a:pt x="0" y="180"/>
                      </a:lnTo>
                      <a:lnTo>
                        <a:pt x="0" y="200"/>
                      </a:lnTo>
                      <a:lnTo>
                        <a:pt x="3" y="216"/>
                      </a:lnTo>
                      <a:lnTo>
                        <a:pt x="5" y="217"/>
                      </a:lnTo>
                      <a:lnTo>
                        <a:pt x="20" y="217"/>
                      </a:lnTo>
                      <a:lnTo>
                        <a:pt x="23" y="219"/>
                      </a:lnTo>
                      <a:lnTo>
                        <a:pt x="27" y="219"/>
                      </a:lnTo>
                      <a:lnTo>
                        <a:pt x="30" y="216"/>
                      </a:lnTo>
                      <a:lnTo>
                        <a:pt x="31" y="213"/>
                      </a:lnTo>
                      <a:lnTo>
                        <a:pt x="34" y="210"/>
                      </a:lnTo>
                      <a:lnTo>
                        <a:pt x="42" y="210"/>
                      </a:lnTo>
                      <a:lnTo>
                        <a:pt x="47" y="215"/>
                      </a:lnTo>
                      <a:lnTo>
                        <a:pt x="47" y="218"/>
                      </a:lnTo>
                      <a:lnTo>
                        <a:pt x="55" y="228"/>
                      </a:lnTo>
                      <a:lnTo>
                        <a:pt x="75" y="184"/>
                      </a:lnTo>
                      <a:lnTo>
                        <a:pt x="79" y="189"/>
                      </a:lnTo>
                      <a:lnTo>
                        <a:pt x="85" y="195"/>
                      </a:lnTo>
                      <a:lnTo>
                        <a:pt x="92" y="195"/>
                      </a:lnTo>
                      <a:lnTo>
                        <a:pt x="95" y="196"/>
                      </a:lnTo>
                      <a:lnTo>
                        <a:pt x="95" y="199"/>
                      </a:lnTo>
                      <a:lnTo>
                        <a:pt x="103" y="210"/>
                      </a:lnTo>
                      <a:lnTo>
                        <a:pt x="112" y="210"/>
                      </a:lnTo>
                      <a:lnTo>
                        <a:pt x="116" y="208"/>
                      </a:lnTo>
                      <a:lnTo>
                        <a:pt x="129" y="206"/>
                      </a:lnTo>
                      <a:lnTo>
                        <a:pt x="135" y="201"/>
                      </a:lnTo>
                      <a:lnTo>
                        <a:pt x="135" y="197"/>
                      </a:lnTo>
                      <a:lnTo>
                        <a:pt x="140" y="197"/>
                      </a:lnTo>
                      <a:lnTo>
                        <a:pt x="145" y="202"/>
                      </a:lnTo>
                      <a:lnTo>
                        <a:pt x="148" y="208"/>
                      </a:lnTo>
                      <a:lnTo>
                        <a:pt x="150" y="208"/>
                      </a:lnTo>
                      <a:lnTo>
                        <a:pt x="151" y="207"/>
                      </a:lnTo>
                      <a:lnTo>
                        <a:pt x="159" y="206"/>
                      </a:lnTo>
                      <a:lnTo>
                        <a:pt x="163" y="202"/>
                      </a:lnTo>
                      <a:lnTo>
                        <a:pt x="167" y="202"/>
                      </a:lnTo>
                      <a:lnTo>
                        <a:pt x="172" y="206"/>
                      </a:lnTo>
                      <a:lnTo>
                        <a:pt x="182" y="206"/>
                      </a:lnTo>
                      <a:lnTo>
                        <a:pt x="184" y="210"/>
                      </a:lnTo>
                      <a:lnTo>
                        <a:pt x="187" y="210"/>
                      </a:lnTo>
                      <a:lnTo>
                        <a:pt x="189" y="208"/>
                      </a:lnTo>
                      <a:lnTo>
                        <a:pt x="202" y="207"/>
                      </a:lnTo>
                      <a:lnTo>
                        <a:pt x="214" y="218"/>
                      </a:lnTo>
                      <a:lnTo>
                        <a:pt x="224" y="223"/>
                      </a:lnTo>
                      <a:lnTo>
                        <a:pt x="231" y="224"/>
                      </a:lnTo>
                      <a:lnTo>
                        <a:pt x="243" y="235"/>
                      </a:lnTo>
                      <a:lnTo>
                        <a:pt x="251" y="246"/>
                      </a:lnTo>
                      <a:lnTo>
                        <a:pt x="256" y="255"/>
                      </a:lnTo>
                      <a:lnTo>
                        <a:pt x="273" y="267"/>
                      </a:lnTo>
                      <a:lnTo>
                        <a:pt x="285" y="277"/>
                      </a:lnTo>
                      <a:lnTo>
                        <a:pt x="291" y="283"/>
                      </a:lnTo>
                      <a:lnTo>
                        <a:pt x="294" y="292"/>
                      </a:lnTo>
                      <a:lnTo>
                        <a:pt x="297" y="299"/>
                      </a:lnTo>
                      <a:lnTo>
                        <a:pt x="306" y="303"/>
                      </a:lnTo>
                      <a:lnTo>
                        <a:pt x="313" y="309"/>
                      </a:lnTo>
                      <a:lnTo>
                        <a:pt x="317" y="316"/>
                      </a:lnTo>
                      <a:lnTo>
                        <a:pt x="323" y="324"/>
                      </a:lnTo>
                      <a:lnTo>
                        <a:pt x="328" y="318"/>
                      </a:lnTo>
                      <a:lnTo>
                        <a:pt x="343" y="310"/>
                      </a:lnTo>
                      <a:lnTo>
                        <a:pt x="360" y="299"/>
                      </a:lnTo>
                      <a:lnTo>
                        <a:pt x="356" y="293"/>
                      </a:lnTo>
                      <a:lnTo>
                        <a:pt x="350" y="296"/>
                      </a:lnTo>
                      <a:lnTo>
                        <a:pt x="344" y="292"/>
                      </a:lnTo>
                      <a:lnTo>
                        <a:pt x="342" y="289"/>
                      </a:lnTo>
                      <a:lnTo>
                        <a:pt x="340" y="282"/>
                      </a:lnTo>
                      <a:lnTo>
                        <a:pt x="339" y="281"/>
                      </a:lnTo>
                      <a:lnTo>
                        <a:pt x="331" y="280"/>
                      </a:lnTo>
                      <a:lnTo>
                        <a:pt x="326" y="277"/>
                      </a:lnTo>
                      <a:lnTo>
                        <a:pt x="324" y="274"/>
                      </a:lnTo>
                      <a:lnTo>
                        <a:pt x="322" y="264"/>
                      </a:lnTo>
                      <a:lnTo>
                        <a:pt x="318" y="261"/>
                      </a:lnTo>
                      <a:lnTo>
                        <a:pt x="317" y="256"/>
                      </a:lnTo>
                      <a:lnTo>
                        <a:pt x="311" y="255"/>
                      </a:lnTo>
                      <a:lnTo>
                        <a:pt x="307" y="253"/>
                      </a:lnTo>
                      <a:lnTo>
                        <a:pt x="302" y="243"/>
                      </a:lnTo>
                      <a:lnTo>
                        <a:pt x="301" y="240"/>
                      </a:lnTo>
                      <a:lnTo>
                        <a:pt x="296" y="242"/>
                      </a:lnTo>
                      <a:lnTo>
                        <a:pt x="291" y="239"/>
                      </a:lnTo>
                      <a:lnTo>
                        <a:pt x="289" y="239"/>
                      </a:lnTo>
                      <a:lnTo>
                        <a:pt x="286" y="237"/>
                      </a:lnTo>
                      <a:lnTo>
                        <a:pt x="286" y="232"/>
                      </a:lnTo>
                      <a:lnTo>
                        <a:pt x="279" y="223"/>
                      </a:lnTo>
                      <a:lnTo>
                        <a:pt x="264" y="201"/>
                      </a:lnTo>
                      <a:lnTo>
                        <a:pt x="256" y="196"/>
                      </a:lnTo>
                      <a:lnTo>
                        <a:pt x="246" y="196"/>
                      </a:lnTo>
                      <a:lnTo>
                        <a:pt x="240" y="192"/>
                      </a:lnTo>
                      <a:lnTo>
                        <a:pt x="236" y="192"/>
                      </a:lnTo>
                      <a:lnTo>
                        <a:pt x="232" y="189"/>
                      </a:lnTo>
                      <a:lnTo>
                        <a:pt x="229" y="181"/>
                      </a:lnTo>
                      <a:lnTo>
                        <a:pt x="226" y="179"/>
                      </a:lnTo>
                      <a:lnTo>
                        <a:pt x="221" y="176"/>
                      </a:lnTo>
                      <a:lnTo>
                        <a:pt x="215" y="176"/>
                      </a:lnTo>
                      <a:lnTo>
                        <a:pt x="213" y="180"/>
                      </a:lnTo>
                      <a:lnTo>
                        <a:pt x="209" y="181"/>
                      </a:lnTo>
                      <a:lnTo>
                        <a:pt x="205" y="179"/>
                      </a:lnTo>
                      <a:lnTo>
                        <a:pt x="199" y="170"/>
                      </a:lnTo>
                      <a:lnTo>
                        <a:pt x="195" y="165"/>
                      </a:lnTo>
                      <a:lnTo>
                        <a:pt x="194" y="162"/>
                      </a:lnTo>
                      <a:lnTo>
                        <a:pt x="197" y="157"/>
                      </a:lnTo>
                      <a:lnTo>
                        <a:pt x="195" y="154"/>
                      </a:lnTo>
                      <a:lnTo>
                        <a:pt x="192" y="153"/>
                      </a:lnTo>
                      <a:lnTo>
                        <a:pt x="188" y="149"/>
                      </a:lnTo>
                      <a:lnTo>
                        <a:pt x="184" y="151"/>
                      </a:lnTo>
                      <a:lnTo>
                        <a:pt x="182" y="153"/>
                      </a:lnTo>
                      <a:lnTo>
                        <a:pt x="182" y="158"/>
                      </a:lnTo>
                      <a:lnTo>
                        <a:pt x="186" y="162"/>
                      </a:lnTo>
                      <a:lnTo>
                        <a:pt x="184" y="168"/>
                      </a:lnTo>
                      <a:lnTo>
                        <a:pt x="182" y="168"/>
                      </a:lnTo>
                      <a:lnTo>
                        <a:pt x="177" y="165"/>
                      </a:lnTo>
                      <a:lnTo>
                        <a:pt x="176" y="163"/>
                      </a:lnTo>
                      <a:lnTo>
                        <a:pt x="176" y="158"/>
                      </a:lnTo>
                      <a:lnTo>
                        <a:pt x="173" y="156"/>
                      </a:lnTo>
                      <a:lnTo>
                        <a:pt x="171" y="145"/>
                      </a:lnTo>
                      <a:lnTo>
                        <a:pt x="170" y="143"/>
                      </a:lnTo>
                      <a:lnTo>
                        <a:pt x="165" y="142"/>
                      </a:lnTo>
                      <a:lnTo>
                        <a:pt x="162" y="141"/>
                      </a:lnTo>
                      <a:lnTo>
                        <a:pt x="162" y="137"/>
                      </a:lnTo>
                      <a:lnTo>
                        <a:pt x="160" y="136"/>
                      </a:lnTo>
                      <a:lnTo>
                        <a:pt x="160" y="129"/>
                      </a:lnTo>
                      <a:lnTo>
                        <a:pt x="154" y="125"/>
                      </a:lnTo>
                      <a:lnTo>
                        <a:pt x="150" y="120"/>
                      </a:lnTo>
                      <a:lnTo>
                        <a:pt x="145" y="104"/>
                      </a:lnTo>
                      <a:lnTo>
                        <a:pt x="144" y="94"/>
                      </a:lnTo>
                      <a:lnTo>
                        <a:pt x="141" y="84"/>
                      </a:lnTo>
                      <a:lnTo>
                        <a:pt x="139" y="68"/>
                      </a:lnTo>
                      <a:lnTo>
                        <a:pt x="138" y="63"/>
                      </a:lnTo>
                      <a:lnTo>
                        <a:pt x="134" y="49"/>
                      </a:lnTo>
                      <a:lnTo>
                        <a:pt x="132" y="38"/>
                      </a:lnTo>
                      <a:lnTo>
                        <a:pt x="130" y="30"/>
                      </a:lnTo>
                      <a:lnTo>
                        <a:pt x="125" y="20"/>
                      </a:lnTo>
                      <a:lnTo>
                        <a:pt x="120" y="16"/>
                      </a:lnTo>
                      <a:lnTo>
                        <a:pt x="118" y="8"/>
                      </a:lnTo>
                      <a:lnTo>
                        <a:pt x="114" y="1"/>
                      </a:lnTo>
                      <a:lnTo>
                        <a:pt x="113" y="0"/>
                      </a:lnTo>
                      <a:lnTo>
                        <a:pt x="109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26" name="Freeform 125"/>
                <p:cNvSpPr>
                  <a:spLocks noChangeAspect="1"/>
                </p:cNvSpPr>
                <p:nvPr/>
              </p:nvSpPr>
              <p:spPr bwMode="gray">
                <a:xfrm>
                  <a:off x="4548981" y="3245197"/>
                  <a:ext cx="282575" cy="269875"/>
                </a:xfrm>
                <a:custGeom>
                  <a:avLst/>
                  <a:gdLst/>
                  <a:ahLst/>
                  <a:cxnLst>
                    <a:cxn ang="0">
                      <a:pos x="727" y="243"/>
                    </a:cxn>
                    <a:cxn ang="0">
                      <a:pos x="755" y="259"/>
                    </a:cxn>
                    <a:cxn ang="0">
                      <a:pos x="780" y="281"/>
                    </a:cxn>
                    <a:cxn ang="0">
                      <a:pos x="809" y="291"/>
                    </a:cxn>
                    <a:cxn ang="0">
                      <a:pos x="839" y="303"/>
                    </a:cxn>
                    <a:cxn ang="0">
                      <a:pos x="841" y="319"/>
                    </a:cxn>
                    <a:cxn ang="0">
                      <a:pos x="840" y="336"/>
                    </a:cxn>
                    <a:cxn ang="0">
                      <a:pos x="858" y="356"/>
                    </a:cxn>
                    <a:cxn ang="0">
                      <a:pos x="890" y="346"/>
                    </a:cxn>
                    <a:cxn ang="0">
                      <a:pos x="891" y="522"/>
                    </a:cxn>
                    <a:cxn ang="0">
                      <a:pos x="861" y="550"/>
                    </a:cxn>
                    <a:cxn ang="0">
                      <a:pos x="829" y="559"/>
                    </a:cxn>
                    <a:cxn ang="0">
                      <a:pos x="674" y="582"/>
                    </a:cxn>
                    <a:cxn ang="0">
                      <a:pos x="561" y="631"/>
                    </a:cxn>
                    <a:cxn ang="0">
                      <a:pos x="468" y="677"/>
                    </a:cxn>
                    <a:cxn ang="0">
                      <a:pos x="439" y="716"/>
                    </a:cxn>
                    <a:cxn ang="0">
                      <a:pos x="395" y="770"/>
                    </a:cxn>
                    <a:cxn ang="0">
                      <a:pos x="379" y="830"/>
                    </a:cxn>
                    <a:cxn ang="0">
                      <a:pos x="361" y="835"/>
                    </a:cxn>
                    <a:cxn ang="0">
                      <a:pos x="336" y="846"/>
                    </a:cxn>
                    <a:cxn ang="0">
                      <a:pos x="325" y="828"/>
                    </a:cxn>
                    <a:cxn ang="0">
                      <a:pos x="312" y="828"/>
                    </a:cxn>
                    <a:cxn ang="0">
                      <a:pos x="299" y="831"/>
                    </a:cxn>
                    <a:cxn ang="0">
                      <a:pos x="282" y="846"/>
                    </a:cxn>
                    <a:cxn ang="0">
                      <a:pos x="266" y="844"/>
                    </a:cxn>
                    <a:cxn ang="0">
                      <a:pos x="256" y="835"/>
                    </a:cxn>
                    <a:cxn ang="0">
                      <a:pos x="239" y="840"/>
                    </a:cxn>
                    <a:cxn ang="0">
                      <a:pos x="227" y="842"/>
                    </a:cxn>
                    <a:cxn ang="0">
                      <a:pos x="210" y="806"/>
                    </a:cxn>
                    <a:cxn ang="0">
                      <a:pos x="191" y="808"/>
                    </a:cxn>
                    <a:cxn ang="0">
                      <a:pos x="201" y="792"/>
                    </a:cxn>
                    <a:cxn ang="0">
                      <a:pos x="201" y="782"/>
                    </a:cxn>
                    <a:cxn ang="0">
                      <a:pos x="183" y="767"/>
                    </a:cxn>
                    <a:cxn ang="0">
                      <a:pos x="178" y="737"/>
                    </a:cxn>
                    <a:cxn ang="0">
                      <a:pos x="170" y="721"/>
                    </a:cxn>
                    <a:cxn ang="0">
                      <a:pos x="153" y="720"/>
                    </a:cxn>
                    <a:cxn ang="0">
                      <a:pos x="136" y="743"/>
                    </a:cxn>
                    <a:cxn ang="0">
                      <a:pos x="99" y="736"/>
                    </a:cxn>
                    <a:cxn ang="0">
                      <a:pos x="78" y="750"/>
                    </a:cxn>
                    <a:cxn ang="0">
                      <a:pos x="52" y="747"/>
                    </a:cxn>
                    <a:cxn ang="0">
                      <a:pos x="43" y="732"/>
                    </a:cxn>
                    <a:cxn ang="0">
                      <a:pos x="44" y="717"/>
                    </a:cxn>
                    <a:cxn ang="0">
                      <a:pos x="45" y="697"/>
                    </a:cxn>
                    <a:cxn ang="0">
                      <a:pos x="36" y="682"/>
                    </a:cxn>
                    <a:cxn ang="0">
                      <a:pos x="24" y="673"/>
                    </a:cxn>
                    <a:cxn ang="0">
                      <a:pos x="9" y="652"/>
                    </a:cxn>
                    <a:cxn ang="0">
                      <a:pos x="9" y="621"/>
                    </a:cxn>
                    <a:cxn ang="0">
                      <a:pos x="1" y="608"/>
                    </a:cxn>
                    <a:cxn ang="0">
                      <a:pos x="30" y="554"/>
                    </a:cxn>
                    <a:cxn ang="0">
                      <a:pos x="45" y="533"/>
                    </a:cxn>
                    <a:cxn ang="0">
                      <a:pos x="84" y="572"/>
                    </a:cxn>
                    <a:cxn ang="0">
                      <a:pos x="344" y="555"/>
                    </a:cxn>
                    <a:cxn ang="0">
                      <a:pos x="341" y="389"/>
                    </a:cxn>
                    <a:cxn ang="0">
                      <a:pos x="313" y="114"/>
                    </a:cxn>
                  </a:cxnLst>
                  <a:rect l="0" t="0" r="r" b="b"/>
                  <a:pathLst>
                    <a:path w="891" h="851">
                      <a:moveTo>
                        <a:pt x="462" y="44"/>
                      </a:moveTo>
                      <a:lnTo>
                        <a:pt x="724" y="226"/>
                      </a:lnTo>
                      <a:lnTo>
                        <a:pt x="724" y="231"/>
                      </a:lnTo>
                      <a:lnTo>
                        <a:pt x="728" y="234"/>
                      </a:lnTo>
                      <a:lnTo>
                        <a:pt x="727" y="243"/>
                      </a:lnTo>
                      <a:lnTo>
                        <a:pt x="728" y="247"/>
                      </a:lnTo>
                      <a:lnTo>
                        <a:pt x="734" y="250"/>
                      </a:lnTo>
                      <a:lnTo>
                        <a:pt x="742" y="252"/>
                      </a:lnTo>
                      <a:lnTo>
                        <a:pt x="753" y="258"/>
                      </a:lnTo>
                      <a:lnTo>
                        <a:pt x="755" y="259"/>
                      </a:lnTo>
                      <a:lnTo>
                        <a:pt x="756" y="265"/>
                      </a:lnTo>
                      <a:lnTo>
                        <a:pt x="758" y="270"/>
                      </a:lnTo>
                      <a:lnTo>
                        <a:pt x="765" y="276"/>
                      </a:lnTo>
                      <a:lnTo>
                        <a:pt x="770" y="279"/>
                      </a:lnTo>
                      <a:lnTo>
                        <a:pt x="780" y="281"/>
                      </a:lnTo>
                      <a:lnTo>
                        <a:pt x="788" y="280"/>
                      </a:lnTo>
                      <a:lnTo>
                        <a:pt x="791" y="281"/>
                      </a:lnTo>
                      <a:lnTo>
                        <a:pt x="794" y="288"/>
                      </a:lnTo>
                      <a:lnTo>
                        <a:pt x="798" y="291"/>
                      </a:lnTo>
                      <a:lnTo>
                        <a:pt x="809" y="291"/>
                      </a:lnTo>
                      <a:lnTo>
                        <a:pt x="813" y="293"/>
                      </a:lnTo>
                      <a:lnTo>
                        <a:pt x="818" y="293"/>
                      </a:lnTo>
                      <a:lnTo>
                        <a:pt x="826" y="298"/>
                      </a:lnTo>
                      <a:lnTo>
                        <a:pt x="835" y="301"/>
                      </a:lnTo>
                      <a:lnTo>
                        <a:pt x="839" y="303"/>
                      </a:lnTo>
                      <a:lnTo>
                        <a:pt x="840" y="307"/>
                      </a:lnTo>
                      <a:lnTo>
                        <a:pt x="841" y="307"/>
                      </a:lnTo>
                      <a:lnTo>
                        <a:pt x="842" y="313"/>
                      </a:lnTo>
                      <a:lnTo>
                        <a:pt x="841" y="315"/>
                      </a:lnTo>
                      <a:lnTo>
                        <a:pt x="841" y="319"/>
                      </a:lnTo>
                      <a:lnTo>
                        <a:pt x="844" y="324"/>
                      </a:lnTo>
                      <a:lnTo>
                        <a:pt x="844" y="325"/>
                      </a:lnTo>
                      <a:lnTo>
                        <a:pt x="840" y="328"/>
                      </a:lnTo>
                      <a:lnTo>
                        <a:pt x="839" y="330"/>
                      </a:lnTo>
                      <a:lnTo>
                        <a:pt x="840" y="336"/>
                      </a:lnTo>
                      <a:lnTo>
                        <a:pt x="837" y="341"/>
                      </a:lnTo>
                      <a:lnTo>
                        <a:pt x="837" y="346"/>
                      </a:lnTo>
                      <a:lnTo>
                        <a:pt x="845" y="355"/>
                      </a:lnTo>
                      <a:lnTo>
                        <a:pt x="851" y="356"/>
                      </a:lnTo>
                      <a:lnTo>
                        <a:pt x="858" y="356"/>
                      </a:lnTo>
                      <a:lnTo>
                        <a:pt x="867" y="351"/>
                      </a:lnTo>
                      <a:lnTo>
                        <a:pt x="875" y="351"/>
                      </a:lnTo>
                      <a:lnTo>
                        <a:pt x="885" y="346"/>
                      </a:lnTo>
                      <a:lnTo>
                        <a:pt x="890" y="344"/>
                      </a:lnTo>
                      <a:lnTo>
                        <a:pt x="890" y="346"/>
                      </a:lnTo>
                      <a:lnTo>
                        <a:pt x="891" y="347"/>
                      </a:lnTo>
                      <a:lnTo>
                        <a:pt x="891" y="358"/>
                      </a:lnTo>
                      <a:lnTo>
                        <a:pt x="891" y="414"/>
                      </a:lnTo>
                      <a:lnTo>
                        <a:pt x="891" y="468"/>
                      </a:lnTo>
                      <a:lnTo>
                        <a:pt x="891" y="522"/>
                      </a:lnTo>
                      <a:lnTo>
                        <a:pt x="888" y="523"/>
                      </a:lnTo>
                      <a:lnTo>
                        <a:pt x="878" y="529"/>
                      </a:lnTo>
                      <a:lnTo>
                        <a:pt x="874" y="535"/>
                      </a:lnTo>
                      <a:lnTo>
                        <a:pt x="873" y="543"/>
                      </a:lnTo>
                      <a:lnTo>
                        <a:pt x="861" y="550"/>
                      </a:lnTo>
                      <a:lnTo>
                        <a:pt x="857" y="553"/>
                      </a:lnTo>
                      <a:lnTo>
                        <a:pt x="855" y="556"/>
                      </a:lnTo>
                      <a:lnTo>
                        <a:pt x="855" y="561"/>
                      </a:lnTo>
                      <a:lnTo>
                        <a:pt x="842" y="560"/>
                      </a:lnTo>
                      <a:lnTo>
                        <a:pt x="829" y="559"/>
                      </a:lnTo>
                      <a:lnTo>
                        <a:pt x="829" y="562"/>
                      </a:lnTo>
                      <a:lnTo>
                        <a:pt x="824" y="561"/>
                      </a:lnTo>
                      <a:lnTo>
                        <a:pt x="735" y="562"/>
                      </a:lnTo>
                      <a:lnTo>
                        <a:pt x="711" y="582"/>
                      </a:lnTo>
                      <a:lnTo>
                        <a:pt x="674" y="582"/>
                      </a:lnTo>
                      <a:lnTo>
                        <a:pt x="641" y="583"/>
                      </a:lnTo>
                      <a:lnTo>
                        <a:pt x="621" y="591"/>
                      </a:lnTo>
                      <a:lnTo>
                        <a:pt x="613" y="594"/>
                      </a:lnTo>
                      <a:lnTo>
                        <a:pt x="598" y="607"/>
                      </a:lnTo>
                      <a:lnTo>
                        <a:pt x="561" y="631"/>
                      </a:lnTo>
                      <a:lnTo>
                        <a:pt x="549" y="647"/>
                      </a:lnTo>
                      <a:lnTo>
                        <a:pt x="530" y="661"/>
                      </a:lnTo>
                      <a:lnTo>
                        <a:pt x="492" y="673"/>
                      </a:lnTo>
                      <a:lnTo>
                        <a:pt x="480" y="675"/>
                      </a:lnTo>
                      <a:lnTo>
                        <a:pt x="468" y="677"/>
                      </a:lnTo>
                      <a:lnTo>
                        <a:pt x="462" y="678"/>
                      </a:lnTo>
                      <a:lnTo>
                        <a:pt x="453" y="684"/>
                      </a:lnTo>
                      <a:lnTo>
                        <a:pt x="448" y="690"/>
                      </a:lnTo>
                      <a:lnTo>
                        <a:pt x="443" y="701"/>
                      </a:lnTo>
                      <a:lnTo>
                        <a:pt x="439" y="716"/>
                      </a:lnTo>
                      <a:lnTo>
                        <a:pt x="432" y="734"/>
                      </a:lnTo>
                      <a:lnTo>
                        <a:pt x="425" y="744"/>
                      </a:lnTo>
                      <a:lnTo>
                        <a:pt x="409" y="756"/>
                      </a:lnTo>
                      <a:lnTo>
                        <a:pt x="399" y="765"/>
                      </a:lnTo>
                      <a:lnTo>
                        <a:pt x="395" y="770"/>
                      </a:lnTo>
                      <a:lnTo>
                        <a:pt x="390" y="779"/>
                      </a:lnTo>
                      <a:lnTo>
                        <a:pt x="389" y="788"/>
                      </a:lnTo>
                      <a:lnTo>
                        <a:pt x="380" y="806"/>
                      </a:lnTo>
                      <a:lnTo>
                        <a:pt x="379" y="817"/>
                      </a:lnTo>
                      <a:lnTo>
                        <a:pt x="379" y="830"/>
                      </a:lnTo>
                      <a:lnTo>
                        <a:pt x="380" y="841"/>
                      </a:lnTo>
                      <a:lnTo>
                        <a:pt x="369" y="844"/>
                      </a:lnTo>
                      <a:lnTo>
                        <a:pt x="367" y="842"/>
                      </a:lnTo>
                      <a:lnTo>
                        <a:pt x="363" y="836"/>
                      </a:lnTo>
                      <a:lnTo>
                        <a:pt x="361" y="835"/>
                      </a:lnTo>
                      <a:lnTo>
                        <a:pt x="350" y="835"/>
                      </a:lnTo>
                      <a:lnTo>
                        <a:pt x="346" y="836"/>
                      </a:lnTo>
                      <a:lnTo>
                        <a:pt x="344" y="842"/>
                      </a:lnTo>
                      <a:lnTo>
                        <a:pt x="340" y="842"/>
                      </a:lnTo>
                      <a:lnTo>
                        <a:pt x="336" y="846"/>
                      </a:lnTo>
                      <a:lnTo>
                        <a:pt x="326" y="846"/>
                      </a:lnTo>
                      <a:lnTo>
                        <a:pt x="328" y="844"/>
                      </a:lnTo>
                      <a:lnTo>
                        <a:pt x="326" y="833"/>
                      </a:lnTo>
                      <a:lnTo>
                        <a:pt x="325" y="829"/>
                      </a:lnTo>
                      <a:lnTo>
                        <a:pt x="325" y="828"/>
                      </a:lnTo>
                      <a:lnTo>
                        <a:pt x="325" y="823"/>
                      </a:lnTo>
                      <a:lnTo>
                        <a:pt x="323" y="819"/>
                      </a:lnTo>
                      <a:lnTo>
                        <a:pt x="320" y="820"/>
                      </a:lnTo>
                      <a:lnTo>
                        <a:pt x="314" y="820"/>
                      </a:lnTo>
                      <a:lnTo>
                        <a:pt x="312" y="828"/>
                      </a:lnTo>
                      <a:lnTo>
                        <a:pt x="310" y="828"/>
                      </a:lnTo>
                      <a:lnTo>
                        <a:pt x="304" y="824"/>
                      </a:lnTo>
                      <a:lnTo>
                        <a:pt x="302" y="824"/>
                      </a:lnTo>
                      <a:lnTo>
                        <a:pt x="299" y="828"/>
                      </a:lnTo>
                      <a:lnTo>
                        <a:pt x="299" y="831"/>
                      </a:lnTo>
                      <a:lnTo>
                        <a:pt x="301" y="837"/>
                      </a:lnTo>
                      <a:lnTo>
                        <a:pt x="299" y="840"/>
                      </a:lnTo>
                      <a:lnTo>
                        <a:pt x="288" y="840"/>
                      </a:lnTo>
                      <a:lnTo>
                        <a:pt x="282" y="842"/>
                      </a:lnTo>
                      <a:lnTo>
                        <a:pt x="282" y="846"/>
                      </a:lnTo>
                      <a:lnTo>
                        <a:pt x="280" y="851"/>
                      </a:lnTo>
                      <a:lnTo>
                        <a:pt x="276" y="851"/>
                      </a:lnTo>
                      <a:lnTo>
                        <a:pt x="272" y="849"/>
                      </a:lnTo>
                      <a:lnTo>
                        <a:pt x="269" y="844"/>
                      </a:lnTo>
                      <a:lnTo>
                        <a:pt x="266" y="844"/>
                      </a:lnTo>
                      <a:lnTo>
                        <a:pt x="264" y="845"/>
                      </a:lnTo>
                      <a:lnTo>
                        <a:pt x="262" y="846"/>
                      </a:lnTo>
                      <a:lnTo>
                        <a:pt x="261" y="846"/>
                      </a:lnTo>
                      <a:lnTo>
                        <a:pt x="260" y="840"/>
                      </a:lnTo>
                      <a:lnTo>
                        <a:pt x="256" y="835"/>
                      </a:lnTo>
                      <a:lnTo>
                        <a:pt x="253" y="834"/>
                      </a:lnTo>
                      <a:lnTo>
                        <a:pt x="249" y="837"/>
                      </a:lnTo>
                      <a:lnTo>
                        <a:pt x="244" y="836"/>
                      </a:lnTo>
                      <a:lnTo>
                        <a:pt x="242" y="837"/>
                      </a:lnTo>
                      <a:lnTo>
                        <a:pt x="239" y="840"/>
                      </a:lnTo>
                      <a:lnTo>
                        <a:pt x="238" y="844"/>
                      </a:lnTo>
                      <a:lnTo>
                        <a:pt x="235" y="847"/>
                      </a:lnTo>
                      <a:lnTo>
                        <a:pt x="229" y="849"/>
                      </a:lnTo>
                      <a:lnTo>
                        <a:pt x="229" y="846"/>
                      </a:lnTo>
                      <a:lnTo>
                        <a:pt x="227" y="842"/>
                      </a:lnTo>
                      <a:lnTo>
                        <a:pt x="222" y="840"/>
                      </a:lnTo>
                      <a:lnTo>
                        <a:pt x="220" y="835"/>
                      </a:lnTo>
                      <a:lnTo>
                        <a:pt x="215" y="835"/>
                      </a:lnTo>
                      <a:lnTo>
                        <a:pt x="211" y="829"/>
                      </a:lnTo>
                      <a:lnTo>
                        <a:pt x="210" y="806"/>
                      </a:lnTo>
                      <a:lnTo>
                        <a:pt x="210" y="802"/>
                      </a:lnTo>
                      <a:lnTo>
                        <a:pt x="205" y="801"/>
                      </a:lnTo>
                      <a:lnTo>
                        <a:pt x="200" y="801"/>
                      </a:lnTo>
                      <a:lnTo>
                        <a:pt x="194" y="808"/>
                      </a:lnTo>
                      <a:lnTo>
                        <a:pt x="191" y="808"/>
                      </a:lnTo>
                      <a:lnTo>
                        <a:pt x="191" y="801"/>
                      </a:lnTo>
                      <a:lnTo>
                        <a:pt x="192" y="798"/>
                      </a:lnTo>
                      <a:lnTo>
                        <a:pt x="197" y="797"/>
                      </a:lnTo>
                      <a:lnTo>
                        <a:pt x="197" y="792"/>
                      </a:lnTo>
                      <a:lnTo>
                        <a:pt x="201" y="792"/>
                      </a:lnTo>
                      <a:lnTo>
                        <a:pt x="204" y="788"/>
                      </a:lnTo>
                      <a:lnTo>
                        <a:pt x="207" y="788"/>
                      </a:lnTo>
                      <a:lnTo>
                        <a:pt x="207" y="782"/>
                      </a:lnTo>
                      <a:lnTo>
                        <a:pt x="206" y="782"/>
                      </a:lnTo>
                      <a:lnTo>
                        <a:pt x="201" y="782"/>
                      </a:lnTo>
                      <a:lnTo>
                        <a:pt x="197" y="779"/>
                      </a:lnTo>
                      <a:lnTo>
                        <a:pt x="194" y="776"/>
                      </a:lnTo>
                      <a:lnTo>
                        <a:pt x="189" y="766"/>
                      </a:lnTo>
                      <a:lnTo>
                        <a:pt x="184" y="769"/>
                      </a:lnTo>
                      <a:lnTo>
                        <a:pt x="183" y="767"/>
                      </a:lnTo>
                      <a:lnTo>
                        <a:pt x="183" y="750"/>
                      </a:lnTo>
                      <a:lnTo>
                        <a:pt x="181" y="745"/>
                      </a:lnTo>
                      <a:lnTo>
                        <a:pt x="179" y="745"/>
                      </a:lnTo>
                      <a:lnTo>
                        <a:pt x="179" y="739"/>
                      </a:lnTo>
                      <a:lnTo>
                        <a:pt x="178" y="737"/>
                      </a:lnTo>
                      <a:lnTo>
                        <a:pt x="174" y="737"/>
                      </a:lnTo>
                      <a:lnTo>
                        <a:pt x="173" y="737"/>
                      </a:lnTo>
                      <a:lnTo>
                        <a:pt x="174" y="724"/>
                      </a:lnTo>
                      <a:lnTo>
                        <a:pt x="174" y="723"/>
                      </a:lnTo>
                      <a:lnTo>
                        <a:pt x="170" y="721"/>
                      </a:lnTo>
                      <a:lnTo>
                        <a:pt x="168" y="721"/>
                      </a:lnTo>
                      <a:lnTo>
                        <a:pt x="164" y="724"/>
                      </a:lnTo>
                      <a:lnTo>
                        <a:pt x="163" y="724"/>
                      </a:lnTo>
                      <a:lnTo>
                        <a:pt x="156" y="720"/>
                      </a:lnTo>
                      <a:lnTo>
                        <a:pt x="153" y="720"/>
                      </a:lnTo>
                      <a:lnTo>
                        <a:pt x="152" y="721"/>
                      </a:lnTo>
                      <a:lnTo>
                        <a:pt x="152" y="729"/>
                      </a:lnTo>
                      <a:lnTo>
                        <a:pt x="149" y="733"/>
                      </a:lnTo>
                      <a:lnTo>
                        <a:pt x="136" y="737"/>
                      </a:lnTo>
                      <a:lnTo>
                        <a:pt x="136" y="743"/>
                      </a:lnTo>
                      <a:lnTo>
                        <a:pt x="134" y="747"/>
                      </a:lnTo>
                      <a:lnTo>
                        <a:pt x="120" y="743"/>
                      </a:lnTo>
                      <a:lnTo>
                        <a:pt x="110" y="737"/>
                      </a:lnTo>
                      <a:lnTo>
                        <a:pt x="102" y="736"/>
                      </a:lnTo>
                      <a:lnTo>
                        <a:pt x="99" y="736"/>
                      </a:lnTo>
                      <a:lnTo>
                        <a:pt x="95" y="742"/>
                      </a:lnTo>
                      <a:lnTo>
                        <a:pt x="89" y="743"/>
                      </a:lnTo>
                      <a:lnTo>
                        <a:pt x="87" y="749"/>
                      </a:lnTo>
                      <a:lnTo>
                        <a:pt x="83" y="753"/>
                      </a:lnTo>
                      <a:lnTo>
                        <a:pt x="78" y="750"/>
                      </a:lnTo>
                      <a:lnTo>
                        <a:pt x="70" y="739"/>
                      </a:lnTo>
                      <a:lnTo>
                        <a:pt x="67" y="737"/>
                      </a:lnTo>
                      <a:lnTo>
                        <a:pt x="62" y="737"/>
                      </a:lnTo>
                      <a:lnTo>
                        <a:pt x="56" y="743"/>
                      </a:lnTo>
                      <a:lnTo>
                        <a:pt x="52" y="747"/>
                      </a:lnTo>
                      <a:lnTo>
                        <a:pt x="48" y="748"/>
                      </a:lnTo>
                      <a:lnTo>
                        <a:pt x="43" y="744"/>
                      </a:lnTo>
                      <a:lnTo>
                        <a:pt x="38" y="740"/>
                      </a:lnTo>
                      <a:lnTo>
                        <a:pt x="39" y="737"/>
                      </a:lnTo>
                      <a:lnTo>
                        <a:pt x="43" y="732"/>
                      </a:lnTo>
                      <a:lnTo>
                        <a:pt x="43" y="728"/>
                      </a:lnTo>
                      <a:lnTo>
                        <a:pt x="46" y="724"/>
                      </a:lnTo>
                      <a:lnTo>
                        <a:pt x="48" y="723"/>
                      </a:lnTo>
                      <a:lnTo>
                        <a:pt x="48" y="721"/>
                      </a:lnTo>
                      <a:lnTo>
                        <a:pt x="44" y="717"/>
                      </a:lnTo>
                      <a:lnTo>
                        <a:pt x="44" y="710"/>
                      </a:lnTo>
                      <a:lnTo>
                        <a:pt x="46" y="706"/>
                      </a:lnTo>
                      <a:lnTo>
                        <a:pt x="46" y="702"/>
                      </a:lnTo>
                      <a:lnTo>
                        <a:pt x="45" y="699"/>
                      </a:lnTo>
                      <a:lnTo>
                        <a:pt x="45" y="697"/>
                      </a:lnTo>
                      <a:lnTo>
                        <a:pt x="46" y="697"/>
                      </a:lnTo>
                      <a:lnTo>
                        <a:pt x="45" y="694"/>
                      </a:lnTo>
                      <a:lnTo>
                        <a:pt x="41" y="689"/>
                      </a:lnTo>
                      <a:lnTo>
                        <a:pt x="39" y="684"/>
                      </a:lnTo>
                      <a:lnTo>
                        <a:pt x="36" y="682"/>
                      </a:lnTo>
                      <a:lnTo>
                        <a:pt x="35" y="678"/>
                      </a:lnTo>
                      <a:lnTo>
                        <a:pt x="32" y="674"/>
                      </a:lnTo>
                      <a:lnTo>
                        <a:pt x="32" y="670"/>
                      </a:lnTo>
                      <a:lnTo>
                        <a:pt x="27" y="670"/>
                      </a:lnTo>
                      <a:lnTo>
                        <a:pt x="24" y="673"/>
                      </a:lnTo>
                      <a:lnTo>
                        <a:pt x="20" y="673"/>
                      </a:lnTo>
                      <a:lnTo>
                        <a:pt x="19" y="672"/>
                      </a:lnTo>
                      <a:lnTo>
                        <a:pt x="17" y="666"/>
                      </a:lnTo>
                      <a:lnTo>
                        <a:pt x="9" y="654"/>
                      </a:lnTo>
                      <a:lnTo>
                        <a:pt x="9" y="652"/>
                      </a:lnTo>
                      <a:lnTo>
                        <a:pt x="14" y="646"/>
                      </a:lnTo>
                      <a:lnTo>
                        <a:pt x="13" y="641"/>
                      </a:lnTo>
                      <a:lnTo>
                        <a:pt x="11" y="635"/>
                      </a:lnTo>
                      <a:lnTo>
                        <a:pt x="11" y="629"/>
                      </a:lnTo>
                      <a:lnTo>
                        <a:pt x="9" y="621"/>
                      </a:lnTo>
                      <a:lnTo>
                        <a:pt x="6" y="618"/>
                      </a:lnTo>
                      <a:lnTo>
                        <a:pt x="5" y="618"/>
                      </a:lnTo>
                      <a:lnTo>
                        <a:pt x="3" y="614"/>
                      </a:lnTo>
                      <a:lnTo>
                        <a:pt x="1" y="614"/>
                      </a:lnTo>
                      <a:lnTo>
                        <a:pt x="1" y="608"/>
                      </a:lnTo>
                      <a:lnTo>
                        <a:pt x="3" y="600"/>
                      </a:lnTo>
                      <a:lnTo>
                        <a:pt x="2" y="597"/>
                      </a:lnTo>
                      <a:lnTo>
                        <a:pt x="0" y="594"/>
                      </a:lnTo>
                      <a:lnTo>
                        <a:pt x="23" y="572"/>
                      </a:lnTo>
                      <a:lnTo>
                        <a:pt x="30" y="554"/>
                      </a:lnTo>
                      <a:lnTo>
                        <a:pt x="34" y="543"/>
                      </a:lnTo>
                      <a:lnTo>
                        <a:pt x="39" y="532"/>
                      </a:lnTo>
                      <a:lnTo>
                        <a:pt x="41" y="530"/>
                      </a:lnTo>
                      <a:lnTo>
                        <a:pt x="45" y="532"/>
                      </a:lnTo>
                      <a:lnTo>
                        <a:pt x="45" y="533"/>
                      </a:lnTo>
                      <a:lnTo>
                        <a:pt x="51" y="534"/>
                      </a:lnTo>
                      <a:lnTo>
                        <a:pt x="55" y="537"/>
                      </a:lnTo>
                      <a:lnTo>
                        <a:pt x="60" y="550"/>
                      </a:lnTo>
                      <a:lnTo>
                        <a:pt x="70" y="568"/>
                      </a:lnTo>
                      <a:lnTo>
                        <a:pt x="84" y="572"/>
                      </a:lnTo>
                      <a:lnTo>
                        <a:pt x="87" y="572"/>
                      </a:lnTo>
                      <a:lnTo>
                        <a:pt x="113" y="550"/>
                      </a:lnTo>
                      <a:lnTo>
                        <a:pt x="200" y="553"/>
                      </a:lnTo>
                      <a:lnTo>
                        <a:pt x="271" y="554"/>
                      </a:lnTo>
                      <a:lnTo>
                        <a:pt x="344" y="555"/>
                      </a:lnTo>
                      <a:lnTo>
                        <a:pt x="362" y="555"/>
                      </a:lnTo>
                      <a:lnTo>
                        <a:pt x="374" y="508"/>
                      </a:lnTo>
                      <a:lnTo>
                        <a:pt x="352" y="501"/>
                      </a:lnTo>
                      <a:lnTo>
                        <a:pt x="346" y="444"/>
                      </a:lnTo>
                      <a:lnTo>
                        <a:pt x="341" y="389"/>
                      </a:lnTo>
                      <a:lnTo>
                        <a:pt x="335" y="335"/>
                      </a:lnTo>
                      <a:lnTo>
                        <a:pt x="329" y="281"/>
                      </a:lnTo>
                      <a:lnTo>
                        <a:pt x="324" y="226"/>
                      </a:lnTo>
                      <a:lnTo>
                        <a:pt x="318" y="169"/>
                      </a:lnTo>
                      <a:lnTo>
                        <a:pt x="313" y="114"/>
                      </a:lnTo>
                      <a:lnTo>
                        <a:pt x="307" y="58"/>
                      </a:lnTo>
                      <a:lnTo>
                        <a:pt x="301" y="0"/>
                      </a:lnTo>
                      <a:lnTo>
                        <a:pt x="398" y="0"/>
                      </a:lnTo>
                      <a:lnTo>
                        <a:pt x="462" y="44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27" name="Freeform 126"/>
                <p:cNvSpPr>
                  <a:spLocks noChangeAspect="1"/>
                </p:cNvSpPr>
                <p:nvPr/>
              </p:nvSpPr>
              <p:spPr bwMode="gray">
                <a:xfrm>
                  <a:off x="4887118" y="2994372"/>
                  <a:ext cx="69850" cy="147638"/>
                </a:xfrm>
                <a:custGeom>
                  <a:avLst/>
                  <a:gdLst/>
                  <a:ahLst/>
                  <a:cxnLst>
                    <a:cxn ang="0">
                      <a:pos x="123" y="461"/>
                    </a:cxn>
                    <a:cxn ang="0">
                      <a:pos x="145" y="444"/>
                    </a:cxn>
                    <a:cxn ang="0">
                      <a:pos x="151" y="424"/>
                    </a:cxn>
                    <a:cxn ang="0">
                      <a:pos x="147" y="387"/>
                    </a:cxn>
                    <a:cxn ang="0">
                      <a:pos x="164" y="373"/>
                    </a:cxn>
                    <a:cxn ang="0">
                      <a:pos x="178" y="355"/>
                    </a:cxn>
                    <a:cxn ang="0">
                      <a:pos x="213" y="331"/>
                    </a:cxn>
                    <a:cxn ang="0">
                      <a:pos x="217" y="284"/>
                    </a:cxn>
                    <a:cxn ang="0">
                      <a:pos x="212" y="277"/>
                    </a:cxn>
                    <a:cxn ang="0">
                      <a:pos x="202" y="278"/>
                    </a:cxn>
                    <a:cxn ang="0">
                      <a:pos x="198" y="269"/>
                    </a:cxn>
                    <a:cxn ang="0">
                      <a:pos x="186" y="251"/>
                    </a:cxn>
                    <a:cxn ang="0">
                      <a:pos x="172" y="252"/>
                    </a:cxn>
                    <a:cxn ang="0">
                      <a:pos x="164" y="249"/>
                    </a:cxn>
                    <a:cxn ang="0">
                      <a:pos x="153" y="246"/>
                    </a:cxn>
                    <a:cxn ang="0">
                      <a:pos x="138" y="226"/>
                    </a:cxn>
                    <a:cxn ang="0">
                      <a:pos x="150" y="219"/>
                    </a:cxn>
                    <a:cxn ang="0">
                      <a:pos x="153" y="203"/>
                    </a:cxn>
                    <a:cxn ang="0">
                      <a:pos x="166" y="195"/>
                    </a:cxn>
                    <a:cxn ang="0">
                      <a:pos x="185" y="181"/>
                    </a:cxn>
                    <a:cxn ang="0">
                      <a:pos x="198" y="163"/>
                    </a:cxn>
                    <a:cxn ang="0">
                      <a:pos x="204" y="132"/>
                    </a:cxn>
                    <a:cxn ang="0">
                      <a:pos x="194" y="111"/>
                    </a:cxn>
                    <a:cxn ang="0">
                      <a:pos x="181" y="101"/>
                    </a:cxn>
                    <a:cxn ang="0">
                      <a:pos x="172" y="79"/>
                    </a:cxn>
                    <a:cxn ang="0">
                      <a:pos x="183" y="59"/>
                    </a:cxn>
                    <a:cxn ang="0">
                      <a:pos x="207" y="31"/>
                    </a:cxn>
                    <a:cxn ang="0">
                      <a:pos x="194" y="19"/>
                    </a:cxn>
                    <a:cxn ang="0">
                      <a:pos x="182" y="32"/>
                    </a:cxn>
                    <a:cxn ang="0">
                      <a:pos x="171" y="39"/>
                    </a:cxn>
                    <a:cxn ang="0">
                      <a:pos x="161" y="24"/>
                    </a:cxn>
                    <a:cxn ang="0">
                      <a:pos x="155" y="9"/>
                    </a:cxn>
                    <a:cxn ang="0">
                      <a:pos x="138" y="0"/>
                    </a:cxn>
                    <a:cxn ang="0">
                      <a:pos x="115" y="2"/>
                    </a:cxn>
                    <a:cxn ang="0">
                      <a:pos x="91" y="13"/>
                    </a:cxn>
                    <a:cxn ang="0">
                      <a:pos x="79" y="24"/>
                    </a:cxn>
                    <a:cxn ang="0">
                      <a:pos x="73" y="31"/>
                    </a:cxn>
                    <a:cxn ang="0">
                      <a:pos x="62" y="41"/>
                    </a:cxn>
                    <a:cxn ang="0">
                      <a:pos x="51" y="55"/>
                    </a:cxn>
                    <a:cxn ang="0">
                      <a:pos x="58" y="61"/>
                    </a:cxn>
                    <a:cxn ang="0">
                      <a:pos x="52" y="101"/>
                    </a:cxn>
                    <a:cxn ang="0">
                      <a:pos x="56" y="134"/>
                    </a:cxn>
                    <a:cxn ang="0">
                      <a:pos x="59" y="147"/>
                    </a:cxn>
                    <a:cxn ang="0">
                      <a:pos x="49" y="185"/>
                    </a:cxn>
                    <a:cxn ang="0">
                      <a:pos x="27" y="208"/>
                    </a:cxn>
                    <a:cxn ang="0">
                      <a:pos x="14" y="217"/>
                    </a:cxn>
                    <a:cxn ang="0">
                      <a:pos x="3" y="226"/>
                    </a:cxn>
                    <a:cxn ang="0">
                      <a:pos x="3" y="234"/>
                    </a:cxn>
                    <a:cxn ang="0">
                      <a:pos x="14" y="272"/>
                    </a:cxn>
                    <a:cxn ang="0">
                      <a:pos x="37" y="285"/>
                    </a:cxn>
                    <a:cxn ang="0">
                      <a:pos x="46" y="323"/>
                    </a:cxn>
                    <a:cxn ang="0">
                      <a:pos x="89" y="348"/>
                    </a:cxn>
                    <a:cxn ang="0">
                      <a:pos x="91" y="349"/>
                    </a:cxn>
                    <a:cxn ang="0">
                      <a:pos x="110" y="459"/>
                    </a:cxn>
                  </a:cxnLst>
                  <a:rect l="0" t="0" r="r" b="b"/>
                  <a:pathLst>
                    <a:path w="218" h="462">
                      <a:moveTo>
                        <a:pt x="111" y="462"/>
                      </a:moveTo>
                      <a:lnTo>
                        <a:pt x="123" y="461"/>
                      </a:lnTo>
                      <a:lnTo>
                        <a:pt x="135" y="452"/>
                      </a:lnTo>
                      <a:lnTo>
                        <a:pt x="145" y="444"/>
                      </a:lnTo>
                      <a:lnTo>
                        <a:pt x="151" y="434"/>
                      </a:lnTo>
                      <a:lnTo>
                        <a:pt x="151" y="424"/>
                      </a:lnTo>
                      <a:lnTo>
                        <a:pt x="145" y="396"/>
                      </a:lnTo>
                      <a:lnTo>
                        <a:pt x="147" y="387"/>
                      </a:lnTo>
                      <a:lnTo>
                        <a:pt x="151" y="379"/>
                      </a:lnTo>
                      <a:lnTo>
                        <a:pt x="164" y="373"/>
                      </a:lnTo>
                      <a:lnTo>
                        <a:pt x="174" y="365"/>
                      </a:lnTo>
                      <a:lnTo>
                        <a:pt x="178" y="355"/>
                      </a:lnTo>
                      <a:lnTo>
                        <a:pt x="207" y="336"/>
                      </a:lnTo>
                      <a:lnTo>
                        <a:pt x="213" y="331"/>
                      </a:lnTo>
                      <a:lnTo>
                        <a:pt x="218" y="320"/>
                      </a:lnTo>
                      <a:lnTo>
                        <a:pt x="217" y="284"/>
                      </a:lnTo>
                      <a:lnTo>
                        <a:pt x="218" y="281"/>
                      </a:lnTo>
                      <a:lnTo>
                        <a:pt x="212" y="277"/>
                      </a:lnTo>
                      <a:lnTo>
                        <a:pt x="208" y="278"/>
                      </a:lnTo>
                      <a:lnTo>
                        <a:pt x="202" y="278"/>
                      </a:lnTo>
                      <a:lnTo>
                        <a:pt x="198" y="273"/>
                      </a:lnTo>
                      <a:lnTo>
                        <a:pt x="198" y="269"/>
                      </a:lnTo>
                      <a:lnTo>
                        <a:pt x="191" y="251"/>
                      </a:lnTo>
                      <a:lnTo>
                        <a:pt x="186" y="251"/>
                      </a:lnTo>
                      <a:lnTo>
                        <a:pt x="177" y="257"/>
                      </a:lnTo>
                      <a:lnTo>
                        <a:pt x="172" y="252"/>
                      </a:lnTo>
                      <a:lnTo>
                        <a:pt x="170" y="246"/>
                      </a:lnTo>
                      <a:lnTo>
                        <a:pt x="164" y="249"/>
                      </a:lnTo>
                      <a:lnTo>
                        <a:pt x="159" y="249"/>
                      </a:lnTo>
                      <a:lnTo>
                        <a:pt x="153" y="246"/>
                      </a:lnTo>
                      <a:lnTo>
                        <a:pt x="142" y="239"/>
                      </a:lnTo>
                      <a:lnTo>
                        <a:pt x="138" y="226"/>
                      </a:lnTo>
                      <a:lnTo>
                        <a:pt x="138" y="215"/>
                      </a:lnTo>
                      <a:lnTo>
                        <a:pt x="150" y="219"/>
                      </a:lnTo>
                      <a:lnTo>
                        <a:pt x="150" y="210"/>
                      </a:lnTo>
                      <a:lnTo>
                        <a:pt x="153" y="203"/>
                      </a:lnTo>
                      <a:lnTo>
                        <a:pt x="160" y="201"/>
                      </a:lnTo>
                      <a:lnTo>
                        <a:pt x="166" y="195"/>
                      </a:lnTo>
                      <a:lnTo>
                        <a:pt x="172" y="192"/>
                      </a:lnTo>
                      <a:lnTo>
                        <a:pt x="185" y="181"/>
                      </a:lnTo>
                      <a:lnTo>
                        <a:pt x="192" y="174"/>
                      </a:lnTo>
                      <a:lnTo>
                        <a:pt x="198" y="163"/>
                      </a:lnTo>
                      <a:lnTo>
                        <a:pt x="207" y="140"/>
                      </a:lnTo>
                      <a:lnTo>
                        <a:pt x="204" y="132"/>
                      </a:lnTo>
                      <a:lnTo>
                        <a:pt x="202" y="116"/>
                      </a:lnTo>
                      <a:lnTo>
                        <a:pt x="194" y="111"/>
                      </a:lnTo>
                      <a:lnTo>
                        <a:pt x="191" y="104"/>
                      </a:lnTo>
                      <a:lnTo>
                        <a:pt x="181" y="101"/>
                      </a:lnTo>
                      <a:lnTo>
                        <a:pt x="176" y="95"/>
                      </a:lnTo>
                      <a:lnTo>
                        <a:pt x="172" y="79"/>
                      </a:lnTo>
                      <a:lnTo>
                        <a:pt x="175" y="66"/>
                      </a:lnTo>
                      <a:lnTo>
                        <a:pt x="183" y="59"/>
                      </a:lnTo>
                      <a:lnTo>
                        <a:pt x="194" y="55"/>
                      </a:lnTo>
                      <a:lnTo>
                        <a:pt x="207" y="31"/>
                      </a:lnTo>
                      <a:lnTo>
                        <a:pt x="201" y="19"/>
                      </a:lnTo>
                      <a:lnTo>
                        <a:pt x="194" y="19"/>
                      </a:lnTo>
                      <a:lnTo>
                        <a:pt x="188" y="27"/>
                      </a:lnTo>
                      <a:lnTo>
                        <a:pt x="182" y="32"/>
                      </a:lnTo>
                      <a:lnTo>
                        <a:pt x="175" y="35"/>
                      </a:lnTo>
                      <a:lnTo>
                        <a:pt x="171" y="39"/>
                      </a:lnTo>
                      <a:lnTo>
                        <a:pt x="160" y="35"/>
                      </a:lnTo>
                      <a:lnTo>
                        <a:pt x="161" y="24"/>
                      </a:lnTo>
                      <a:lnTo>
                        <a:pt x="156" y="15"/>
                      </a:lnTo>
                      <a:lnTo>
                        <a:pt x="155" y="9"/>
                      </a:lnTo>
                      <a:lnTo>
                        <a:pt x="156" y="7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5" y="2"/>
                      </a:lnTo>
                      <a:lnTo>
                        <a:pt x="104" y="7"/>
                      </a:lnTo>
                      <a:lnTo>
                        <a:pt x="91" y="13"/>
                      </a:lnTo>
                      <a:lnTo>
                        <a:pt x="83" y="19"/>
                      </a:lnTo>
                      <a:lnTo>
                        <a:pt x="79" y="24"/>
                      </a:lnTo>
                      <a:lnTo>
                        <a:pt x="75" y="25"/>
                      </a:lnTo>
                      <a:lnTo>
                        <a:pt x="73" y="31"/>
                      </a:lnTo>
                      <a:lnTo>
                        <a:pt x="68" y="35"/>
                      </a:lnTo>
                      <a:lnTo>
                        <a:pt x="62" y="41"/>
                      </a:lnTo>
                      <a:lnTo>
                        <a:pt x="53" y="50"/>
                      </a:lnTo>
                      <a:lnTo>
                        <a:pt x="51" y="55"/>
                      </a:lnTo>
                      <a:lnTo>
                        <a:pt x="57" y="57"/>
                      </a:lnTo>
                      <a:lnTo>
                        <a:pt x="58" y="61"/>
                      </a:lnTo>
                      <a:lnTo>
                        <a:pt x="53" y="93"/>
                      </a:lnTo>
                      <a:lnTo>
                        <a:pt x="52" y="101"/>
                      </a:lnTo>
                      <a:lnTo>
                        <a:pt x="54" y="111"/>
                      </a:lnTo>
                      <a:lnTo>
                        <a:pt x="56" y="134"/>
                      </a:lnTo>
                      <a:lnTo>
                        <a:pt x="59" y="140"/>
                      </a:lnTo>
                      <a:lnTo>
                        <a:pt x="59" y="147"/>
                      </a:lnTo>
                      <a:lnTo>
                        <a:pt x="53" y="171"/>
                      </a:lnTo>
                      <a:lnTo>
                        <a:pt x="49" y="185"/>
                      </a:lnTo>
                      <a:lnTo>
                        <a:pt x="30" y="197"/>
                      </a:lnTo>
                      <a:lnTo>
                        <a:pt x="27" y="208"/>
                      </a:lnTo>
                      <a:lnTo>
                        <a:pt x="19" y="212"/>
                      </a:lnTo>
                      <a:lnTo>
                        <a:pt x="14" y="217"/>
                      </a:lnTo>
                      <a:lnTo>
                        <a:pt x="13" y="220"/>
                      </a:lnTo>
                      <a:lnTo>
                        <a:pt x="3" y="226"/>
                      </a:lnTo>
                      <a:lnTo>
                        <a:pt x="0" y="226"/>
                      </a:lnTo>
                      <a:lnTo>
                        <a:pt x="3" y="234"/>
                      </a:lnTo>
                      <a:lnTo>
                        <a:pt x="8" y="246"/>
                      </a:lnTo>
                      <a:lnTo>
                        <a:pt x="14" y="272"/>
                      </a:lnTo>
                      <a:lnTo>
                        <a:pt x="32" y="279"/>
                      </a:lnTo>
                      <a:lnTo>
                        <a:pt x="37" y="285"/>
                      </a:lnTo>
                      <a:lnTo>
                        <a:pt x="46" y="305"/>
                      </a:lnTo>
                      <a:lnTo>
                        <a:pt x="46" y="323"/>
                      </a:lnTo>
                      <a:lnTo>
                        <a:pt x="64" y="336"/>
                      </a:lnTo>
                      <a:lnTo>
                        <a:pt x="89" y="348"/>
                      </a:lnTo>
                      <a:lnTo>
                        <a:pt x="91" y="348"/>
                      </a:lnTo>
                      <a:lnTo>
                        <a:pt x="91" y="349"/>
                      </a:lnTo>
                      <a:lnTo>
                        <a:pt x="105" y="422"/>
                      </a:lnTo>
                      <a:lnTo>
                        <a:pt x="110" y="459"/>
                      </a:lnTo>
                      <a:lnTo>
                        <a:pt x="111" y="46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28" name="Freeform 127"/>
                <p:cNvSpPr>
                  <a:spLocks noChangeAspect="1"/>
                </p:cNvSpPr>
                <p:nvPr/>
              </p:nvSpPr>
              <p:spPr bwMode="gray">
                <a:xfrm>
                  <a:off x="5187155" y="3115022"/>
                  <a:ext cx="195263" cy="192088"/>
                </a:xfrm>
                <a:custGeom>
                  <a:avLst/>
                  <a:gdLst/>
                  <a:ahLst/>
                  <a:cxnLst>
                    <a:cxn ang="0">
                      <a:pos x="24" y="438"/>
                    </a:cxn>
                    <a:cxn ang="0">
                      <a:pos x="24" y="265"/>
                    </a:cxn>
                    <a:cxn ang="0">
                      <a:pos x="7" y="146"/>
                    </a:cxn>
                    <a:cxn ang="0">
                      <a:pos x="1" y="120"/>
                    </a:cxn>
                    <a:cxn ang="0">
                      <a:pos x="3" y="90"/>
                    </a:cxn>
                    <a:cxn ang="0">
                      <a:pos x="15" y="74"/>
                    </a:cxn>
                    <a:cxn ang="0">
                      <a:pos x="7" y="22"/>
                    </a:cxn>
                    <a:cxn ang="0">
                      <a:pos x="18" y="2"/>
                    </a:cxn>
                    <a:cxn ang="0">
                      <a:pos x="35" y="8"/>
                    </a:cxn>
                    <a:cxn ang="0">
                      <a:pos x="91" y="7"/>
                    </a:cxn>
                    <a:cxn ang="0">
                      <a:pos x="153" y="27"/>
                    </a:cxn>
                    <a:cxn ang="0">
                      <a:pos x="185" y="38"/>
                    </a:cxn>
                    <a:cxn ang="0">
                      <a:pos x="228" y="45"/>
                    </a:cxn>
                    <a:cxn ang="0">
                      <a:pos x="269" y="40"/>
                    </a:cxn>
                    <a:cxn ang="0">
                      <a:pos x="311" y="13"/>
                    </a:cxn>
                    <a:cxn ang="0">
                      <a:pos x="336" y="8"/>
                    </a:cxn>
                    <a:cxn ang="0">
                      <a:pos x="322" y="20"/>
                    </a:cxn>
                    <a:cxn ang="0">
                      <a:pos x="349" y="13"/>
                    </a:cxn>
                    <a:cxn ang="0">
                      <a:pos x="365" y="11"/>
                    </a:cxn>
                    <a:cxn ang="0">
                      <a:pos x="400" y="6"/>
                    </a:cxn>
                    <a:cxn ang="0">
                      <a:pos x="408" y="16"/>
                    </a:cxn>
                    <a:cxn ang="0">
                      <a:pos x="426" y="28"/>
                    </a:cxn>
                    <a:cxn ang="0">
                      <a:pos x="447" y="40"/>
                    </a:cxn>
                    <a:cxn ang="0">
                      <a:pos x="463" y="34"/>
                    </a:cxn>
                    <a:cxn ang="0">
                      <a:pos x="510" y="29"/>
                    </a:cxn>
                    <a:cxn ang="0">
                      <a:pos x="523" y="35"/>
                    </a:cxn>
                    <a:cxn ang="0">
                      <a:pos x="561" y="144"/>
                    </a:cxn>
                    <a:cxn ang="0">
                      <a:pos x="539" y="211"/>
                    </a:cxn>
                    <a:cxn ang="0">
                      <a:pos x="538" y="234"/>
                    </a:cxn>
                    <a:cxn ang="0">
                      <a:pos x="518" y="242"/>
                    </a:cxn>
                    <a:cxn ang="0">
                      <a:pos x="486" y="207"/>
                    </a:cxn>
                    <a:cxn ang="0">
                      <a:pos x="473" y="175"/>
                    </a:cxn>
                    <a:cxn ang="0">
                      <a:pos x="454" y="144"/>
                    </a:cxn>
                    <a:cxn ang="0">
                      <a:pos x="440" y="109"/>
                    </a:cxn>
                    <a:cxn ang="0">
                      <a:pos x="436" y="104"/>
                    </a:cxn>
                    <a:cxn ang="0">
                      <a:pos x="429" y="119"/>
                    </a:cxn>
                    <a:cxn ang="0">
                      <a:pos x="437" y="143"/>
                    </a:cxn>
                    <a:cxn ang="0">
                      <a:pos x="441" y="167"/>
                    </a:cxn>
                    <a:cxn ang="0">
                      <a:pos x="475" y="223"/>
                    </a:cxn>
                    <a:cxn ang="0">
                      <a:pos x="490" y="256"/>
                    </a:cxn>
                    <a:cxn ang="0">
                      <a:pos x="512" y="304"/>
                    </a:cxn>
                    <a:cxn ang="0">
                      <a:pos x="530" y="346"/>
                    </a:cxn>
                    <a:cxn ang="0">
                      <a:pos x="558" y="401"/>
                    </a:cxn>
                    <a:cxn ang="0">
                      <a:pos x="578" y="444"/>
                    </a:cxn>
                    <a:cxn ang="0">
                      <a:pos x="608" y="471"/>
                    </a:cxn>
                    <a:cxn ang="0">
                      <a:pos x="598" y="476"/>
                    </a:cxn>
                    <a:cxn ang="0">
                      <a:pos x="598" y="488"/>
                    </a:cxn>
                    <a:cxn ang="0">
                      <a:pos x="581" y="545"/>
                    </a:cxn>
                    <a:cxn ang="0">
                      <a:pos x="526" y="578"/>
                    </a:cxn>
                    <a:cxn ang="0">
                      <a:pos x="473" y="592"/>
                    </a:cxn>
                    <a:cxn ang="0">
                      <a:pos x="378" y="579"/>
                    </a:cxn>
                    <a:cxn ang="0">
                      <a:pos x="366" y="590"/>
                    </a:cxn>
                    <a:cxn ang="0">
                      <a:pos x="233" y="590"/>
                    </a:cxn>
                    <a:cxn ang="0">
                      <a:pos x="77" y="590"/>
                    </a:cxn>
                  </a:cxnLst>
                  <a:rect l="0" t="0" r="r" b="b"/>
                  <a:pathLst>
                    <a:path w="612" h="605">
                      <a:moveTo>
                        <a:pt x="24" y="552"/>
                      </a:moveTo>
                      <a:lnTo>
                        <a:pt x="24" y="496"/>
                      </a:lnTo>
                      <a:lnTo>
                        <a:pt x="24" y="438"/>
                      </a:lnTo>
                      <a:lnTo>
                        <a:pt x="24" y="382"/>
                      </a:lnTo>
                      <a:lnTo>
                        <a:pt x="24" y="324"/>
                      </a:lnTo>
                      <a:lnTo>
                        <a:pt x="24" y="265"/>
                      </a:lnTo>
                      <a:lnTo>
                        <a:pt x="24" y="207"/>
                      </a:lnTo>
                      <a:lnTo>
                        <a:pt x="24" y="164"/>
                      </a:lnTo>
                      <a:lnTo>
                        <a:pt x="7" y="146"/>
                      </a:lnTo>
                      <a:lnTo>
                        <a:pt x="10" y="133"/>
                      </a:lnTo>
                      <a:lnTo>
                        <a:pt x="8" y="130"/>
                      </a:lnTo>
                      <a:lnTo>
                        <a:pt x="1" y="120"/>
                      </a:lnTo>
                      <a:lnTo>
                        <a:pt x="0" y="99"/>
                      </a:lnTo>
                      <a:lnTo>
                        <a:pt x="0" y="95"/>
                      </a:lnTo>
                      <a:lnTo>
                        <a:pt x="3" y="90"/>
                      </a:lnTo>
                      <a:lnTo>
                        <a:pt x="13" y="86"/>
                      </a:lnTo>
                      <a:lnTo>
                        <a:pt x="13" y="83"/>
                      </a:lnTo>
                      <a:lnTo>
                        <a:pt x="15" y="74"/>
                      </a:lnTo>
                      <a:lnTo>
                        <a:pt x="12" y="57"/>
                      </a:lnTo>
                      <a:lnTo>
                        <a:pt x="11" y="30"/>
                      </a:lnTo>
                      <a:lnTo>
                        <a:pt x="7" y="22"/>
                      </a:lnTo>
                      <a:lnTo>
                        <a:pt x="7" y="19"/>
                      </a:lnTo>
                      <a:lnTo>
                        <a:pt x="15" y="11"/>
                      </a:lnTo>
                      <a:lnTo>
                        <a:pt x="18" y="2"/>
                      </a:lnTo>
                      <a:lnTo>
                        <a:pt x="26" y="0"/>
                      </a:lnTo>
                      <a:lnTo>
                        <a:pt x="28" y="6"/>
                      </a:lnTo>
                      <a:lnTo>
                        <a:pt x="35" y="8"/>
                      </a:lnTo>
                      <a:lnTo>
                        <a:pt x="54" y="3"/>
                      </a:lnTo>
                      <a:lnTo>
                        <a:pt x="67" y="3"/>
                      </a:lnTo>
                      <a:lnTo>
                        <a:pt x="91" y="7"/>
                      </a:lnTo>
                      <a:lnTo>
                        <a:pt x="123" y="12"/>
                      </a:lnTo>
                      <a:lnTo>
                        <a:pt x="142" y="19"/>
                      </a:lnTo>
                      <a:lnTo>
                        <a:pt x="153" y="27"/>
                      </a:lnTo>
                      <a:lnTo>
                        <a:pt x="169" y="29"/>
                      </a:lnTo>
                      <a:lnTo>
                        <a:pt x="177" y="31"/>
                      </a:lnTo>
                      <a:lnTo>
                        <a:pt x="185" y="38"/>
                      </a:lnTo>
                      <a:lnTo>
                        <a:pt x="201" y="38"/>
                      </a:lnTo>
                      <a:lnTo>
                        <a:pt x="214" y="39"/>
                      </a:lnTo>
                      <a:lnTo>
                        <a:pt x="228" y="45"/>
                      </a:lnTo>
                      <a:lnTo>
                        <a:pt x="239" y="52"/>
                      </a:lnTo>
                      <a:lnTo>
                        <a:pt x="255" y="47"/>
                      </a:lnTo>
                      <a:lnTo>
                        <a:pt x="269" y="40"/>
                      </a:lnTo>
                      <a:lnTo>
                        <a:pt x="285" y="28"/>
                      </a:lnTo>
                      <a:lnTo>
                        <a:pt x="301" y="20"/>
                      </a:lnTo>
                      <a:lnTo>
                        <a:pt x="311" y="13"/>
                      </a:lnTo>
                      <a:lnTo>
                        <a:pt x="324" y="12"/>
                      </a:lnTo>
                      <a:lnTo>
                        <a:pt x="334" y="8"/>
                      </a:lnTo>
                      <a:lnTo>
                        <a:pt x="336" y="8"/>
                      </a:lnTo>
                      <a:lnTo>
                        <a:pt x="336" y="11"/>
                      </a:lnTo>
                      <a:lnTo>
                        <a:pt x="324" y="16"/>
                      </a:lnTo>
                      <a:lnTo>
                        <a:pt x="322" y="20"/>
                      </a:lnTo>
                      <a:lnTo>
                        <a:pt x="324" y="20"/>
                      </a:lnTo>
                      <a:lnTo>
                        <a:pt x="344" y="17"/>
                      </a:lnTo>
                      <a:lnTo>
                        <a:pt x="349" y="13"/>
                      </a:lnTo>
                      <a:lnTo>
                        <a:pt x="354" y="7"/>
                      </a:lnTo>
                      <a:lnTo>
                        <a:pt x="361" y="11"/>
                      </a:lnTo>
                      <a:lnTo>
                        <a:pt x="365" y="11"/>
                      </a:lnTo>
                      <a:lnTo>
                        <a:pt x="388" y="11"/>
                      </a:lnTo>
                      <a:lnTo>
                        <a:pt x="390" y="11"/>
                      </a:lnTo>
                      <a:lnTo>
                        <a:pt x="400" y="6"/>
                      </a:lnTo>
                      <a:lnTo>
                        <a:pt x="401" y="8"/>
                      </a:lnTo>
                      <a:lnTo>
                        <a:pt x="405" y="14"/>
                      </a:lnTo>
                      <a:lnTo>
                        <a:pt x="408" y="16"/>
                      </a:lnTo>
                      <a:lnTo>
                        <a:pt x="411" y="20"/>
                      </a:lnTo>
                      <a:lnTo>
                        <a:pt x="416" y="24"/>
                      </a:lnTo>
                      <a:lnTo>
                        <a:pt x="426" y="28"/>
                      </a:lnTo>
                      <a:lnTo>
                        <a:pt x="431" y="35"/>
                      </a:lnTo>
                      <a:lnTo>
                        <a:pt x="435" y="40"/>
                      </a:lnTo>
                      <a:lnTo>
                        <a:pt x="447" y="40"/>
                      </a:lnTo>
                      <a:lnTo>
                        <a:pt x="456" y="39"/>
                      </a:lnTo>
                      <a:lnTo>
                        <a:pt x="459" y="35"/>
                      </a:lnTo>
                      <a:lnTo>
                        <a:pt x="463" y="34"/>
                      </a:lnTo>
                      <a:lnTo>
                        <a:pt x="468" y="40"/>
                      </a:lnTo>
                      <a:lnTo>
                        <a:pt x="491" y="38"/>
                      </a:lnTo>
                      <a:lnTo>
                        <a:pt x="510" y="29"/>
                      </a:lnTo>
                      <a:lnTo>
                        <a:pt x="521" y="20"/>
                      </a:lnTo>
                      <a:lnTo>
                        <a:pt x="523" y="30"/>
                      </a:lnTo>
                      <a:lnTo>
                        <a:pt x="523" y="35"/>
                      </a:lnTo>
                      <a:lnTo>
                        <a:pt x="527" y="41"/>
                      </a:lnTo>
                      <a:lnTo>
                        <a:pt x="545" y="99"/>
                      </a:lnTo>
                      <a:lnTo>
                        <a:pt x="561" y="144"/>
                      </a:lnTo>
                      <a:lnTo>
                        <a:pt x="554" y="164"/>
                      </a:lnTo>
                      <a:lnTo>
                        <a:pt x="549" y="187"/>
                      </a:lnTo>
                      <a:lnTo>
                        <a:pt x="539" y="211"/>
                      </a:lnTo>
                      <a:lnTo>
                        <a:pt x="539" y="221"/>
                      </a:lnTo>
                      <a:lnTo>
                        <a:pt x="539" y="228"/>
                      </a:lnTo>
                      <a:lnTo>
                        <a:pt x="538" y="234"/>
                      </a:lnTo>
                      <a:lnTo>
                        <a:pt x="534" y="238"/>
                      </a:lnTo>
                      <a:lnTo>
                        <a:pt x="527" y="242"/>
                      </a:lnTo>
                      <a:lnTo>
                        <a:pt x="518" y="242"/>
                      </a:lnTo>
                      <a:lnTo>
                        <a:pt x="510" y="235"/>
                      </a:lnTo>
                      <a:lnTo>
                        <a:pt x="499" y="219"/>
                      </a:lnTo>
                      <a:lnTo>
                        <a:pt x="486" y="207"/>
                      </a:lnTo>
                      <a:lnTo>
                        <a:pt x="476" y="192"/>
                      </a:lnTo>
                      <a:lnTo>
                        <a:pt x="474" y="189"/>
                      </a:lnTo>
                      <a:lnTo>
                        <a:pt x="473" y="175"/>
                      </a:lnTo>
                      <a:lnTo>
                        <a:pt x="469" y="165"/>
                      </a:lnTo>
                      <a:lnTo>
                        <a:pt x="458" y="154"/>
                      </a:lnTo>
                      <a:lnTo>
                        <a:pt x="454" y="144"/>
                      </a:lnTo>
                      <a:lnTo>
                        <a:pt x="447" y="135"/>
                      </a:lnTo>
                      <a:lnTo>
                        <a:pt x="442" y="115"/>
                      </a:lnTo>
                      <a:lnTo>
                        <a:pt x="440" y="109"/>
                      </a:lnTo>
                      <a:lnTo>
                        <a:pt x="438" y="105"/>
                      </a:lnTo>
                      <a:lnTo>
                        <a:pt x="436" y="104"/>
                      </a:lnTo>
                      <a:lnTo>
                        <a:pt x="436" y="104"/>
                      </a:lnTo>
                      <a:lnTo>
                        <a:pt x="432" y="108"/>
                      </a:lnTo>
                      <a:lnTo>
                        <a:pt x="433" y="113"/>
                      </a:lnTo>
                      <a:lnTo>
                        <a:pt x="429" y="119"/>
                      </a:lnTo>
                      <a:lnTo>
                        <a:pt x="427" y="131"/>
                      </a:lnTo>
                      <a:lnTo>
                        <a:pt x="429" y="135"/>
                      </a:lnTo>
                      <a:lnTo>
                        <a:pt x="437" y="143"/>
                      </a:lnTo>
                      <a:lnTo>
                        <a:pt x="440" y="148"/>
                      </a:lnTo>
                      <a:lnTo>
                        <a:pt x="442" y="154"/>
                      </a:lnTo>
                      <a:lnTo>
                        <a:pt x="441" y="167"/>
                      </a:lnTo>
                      <a:lnTo>
                        <a:pt x="443" y="174"/>
                      </a:lnTo>
                      <a:lnTo>
                        <a:pt x="458" y="203"/>
                      </a:lnTo>
                      <a:lnTo>
                        <a:pt x="475" y="223"/>
                      </a:lnTo>
                      <a:lnTo>
                        <a:pt x="483" y="230"/>
                      </a:lnTo>
                      <a:lnTo>
                        <a:pt x="487" y="232"/>
                      </a:lnTo>
                      <a:lnTo>
                        <a:pt x="490" y="256"/>
                      </a:lnTo>
                      <a:lnTo>
                        <a:pt x="495" y="265"/>
                      </a:lnTo>
                      <a:lnTo>
                        <a:pt x="506" y="278"/>
                      </a:lnTo>
                      <a:lnTo>
                        <a:pt x="512" y="304"/>
                      </a:lnTo>
                      <a:lnTo>
                        <a:pt x="515" y="314"/>
                      </a:lnTo>
                      <a:lnTo>
                        <a:pt x="517" y="323"/>
                      </a:lnTo>
                      <a:lnTo>
                        <a:pt x="530" y="346"/>
                      </a:lnTo>
                      <a:lnTo>
                        <a:pt x="535" y="362"/>
                      </a:lnTo>
                      <a:lnTo>
                        <a:pt x="545" y="374"/>
                      </a:lnTo>
                      <a:lnTo>
                        <a:pt x="558" y="401"/>
                      </a:lnTo>
                      <a:lnTo>
                        <a:pt x="562" y="412"/>
                      </a:lnTo>
                      <a:lnTo>
                        <a:pt x="567" y="418"/>
                      </a:lnTo>
                      <a:lnTo>
                        <a:pt x="578" y="444"/>
                      </a:lnTo>
                      <a:lnTo>
                        <a:pt x="588" y="455"/>
                      </a:lnTo>
                      <a:lnTo>
                        <a:pt x="604" y="469"/>
                      </a:lnTo>
                      <a:lnTo>
                        <a:pt x="608" y="471"/>
                      </a:lnTo>
                      <a:lnTo>
                        <a:pt x="612" y="476"/>
                      </a:lnTo>
                      <a:lnTo>
                        <a:pt x="612" y="479"/>
                      </a:lnTo>
                      <a:lnTo>
                        <a:pt x="598" y="476"/>
                      </a:lnTo>
                      <a:lnTo>
                        <a:pt x="596" y="476"/>
                      </a:lnTo>
                      <a:lnTo>
                        <a:pt x="594" y="479"/>
                      </a:lnTo>
                      <a:lnTo>
                        <a:pt x="598" y="488"/>
                      </a:lnTo>
                      <a:lnTo>
                        <a:pt x="599" y="513"/>
                      </a:lnTo>
                      <a:lnTo>
                        <a:pt x="603" y="525"/>
                      </a:lnTo>
                      <a:lnTo>
                        <a:pt x="581" y="545"/>
                      </a:lnTo>
                      <a:lnTo>
                        <a:pt x="567" y="540"/>
                      </a:lnTo>
                      <a:lnTo>
                        <a:pt x="555" y="571"/>
                      </a:lnTo>
                      <a:lnTo>
                        <a:pt x="526" y="578"/>
                      </a:lnTo>
                      <a:lnTo>
                        <a:pt x="518" y="603"/>
                      </a:lnTo>
                      <a:lnTo>
                        <a:pt x="491" y="605"/>
                      </a:lnTo>
                      <a:lnTo>
                        <a:pt x="473" y="592"/>
                      </a:lnTo>
                      <a:lnTo>
                        <a:pt x="376" y="590"/>
                      </a:lnTo>
                      <a:lnTo>
                        <a:pt x="381" y="579"/>
                      </a:lnTo>
                      <a:lnTo>
                        <a:pt x="378" y="579"/>
                      </a:lnTo>
                      <a:lnTo>
                        <a:pt x="376" y="578"/>
                      </a:lnTo>
                      <a:lnTo>
                        <a:pt x="373" y="578"/>
                      </a:lnTo>
                      <a:lnTo>
                        <a:pt x="366" y="590"/>
                      </a:lnTo>
                      <a:lnTo>
                        <a:pt x="338" y="590"/>
                      </a:lnTo>
                      <a:lnTo>
                        <a:pt x="285" y="590"/>
                      </a:lnTo>
                      <a:lnTo>
                        <a:pt x="233" y="590"/>
                      </a:lnTo>
                      <a:lnTo>
                        <a:pt x="180" y="590"/>
                      </a:lnTo>
                      <a:lnTo>
                        <a:pt x="129" y="590"/>
                      </a:lnTo>
                      <a:lnTo>
                        <a:pt x="77" y="590"/>
                      </a:lnTo>
                      <a:lnTo>
                        <a:pt x="24" y="590"/>
                      </a:lnTo>
                      <a:lnTo>
                        <a:pt x="24" y="55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29" name="Freeform 128"/>
                <p:cNvSpPr>
                  <a:spLocks noChangeAspect="1"/>
                </p:cNvSpPr>
                <p:nvPr/>
              </p:nvSpPr>
              <p:spPr bwMode="gray">
                <a:xfrm>
                  <a:off x="4610893" y="2999134"/>
                  <a:ext cx="352425" cy="358775"/>
                </a:xfrm>
                <a:custGeom>
                  <a:avLst/>
                  <a:gdLst/>
                  <a:ahLst/>
                  <a:cxnLst>
                    <a:cxn ang="0">
                      <a:pos x="0" y="608"/>
                    </a:cxn>
                    <a:cxn ang="0">
                      <a:pos x="66" y="499"/>
                    </a:cxn>
                    <a:cxn ang="0">
                      <a:pos x="97" y="485"/>
                    </a:cxn>
                    <a:cxn ang="0">
                      <a:pos x="114" y="474"/>
                    </a:cxn>
                    <a:cxn ang="0">
                      <a:pos x="178" y="463"/>
                    </a:cxn>
                    <a:cxn ang="0">
                      <a:pos x="196" y="437"/>
                    </a:cxn>
                    <a:cxn ang="0">
                      <a:pos x="274" y="403"/>
                    </a:cxn>
                    <a:cxn ang="0">
                      <a:pos x="267" y="390"/>
                    </a:cxn>
                    <a:cxn ang="0">
                      <a:pos x="268" y="372"/>
                    </a:cxn>
                    <a:cxn ang="0">
                      <a:pos x="268" y="355"/>
                    </a:cxn>
                    <a:cxn ang="0">
                      <a:pos x="308" y="348"/>
                    </a:cxn>
                    <a:cxn ang="0">
                      <a:pos x="316" y="328"/>
                    </a:cxn>
                    <a:cxn ang="0">
                      <a:pos x="371" y="324"/>
                    </a:cxn>
                    <a:cxn ang="0">
                      <a:pos x="409" y="327"/>
                    </a:cxn>
                    <a:cxn ang="0">
                      <a:pos x="416" y="304"/>
                    </a:cxn>
                    <a:cxn ang="0">
                      <a:pos x="393" y="268"/>
                    </a:cxn>
                    <a:cxn ang="0">
                      <a:pos x="391" y="238"/>
                    </a:cxn>
                    <a:cxn ang="0">
                      <a:pos x="387" y="204"/>
                    </a:cxn>
                    <a:cxn ang="0">
                      <a:pos x="381" y="167"/>
                    </a:cxn>
                    <a:cxn ang="0">
                      <a:pos x="373" y="155"/>
                    </a:cxn>
                    <a:cxn ang="0">
                      <a:pos x="371" y="137"/>
                    </a:cxn>
                    <a:cxn ang="0">
                      <a:pos x="438" y="91"/>
                    </a:cxn>
                    <a:cxn ang="0">
                      <a:pos x="484" y="73"/>
                    </a:cxn>
                    <a:cxn ang="0">
                      <a:pos x="543" y="41"/>
                    </a:cxn>
                    <a:cxn ang="0">
                      <a:pos x="640" y="20"/>
                    </a:cxn>
                    <a:cxn ang="0">
                      <a:pos x="689" y="14"/>
                    </a:cxn>
                    <a:cxn ang="0">
                      <a:pos x="764" y="27"/>
                    </a:cxn>
                    <a:cxn ang="0">
                      <a:pos x="819" y="0"/>
                    </a:cxn>
                    <a:cxn ang="0">
                      <a:pos x="866" y="9"/>
                    </a:cxn>
                    <a:cxn ang="0">
                      <a:pos x="921" y="10"/>
                    </a:cxn>
                    <a:cxn ang="0">
                      <a:pos x="935" y="26"/>
                    </a:cxn>
                    <a:cxn ang="0">
                      <a:pos x="926" y="78"/>
                    </a:cxn>
                    <a:cxn ang="0">
                      <a:pos x="932" y="132"/>
                    </a:cxn>
                    <a:cxn ang="0">
                      <a:pos x="892" y="197"/>
                    </a:cxn>
                    <a:cxn ang="0">
                      <a:pos x="876" y="219"/>
                    </a:cxn>
                    <a:cxn ang="0">
                      <a:pos x="919" y="290"/>
                    </a:cxn>
                    <a:cxn ang="0">
                      <a:pos x="964" y="334"/>
                    </a:cxn>
                    <a:cxn ang="0">
                      <a:pos x="973" y="457"/>
                    </a:cxn>
                    <a:cxn ang="0">
                      <a:pos x="1001" y="554"/>
                    </a:cxn>
                    <a:cxn ang="0">
                      <a:pos x="999" y="684"/>
                    </a:cxn>
                    <a:cxn ang="0">
                      <a:pos x="1001" y="737"/>
                    </a:cxn>
                    <a:cxn ang="0">
                      <a:pos x="1048" y="801"/>
                    </a:cxn>
                    <a:cxn ang="0">
                      <a:pos x="1112" y="864"/>
                    </a:cxn>
                    <a:cxn ang="0">
                      <a:pos x="911" y="1005"/>
                    </a:cxn>
                    <a:cxn ang="0">
                      <a:pos x="704" y="1115"/>
                    </a:cxn>
                    <a:cxn ang="0">
                      <a:pos x="663" y="1129"/>
                    </a:cxn>
                    <a:cxn ang="0">
                      <a:pos x="645" y="1109"/>
                    </a:cxn>
                    <a:cxn ang="0">
                      <a:pos x="646" y="1092"/>
                    </a:cxn>
                    <a:cxn ang="0">
                      <a:pos x="644" y="1076"/>
                    </a:cxn>
                    <a:cxn ang="0">
                      <a:pos x="614" y="1064"/>
                    </a:cxn>
                    <a:cxn ang="0">
                      <a:pos x="585" y="1054"/>
                    </a:cxn>
                    <a:cxn ang="0">
                      <a:pos x="560" y="1032"/>
                    </a:cxn>
                    <a:cxn ang="0">
                      <a:pos x="532" y="1016"/>
                    </a:cxn>
                    <a:cxn ang="0">
                      <a:pos x="203" y="773"/>
                    </a:cxn>
                  </a:cxnLst>
                  <a:rect l="0" t="0" r="r" b="b"/>
                  <a:pathLst>
                    <a:path w="1112" h="1129">
                      <a:moveTo>
                        <a:pt x="203" y="773"/>
                      </a:moveTo>
                      <a:lnTo>
                        <a:pt x="126" y="722"/>
                      </a:lnTo>
                      <a:lnTo>
                        <a:pt x="67" y="684"/>
                      </a:lnTo>
                      <a:lnTo>
                        <a:pt x="0" y="640"/>
                      </a:lnTo>
                      <a:lnTo>
                        <a:pt x="0" y="608"/>
                      </a:lnTo>
                      <a:lnTo>
                        <a:pt x="0" y="539"/>
                      </a:lnTo>
                      <a:lnTo>
                        <a:pt x="26" y="519"/>
                      </a:lnTo>
                      <a:lnTo>
                        <a:pt x="47" y="505"/>
                      </a:lnTo>
                      <a:lnTo>
                        <a:pt x="59" y="505"/>
                      </a:lnTo>
                      <a:lnTo>
                        <a:pt x="66" y="499"/>
                      </a:lnTo>
                      <a:lnTo>
                        <a:pt x="72" y="495"/>
                      </a:lnTo>
                      <a:lnTo>
                        <a:pt x="79" y="489"/>
                      </a:lnTo>
                      <a:lnTo>
                        <a:pt x="83" y="485"/>
                      </a:lnTo>
                      <a:lnTo>
                        <a:pt x="90" y="487"/>
                      </a:lnTo>
                      <a:lnTo>
                        <a:pt x="97" y="485"/>
                      </a:lnTo>
                      <a:lnTo>
                        <a:pt x="102" y="488"/>
                      </a:lnTo>
                      <a:lnTo>
                        <a:pt x="110" y="488"/>
                      </a:lnTo>
                      <a:lnTo>
                        <a:pt x="113" y="487"/>
                      </a:lnTo>
                      <a:lnTo>
                        <a:pt x="113" y="478"/>
                      </a:lnTo>
                      <a:lnTo>
                        <a:pt x="114" y="474"/>
                      </a:lnTo>
                      <a:lnTo>
                        <a:pt x="131" y="476"/>
                      </a:lnTo>
                      <a:lnTo>
                        <a:pt x="136" y="473"/>
                      </a:lnTo>
                      <a:lnTo>
                        <a:pt x="145" y="473"/>
                      </a:lnTo>
                      <a:lnTo>
                        <a:pt x="161" y="471"/>
                      </a:lnTo>
                      <a:lnTo>
                        <a:pt x="178" y="463"/>
                      </a:lnTo>
                      <a:lnTo>
                        <a:pt x="184" y="458"/>
                      </a:lnTo>
                      <a:lnTo>
                        <a:pt x="190" y="453"/>
                      </a:lnTo>
                      <a:lnTo>
                        <a:pt x="193" y="447"/>
                      </a:lnTo>
                      <a:lnTo>
                        <a:pt x="193" y="445"/>
                      </a:lnTo>
                      <a:lnTo>
                        <a:pt x="196" y="437"/>
                      </a:lnTo>
                      <a:lnTo>
                        <a:pt x="206" y="430"/>
                      </a:lnTo>
                      <a:lnTo>
                        <a:pt x="221" y="424"/>
                      </a:lnTo>
                      <a:lnTo>
                        <a:pt x="227" y="424"/>
                      </a:lnTo>
                      <a:lnTo>
                        <a:pt x="253" y="407"/>
                      </a:lnTo>
                      <a:lnTo>
                        <a:pt x="274" y="403"/>
                      </a:lnTo>
                      <a:lnTo>
                        <a:pt x="276" y="399"/>
                      </a:lnTo>
                      <a:lnTo>
                        <a:pt x="275" y="396"/>
                      </a:lnTo>
                      <a:lnTo>
                        <a:pt x="270" y="392"/>
                      </a:lnTo>
                      <a:lnTo>
                        <a:pt x="269" y="390"/>
                      </a:lnTo>
                      <a:lnTo>
                        <a:pt x="267" y="390"/>
                      </a:lnTo>
                      <a:lnTo>
                        <a:pt x="264" y="391"/>
                      </a:lnTo>
                      <a:lnTo>
                        <a:pt x="263" y="391"/>
                      </a:lnTo>
                      <a:lnTo>
                        <a:pt x="264" y="380"/>
                      </a:lnTo>
                      <a:lnTo>
                        <a:pt x="269" y="375"/>
                      </a:lnTo>
                      <a:lnTo>
                        <a:pt x="268" y="372"/>
                      </a:lnTo>
                      <a:lnTo>
                        <a:pt x="263" y="372"/>
                      </a:lnTo>
                      <a:lnTo>
                        <a:pt x="262" y="370"/>
                      </a:lnTo>
                      <a:lnTo>
                        <a:pt x="262" y="364"/>
                      </a:lnTo>
                      <a:lnTo>
                        <a:pt x="263" y="359"/>
                      </a:lnTo>
                      <a:lnTo>
                        <a:pt x="268" y="355"/>
                      </a:lnTo>
                      <a:lnTo>
                        <a:pt x="273" y="355"/>
                      </a:lnTo>
                      <a:lnTo>
                        <a:pt x="280" y="356"/>
                      </a:lnTo>
                      <a:lnTo>
                        <a:pt x="287" y="355"/>
                      </a:lnTo>
                      <a:lnTo>
                        <a:pt x="295" y="354"/>
                      </a:lnTo>
                      <a:lnTo>
                        <a:pt x="308" y="348"/>
                      </a:lnTo>
                      <a:lnTo>
                        <a:pt x="311" y="345"/>
                      </a:lnTo>
                      <a:lnTo>
                        <a:pt x="312" y="339"/>
                      </a:lnTo>
                      <a:lnTo>
                        <a:pt x="311" y="334"/>
                      </a:lnTo>
                      <a:lnTo>
                        <a:pt x="313" y="329"/>
                      </a:lnTo>
                      <a:lnTo>
                        <a:pt x="316" y="328"/>
                      </a:lnTo>
                      <a:lnTo>
                        <a:pt x="323" y="331"/>
                      </a:lnTo>
                      <a:lnTo>
                        <a:pt x="327" y="329"/>
                      </a:lnTo>
                      <a:lnTo>
                        <a:pt x="330" y="327"/>
                      </a:lnTo>
                      <a:lnTo>
                        <a:pt x="340" y="324"/>
                      </a:lnTo>
                      <a:lnTo>
                        <a:pt x="371" y="324"/>
                      </a:lnTo>
                      <a:lnTo>
                        <a:pt x="376" y="323"/>
                      </a:lnTo>
                      <a:lnTo>
                        <a:pt x="387" y="324"/>
                      </a:lnTo>
                      <a:lnTo>
                        <a:pt x="399" y="324"/>
                      </a:lnTo>
                      <a:lnTo>
                        <a:pt x="407" y="328"/>
                      </a:lnTo>
                      <a:lnTo>
                        <a:pt x="409" y="327"/>
                      </a:lnTo>
                      <a:lnTo>
                        <a:pt x="409" y="324"/>
                      </a:lnTo>
                      <a:lnTo>
                        <a:pt x="407" y="320"/>
                      </a:lnTo>
                      <a:lnTo>
                        <a:pt x="408" y="313"/>
                      </a:lnTo>
                      <a:lnTo>
                        <a:pt x="411" y="306"/>
                      </a:lnTo>
                      <a:lnTo>
                        <a:pt x="416" y="304"/>
                      </a:lnTo>
                      <a:lnTo>
                        <a:pt x="416" y="302"/>
                      </a:lnTo>
                      <a:lnTo>
                        <a:pt x="409" y="297"/>
                      </a:lnTo>
                      <a:lnTo>
                        <a:pt x="400" y="289"/>
                      </a:lnTo>
                      <a:lnTo>
                        <a:pt x="393" y="274"/>
                      </a:lnTo>
                      <a:lnTo>
                        <a:pt x="393" y="268"/>
                      </a:lnTo>
                      <a:lnTo>
                        <a:pt x="391" y="261"/>
                      </a:lnTo>
                      <a:lnTo>
                        <a:pt x="388" y="253"/>
                      </a:lnTo>
                      <a:lnTo>
                        <a:pt x="389" y="248"/>
                      </a:lnTo>
                      <a:lnTo>
                        <a:pt x="391" y="242"/>
                      </a:lnTo>
                      <a:lnTo>
                        <a:pt x="391" y="238"/>
                      </a:lnTo>
                      <a:lnTo>
                        <a:pt x="391" y="234"/>
                      </a:lnTo>
                      <a:lnTo>
                        <a:pt x="383" y="226"/>
                      </a:lnTo>
                      <a:lnTo>
                        <a:pt x="386" y="223"/>
                      </a:lnTo>
                      <a:lnTo>
                        <a:pt x="386" y="213"/>
                      </a:lnTo>
                      <a:lnTo>
                        <a:pt x="387" y="204"/>
                      </a:lnTo>
                      <a:lnTo>
                        <a:pt x="384" y="193"/>
                      </a:lnTo>
                      <a:lnTo>
                        <a:pt x="382" y="186"/>
                      </a:lnTo>
                      <a:lnTo>
                        <a:pt x="386" y="178"/>
                      </a:lnTo>
                      <a:lnTo>
                        <a:pt x="380" y="170"/>
                      </a:lnTo>
                      <a:lnTo>
                        <a:pt x="381" y="167"/>
                      </a:lnTo>
                      <a:lnTo>
                        <a:pt x="382" y="167"/>
                      </a:lnTo>
                      <a:lnTo>
                        <a:pt x="383" y="165"/>
                      </a:lnTo>
                      <a:lnTo>
                        <a:pt x="381" y="161"/>
                      </a:lnTo>
                      <a:lnTo>
                        <a:pt x="377" y="160"/>
                      </a:lnTo>
                      <a:lnTo>
                        <a:pt x="373" y="155"/>
                      </a:lnTo>
                      <a:lnTo>
                        <a:pt x="372" y="153"/>
                      </a:lnTo>
                      <a:lnTo>
                        <a:pt x="366" y="148"/>
                      </a:lnTo>
                      <a:lnTo>
                        <a:pt x="364" y="143"/>
                      </a:lnTo>
                      <a:lnTo>
                        <a:pt x="364" y="138"/>
                      </a:lnTo>
                      <a:lnTo>
                        <a:pt x="371" y="137"/>
                      </a:lnTo>
                      <a:lnTo>
                        <a:pt x="384" y="132"/>
                      </a:lnTo>
                      <a:lnTo>
                        <a:pt x="399" y="123"/>
                      </a:lnTo>
                      <a:lnTo>
                        <a:pt x="418" y="100"/>
                      </a:lnTo>
                      <a:lnTo>
                        <a:pt x="429" y="92"/>
                      </a:lnTo>
                      <a:lnTo>
                        <a:pt x="438" y="91"/>
                      </a:lnTo>
                      <a:lnTo>
                        <a:pt x="445" y="92"/>
                      </a:lnTo>
                      <a:lnTo>
                        <a:pt x="456" y="82"/>
                      </a:lnTo>
                      <a:lnTo>
                        <a:pt x="467" y="87"/>
                      </a:lnTo>
                      <a:lnTo>
                        <a:pt x="478" y="82"/>
                      </a:lnTo>
                      <a:lnTo>
                        <a:pt x="484" y="73"/>
                      </a:lnTo>
                      <a:lnTo>
                        <a:pt x="491" y="65"/>
                      </a:lnTo>
                      <a:lnTo>
                        <a:pt x="497" y="62"/>
                      </a:lnTo>
                      <a:lnTo>
                        <a:pt x="505" y="59"/>
                      </a:lnTo>
                      <a:lnTo>
                        <a:pt x="516" y="51"/>
                      </a:lnTo>
                      <a:lnTo>
                        <a:pt x="543" y="41"/>
                      </a:lnTo>
                      <a:lnTo>
                        <a:pt x="555" y="37"/>
                      </a:lnTo>
                      <a:lnTo>
                        <a:pt x="608" y="33"/>
                      </a:lnTo>
                      <a:lnTo>
                        <a:pt x="620" y="33"/>
                      </a:lnTo>
                      <a:lnTo>
                        <a:pt x="630" y="28"/>
                      </a:lnTo>
                      <a:lnTo>
                        <a:pt x="640" y="20"/>
                      </a:lnTo>
                      <a:lnTo>
                        <a:pt x="646" y="22"/>
                      </a:lnTo>
                      <a:lnTo>
                        <a:pt x="658" y="21"/>
                      </a:lnTo>
                      <a:lnTo>
                        <a:pt x="663" y="24"/>
                      </a:lnTo>
                      <a:lnTo>
                        <a:pt x="673" y="21"/>
                      </a:lnTo>
                      <a:lnTo>
                        <a:pt x="689" y="14"/>
                      </a:lnTo>
                      <a:lnTo>
                        <a:pt x="705" y="14"/>
                      </a:lnTo>
                      <a:lnTo>
                        <a:pt x="720" y="12"/>
                      </a:lnTo>
                      <a:lnTo>
                        <a:pt x="744" y="15"/>
                      </a:lnTo>
                      <a:lnTo>
                        <a:pt x="753" y="24"/>
                      </a:lnTo>
                      <a:lnTo>
                        <a:pt x="764" y="27"/>
                      </a:lnTo>
                      <a:lnTo>
                        <a:pt x="775" y="25"/>
                      </a:lnTo>
                      <a:lnTo>
                        <a:pt x="784" y="20"/>
                      </a:lnTo>
                      <a:lnTo>
                        <a:pt x="801" y="16"/>
                      </a:lnTo>
                      <a:lnTo>
                        <a:pt x="812" y="12"/>
                      </a:lnTo>
                      <a:lnTo>
                        <a:pt x="819" y="0"/>
                      </a:lnTo>
                      <a:lnTo>
                        <a:pt x="832" y="4"/>
                      </a:lnTo>
                      <a:lnTo>
                        <a:pt x="840" y="10"/>
                      </a:lnTo>
                      <a:lnTo>
                        <a:pt x="846" y="10"/>
                      </a:lnTo>
                      <a:lnTo>
                        <a:pt x="855" y="14"/>
                      </a:lnTo>
                      <a:lnTo>
                        <a:pt x="866" y="9"/>
                      </a:lnTo>
                      <a:lnTo>
                        <a:pt x="872" y="1"/>
                      </a:lnTo>
                      <a:lnTo>
                        <a:pt x="892" y="9"/>
                      </a:lnTo>
                      <a:lnTo>
                        <a:pt x="900" y="15"/>
                      </a:lnTo>
                      <a:lnTo>
                        <a:pt x="913" y="14"/>
                      </a:lnTo>
                      <a:lnTo>
                        <a:pt x="921" y="10"/>
                      </a:lnTo>
                      <a:lnTo>
                        <a:pt x="935" y="12"/>
                      </a:lnTo>
                      <a:lnTo>
                        <a:pt x="948" y="10"/>
                      </a:lnTo>
                      <a:lnTo>
                        <a:pt x="946" y="16"/>
                      </a:lnTo>
                      <a:lnTo>
                        <a:pt x="941" y="20"/>
                      </a:lnTo>
                      <a:lnTo>
                        <a:pt x="935" y="26"/>
                      </a:lnTo>
                      <a:lnTo>
                        <a:pt x="926" y="35"/>
                      </a:lnTo>
                      <a:lnTo>
                        <a:pt x="924" y="40"/>
                      </a:lnTo>
                      <a:lnTo>
                        <a:pt x="930" y="42"/>
                      </a:lnTo>
                      <a:lnTo>
                        <a:pt x="931" y="46"/>
                      </a:lnTo>
                      <a:lnTo>
                        <a:pt x="926" y="78"/>
                      </a:lnTo>
                      <a:lnTo>
                        <a:pt x="925" y="86"/>
                      </a:lnTo>
                      <a:lnTo>
                        <a:pt x="927" y="96"/>
                      </a:lnTo>
                      <a:lnTo>
                        <a:pt x="929" y="119"/>
                      </a:lnTo>
                      <a:lnTo>
                        <a:pt x="932" y="125"/>
                      </a:lnTo>
                      <a:lnTo>
                        <a:pt x="932" y="132"/>
                      </a:lnTo>
                      <a:lnTo>
                        <a:pt x="926" y="156"/>
                      </a:lnTo>
                      <a:lnTo>
                        <a:pt x="922" y="170"/>
                      </a:lnTo>
                      <a:lnTo>
                        <a:pt x="903" y="182"/>
                      </a:lnTo>
                      <a:lnTo>
                        <a:pt x="900" y="193"/>
                      </a:lnTo>
                      <a:lnTo>
                        <a:pt x="892" y="197"/>
                      </a:lnTo>
                      <a:lnTo>
                        <a:pt x="887" y="202"/>
                      </a:lnTo>
                      <a:lnTo>
                        <a:pt x="886" y="205"/>
                      </a:lnTo>
                      <a:lnTo>
                        <a:pt x="876" y="211"/>
                      </a:lnTo>
                      <a:lnTo>
                        <a:pt x="873" y="211"/>
                      </a:lnTo>
                      <a:lnTo>
                        <a:pt x="876" y="219"/>
                      </a:lnTo>
                      <a:lnTo>
                        <a:pt x="881" y="231"/>
                      </a:lnTo>
                      <a:lnTo>
                        <a:pt x="887" y="257"/>
                      </a:lnTo>
                      <a:lnTo>
                        <a:pt x="905" y="264"/>
                      </a:lnTo>
                      <a:lnTo>
                        <a:pt x="910" y="270"/>
                      </a:lnTo>
                      <a:lnTo>
                        <a:pt x="919" y="290"/>
                      </a:lnTo>
                      <a:lnTo>
                        <a:pt x="919" y="308"/>
                      </a:lnTo>
                      <a:lnTo>
                        <a:pt x="937" y="321"/>
                      </a:lnTo>
                      <a:lnTo>
                        <a:pt x="962" y="333"/>
                      </a:lnTo>
                      <a:lnTo>
                        <a:pt x="964" y="333"/>
                      </a:lnTo>
                      <a:lnTo>
                        <a:pt x="964" y="334"/>
                      </a:lnTo>
                      <a:lnTo>
                        <a:pt x="978" y="407"/>
                      </a:lnTo>
                      <a:lnTo>
                        <a:pt x="983" y="444"/>
                      </a:lnTo>
                      <a:lnTo>
                        <a:pt x="984" y="447"/>
                      </a:lnTo>
                      <a:lnTo>
                        <a:pt x="983" y="450"/>
                      </a:lnTo>
                      <a:lnTo>
                        <a:pt x="973" y="457"/>
                      </a:lnTo>
                      <a:lnTo>
                        <a:pt x="972" y="473"/>
                      </a:lnTo>
                      <a:lnTo>
                        <a:pt x="983" y="487"/>
                      </a:lnTo>
                      <a:lnTo>
                        <a:pt x="995" y="509"/>
                      </a:lnTo>
                      <a:lnTo>
                        <a:pt x="1000" y="532"/>
                      </a:lnTo>
                      <a:lnTo>
                        <a:pt x="1001" y="554"/>
                      </a:lnTo>
                      <a:lnTo>
                        <a:pt x="1001" y="585"/>
                      </a:lnTo>
                      <a:lnTo>
                        <a:pt x="1004" y="593"/>
                      </a:lnTo>
                      <a:lnTo>
                        <a:pt x="1004" y="606"/>
                      </a:lnTo>
                      <a:lnTo>
                        <a:pt x="1000" y="628"/>
                      </a:lnTo>
                      <a:lnTo>
                        <a:pt x="999" y="684"/>
                      </a:lnTo>
                      <a:lnTo>
                        <a:pt x="990" y="691"/>
                      </a:lnTo>
                      <a:lnTo>
                        <a:pt x="979" y="693"/>
                      </a:lnTo>
                      <a:lnTo>
                        <a:pt x="978" y="702"/>
                      </a:lnTo>
                      <a:lnTo>
                        <a:pt x="983" y="715"/>
                      </a:lnTo>
                      <a:lnTo>
                        <a:pt x="1001" y="737"/>
                      </a:lnTo>
                      <a:lnTo>
                        <a:pt x="1011" y="753"/>
                      </a:lnTo>
                      <a:lnTo>
                        <a:pt x="1012" y="773"/>
                      </a:lnTo>
                      <a:lnTo>
                        <a:pt x="1015" y="785"/>
                      </a:lnTo>
                      <a:lnTo>
                        <a:pt x="1029" y="800"/>
                      </a:lnTo>
                      <a:lnTo>
                        <a:pt x="1048" y="801"/>
                      </a:lnTo>
                      <a:lnTo>
                        <a:pt x="1059" y="801"/>
                      </a:lnTo>
                      <a:lnTo>
                        <a:pt x="1088" y="815"/>
                      </a:lnTo>
                      <a:lnTo>
                        <a:pt x="1106" y="844"/>
                      </a:lnTo>
                      <a:lnTo>
                        <a:pt x="1110" y="858"/>
                      </a:lnTo>
                      <a:lnTo>
                        <a:pt x="1112" y="864"/>
                      </a:lnTo>
                      <a:lnTo>
                        <a:pt x="1086" y="882"/>
                      </a:lnTo>
                      <a:lnTo>
                        <a:pt x="1042" y="913"/>
                      </a:lnTo>
                      <a:lnTo>
                        <a:pt x="999" y="944"/>
                      </a:lnTo>
                      <a:lnTo>
                        <a:pt x="956" y="974"/>
                      </a:lnTo>
                      <a:lnTo>
                        <a:pt x="911" y="1005"/>
                      </a:lnTo>
                      <a:lnTo>
                        <a:pt x="867" y="1036"/>
                      </a:lnTo>
                      <a:lnTo>
                        <a:pt x="824" y="1066"/>
                      </a:lnTo>
                      <a:lnTo>
                        <a:pt x="781" y="1096"/>
                      </a:lnTo>
                      <a:lnTo>
                        <a:pt x="766" y="1101"/>
                      </a:lnTo>
                      <a:lnTo>
                        <a:pt x="704" y="1115"/>
                      </a:lnTo>
                      <a:lnTo>
                        <a:pt x="695" y="1117"/>
                      </a:lnTo>
                      <a:lnTo>
                        <a:pt x="690" y="1119"/>
                      </a:lnTo>
                      <a:lnTo>
                        <a:pt x="680" y="1124"/>
                      </a:lnTo>
                      <a:lnTo>
                        <a:pt x="672" y="1124"/>
                      </a:lnTo>
                      <a:lnTo>
                        <a:pt x="663" y="1129"/>
                      </a:lnTo>
                      <a:lnTo>
                        <a:pt x="656" y="1129"/>
                      </a:lnTo>
                      <a:lnTo>
                        <a:pt x="650" y="1128"/>
                      </a:lnTo>
                      <a:lnTo>
                        <a:pt x="642" y="1119"/>
                      </a:lnTo>
                      <a:lnTo>
                        <a:pt x="642" y="1114"/>
                      </a:lnTo>
                      <a:lnTo>
                        <a:pt x="645" y="1109"/>
                      </a:lnTo>
                      <a:lnTo>
                        <a:pt x="644" y="1103"/>
                      </a:lnTo>
                      <a:lnTo>
                        <a:pt x="645" y="1101"/>
                      </a:lnTo>
                      <a:lnTo>
                        <a:pt x="649" y="1098"/>
                      </a:lnTo>
                      <a:lnTo>
                        <a:pt x="649" y="1096"/>
                      </a:lnTo>
                      <a:lnTo>
                        <a:pt x="646" y="1092"/>
                      </a:lnTo>
                      <a:lnTo>
                        <a:pt x="646" y="1088"/>
                      </a:lnTo>
                      <a:lnTo>
                        <a:pt x="647" y="1086"/>
                      </a:lnTo>
                      <a:lnTo>
                        <a:pt x="646" y="1080"/>
                      </a:lnTo>
                      <a:lnTo>
                        <a:pt x="645" y="1080"/>
                      </a:lnTo>
                      <a:lnTo>
                        <a:pt x="644" y="1076"/>
                      </a:lnTo>
                      <a:lnTo>
                        <a:pt x="640" y="1074"/>
                      </a:lnTo>
                      <a:lnTo>
                        <a:pt x="631" y="1071"/>
                      </a:lnTo>
                      <a:lnTo>
                        <a:pt x="623" y="1066"/>
                      </a:lnTo>
                      <a:lnTo>
                        <a:pt x="618" y="1066"/>
                      </a:lnTo>
                      <a:lnTo>
                        <a:pt x="614" y="1064"/>
                      </a:lnTo>
                      <a:lnTo>
                        <a:pt x="603" y="1064"/>
                      </a:lnTo>
                      <a:lnTo>
                        <a:pt x="599" y="1061"/>
                      </a:lnTo>
                      <a:lnTo>
                        <a:pt x="596" y="1054"/>
                      </a:lnTo>
                      <a:lnTo>
                        <a:pt x="593" y="1053"/>
                      </a:lnTo>
                      <a:lnTo>
                        <a:pt x="585" y="1054"/>
                      </a:lnTo>
                      <a:lnTo>
                        <a:pt x="575" y="1052"/>
                      </a:lnTo>
                      <a:lnTo>
                        <a:pt x="570" y="1049"/>
                      </a:lnTo>
                      <a:lnTo>
                        <a:pt x="563" y="1043"/>
                      </a:lnTo>
                      <a:lnTo>
                        <a:pt x="561" y="1038"/>
                      </a:lnTo>
                      <a:lnTo>
                        <a:pt x="560" y="1032"/>
                      </a:lnTo>
                      <a:lnTo>
                        <a:pt x="558" y="1031"/>
                      </a:lnTo>
                      <a:lnTo>
                        <a:pt x="547" y="1025"/>
                      </a:lnTo>
                      <a:lnTo>
                        <a:pt x="539" y="1023"/>
                      </a:lnTo>
                      <a:lnTo>
                        <a:pt x="533" y="1020"/>
                      </a:lnTo>
                      <a:lnTo>
                        <a:pt x="532" y="1016"/>
                      </a:lnTo>
                      <a:lnTo>
                        <a:pt x="533" y="1007"/>
                      </a:lnTo>
                      <a:lnTo>
                        <a:pt x="529" y="1004"/>
                      </a:lnTo>
                      <a:lnTo>
                        <a:pt x="529" y="999"/>
                      </a:lnTo>
                      <a:lnTo>
                        <a:pt x="267" y="817"/>
                      </a:lnTo>
                      <a:lnTo>
                        <a:pt x="203" y="773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30" name="Freeform 129"/>
                <p:cNvSpPr>
                  <a:spLocks noChangeAspect="1"/>
                </p:cNvSpPr>
                <p:nvPr/>
              </p:nvSpPr>
              <p:spPr bwMode="gray">
                <a:xfrm>
                  <a:off x="4464843" y="3202334"/>
                  <a:ext cx="209550" cy="231775"/>
                </a:xfrm>
                <a:custGeom>
                  <a:avLst/>
                  <a:gdLst/>
                  <a:ahLst/>
                  <a:cxnLst>
                    <a:cxn ang="0">
                      <a:pos x="96" y="347"/>
                    </a:cxn>
                    <a:cxn ang="0">
                      <a:pos x="14" y="353"/>
                    </a:cxn>
                    <a:cxn ang="0">
                      <a:pos x="5" y="364"/>
                    </a:cxn>
                    <a:cxn ang="0">
                      <a:pos x="0" y="369"/>
                    </a:cxn>
                    <a:cxn ang="0">
                      <a:pos x="22" y="391"/>
                    </a:cxn>
                    <a:cxn ang="0">
                      <a:pos x="40" y="409"/>
                    </a:cxn>
                    <a:cxn ang="0">
                      <a:pos x="41" y="437"/>
                    </a:cxn>
                    <a:cxn ang="0">
                      <a:pos x="28" y="460"/>
                    </a:cxn>
                    <a:cxn ang="0">
                      <a:pos x="49" y="501"/>
                    </a:cxn>
                    <a:cxn ang="0">
                      <a:pos x="50" y="563"/>
                    </a:cxn>
                    <a:cxn ang="0">
                      <a:pos x="30" y="623"/>
                    </a:cxn>
                    <a:cxn ang="0">
                      <a:pos x="24" y="650"/>
                    </a:cxn>
                    <a:cxn ang="0">
                      <a:pos x="37" y="627"/>
                    </a:cxn>
                    <a:cxn ang="0">
                      <a:pos x="50" y="627"/>
                    </a:cxn>
                    <a:cxn ang="0">
                      <a:pos x="76" y="628"/>
                    </a:cxn>
                    <a:cxn ang="0">
                      <a:pos x="98" y="624"/>
                    </a:cxn>
                    <a:cxn ang="0">
                      <a:pos x="102" y="619"/>
                    </a:cxn>
                    <a:cxn ang="0">
                      <a:pos x="119" y="620"/>
                    </a:cxn>
                    <a:cxn ang="0">
                      <a:pos x="141" y="620"/>
                    </a:cxn>
                    <a:cxn ang="0">
                      <a:pos x="161" y="635"/>
                    </a:cxn>
                    <a:cxn ang="0">
                      <a:pos x="173" y="647"/>
                    </a:cxn>
                    <a:cxn ang="0">
                      <a:pos x="183" y="651"/>
                    </a:cxn>
                    <a:cxn ang="0">
                      <a:pos x="200" y="662"/>
                    </a:cxn>
                    <a:cxn ang="0">
                      <a:pos x="209" y="677"/>
                    </a:cxn>
                    <a:cxn ang="0">
                      <a:pos x="215" y="686"/>
                    </a:cxn>
                    <a:cxn ang="0">
                      <a:pos x="222" y="692"/>
                    </a:cxn>
                    <a:cxn ang="0">
                      <a:pos x="223" y="698"/>
                    </a:cxn>
                    <a:cxn ang="0">
                      <a:pos x="231" y="704"/>
                    </a:cxn>
                    <a:cxn ang="0">
                      <a:pos x="244" y="709"/>
                    </a:cxn>
                    <a:cxn ang="0">
                      <a:pos x="250" y="719"/>
                    </a:cxn>
                    <a:cxn ang="0">
                      <a:pos x="286" y="705"/>
                    </a:cxn>
                    <a:cxn ang="0">
                      <a:pos x="302" y="665"/>
                    </a:cxn>
                    <a:cxn ang="0">
                      <a:pos x="308" y="666"/>
                    </a:cxn>
                    <a:cxn ang="0">
                      <a:pos x="323" y="683"/>
                    </a:cxn>
                    <a:cxn ang="0">
                      <a:pos x="350" y="705"/>
                    </a:cxn>
                    <a:cxn ang="0">
                      <a:pos x="534" y="687"/>
                    </a:cxn>
                    <a:cxn ang="0">
                      <a:pos x="637" y="641"/>
                    </a:cxn>
                    <a:cxn ang="0">
                      <a:pos x="604" y="522"/>
                    </a:cxn>
                    <a:cxn ang="0">
                      <a:pos x="587" y="359"/>
                    </a:cxn>
                    <a:cxn ang="0">
                      <a:pos x="570" y="191"/>
                    </a:cxn>
                    <a:cxn ang="0">
                      <a:pos x="584" y="82"/>
                    </a:cxn>
                    <a:cxn ang="0">
                      <a:pos x="458" y="70"/>
                    </a:cxn>
                    <a:cxn ang="0">
                      <a:pos x="299" y="70"/>
                    </a:cxn>
                    <a:cxn ang="0">
                      <a:pos x="281" y="187"/>
                    </a:cxn>
                    <a:cxn ang="0">
                      <a:pos x="244" y="231"/>
                    </a:cxn>
                    <a:cxn ang="0">
                      <a:pos x="220" y="245"/>
                    </a:cxn>
                    <a:cxn ang="0">
                      <a:pos x="215" y="290"/>
                    </a:cxn>
                    <a:cxn ang="0">
                      <a:pos x="222" y="347"/>
                    </a:cxn>
                  </a:cxnLst>
                  <a:rect l="0" t="0" r="r" b="b"/>
                  <a:pathLst>
                    <a:path w="661" h="727">
                      <a:moveTo>
                        <a:pt x="196" y="347"/>
                      </a:moveTo>
                      <a:lnTo>
                        <a:pt x="148" y="347"/>
                      </a:lnTo>
                      <a:lnTo>
                        <a:pt x="96" y="347"/>
                      </a:lnTo>
                      <a:lnTo>
                        <a:pt x="45" y="347"/>
                      </a:lnTo>
                      <a:lnTo>
                        <a:pt x="16" y="347"/>
                      </a:lnTo>
                      <a:lnTo>
                        <a:pt x="14" y="353"/>
                      </a:lnTo>
                      <a:lnTo>
                        <a:pt x="6" y="360"/>
                      </a:lnTo>
                      <a:lnTo>
                        <a:pt x="2" y="365"/>
                      </a:lnTo>
                      <a:lnTo>
                        <a:pt x="5" y="364"/>
                      </a:lnTo>
                      <a:lnTo>
                        <a:pt x="0" y="369"/>
                      </a:lnTo>
                      <a:lnTo>
                        <a:pt x="0" y="371"/>
                      </a:lnTo>
                      <a:lnTo>
                        <a:pt x="0" y="369"/>
                      </a:lnTo>
                      <a:lnTo>
                        <a:pt x="10" y="365"/>
                      </a:lnTo>
                      <a:lnTo>
                        <a:pt x="12" y="369"/>
                      </a:lnTo>
                      <a:lnTo>
                        <a:pt x="22" y="391"/>
                      </a:lnTo>
                      <a:lnTo>
                        <a:pt x="23" y="393"/>
                      </a:lnTo>
                      <a:lnTo>
                        <a:pt x="30" y="391"/>
                      </a:lnTo>
                      <a:lnTo>
                        <a:pt x="40" y="409"/>
                      </a:lnTo>
                      <a:lnTo>
                        <a:pt x="41" y="414"/>
                      </a:lnTo>
                      <a:lnTo>
                        <a:pt x="41" y="429"/>
                      </a:lnTo>
                      <a:lnTo>
                        <a:pt x="41" y="437"/>
                      </a:lnTo>
                      <a:lnTo>
                        <a:pt x="35" y="455"/>
                      </a:lnTo>
                      <a:lnTo>
                        <a:pt x="33" y="458"/>
                      </a:lnTo>
                      <a:lnTo>
                        <a:pt x="28" y="460"/>
                      </a:lnTo>
                      <a:lnTo>
                        <a:pt x="27" y="463"/>
                      </a:lnTo>
                      <a:lnTo>
                        <a:pt x="45" y="488"/>
                      </a:lnTo>
                      <a:lnTo>
                        <a:pt x="49" y="501"/>
                      </a:lnTo>
                      <a:lnTo>
                        <a:pt x="50" y="515"/>
                      </a:lnTo>
                      <a:lnTo>
                        <a:pt x="51" y="527"/>
                      </a:lnTo>
                      <a:lnTo>
                        <a:pt x="50" y="563"/>
                      </a:lnTo>
                      <a:lnTo>
                        <a:pt x="46" y="577"/>
                      </a:lnTo>
                      <a:lnTo>
                        <a:pt x="32" y="614"/>
                      </a:lnTo>
                      <a:lnTo>
                        <a:pt x="30" y="623"/>
                      </a:lnTo>
                      <a:lnTo>
                        <a:pt x="24" y="639"/>
                      </a:lnTo>
                      <a:lnTo>
                        <a:pt x="23" y="651"/>
                      </a:lnTo>
                      <a:lnTo>
                        <a:pt x="24" y="650"/>
                      </a:lnTo>
                      <a:lnTo>
                        <a:pt x="28" y="647"/>
                      </a:lnTo>
                      <a:lnTo>
                        <a:pt x="32" y="640"/>
                      </a:lnTo>
                      <a:lnTo>
                        <a:pt x="37" y="627"/>
                      </a:lnTo>
                      <a:lnTo>
                        <a:pt x="40" y="627"/>
                      </a:lnTo>
                      <a:lnTo>
                        <a:pt x="43" y="625"/>
                      </a:lnTo>
                      <a:lnTo>
                        <a:pt x="50" y="627"/>
                      </a:lnTo>
                      <a:lnTo>
                        <a:pt x="59" y="627"/>
                      </a:lnTo>
                      <a:lnTo>
                        <a:pt x="69" y="629"/>
                      </a:lnTo>
                      <a:lnTo>
                        <a:pt x="76" y="628"/>
                      </a:lnTo>
                      <a:lnTo>
                        <a:pt x="78" y="625"/>
                      </a:lnTo>
                      <a:lnTo>
                        <a:pt x="89" y="623"/>
                      </a:lnTo>
                      <a:lnTo>
                        <a:pt x="98" y="624"/>
                      </a:lnTo>
                      <a:lnTo>
                        <a:pt x="100" y="623"/>
                      </a:lnTo>
                      <a:lnTo>
                        <a:pt x="100" y="619"/>
                      </a:lnTo>
                      <a:lnTo>
                        <a:pt x="102" y="619"/>
                      </a:lnTo>
                      <a:lnTo>
                        <a:pt x="108" y="619"/>
                      </a:lnTo>
                      <a:lnTo>
                        <a:pt x="113" y="618"/>
                      </a:lnTo>
                      <a:lnTo>
                        <a:pt x="119" y="620"/>
                      </a:lnTo>
                      <a:lnTo>
                        <a:pt x="135" y="620"/>
                      </a:lnTo>
                      <a:lnTo>
                        <a:pt x="136" y="622"/>
                      </a:lnTo>
                      <a:lnTo>
                        <a:pt x="141" y="620"/>
                      </a:lnTo>
                      <a:lnTo>
                        <a:pt x="143" y="625"/>
                      </a:lnTo>
                      <a:lnTo>
                        <a:pt x="150" y="627"/>
                      </a:lnTo>
                      <a:lnTo>
                        <a:pt x="161" y="635"/>
                      </a:lnTo>
                      <a:lnTo>
                        <a:pt x="162" y="641"/>
                      </a:lnTo>
                      <a:lnTo>
                        <a:pt x="169" y="649"/>
                      </a:lnTo>
                      <a:lnTo>
                        <a:pt x="173" y="647"/>
                      </a:lnTo>
                      <a:lnTo>
                        <a:pt x="179" y="646"/>
                      </a:lnTo>
                      <a:lnTo>
                        <a:pt x="179" y="650"/>
                      </a:lnTo>
                      <a:lnTo>
                        <a:pt x="183" y="651"/>
                      </a:lnTo>
                      <a:lnTo>
                        <a:pt x="188" y="647"/>
                      </a:lnTo>
                      <a:lnTo>
                        <a:pt x="190" y="647"/>
                      </a:lnTo>
                      <a:lnTo>
                        <a:pt x="200" y="662"/>
                      </a:lnTo>
                      <a:lnTo>
                        <a:pt x="205" y="672"/>
                      </a:lnTo>
                      <a:lnTo>
                        <a:pt x="205" y="676"/>
                      </a:lnTo>
                      <a:lnTo>
                        <a:pt x="209" y="677"/>
                      </a:lnTo>
                      <a:lnTo>
                        <a:pt x="212" y="682"/>
                      </a:lnTo>
                      <a:lnTo>
                        <a:pt x="212" y="684"/>
                      </a:lnTo>
                      <a:lnTo>
                        <a:pt x="215" y="686"/>
                      </a:lnTo>
                      <a:lnTo>
                        <a:pt x="218" y="684"/>
                      </a:lnTo>
                      <a:lnTo>
                        <a:pt x="220" y="684"/>
                      </a:lnTo>
                      <a:lnTo>
                        <a:pt x="222" y="692"/>
                      </a:lnTo>
                      <a:lnTo>
                        <a:pt x="225" y="693"/>
                      </a:lnTo>
                      <a:lnTo>
                        <a:pt x="227" y="697"/>
                      </a:lnTo>
                      <a:lnTo>
                        <a:pt x="223" y="698"/>
                      </a:lnTo>
                      <a:lnTo>
                        <a:pt x="223" y="699"/>
                      </a:lnTo>
                      <a:lnTo>
                        <a:pt x="228" y="700"/>
                      </a:lnTo>
                      <a:lnTo>
                        <a:pt x="231" y="704"/>
                      </a:lnTo>
                      <a:lnTo>
                        <a:pt x="234" y="706"/>
                      </a:lnTo>
                      <a:lnTo>
                        <a:pt x="238" y="706"/>
                      </a:lnTo>
                      <a:lnTo>
                        <a:pt x="244" y="709"/>
                      </a:lnTo>
                      <a:lnTo>
                        <a:pt x="247" y="713"/>
                      </a:lnTo>
                      <a:lnTo>
                        <a:pt x="248" y="717"/>
                      </a:lnTo>
                      <a:lnTo>
                        <a:pt x="250" y="719"/>
                      </a:lnTo>
                      <a:lnTo>
                        <a:pt x="256" y="721"/>
                      </a:lnTo>
                      <a:lnTo>
                        <a:pt x="263" y="727"/>
                      </a:lnTo>
                      <a:lnTo>
                        <a:pt x="286" y="705"/>
                      </a:lnTo>
                      <a:lnTo>
                        <a:pt x="293" y="687"/>
                      </a:lnTo>
                      <a:lnTo>
                        <a:pt x="297" y="676"/>
                      </a:lnTo>
                      <a:lnTo>
                        <a:pt x="302" y="665"/>
                      </a:lnTo>
                      <a:lnTo>
                        <a:pt x="304" y="663"/>
                      </a:lnTo>
                      <a:lnTo>
                        <a:pt x="307" y="665"/>
                      </a:lnTo>
                      <a:lnTo>
                        <a:pt x="308" y="666"/>
                      </a:lnTo>
                      <a:lnTo>
                        <a:pt x="314" y="667"/>
                      </a:lnTo>
                      <a:lnTo>
                        <a:pt x="318" y="670"/>
                      </a:lnTo>
                      <a:lnTo>
                        <a:pt x="323" y="683"/>
                      </a:lnTo>
                      <a:lnTo>
                        <a:pt x="333" y="701"/>
                      </a:lnTo>
                      <a:lnTo>
                        <a:pt x="347" y="705"/>
                      </a:lnTo>
                      <a:lnTo>
                        <a:pt x="350" y="705"/>
                      </a:lnTo>
                      <a:lnTo>
                        <a:pt x="376" y="683"/>
                      </a:lnTo>
                      <a:lnTo>
                        <a:pt x="463" y="686"/>
                      </a:lnTo>
                      <a:lnTo>
                        <a:pt x="534" y="687"/>
                      </a:lnTo>
                      <a:lnTo>
                        <a:pt x="607" y="688"/>
                      </a:lnTo>
                      <a:lnTo>
                        <a:pt x="625" y="688"/>
                      </a:lnTo>
                      <a:lnTo>
                        <a:pt x="637" y="641"/>
                      </a:lnTo>
                      <a:lnTo>
                        <a:pt x="615" y="634"/>
                      </a:lnTo>
                      <a:lnTo>
                        <a:pt x="609" y="577"/>
                      </a:lnTo>
                      <a:lnTo>
                        <a:pt x="604" y="522"/>
                      </a:lnTo>
                      <a:lnTo>
                        <a:pt x="598" y="468"/>
                      </a:lnTo>
                      <a:lnTo>
                        <a:pt x="592" y="414"/>
                      </a:lnTo>
                      <a:lnTo>
                        <a:pt x="587" y="359"/>
                      </a:lnTo>
                      <a:lnTo>
                        <a:pt x="581" y="302"/>
                      </a:lnTo>
                      <a:lnTo>
                        <a:pt x="576" y="247"/>
                      </a:lnTo>
                      <a:lnTo>
                        <a:pt x="570" y="191"/>
                      </a:lnTo>
                      <a:lnTo>
                        <a:pt x="564" y="133"/>
                      </a:lnTo>
                      <a:lnTo>
                        <a:pt x="661" y="133"/>
                      </a:lnTo>
                      <a:lnTo>
                        <a:pt x="584" y="82"/>
                      </a:lnTo>
                      <a:lnTo>
                        <a:pt x="525" y="44"/>
                      </a:lnTo>
                      <a:lnTo>
                        <a:pt x="458" y="0"/>
                      </a:lnTo>
                      <a:lnTo>
                        <a:pt x="458" y="70"/>
                      </a:lnTo>
                      <a:lnTo>
                        <a:pt x="405" y="70"/>
                      </a:lnTo>
                      <a:lnTo>
                        <a:pt x="352" y="70"/>
                      </a:lnTo>
                      <a:lnTo>
                        <a:pt x="299" y="70"/>
                      </a:lnTo>
                      <a:lnTo>
                        <a:pt x="281" y="70"/>
                      </a:lnTo>
                      <a:lnTo>
                        <a:pt x="281" y="128"/>
                      </a:lnTo>
                      <a:lnTo>
                        <a:pt x="281" y="187"/>
                      </a:lnTo>
                      <a:lnTo>
                        <a:pt x="281" y="222"/>
                      </a:lnTo>
                      <a:lnTo>
                        <a:pt x="261" y="229"/>
                      </a:lnTo>
                      <a:lnTo>
                        <a:pt x="244" y="231"/>
                      </a:lnTo>
                      <a:lnTo>
                        <a:pt x="228" y="236"/>
                      </a:lnTo>
                      <a:lnTo>
                        <a:pt x="223" y="240"/>
                      </a:lnTo>
                      <a:lnTo>
                        <a:pt x="220" y="245"/>
                      </a:lnTo>
                      <a:lnTo>
                        <a:pt x="215" y="256"/>
                      </a:lnTo>
                      <a:lnTo>
                        <a:pt x="213" y="264"/>
                      </a:lnTo>
                      <a:lnTo>
                        <a:pt x="215" y="290"/>
                      </a:lnTo>
                      <a:lnTo>
                        <a:pt x="218" y="310"/>
                      </a:lnTo>
                      <a:lnTo>
                        <a:pt x="218" y="331"/>
                      </a:lnTo>
                      <a:lnTo>
                        <a:pt x="222" y="347"/>
                      </a:lnTo>
                      <a:lnTo>
                        <a:pt x="196" y="34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31" name="Freeform 130"/>
                <p:cNvSpPr>
                  <a:spLocks noChangeAspect="1"/>
                </p:cNvSpPr>
                <p:nvPr/>
              </p:nvSpPr>
              <p:spPr bwMode="gray">
                <a:xfrm>
                  <a:off x="4534693" y="3026122"/>
                  <a:ext cx="207963" cy="166688"/>
                </a:xfrm>
                <a:custGeom>
                  <a:avLst/>
                  <a:gdLst/>
                  <a:ahLst/>
                  <a:cxnLst>
                    <a:cxn ang="0">
                      <a:pos x="204" y="526"/>
                    </a:cxn>
                    <a:cxn ang="0">
                      <a:pos x="79" y="526"/>
                    </a:cxn>
                    <a:cxn ang="0">
                      <a:pos x="0" y="526"/>
                    </a:cxn>
                    <a:cxn ang="0">
                      <a:pos x="27" y="511"/>
                    </a:cxn>
                    <a:cxn ang="0">
                      <a:pos x="86" y="487"/>
                    </a:cxn>
                    <a:cxn ang="0">
                      <a:pos x="112" y="464"/>
                    </a:cxn>
                    <a:cxn ang="0">
                      <a:pos x="144" y="439"/>
                    </a:cxn>
                    <a:cxn ang="0">
                      <a:pos x="166" y="411"/>
                    </a:cxn>
                    <a:cxn ang="0">
                      <a:pos x="182" y="362"/>
                    </a:cxn>
                    <a:cxn ang="0">
                      <a:pos x="175" y="305"/>
                    </a:cxn>
                    <a:cxn ang="0">
                      <a:pos x="194" y="263"/>
                    </a:cxn>
                    <a:cxn ang="0">
                      <a:pos x="214" y="235"/>
                    </a:cxn>
                    <a:cxn ang="0">
                      <a:pos x="244" y="184"/>
                    </a:cxn>
                    <a:cxn ang="0">
                      <a:pos x="299" y="155"/>
                    </a:cxn>
                    <a:cxn ang="0">
                      <a:pos x="348" y="120"/>
                    </a:cxn>
                    <a:cxn ang="0">
                      <a:pos x="376" y="56"/>
                    </a:cxn>
                    <a:cxn ang="0">
                      <a:pos x="419" y="0"/>
                    </a:cxn>
                    <a:cxn ang="0">
                      <a:pos x="465" y="48"/>
                    </a:cxn>
                    <a:cxn ang="0">
                      <a:pos x="507" y="45"/>
                    </a:cxn>
                    <a:cxn ang="0">
                      <a:pos x="548" y="40"/>
                    </a:cxn>
                    <a:cxn ang="0">
                      <a:pos x="574" y="53"/>
                    </a:cxn>
                    <a:cxn ang="0">
                      <a:pos x="604" y="56"/>
                    </a:cxn>
                    <a:cxn ang="0">
                      <a:pos x="612" y="71"/>
                    </a:cxn>
                    <a:cxn ang="0">
                      <a:pos x="621" y="79"/>
                    </a:cxn>
                    <a:cxn ang="0">
                      <a:pos x="621" y="85"/>
                    </a:cxn>
                    <a:cxn ang="0">
                      <a:pos x="622" y="104"/>
                    </a:cxn>
                    <a:cxn ang="0">
                      <a:pos x="626" y="131"/>
                    </a:cxn>
                    <a:cxn ang="0">
                      <a:pos x="631" y="152"/>
                    </a:cxn>
                    <a:cxn ang="0">
                      <a:pos x="629" y="166"/>
                    </a:cxn>
                    <a:cxn ang="0">
                      <a:pos x="633" y="186"/>
                    </a:cxn>
                    <a:cxn ang="0">
                      <a:pos x="649" y="215"/>
                    </a:cxn>
                    <a:cxn ang="0">
                      <a:pos x="651" y="224"/>
                    </a:cxn>
                    <a:cxn ang="0">
                      <a:pos x="649" y="242"/>
                    </a:cxn>
                    <a:cxn ang="0">
                      <a:pos x="639" y="242"/>
                    </a:cxn>
                    <a:cxn ang="0">
                      <a:pos x="611" y="242"/>
                    </a:cxn>
                    <a:cxn ang="0">
                      <a:pos x="567" y="247"/>
                    </a:cxn>
                    <a:cxn ang="0">
                      <a:pos x="553" y="247"/>
                    </a:cxn>
                    <a:cxn ang="0">
                      <a:pos x="551" y="263"/>
                    </a:cxn>
                    <a:cxn ang="0">
                      <a:pos x="527" y="273"/>
                    </a:cxn>
                    <a:cxn ang="0">
                      <a:pos x="508" y="273"/>
                    </a:cxn>
                    <a:cxn ang="0">
                      <a:pos x="502" y="288"/>
                    </a:cxn>
                    <a:cxn ang="0">
                      <a:pos x="509" y="293"/>
                    </a:cxn>
                    <a:cxn ang="0">
                      <a:pos x="504" y="309"/>
                    </a:cxn>
                    <a:cxn ang="0">
                      <a:pos x="510" y="310"/>
                    </a:cxn>
                    <a:cxn ang="0">
                      <a:pos x="514" y="321"/>
                    </a:cxn>
                    <a:cxn ang="0">
                      <a:pos x="461" y="342"/>
                    </a:cxn>
                    <a:cxn ang="0">
                      <a:pos x="433" y="363"/>
                    </a:cxn>
                    <a:cxn ang="0">
                      <a:pos x="424" y="376"/>
                    </a:cxn>
                    <a:cxn ang="0">
                      <a:pos x="385" y="391"/>
                    </a:cxn>
                    <a:cxn ang="0">
                      <a:pos x="354" y="392"/>
                    </a:cxn>
                    <a:cxn ang="0">
                      <a:pos x="350" y="406"/>
                    </a:cxn>
                    <a:cxn ang="0">
                      <a:pos x="330" y="405"/>
                    </a:cxn>
                    <a:cxn ang="0">
                      <a:pos x="312" y="413"/>
                    </a:cxn>
                    <a:cxn ang="0">
                      <a:pos x="287" y="423"/>
                    </a:cxn>
                  </a:cxnLst>
                  <a:rect l="0" t="0" r="r" b="b"/>
                  <a:pathLst>
                    <a:path w="656" h="526">
                      <a:moveTo>
                        <a:pt x="240" y="457"/>
                      </a:moveTo>
                      <a:lnTo>
                        <a:pt x="240" y="526"/>
                      </a:lnTo>
                      <a:lnTo>
                        <a:pt x="204" y="526"/>
                      </a:lnTo>
                      <a:lnTo>
                        <a:pt x="161" y="526"/>
                      </a:lnTo>
                      <a:lnTo>
                        <a:pt x="120" y="526"/>
                      </a:lnTo>
                      <a:lnTo>
                        <a:pt x="79" y="526"/>
                      </a:lnTo>
                      <a:lnTo>
                        <a:pt x="43" y="526"/>
                      </a:lnTo>
                      <a:lnTo>
                        <a:pt x="9" y="526"/>
                      </a:lnTo>
                      <a:lnTo>
                        <a:pt x="0" y="526"/>
                      </a:lnTo>
                      <a:lnTo>
                        <a:pt x="5" y="515"/>
                      </a:lnTo>
                      <a:lnTo>
                        <a:pt x="14" y="511"/>
                      </a:lnTo>
                      <a:lnTo>
                        <a:pt x="27" y="511"/>
                      </a:lnTo>
                      <a:lnTo>
                        <a:pt x="46" y="507"/>
                      </a:lnTo>
                      <a:lnTo>
                        <a:pt x="77" y="495"/>
                      </a:lnTo>
                      <a:lnTo>
                        <a:pt x="86" y="487"/>
                      </a:lnTo>
                      <a:lnTo>
                        <a:pt x="97" y="475"/>
                      </a:lnTo>
                      <a:lnTo>
                        <a:pt x="101" y="472"/>
                      </a:lnTo>
                      <a:lnTo>
                        <a:pt x="112" y="464"/>
                      </a:lnTo>
                      <a:lnTo>
                        <a:pt x="129" y="456"/>
                      </a:lnTo>
                      <a:lnTo>
                        <a:pt x="140" y="445"/>
                      </a:lnTo>
                      <a:lnTo>
                        <a:pt x="144" y="439"/>
                      </a:lnTo>
                      <a:lnTo>
                        <a:pt x="149" y="437"/>
                      </a:lnTo>
                      <a:lnTo>
                        <a:pt x="154" y="433"/>
                      </a:lnTo>
                      <a:lnTo>
                        <a:pt x="166" y="411"/>
                      </a:lnTo>
                      <a:lnTo>
                        <a:pt x="182" y="384"/>
                      </a:lnTo>
                      <a:lnTo>
                        <a:pt x="183" y="379"/>
                      </a:lnTo>
                      <a:lnTo>
                        <a:pt x="182" y="362"/>
                      </a:lnTo>
                      <a:lnTo>
                        <a:pt x="172" y="343"/>
                      </a:lnTo>
                      <a:lnTo>
                        <a:pt x="175" y="332"/>
                      </a:lnTo>
                      <a:lnTo>
                        <a:pt x="175" y="305"/>
                      </a:lnTo>
                      <a:lnTo>
                        <a:pt x="177" y="297"/>
                      </a:lnTo>
                      <a:lnTo>
                        <a:pt x="194" y="267"/>
                      </a:lnTo>
                      <a:lnTo>
                        <a:pt x="194" y="263"/>
                      </a:lnTo>
                      <a:lnTo>
                        <a:pt x="207" y="256"/>
                      </a:lnTo>
                      <a:lnTo>
                        <a:pt x="204" y="258"/>
                      </a:lnTo>
                      <a:lnTo>
                        <a:pt x="214" y="235"/>
                      </a:lnTo>
                      <a:lnTo>
                        <a:pt x="213" y="224"/>
                      </a:lnTo>
                      <a:lnTo>
                        <a:pt x="235" y="198"/>
                      </a:lnTo>
                      <a:lnTo>
                        <a:pt x="244" y="184"/>
                      </a:lnTo>
                      <a:lnTo>
                        <a:pt x="253" y="175"/>
                      </a:lnTo>
                      <a:lnTo>
                        <a:pt x="271" y="166"/>
                      </a:lnTo>
                      <a:lnTo>
                        <a:pt x="299" y="155"/>
                      </a:lnTo>
                      <a:lnTo>
                        <a:pt x="314" y="148"/>
                      </a:lnTo>
                      <a:lnTo>
                        <a:pt x="337" y="132"/>
                      </a:lnTo>
                      <a:lnTo>
                        <a:pt x="348" y="120"/>
                      </a:lnTo>
                      <a:lnTo>
                        <a:pt x="354" y="102"/>
                      </a:lnTo>
                      <a:lnTo>
                        <a:pt x="365" y="89"/>
                      </a:lnTo>
                      <a:lnTo>
                        <a:pt x="376" y="56"/>
                      </a:lnTo>
                      <a:lnTo>
                        <a:pt x="392" y="12"/>
                      </a:lnTo>
                      <a:lnTo>
                        <a:pt x="398" y="7"/>
                      </a:lnTo>
                      <a:lnTo>
                        <a:pt x="419" y="0"/>
                      </a:lnTo>
                      <a:lnTo>
                        <a:pt x="429" y="18"/>
                      </a:lnTo>
                      <a:lnTo>
                        <a:pt x="443" y="32"/>
                      </a:lnTo>
                      <a:lnTo>
                        <a:pt x="465" y="48"/>
                      </a:lnTo>
                      <a:lnTo>
                        <a:pt x="475" y="51"/>
                      </a:lnTo>
                      <a:lnTo>
                        <a:pt x="499" y="42"/>
                      </a:lnTo>
                      <a:lnTo>
                        <a:pt x="507" y="45"/>
                      </a:lnTo>
                      <a:lnTo>
                        <a:pt x="525" y="45"/>
                      </a:lnTo>
                      <a:lnTo>
                        <a:pt x="541" y="43"/>
                      </a:lnTo>
                      <a:lnTo>
                        <a:pt x="548" y="40"/>
                      </a:lnTo>
                      <a:lnTo>
                        <a:pt x="557" y="45"/>
                      </a:lnTo>
                      <a:lnTo>
                        <a:pt x="564" y="51"/>
                      </a:lnTo>
                      <a:lnTo>
                        <a:pt x="574" y="53"/>
                      </a:lnTo>
                      <a:lnTo>
                        <a:pt x="580" y="53"/>
                      </a:lnTo>
                      <a:lnTo>
                        <a:pt x="585" y="52"/>
                      </a:lnTo>
                      <a:lnTo>
                        <a:pt x="604" y="56"/>
                      </a:lnTo>
                      <a:lnTo>
                        <a:pt x="604" y="61"/>
                      </a:lnTo>
                      <a:lnTo>
                        <a:pt x="606" y="66"/>
                      </a:lnTo>
                      <a:lnTo>
                        <a:pt x="612" y="71"/>
                      </a:lnTo>
                      <a:lnTo>
                        <a:pt x="613" y="73"/>
                      </a:lnTo>
                      <a:lnTo>
                        <a:pt x="617" y="78"/>
                      </a:lnTo>
                      <a:lnTo>
                        <a:pt x="621" y="79"/>
                      </a:lnTo>
                      <a:lnTo>
                        <a:pt x="623" y="83"/>
                      </a:lnTo>
                      <a:lnTo>
                        <a:pt x="622" y="85"/>
                      </a:lnTo>
                      <a:lnTo>
                        <a:pt x="621" y="85"/>
                      </a:lnTo>
                      <a:lnTo>
                        <a:pt x="620" y="88"/>
                      </a:lnTo>
                      <a:lnTo>
                        <a:pt x="626" y="96"/>
                      </a:lnTo>
                      <a:lnTo>
                        <a:pt x="622" y="104"/>
                      </a:lnTo>
                      <a:lnTo>
                        <a:pt x="624" y="111"/>
                      </a:lnTo>
                      <a:lnTo>
                        <a:pt x="627" y="122"/>
                      </a:lnTo>
                      <a:lnTo>
                        <a:pt x="626" y="131"/>
                      </a:lnTo>
                      <a:lnTo>
                        <a:pt x="626" y="141"/>
                      </a:lnTo>
                      <a:lnTo>
                        <a:pt x="623" y="144"/>
                      </a:lnTo>
                      <a:lnTo>
                        <a:pt x="631" y="152"/>
                      </a:lnTo>
                      <a:lnTo>
                        <a:pt x="631" y="156"/>
                      </a:lnTo>
                      <a:lnTo>
                        <a:pt x="631" y="160"/>
                      </a:lnTo>
                      <a:lnTo>
                        <a:pt x="629" y="166"/>
                      </a:lnTo>
                      <a:lnTo>
                        <a:pt x="628" y="171"/>
                      </a:lnTo>
                      <a:lnTo>
                        <a:pt x="631" y="179"/>
                      </a:lnTo>
                      <a:lnTo>
                        <a:pt x="633" y="186"/>
                      </a:lnTo>
                      <a:lnTo>
                        <a:pt x="633" y="192"/>
                      </a:lnTo>
                      <a:lnTo>
                        <a:pt x="640" y="207"/>
                      </a:lnTo>
                      <a:lnTo>
                        <a:pt x="649" y="215"/>
                      </a:lnTo>
                      <a:lnTo>
                        <a:pt x="656" y="220"/>
                      </a:lnTo>
                      <a:lnTo>
                        <a:pt x="656" y="222"/>
                      </a:lnTo>
                      <a:lnTo>
                        <a:pt x="651" y="224"/>
                      </a:lnTo>
                      <a:lnTo>
                        <a:pt x="648" y="231"/>
                      </a:lnTo>
                      <a:lnTo>
                        <a:pt x="647" y="238"/>
                      </a:lnTo>
                      <a:lnTo>
                        <a:pt x="649" y="242"/>
                      </a:lnTo>
                      <a:lnTo>
                        <a:pt x="649" y="245"/>
                      </a:lnTo>
                      <a:lnTo>
                        <a:pt x="647" y="246"/>
                      </a:lnTo>
                      <a:lnTo>
                        <a:pt x="639" y="242"/>
                      </a:lnTo>
                      <a:lnTo>
                        <a:pt x="627" y="242"/>
                      </a:lnTo>
                      <a:lnTo>
                        <a:pt x="616" y="241"/>
                      </a:lnTo>
                      <a:lnTo>
                        <a:pt x="611" y="242"/>
                      </a:lnTo>
                      <a:lnTo>
                        <a:pt x="580" y="242"/>
                      </a:lnTo>
                      <a:lnTo>
                        <a:pt x="570" y="245"/>
                      </a:lnTo>
                      <a:lnTo>
                        <a:pt x="567" y="247"/>
                      </a:lnTo>
                      <a:lnTo>
                        <a:pt x="563" y="249"/>
                      </a:lnTo>
                      <a:lnTo>
                        <a:pt x="556" y="246"/>
                      </a:lnTo>
                      <a:lnTo>
                        <a:pt x="553" y="247"/>
                      </a:lnTo>
                      <a:lnTo>
                        <a:pt x="551" y="252"/>
                      </a:lnTo>
                      <a:lnTo>
                        <a:pt x="552" y="257"/>
                      </a:lnTo>
                      <a:lnTo>
                        <a:pt x="551" y="263"/>
                      </a:lnTo>
                      <a:lnTo>
                        <a:pt x="548" y="266"/>
                      </a:lnTo>
                      <a:lnTo>
                        <a:pt x="535" y="272"/>
                      </a:lnTo>
                      <a:lnTo>
                        <a:pt x="527" y="273"/>
                      </a:lnTo>
                      <a:lnTo>
                        <a:pt x="520" y="274"/>
                      </a:lnTo>
                      <a:lnTo>
                        <a:pt x="513" y="273"/>
                      </a:lnTo>
                      <a:lnTo>
                        <a:pt x="508" y="273"/>
                      </a:lnTo>
                      <a:lnTo>
                        <a:pt x="503" y="277"/>
                      </a:lnTo>
                      <a:lnTo>
                        <a:pt x="502" y="282"/>
                      </a:lnTo>
                      <a:lnTo>
                        <a:pt x="502" y="288"/>
                      </a:lnTo>
                      <a:lnTo>
                        <a:pt x="503" y="290"/>
                      </a:lnTo>
                      <a:lnTo>
                        <a:pt x="508" y="290"/>
                      </a:lnTo>
                      <a:lnTo>
                        <a:pt x="509" y="293"/>
                      </a:lnTo>
                      <a:lnTo>
                        <a:pt x="504" y="298"/>
                      </a:lnTo>
                      <a:lnTo>
                        <a:pt x="503" y="309"/>
                      </a:lnTo>
                      <a:lnTo>
                        <a:pt x="504" y="309"/>
                      </a:lnTo>
                      <a:lnTo>
                        <a:pt x="507" y="308"/>
                      </a:lnTo>
                      <a:lnTo>
                        <a:pt x="509" y="308"/>
                      </a:lnTo>
                      <a:lnTo>
                        <a:pt x="510" y="310"/>
                      </a:lnTo>
                      <a:lnTo>
                        <a:pt x="515" y="314"/>
                      </a:lnTo>
                      <a:lnTo>
                        <a:pt x="516" y="317"/>
                      </a:lnTo>
                      <a:lnTo>
                        <a:pt x="514" y="321"/>
                      </a:lnTo>
                      <a:lnTo>
                        <a:pt x="493" y="325"/>
                      </a:lnTo>
                      <a:lnTo>
                        <a:pt x="467" y="342"/>
                      </a:lnTo>
                      <a:lnTo>
                        <a:pt x="461" y="342"/>
                      </a:lnTo>
                      <a:lnTo>
                        <a:pt x="446" y="348"/>
                      </a:lnTo>
                      <a:lnTo>
                        <a:pt x="436" y="355"/>
                      </a:lnTo>
                      <a:lnTo>
                        <a:pt x="433" y="363"/>
                      </a:lnTo>
                      <a:lnTo>
                        <a:pt x="433" y="365"/>
                      </a:lnTo>
                      <a:lnTo>
                        <a:pt x="430" y="371"/>
                      </a:lnTo>
                      <a:lnTo>
                        <a:pt x="424" y="376"/>
                      </a:lnTo>
                      <a:lnTo>
                        <a:pt x="418" y="381"/>
                      </a:lnTo>
                      <a:lnTo>
                        <a:pt x="401" y="389"/>
                      </a:lnTo>
                      <a:lnTo>
                        <a:pt x="385" y="391"/>
                      </a:lnTo>
                      <a:lnTo>
                        <a:pt x="376" y="391"/>
                      </a:lnTo>
                      <a:lnTo>
                        <a:pt x="371" y="394"/>
                      </a:lnTo>
                      <a:lnTo>
                        <a:pt x="354" y="392"/>
                      </a:lnTo>
                      <a:lnTo>
                        <a:pt x="353" y="396"/>
                      </a:lnTo>
                      <a:lnTo>
                        <a:pt x="353" y="405"/>
                      </a:lnTo>
                      <a:lnTo>
                        <a:pt x="350" y="406"/>
                      </a:lnTo>
                      <a:lnTo>
                        <a:pt x="342" y="406"/>
                      </a:lnTo>
                      <a:lnTo>
                        <a:pt x="337" y="403"/>
                      </a:lnTo>
                      <a:lnTo>
                        <a:pt x="330" y="405"/>
                      </a:lnTo>
                      <a:lnTo>
                        <a:pt x="323" y="403"/>
                      </a:lnTo>
                      <a:lnTo>
                        <a:pt x="319" y="407"/>
                      </a:lnTo>
                      <a:lnTo>
                        <a:pt x="312" y="413"/>
                      </a:lnTo>
                      <a:lnTo>
                        <a:pt x="306" y="417"/>
                      </a:lnTo>
                      <a:lnTo>
                        <a:pt x="299" y="423"/>
                      </a:lnTo>
                      <a:lnTo>
                        <a:pt x="287" y="423"/>
                      </a:lnTo>
                      <a:lnTo>
                        <a:pt x="266" y="437"/>
                      </a:lnTo>
                      <a:lnTo>
                        <a:pt x="240" y="45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32" name="Freeform 131"/>
                <p:cNvSpPr>
                  <a:spLocks noChangeAspect="1"/>
                </p:cNvSpPr>
                <p:nvPr/>
              </p:nvSpPr>
              <p:spPr bwMode="gray">
                <a:xfrm>
                  <a:off x="5474492" y="3484909"/>
                  <a:ext cx="177800" cy="234950"/>
                </a:xfrm>
                <a:custGeom>
                  <a:avLst/>
                  <a:gdLst/>
                  <a:ahLst/>
                  <a:cxnLst>
                    <a:cxn ang="0">
                      <a:pos x="6" y="708"/>
                    </a:cxn>
                    <a:cxn ang="0">
                      <a:pos x="0" y="604"/>
                    </a:cxn>
                    <a:cxn ang="0">
                      <a:pos x="3" y="496"/>
                    </a:cxn>
                    <a:cxn ang="0">
                      <a:pos x="48" y="437"/>
                    </a:cxn>
                    <a:cxn ang="0">
                      <a:pos x="102" y="414"/>
                    </a:cxn>
                    <a:cxn ang="0">
                      <a:pos x="148" y="384"/>
                    </a:cxn>
                    <a:cxn ang="0">
                      <a:pos x="302" y="297"/>
                    </a:cxn>
                    <a:cxn ang="0">
                      <a:pos x="384" y="212"/>
                    </a:cxn>
                    <a:cxn ang="0">
                      <a:pos x="166" y="154"/>
                    </a:cxn>
                    <a:cxn ang="0">
                      <a:pos x="132" y="122"/>
                    </a:cxn>
                    <a:cxn ang="0">
                      <a:pos x="119" y="107"/>
                    </a:cxn>
                    <a:cxn ang="0">
                      <a:pos x="103" y="88"/>
                    </a:cxn>
                    <a:cxn ang="0">
                      <a:pos x="103" y="55"/>
                    </a:cxn>
                    <a:cxn ang="0">
                      <a:pos x="120" y="25"/>
                    </a:cxn>
                    <a:cxn ang="0">
                      <a:pos x="130" y="29"/>
                    </a:cxn>
                    <a:cxn ang="0">
                      <a:pos x="151" y="57"/>
                    </a:cxn>
                    <a:cxn ang="0">
                      <a:pos x="186" y="84"/>
                    </a:cxn>
                    <a:cxn ang="0">
                      <a:pos x="222" y="77"/>
                    </a:cxn>
                    <a:cxn ang="0">
                      <a:pos x="248" y="64"/>
                    </a:cxn>
                    <a:cxn ang="0">
                      <a:pos x="258" y="57"/>
                    </a:cxn>
                    <a:cxn ang="0">
                      <a:pos x="269" y="61"/>
                    </a:cxn>
                    <a:cxn ang="0">
                      <a:pos x="291" y="67"/>
                    </a:cxn>
                    <a:cxn ang="0">
                      <a:pos x="317" y="61"/>
                    </a:cxn>
                    <a:cxn ang="0">
                      <a:pos x="336" y="48"/>
                    </a:cxn>
                    <a:cxn ang="0">
                      <a:pos x="365" y="46"/>
                    </a:cxn>
                    <a:cxn ang="0">
                      <a:pos x="393" y="43"/>
                    </a:cxn>
                    <a:cxn ang="0">
                      <a:pos x="417" y="33"/>
                    </a:cxn>
                    <a:cxn ang="0">
                      <a:pos x="451" y="28"/>
                    </a:cxn>
                    <a:cxn ang="0">
                      <a:pos x="473" y="25"/>
                    </a:cxn>
                    <a:cxn ang="0">
                      <a:pos x="501" y="17"/>
                    </a:cxn>
                    <a:cxn ang="0">
                      <a:pos x="527" y="0"/>
                    </a:cxn>
                    <a:cxn ang="0">
                      <a:pos x="555" y="7"/>
                    </a:cxn>
                    <a:cxn ang="0">
                      <a:pos x="555" y="19"/>
                    </a:cxn>
                    <a:cxn ang="0">
                      <a:pos x="548" y="41"/>
                    </a:cxn>
                    <a:cxn ang="0">
                      <a:pos x="552" y="59"/>
                    </a:cxn>
                    <a:cxn ang="0">
                      <a:pos x="551" y="78"/>
                    </a:cxn>
                    <a:cxn ang="0">
                      <a:pos x="551" y="84"/>
                    </a:cxn>
                    <a:cxn ang="0">
                      <a:pos x="556" y="84"/>
                    </a:cxn>
                    <a:cxn ang="0">
                      <a:pos x="560" y="91"/>
                    </a:cxn>
                    <a:cxn ang="0">
                      <a:pos x="545" y="88"/>
                    </a:cxn>
                    <a:cxn ang="0">
                      <a:pos x="539" y="99"/>
                    </a:cxn>
                    <a:cxn ang="0">
                      <a:pos x="530" y="145"/>
                    </a:cxn>
                    <a:cxn ang="0">
                      <a:pos x="518" y="164"/>
                    </a:cxn>
                    <a:cxn ang="0">
                      <a:pos x="497" y="202"/>
                    </a:cxn>
                    <a:cxn ang="0">
                      <a:pos x="485" y="215"/>
                    </a:cxn>
                    <a:cxn ang="0">
                      <a:pos x="479" y="237"/>
                    </a:cxn>
                    <a:cxn ang="0">
                      <a:pos x="444" y="303"/>
                    </a:cxn>
                    <a:cxn ang="0">
                      <a:pos x="422" y="351"/>
                    </a:cxn>
                    <a:cxn ang="0">
                      <a:pos x="414" y="358"/>
                    </a:cxn>
                    <a:cxn ang="0">
                      <a:pos x="389" y="389"/>
                    </a:cxn>
                    <a:cxn ang="0">
                      <a:pos x="382" y="405"/>
                    </a:cxn>
                    <a:cxn ang="0">
                      <a:pos x="363" y="432"/>
                    </a:cxn>
                    <a:cxn ang="0">
                      <a:pos x="334" y="461"/>
                    </a:cxn>
                    <a:cxn ang="0">
                      <a:pos x="297" y="492"/>
                    </a:cxn>
                    <a:cxn ang="0">
                      <a:pos x="277" y="520"/>
                    </a:cxn>
                    <a:cxn ang="0">
                      <a:pos x="243" y="545"/>
                    </a:cxn>
                    <a:cxn ang="0">
                      <a:pos x="216" y="554"/>
                    </a:cxn>
                    <a:cxn ang="0">
                      <a:pos x="120" y="640"/>
                    </a:cxn>
                    <a:cxn ang="0">
                      <a:pos x="91" y="663"/>
                    </a:cxn>
                    <a:cxn ang="0">
                      <a:pos x="87" y="665"/>
                    </a:cxn>
                    <a:cxn ang="0">
                      <a:pos x="83" y="674"/>
                    </a:cxn>
                    <a:cxn ang="0">
                      <a:pos x="61" y="705"/>
                    </a:cxn>
                    <a:cxn ang="0">
                      <a:pos x="32" y="739"/>
                    </a:cxn>
                  </a:cxnLst>
                  <a:rect l="0" t="0" r="r" b="b"/>
                  <a:pathLst>
                    <a:path w="561" h="740">
                      <a:moveTo>
                        <a:pt x="30" y="740"/>
                      </a:moveTo>
                      <a:lnTo>
                        <a:pt x="29" y="737"/>
                      </a:lnTo>
                      <a:lnTo>
                        <a:pt x="6" y="708"/>
                      </a:lnTo>
                      <a:lnTo>
                        <a:pt x="0" y="700"/>
                      </a:lnTo>
                      <a:lnTo>
                        <a:pt x="0" y="657"/>
                      </a:lnTo>
                      <a:lnTo>
                        <a:pt x="0" y="604"/>
                      </a:lnTo>
                      <a:lnTo>
                        <a:pt x="0" y="551"/>
                      </a:lnTo>
                      <a:lnTo>
                        <a:pt x="0" y="498"/>
                      </a:lnTo>
                      <a:lnTo>
                        <a:pt x="3" y="496"/>
                      </a:lnTo>
                      <a:lnTo>
                        <a:pt x="25" y="474"/>
                      </a:lnTo>
                      <a:lnTo>
                        <a:pt x="46" y="442"/>
                      </a:lnTo>
                      <a:lnTo>
                        <a:pt x="48" y="437"/>
                      </a:lnTo>
                      <a:lnTo>
                        <a:pt x="51" y="433"/>
                      </a:lnTo>
                      <a:lnTo>
                        <a:pt x="66" y="426"/>
                      </a:lnTo>
                      <a:lnTo>
                        <a:pt x="102" y="414"/>
                      </a:lnTo>
                      <a:lnTo>
                        <a:pt x="114" y="401"/>
                      </a:lnTo>
                      <a:lnTo>
                        <a:pt x="127" y="393"/>
                      </a:lnTo>
                      <a:lnTo>
                        <a:pt x="148" y="384"/>
                      </a:lnTo>
                      <a:lnTo>
                        <a:pt x="157" y="379"/>
                      </a:lnTo>
                      <a:lnTo>
                        <a:pt x="221" y="379"/>
                      </a:lnTo>
                      <a:lnTo>
                        <a:pt x="302" y="297"/>
                      </a:lnTo>
                      <a:lnTo>
                        <a:pt x="373" y="227"/>
                      </a:lnTo>
                      <a:lnTo>
                        <a:pt x="383" y="215"/>
                      </a:lnTo>
                      <a:lnTo>
                        <a:pt x="384" y="212"/>
                      </a:lnTo>
                      <a:lnTo>
                        <a:pt x="331" y="213"/>
                      </a:lnTo>
                      <a:lnTo>
                        <a:pt x="244" y="181"/>
                      </a:lnTo>
                      <a:lnTo>
                        <a:pt x="166" y="154"/>
                      </a:lnTo>
                      <a:lnTo>
                        <a:pt x="159" y="147"/>
                      </a:lnTo>
                      <a:lnTo>
                        <a:pt x="140" y="132"/>
                      </a:lnTo>
                      <a:lnTo>
                        <a:pt x="132" y="122"/>
                      </a:lnTo>
                      <a:lnTo>
                        <a:pt x="126" y="116"/>
                      </a:lnTo>
                      <a:lnTo>
                        <a:pt x="124" y="110"/>
                      </a:lnTo>
                      <a:lnTo>
                        <a:pt x="119" y="107"/>
                      </a:lnTo>
                      <a:lnTo>
                        <a:pt x="113" y="100"/>
                      </a:lnTo>
                      <a:lnTo>
                        <a:pt x="110" y="95"/>
                      </a:lnTo>
                      <a:lnTo>
                        <a:pt x="103" y="88"/>
                      </a:lnTo>
                      <a:lnTo>
                        <a:pt x="98" y="65"/>
                      </a:lnTo>
                      <a:lnTo>
                        <a:pt x="99" y="60"/>
                      </a:lnTo>
                      <a:lnTo>
                        <a:pt x="103" y="55"/>
                      </a:lnTo>
                      <a:lnTo>
                        <a:pt x="105" y="49"/>
                      </a:lnTo>
                      <a:lnTo>
                        <a:pt x="115" y="37"/>
                      </a:lnTo>
                      <a:lnTo>
                        <a:pt x="120" y="25"/>
                      </a:lnTo>
                      <a:lnTo>
                        <a:pt x="123" y="23"/>
                      </a:lnTo>
                      <a:lnTo>
                        <a:pt x="125" y="27"/>
                      </a:lnTo>
                      <a:lnTo>
                        <a:pt x="130" y="29"/>
                      </a:lnTo>
                      <a:lnTo>
                        <a:pt x="135" y="38"/>
                      </a:lnTo>
                      <a:lnTo>
                        <a:pt x="140" y="41"/>
                      </a:lnTo>
                      <a:lnTo>
                        <a:pt x="151" y="57"/>
                      </a:lnTo>
                      <a:lnTo>
                        <a:pt x="167" y="73"/>
                      </a:lnTo>
                      <a:lnTo>
                        <a:pt x="179" y="82"/>
                      </a:lnTo>
                      <a:lnTo>
                        <a:pt x="186" y="84"/>
                      </a:lnTo>
                      <a:lnTo>
                        <a:pt x="193" y="82"/>
                      </a:lnTo>
                      <a:lnTo>
                        <a:pt x="215" y="83"/>
                      </a:lnTo>
                      <a:lnTo>
                        <a:pt x="222" y="77"/>
                      </a:lnTo>
                      <a:lnTo>
                        <a:pt x="231" y="72"/>
                      </a:lnTo>
                      <a:lnTo>
                        <a:pt x="238" y="70"/>
                      </a:lnTo>
                      <a:lnTo>
                        <a:pt x="248" y="64"/>
                      </a:lnTo>
                      <a:lnTo>
                        <a:pt x="253" y="62"/>
                      </a:lnTo>
                      <a:lnTo>
                        <a:pt x="255" y="60"/>
                      </a:lnTo>
                      <a:lnTo>
                        <a:pt x="258" y="57"/>
                      </a:lnTo>
                      <a:lnTo>
                        <a:pt x="260" y="57"/>
                      </a:lnTo>
                      <a:lnTo>
                        <a:pt x="265" y="61"/>
                      </a:lnTo>
                      <a:lnTo>
                        <a:pt x="269" y="61"/>
                      </a:lnTo>
                      <a:lnTo>
                        <a:pt x="271" y="62"/>
                      </a:lnTo>
                      <a:lnTo>
                        <a:pt x="283" y="61"/>
                      </a:lnTo>
                      <a:lnTo>
                        <a:pt x="291" y="67"/>
                      </a:lnTo>
                      <a:lnTo>
                        <a:pt x="302" y="67"/>
                      </a:lnTo>
                      <a:lnTo>
                        <a:pt x="312" y="65"/>
                      </a:lnTo>
                      <a:lnTo>
                        <a:pt x="317" y="61"/>
                      </a:lnTo>
                      <a:lnTo>
                        <a:pt x="322" y="56"/>
                      </a:lnTo>
                      <a:lnTo>
                        <a:pt x="331" y="54"/>
                      </a:lnTo>
                      <a:lnTo>
                        <a:pt x="336" y="48"/>
                      </a:lnTo>
                      <a:lnTo>
                        <a:pt x="342" y="44"/>
                      </a:lnTo>
                      <a:lnTo>
                        <a:pt x="353" y="41"/>
                      </a:lnTo>
                      <a:lnTo>
                        <a:pt x="365" y="46"/>
                      </a:lnTo>
                      <a:lnTo>
                        <a:pt x="372" y="45"/>
                      </a:lnTo>
                      <a:lnTo>
                        <a:pt x="382" y="44"/>
                      </a:lnTo>
                      <a:lnTo>
                        <a:pt x="393" y="43"/>
                      </a:lnTo>
                      <a:lnTo>
                        <a:pt x="398" y="41"/>
                      </a:lnTo>
                      <a:lnTo>
                        <a:pt x="411" y="33"/>
                      </a:lnTo>
                      <a:lnTo>
                        <a:pt x="417" y="33"/>
                      </a:lnTo>
                      <a:lnTo>
                        <a:pt x="430" y="37"/>
                      </a:lnTo>
                      <a:lnTo>
                        <a:pt x="447" y="29"/>
                      </a:lnTo>
                      <a:lnTo>
                        <a:pt x="451" y="28"/>
                      </a:lnTo>
                      <a:lnTo>
                        <a:pt x="458" y="29"/>
                      </a:lnTo>
                      <a:lnTo>
                        <a:pt x="462" y="24"/>
                      </a:lnTo>
                      <a:lnTo>
                        <a:pt x="473" y="25"/>
                      </a:lnTo>
                      <a:lnTo>
                        <a:pt x="481" y="24"/>
                      </a:lnTo>
                      <a:lnTo>
                        <a:pt x="496" y="21"/>
                      </a:lnTo>
                      <a:lnTo>
                        <a:pt x="501" y="17"/>
                      </a:lnTo>
                      <a:lnTo>
                        <a:pt x="514" y="12"/>
                      </a:lnTo>
                      <a:lnTo>
                        <a:pt x="518" y="2"/>
                      </a:lnTo>
                      <a:lnTo>
                        <a:pt x="527" y="0"/>
                      </a:lnTo>
                      <a:lnTo>
                        <a:pt x="535" y="0"/>
                      </a:lnTo>
                      <a:lnTo>
                        <a:pt x="546" y="7"/>
                      </a:lnTo>
                      <a:lnTo>
                        <a:pt x="555" y="7"/>
                      </a:lnTo>
                      <a:lnTo>
                        <a:pt x="556" y="8"/>
                      </a:lnTo>
                      <a:lnTo>
                        <a:pt x="555" y="14"/>
                      </a:lnTo>
                      <a:lnTo>
                        <a:pt x="555" y="19"/>
                      </a:lnTo>
                      <a:lnTo>
                        <a:pt x="549" y="27"/>
                      </a:lnTo>
                      <a:lnTo>
                        <a:pt x="548" y="33"/>
                      </a:lnTo>
                      <a:lnTo>
                        <a:pt x="548" y="41"/>
                      </a:lnTo>
                      <a:lnTo>
                        <a:pt x="554" y="46"/>
                      </a:lnTo>
                      <a:lnTo>
                        <a:pt x="551" y="52"/>
                      </a:lnTo>
                      <a:lnTo>
                        <a:pt x="552" y="59"/>
                      </a:lnTo>
                      <a:lnTo>
                        <a:pt x="551" y="66"/>
                      </a:lnTo>
                      <a:lnTo>
                        <a:pt x="552" y="75"/>
                      </a:lnTo>
                      <a:lnTo>
                        <a:pt x="551" y="78"/>
                      </a:lnTo>
                      <a:lnTo>
                        <a:pt x="544" y="83"/>
                      </a:lnTo>
                      <a:lnTo>
                        <a:pt x="545" y="86"/>
                      </a:lnTo>
                      <a:lnTo>
                        <a:pt x="551" y="84"/>
                      </a:lnTo>
                      <a:lnTo>
                        <a:pt x="552" y="82"/>
                      </a:lnTo>
                      <a:lnTo>
                        <a:pt x="554" y="82"/>
                      </a:lnTo>
                      <a:lnTo>
                        <a:pt x="556" y="84"/>
                      </a:lnTo>
                      <a:lnTo>
                        <a:pt x="561" y="86"/>
                      </a:lnTo>
                      <a:lnTo>
                        <a:pt x="561" y="89"/>
                      </a:lnTo>
                      <a:lnTo>
                        <a:pt x="560" y="91"/>
                      </a:lnTo>
                      <a:lnTo>
                        <a:pt x="559" y="91"/>
                      </a:lnTo>
                      <a:lnTo>
                        <a:pt x="552" y="88"/>
                      </a:lnTo>
                      <a:lnTo>
                        <a:pt x="545" y="88"/>
                      </a:lnTo>
                      <a:lnTo>
                        <a:pt x="540" y="91"/>
                      </a:lnTo>
                      <a:lnTo>
                        <a:pt x="539" y="92"/>
                      </a:lnTo>
                      <a:lnTo>
                        <a:pt x="539" y="99"/>
                      </a:lnTo>
                      <a:lnTo>
                        <a:pt x="533" y="125"/>
                      </a:lnTo>
                      <a:lnTo>
                        <a:pt x="533" y="141"/>
                      </a:lnTo>
                      <a:lnTo>
                        <a:pt x="530" y="145"/>
                      </a:lnTo>
                      <a:lnTo>
                        <a:pt x="528" y="156"/>
                      </a:lnTo>
                      <a:lnTo>
                        <a:pt x="524" y="159"/>
                      </a:lnTo>
                      <a:lnTo>
                        <a:pt x="518" y="164"/>
                      </a:lnTo>
                      <a:lnTo>
                        <a:pt x="511" y="181"/>
                      </a:lnTo>
                      <a:lnTo>
                        <a:pt x="502" y="190"/>
                      </a:lnTo>
                      <a:lnTo>
                        <a:pt x="497" y="202"/>
                      </a:lnTo>
                      <a:lnTo>
                        <a:pt x="497" y="204"/>
                      </a:lnTo>
                      <a:lnTo>
                        <a:pt x="492" y="207"/>
                      </a:lnTo>
                      <a:lnTo>
                        <a:pt x="485" y="215"/>
                      </a:lnTo>
                      <a:lnTo>
                        <a:pt x="482" y="220"/>
                      </a:lnTo>
                      <a:lnTo>
                        <a:pt x="480" y="226"/>
                      </a:lnTo>
                      <a:lnTo>
                        <a:pt x="479" y="237"/>
                      </a:lnTo>
                      <a:lnTo>
                        <a:pt x="462" y="271"/>
                      </a:lnTo>
                      <a:lnTo>
                        <a:pt x="447" y="296"/>
                      </a:lnTo>
                      <a:lnTo>
                        <a:pt x="444" y="303"/>
                      </a:lnTo>
                      <a:lnTo>
                        <a:pt x="438" y="325"/>
                      </a:lnTo>
                      <a:lnTo>
                        <a:pt x="431" y="344"/>
                      </a:lnTo>
                      <a:lnTo>
                        <a:pt x="422" y="351"/>
                      </a:lnTo>
                      <a:lnTo>
                        <a:pt x="419" y="353"/>
                      </a:lnTo>
                      <a:lnTo>
                        <a:pt x="416" y="357"/>
                      </a:lnTo>
                      <a:lnTo>
                        <a:pt x="414" y="358"/>
                      </a:lnTo>
                      <a:lnTo>
                        <a:pt x="409" y="363"/>
                      </a:lnTo>
                      <a:lnTo>
                        <a:pt x="394" y="378"/>
                      </a:lnTo>
                      <a:lnTo>
                        <a:pt x="389" y="389"/>
                      </a:lnTo>
                      <a:lnTo>
                        <a:pt x="389" y="390"/>
                      </a:lnTo>
                      <a:lnTo>
                        <a:pt x="388" y="395"/>
                      </a:lnTo>
                      <a:lnTo>
                        <a:pt x="382" y="405"/>
                      </a:lnTo>
                      <a:lnTo>
                        <a:pt x="373" y="420"/>
                      </a:lnTo>
                      <a:lnTo>
                        <a:pt x="362" y="432"/>
                      </a:lnTo>
                      <a:lnTo>
                        <a:pt x="363" y="432"/>
                      </a:lnTo>
                      <a:lnTo>
                        <a:pt x="352" y="442"/>
                      </a:lnTo>
                      <a:lnTo>
                        <a:pt x="340" y="453"/>
                      </a:lnTo>
                      <a:lnTo>
                        <a:pt x="334" y="461"/>
                      </a:lnTo>
                      <a:lnTo>
                        <a:pt x="323" y="474"/>
                      </a:lnTo>
                      <a:lnTo>
                        <a:pt x="306" y="486"/>
                      </a:lnTo>
                      <a:lnTo>
                        <a:pt x="297" y="492"/>
                      </a:lnTo>
                      <a:lnTo>
                        <a:pt x="297" y="495"/>
                      </a:lnTo>
                      <a:lnTo>
                        <a:pt x="290" y="506"/>
                      </a:lnTo>
                      <a:lnTo>
                        <a:pt x="277" y="520"/>
                      </a:lnTo>
                      <a:lnTo>
                        <a:pt x="264" y="532"/>
                      </a:lnTo>
                      <a:lnTo>
                        <a:pt x="249" y="541"/>
                      </a:lnTo>
                      <a:lnTo>
                        <a:pt x="243" y="545"/>
                      </a:lnTo>
                      <a:lnTo>
                        <a:pt x="231" y="549"/>
                      </a:lnTo>
                      <a:lnTo>
                        <a:pt x="223" y="550"/>
                      </a:lnTo>
                      <a:lnTo>
                        <a:pt x="216" y="554"/>
                      </a:lnTo>
                      <a:lnTo>
                        <a:pt x="193" y="572"/>
                      </a:lnTo>
                      <a:lnTo>
                        <a:pt x="139" y="620"/>
                      </a:lnTo>
                      <a:lnTo>
                        <a:pt x="120" y="640"/>
                      </a:lnTo>
                      <a:lnTo>
                        <a:pt x="113" y="648"/>
                      </a:lnTo>
                      <a:lnTo>
                        <a:pt x="103" y="659"/>
                      </a:lnTo>
                      <a:lnTo>
                        <a:pt x="91" y="663"/>
                      </a:lnTo>
                      <a:lnTo>
                        <a:pt x="87" y="660"/>
                      </a:lnTo>
                      <a:lnTo>
                        <a:pt x="84" y="665"/>
                      </a:lnTo>
                      <a:lnTo>
                        <a:pt x="87" y="665"/>
                      </a:lnTo>
                      <a:lnTo>
                        <a:pt x="88" y="669"/>
                      </a:lnTo>
                      <a:lnTo>
                        <a:pt x="87" y="672"/>
                      </a:lnTo>
                      <a:lnTo>
                        <a:pt x="83" y="674"/>
                      </a:lnTo>
                      <a:lnTo>
                        <a:pt x="81" y="681"/>
                      </a:lnTo>
                      <a:lnTo>
                        <a:pt x="75" y="691"/>
                      </a:lnTo>
                      <a:lnTo>
                        <a:pt x="61" y="705"/>
                      </a:lnTo>
                      <a:lnTo>
                        <a:pt x="50" y="718"/>
                      </a:lnTo>
                      <a:lnTo>
                        <a:pt x="37" y="730"/>
                      </a:lnTo>
                      <a:lnTo>
                        <a:pt x="32" y="739"/>
                      </a:lnTo>
                      <a:lnTo>
                        <a:pt x="30" y="74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33" name="Freeform 132"/>
                <p:cNvSpPr>
                  <a:spLocks noChangeAspect="1"/>
                </p:cNvSpPr>
                <p:nvPr/>
              </p:nvSpPr>
              <p:spPr bwMode="gray">
                <a:xfrm>
                  <a:off x="4761706" y="3272184"/>
                  <a:ext cx="276225" cy="215900"/>
                </a:xfrm>
                <a:custGeom>
                  <a:avLst/>
                  <a:gdLst/>
                  <a:ahLst/>
                  <a:cxnLst>
                    <a:cxn ang="0">
                      <a:pos x="222" y="381"/>
                    </a:cxn>
                    <a:cxn ang="0">
                      <a:pos x="209" y="442"/>
                    </a:cxn>
                    <a:cxn ang="0">
                      <a:pos x="192" y="463"/>
                    </a:cxn>
                    <a:cxn ang="0">
                      <a:pos x="186" y="474"/>
                    </a:cxn>
                    <a:cxn ang="0">
                      <a:pos x="160" y="475"/>
                    </a:cxn>
                    <a:cxn ang="0">
                      <a:pos x="42" y="495"/>
                    </a:cxn>
                    <a:cxn ang="0">
                      <a:pos x="3" y="511"/>
                    </a:cxn>
                    <a:cxn ang="0">
                      <a:pos x="11" y="532"/>
                    </a:cxn>
                    <a:cxn ang="0">
                      <a:pos x="15" y="550"/>
                    </a:cxn>
                    <a:cxn ang="0">
                      <a:pos x="49" y="588"/>
                    </a:cxn>
                    <a:cxn ang="0">
                      <a:pos x="70" y="622"/>
                    </a:cxn>
                    <a:cxn ang="0">
                      <a:pos x="92" y="629"/>
                    </a:cxn>
                    <a:cxn ang="0">
                      <a:pos x="106" y="622"/>
                    </a:cxn>
                    <a:cxn ang="0">
                      <a:pos x="119" y="637"/>
                    </a:cxn>
                    <a:cxn ang="0">
                      <a:pos x="109" y="641"/>
                    </a:cxn>
                    <a:cxn ang="0">
                      <a:pos x="116" y="656"/>
                    </a:cxn>
                    <a:cxn ang="0">
                      <a:pos x="127" y="653"/>
                    </a:cxn>
                    <a:cxn ang="0">
                      <a:pos x="143" y="645"/>
                    </a:cxn>
                    <a:cxn ang="0">
                      <a:pos x="165" y="653"/>
                    </a:cxn>
                    <a:cxn ang="0">
                      <a:pos x="193" y="678"/>
                    </a:cxn>
                    <a:cxn ang="0">
                      <a:pos x="193" y="637"/>
                    </a:cxn>
                    <a:cxn ang="0">
                      <a:pos x="206" y="624"/>
                    </a:cxn>
                    <a:cxn ang="0">
                      <a:pos x="221" y="586"/>
                    </a:cxn>
                    <a:cxn ang="0">
                      <a:pos x="259" y="565"/>
                    </a:cxn>
                    <a:cxn ang="0">
                      <a:pos x="291" y="561"/>
                    </a:cxn>
                    <a:cxn ang="0">
                      <a:pos x="365" y="602"/>
                    </a:cxn>
                    <a:cxn ang="0">
                      <a:pos x="386" y="609"/>
                    </a:cxn>
                    <a:cxn ang="0">
                      <a:pos x="418" y="588"/>
                    </a:cxn>
                    <a:cxn ang="0">
                      <a:pos x="471" y="613"/>
                    </a:cxn>
                    <a:cxn ang="0">
                      <a:pos x="519" y="618"/>
                    </a:cxn>
                    <a:cxn ang="0">
                      <a:pos x="559" y="588"/>
                    </a:cxn>
                    <a:cxn ang="0">
                      <a:pos x="613" y="587"/>
                    </a:cxn>
                    <a:cxn ang="0">
                      <a:pos x="647" y="591"/>
                    </a:cxn>
                    <a:cxn ang="0">
                      <a:pos x="672" y="597"/>
                    </a:cxn>
                    <a:cxn ang="0">
                      <a:pos x="688" y="582"/>
                    </a:cxn>
                    <a:cxn ang="0">
                      <a:pos x="708" y="576"/>
                    </a:cxn>
                    <a:cxn ang="0">
                      <a:pos x="718" y="561"/>
                    </a:cxn>
                    <a:cxn ang="0">
                      <a:pos x="709" y="545"/>
                    </a:cxn>
                    <a:cxn ang="0">
                      <a:pos x="725" y="533"/>
                    </a:cxn>
                    <a:cxn ang="0">
                      <a:pos x="732" y="515"/>
                    </a:cxn>
                    <a:cxn ang="0">
                      <a:pos x="746" y="501"/>
                    </a:cxn>
                    <a:cxn ang="0">
                      <a:pos x="838" y="386"/>
                    </a:cxn>
                    <a:cxn ang="0">
                      <a:pos x="872" y="184"/>
                    </a:cxn>
                    <a:cxn ang="0">
                      <a:pos x="837" y="160"/>
                    </a:cxn>
                    <a:cxn ang="0">
                      <a:pos x="826" y="135"/>
                    </a:cxn>
                    <a:cxn ang="0">
                      <a:pos x="818" y="117"/>
                    </a:cxn>
                    <a:cxn ang="0">
                      <a:pos x="795" y="26"/>
                    </a:cxn>
                    <a:cxn ang="0">
                      <a:pos x="773" y="11"/>
                    </a:cxn>
                    <a:cxn ang="0">
                      <a:pos x="720" y="1"/>
                    </a:cxn>
                    <a:cxn ang="0">
                      <a:pos x="643" y="1"/>
                    </a:cxn>
                    <a:cxn ang="0">
                      <a:pos x="568" y="53"/>
                    </a:cxn>
                    <a:cxn ang="0">
                      <a:pos x="437" y="145"/>
                    </a:cxn>
                    <a:cxn ang="0">
                      <a:pos x="307" y="236"/>
                    </a:cxn>
                    <a:cxn ang="0">
                      <a:pos x="221" y="257"/>
                    </a:cxn>
                    <a:cxn ang="0">
                      <a:pos x="222" y="271"/>
                    </a:cxn>
                  </a:cxnLst>
                  <a:rect l="0" t="0" r="r" b="b"/>
                  <a:pathLst>
                    <a:path w="872" h="678">
                      <a:moveTo>
                        <a:pt x="222" y="271"/>
                      </a:moveTo>
                      <a:lnTo>
                        <a:pt x="222" y="327"/>
                      </a:lnTo>
                      <a:lnTo>
                        <a:pt x="222" y="381"/>
                      </a:lnTo>
                      <a:lnTo>
                        <a:pt x="222" y="435"/>
                      </a:lnTo>
                      <a:lnTo>
                        <a:pt x="219" y="436"/>
                      </a:lnTo>
                      <a:lnTo>
                        <a:pt x="209" y="442"/>
                      </a:lnTo>
                      <a:lnTo>
                        <a:pt x="205" y="448"/>
                      </a:lnTo>
                      <a:lnTo>
                        <a:pt x="204" y="456"/>
                      </a:lnTo>
                      <a:lnTo>
                        <a:pt x="192" y="463"/>
                      </a:lnTo>
                      <a:lnTo>
                        <a:pt x="188" y="466"/>
                      </a:lnTo>
                      <a:lnTo>
                        <a:pt x="186" y="469"/>
                      </a:lnTo>
                      <a:lnTo>
                        <a:pt x="186" y="474"/>
                      </a:lnTo>
                      <a:lnTo>
                        <a:pt x="173" y="473"/>
                      </a:lnTo>
                      <a:lnTo>
                        <a:pt x="160" y="472"/>
                      </a:lnTo>
                      <a:lnTo>
                        <a:pt x="160" y="475"/>
                      </a:lnTo>
                      <a:lnTo>
                        <a:pt x="155" y="474"/>
                      </a:lnTo>
                      <a:lnTo>
                        <a:pt x="66" y="475"/>
                      </a:lnTo>
                      <a:lnTo>
                        <a:pt x="42" y="495"/>
                      </a:lnTo>
                      <a:lnTo>
                        <a:pt x="5" y="495"/>
                      </a:lnTo>
                      <a:lnTo>
                        <a:pt x="4" y="499"/>
                      </a:lnTo>
                      <a:lnTo>
                        <a:pt x="3" y="511"/>
                      </a:lnTo>
                      <a:lnTo>
                        <a:pt x="0" y="521"/>
                      </a:lnTo>
                      <a:lnTo>
                        <a:pt x="1" y="523"/>
                      </a:lnTo>
                      <a:lnTo>
                        <a:pt x="11" y="532"/>
                      </a:lnTo>
                      <a:lnTo>
                        <a:pt x="12" y="534"/>
                      </a:lnTo>
                      <a:lnTo>
                        <a:pt x="11" y="543"/>
                      </a:lnTo>
                      <a:lnTo>
                        <a:pt x="15" y="550"/>
                      </a:lnTo>
                      <a:lnTo>
                        <a:pt x="27" y="565"/>
                      </a:lnTo>
                      <a:lnTo>
                        <a:pt x="44" y="579"/>
                      </a:lnTo>
                      <a:lnTo>
                        <a:pt x="49" y="588"/>
                      </a:lnTo>
                      <a:lnTo>
                        <a:pt x="55" y="603"/>
                      </a:lnTo>
                      <a:lnTo>
                        <a:pt x="59" y="609"/>
                      </a:lnTo>
                      <a:lnTo>
                        <a:pt x="70" y="622"/>
                      </a:lnTo>
                      <a:lnTo>
                        <a:pt x="78" y="626"/>
                      </a:lnTo>
                      <a:lnTo>
                        <a:pt x="89" y="629"/>
                      </a:lnTo>
                      <a:lnTo>
                        <a:pt x="92" y="629"/>
                      </a:lnTo>
                      <a:lnTo>
                        <a:pt x="97" y="628"/>
                      </a:lnTo>
                      <a:lnTo>
                        <a:pt x="102" y="623"/>
                      </a:lnTo>
                      <a:lnTo>
                        <a:pt x="106" y="622"/>
                      </a:lnTo>
                      <a:lnTo>
                        <a:pt x="112" y="625"/>
                      </a:lnTo>
                      <a:lnTo>
                        <a:pt x="118" y="635"/>
                      </a:lnTo>
                      <a:lnTo>
                        <a:pt x="119" y="637"/>
                      </a:lnTo>
                      <a:lnTo>
                        <a:pt x="118" y="640"/>
                      </a:lnTo>
                      <a:lnTo>
                        <a:pt x="113" y="640"/>
                      </a:lnTo>
                      <a:lnTo>
                        <a:pt x="109" y="641"/>
                      </a:lnTo>
                      <a:lnTo>
                        <a:pt x="108" y="645"/>
                      </a:lnTo>
                      <a:lnTo>
                        <a:pt x="109" y="649"/>
                      </a:lnTo>
                      <a:lnTo>
                        <a:pt x="116" y="656"/>
                      </a:lnTo>
                      <a:lnTo>
                        <a:pt x="127" y="666"/>
                      </a:lnTo>
                      <a:lnTo>
                        <a:pt x="134" y="662"/>
                      </a:lnTo>
                      <a:lnTo>
                        <a:pt x="127" y="653"/>
                      </a:lnTo>
                      <a:lnTo>
                        <a:pt x="127" y="649"/>
                      </a:lnTo>
                      <a:lnTo>
                        <a:pt x="138" y="646"/>
                      </a:lnTo>
                      <a:lnTo>
                        <a:pt x="143" y="645"/>
                      </a:lnTo>
                      <a:lnTo>
                        <a:pt x="151" y="641"/>
                      </a:lnTo>
                      <a:lnTo>
                        <a:pt x="154" y="642"/>
                      </a:lnTo>
                      <a:lnTo>
                        <a:pt x="165" y="653"/>
                      </a:lnTo>
                      <a:lnTo>
                        <a:pt x="177" y="666"/>
                      </a:lnTo>
                      <a:lnTo>
                        <a:pt x="184" y="671"/>
                      </a:lnTo>
                      <a:lnTo>
                        <a:pt x="193" y="678"/>
                      </a:lnTo>
                      <a:lnTo>
                        <a:pt x="194" y="671"/>
                      </a:lnTo>
                      <a:lnTo>
                        <a:pt x="192" y="646"/>
                      </a:lnTo>
                      <a:lnTo>
                        <a:pt x="193" y="637"/>
                      </a:lnTo>
                      <a:lnTo>
                        <a:pt x="195" y="633"/>
                      </a:lnTo>
                      <a:lnTo>
                        <a:pt x="199" y="628"/>
                      </a:lnTo>
                      <a:lnTo>
                        <a:pt x="206" y="624"/>
                      </a:lnTo>
                      <a:lnTo>
                        <a:pt x="211" y="618"/>
                      </a:lnTo>
                      <a:lnTo>
                        <a:pt x="219" y="604"/>
                      </a:lnTo>
                      <a:lnTo>
                        <a:pt x="221" y="586"/>
                      </a:lnTo>
                      <a:lnTo>
                        <a:pt x="222" y="582"/>
                      </a:lnTo>
                      <a:lnTo>
                        <a:pt x="240" y="570"/>
                      </a:lnTo>
                      <a:lnTo>
                        <a:pt x="259" y="565"/>
                      </a:lnTo>
                      <a:lnTo>
                        <a:pt x="277" y="565"/>
                      </a:lnTo>
                      <a:lnTo>
                        <a:pt x="283" y="564"/>
                      </a:lnTo>
                      <a:lnTo>
                        <a:pt x="291" y="561"/>
                      </a:lnTo>
                      <a:lnTo>
                        <a:pt x="306" y="563"/>
                      </a:lnTo>
                      <a:lnTo>
                        <a:pt x="343" y="581"/>
                      </a:lnTo>
                      <a:lnTo>
                        <a:pt x="365" y="602"/>
                      </a:lnTo>
                      <a:lnTo>
                        <a:pt x="372" y="607"/>
                      </a:lnTo>
                      <a:lnTo>
                        <a:pt x="377" y="609"/>
                      </a:lnTo>
                      <a:lnTo>
                        <a:pt x="386" y="609"/>
                      </a:lnTo>
                      <a:lnTo>
                        <a:pt x="392" y="599"/>
                      </a:lnTo>
                      <a:lnTo>
                        <a:pt x="408" y="591"/>
                      </a:lnTo>
                      <a:lnTo>
                        <a:pt x="418" y="588"/>
                      </a:lnTo>
                      <a:lnTo>
                        <a:pt x="430" y="588"/>
                      </a:lnTo>
                      <a:lnTo>
                        <a:pt x="447" y="598"/>
                      </a:lnTo>
                      <a:lnTo>
                        <a:pt x="471" y="613"/>
                      </a:lnTo>
                      <a:lnTo>
                        <a:pt x="483" y="617"/>
                      </a:lnTo>
                      <a:lnTo>
                        <a:pt x="506" y="619"/>
                      </a:lnTo>
                      <a:lnTo>
                        <a:pt x="519" y="618"/>
                      </a:lnTo>
                      <a:lnTo>
                        <a:pt x="533" y="608"/>
                      </a:lnTo>
                      <a:lnTo>
                        <a:pt x="550" y="593"/>
                      </a:lnTo>
                      <a:lnTo>
                        <a:pt x="559" y="588"/>
                      </a:lnTo>
                      <a:lnTo>
                        <a:pt x="585" y="588"/>
                      </a:lnTo>
                      <a:lnTo>
                        <a:pt x="603" y="591"/>
                      </a:lnTo>
                      <a:lnTo>
                        <a:pt x="613" y="587"/>
                      </a:lnTo>
                      <a:lnTo>
                        <a:pt x="633" y="585"/>
                      </a:lnTo>
                      <a:lnTo>
                        <a:pt x="640" y="587"/>
                      </a:lnTo>
                      <a:lnTo>
                        <a:pt x="647" y="591"/>
                      </a:lnTo>
                      <a:lnTo>
                        <a:pt x="655" y="593"/>
                      </a:lnTo>
                      <a:lnTo>
                        <a:pt x="661" y="597"/>
                      </a:lnTo>
                      <a:lnTo>
                        <a:pt x="672" y="597"/>
                      </a:lnTo>
                      <a:lnTo>
                        <a:pt x="678" y="593"/>
                      </a:lnTo>
                      <a:lnTo>
                        <a:pt x="688" y="583"/>
                      </a:lnTo>
                      <a:lnTo>
                        <a:pt x="688" y="582"/>
                      </a:lnTo>
                      <a:lnTo>
                        <a:pt x="694" y="577"/>
                      </a:lnTo>
                      <a:lnTo>
                        <a:pt x="702" y="576"/>
                      </a:lnTo>
                      <a:lnTo>
                        <a:pt x="708" y="576"/>
                      </a:lnTo>
                      <a:lnTo>
                        <a:pt x="714" y="564"/>
                      </a:lnTo>
                      <a:lnTo>
                        <a:pt x="715" y="564"/>
                      </a:lnTo>
                      <a:lnTo>
                        <a:pt x="718" y="561"/>
                      </a:lnTo>
                      <a:lnTo>
                        <a:pt x="713" y="556"/>
                      </a:lnTo>
                      <a:lnTo>
                        <a:pt x="709" y="550"/>
                      </a:lnTo>
                      <a:lnTo>
                        <a:pt x="709" y="545"/>
                      </a:lnTo>
                      <a:lnTo>
                        <a:pt x="714" y="538"/>
                      </a:lnTo>
                      <a:lnTo>
                        <a:pt x="720" y="534"/>
                      </a:lnTo>
                      <a:lnTo>
                        <a:pt x="725" y="533"/>
                      </a:lnTo>
                      <a:lnTo>
                        <a:pt x="730" y="531"/>
                      </a:lnTo>
                      <a:lnTo>
                        <a:pt x="727" y="520"/>
                      </a:lnTo>
                      <a:lnTo>
                        <a:pt x="732" y="515"/>
                      </a:lnTo>
                      <a:lnTo>
                        <a:pt x="740" y="513"/>
                      </a:lnTo>
                      <a:lnTo>
                        <a:pt x="740" y="504"/>
                      </a:lnTo>
                      <a:lnTo>
                        <a:pt x="746" y="501"/>
                      </a:lnTo>
                      <a:lnTo>
                        <a:pt x="746" y="490"/>
                      </a:lnTo>
                      <a:lnTo>
                        <a:pt x="834" y="391"/>
                      </a:lnTo>
                      <a:lnTo>
                        <a:pt x="838" y="386"/>
                      </a:lnTo>
                      <a:lnTo>
                        <a:pt x="844" y="287"/>
                      </a:lnTo>
                      <a:lnTo>
                        <a:pt x="859" y="208"/>
                      </a:lnTo>
                      <a:lnTo>
                        <a:pt x="872" y="184"/>
                      </a:lnTo>
                      <a:lnTo>
                        <a:pt x="849" y="171"/>
                      </a:lnTo>
                      <a:lnTo>
                        <a:pt x="843" y="166"/>
                      </a:lnTo>
                      <a:lnTo>
                        <a:pt x="837" y="160"/>
                      </a:lnTo>
                      <a:lnTo>
                        <a:pt x="833" y="154"/>
                      </a:lnTo>
                      <a:lnTo>
                        <a:pt x="829" y="142"/>
                      </a:lnTo>
                      <a:lnTo>
                        <a:pt x="826" y="135"/>
                      </a:lnTo>
                      <a:lnTo>
                        <a:pt x="826" y="133"/>
                      </a:lnTo>
                      <a:lnTo>
                        <a:pt x="821" y="123"/>
                      </a:lnTo>
                      <a:lnTo>
                        <a:pt x="818" y="117"/>
                      </a:lnTo>
                      <a:lnTo>
                        <a:pt x="818" y="31"/>
                      </a:lnTo>
                      <a:lnTo>
                        <a:pt x="801" y="36"/>
                      </a:lnTo>
                      <a:lnTo>
                        <a:pt x="795" y="26"/>
                      </a:lnTo>
                      <a:lnTo>
                        <a:pt x="791" y="22"/>
                      </a:lnTo>
                      <a:lnTo>
                        <a:pt x="776" y="15"/>
                      </a:lnTo>
                      <a:lnTo>
                        <a:pt x="773" y="11"/>
                      </a:lnTo>
                      <a:lnTo>
                        <a:pt x="768" y="7"/>
                      </a:lnTo>
                      <a:lnTo>
                        <a:pt x="759" y="5"/>
                      </a:lnTo>
                      <a:lnTo>
                        <a:pt x="720" y="1"/>
                      </a:lnTo>
                      <a:lnTo>
                        <a:pt x="677" y="2"/>
                      </a:lnTo>
                      <a:lnTo>
                        <a:pt x="646" y="0"/>
                      </a:lnTo>
                      <a:lnTo>
                        <a:pt x="643" y="1"/>
                      </a:lnTo>
                      <a:lnTo>
                        <a:pt x="638" y="4"/>
                      </a:lnTo>
                      <a:lnTo>
                        <a:pt x="612" y="22"/>
                      </a:lnTo>
                      <a:lnTo>
                        <a:pt x="568" y="53"/>
                      </a:lnTo>
                      <a:lnTo>
                        <a:pt x="525" y="84"/>
                      </a:lnTo>
                      <a:lnTo>
                        <a:pt x="482" y="114"/>
                      </a:lnTo>
                      <a:lnTo>
                        <a:pt x="437" y="145"/>
                      </a:lnTo>
                      <a:lnTo>
                        <a:pt x="393" y="176"/>
                      </a:lnTo>
                      <a:lnTo>
                        <a:pt x="350" y="206"/>
                      </a:lnTo>
                      <a:lnTo>
                        <a:pt x="307" y="236"/>
                      </a:lnTo>
                      <a:lnTo>
                        <a:pt x="292" y="241"/>
                      </a:lnTo>
                      <a:lnTo>
                        <a:pt x="230" y="255"/>
                      </a:lnTo>
                      <a:lnTo>
                        <a:pt x="221" y="257"/>
                      </a:lnTo>
                      <a:lnTo>
                        <a:pt x="221" y="259"/>
                      </a:lnTo>
                      <a:lnTo>
                        <a:pt x="222" y="260"/>
                      </a:lnTo>
                      <a:lnTo>
                        <a:pt x="222" y="271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34" name="Freeform 18"/>
                <p:cNvSpPr>
                  <a:spLocks noChangeAspect="1"/>
                </p:cNvSpPr>
                <p:nvPr/>
              </p:nvSpPr>
              <p:spPr bwMode="gray">
                <a:xfrm>
                  <a:off x="5334792" y="3432522"/>
                  <a:ext cx="261938" cy="198438"/>
                </a:xfrm>
                <a:custGeom>
                  <a:avLst/>
                  <a:gdLst/>
                  <a:ahLst/>
                  <a:cxnLst>
                    <a:cxn ang="0">
                      <a:pos x="174" y="105"/>
                    </a:cxn>
                    <a:cxn ang="0">
                      <a:pos x="149" y="125"/>
                    </a:cxn>
                    <a:cxn ang="0">
                      <a:pos x="104" y="215"/>
                    </a:cxn>
                    <a:cxn ang="0">
                      <a:pos x="81" y="225"/>
                    </a:cxn>
                    <a:cxn ang="0">
                      <a:pos x="67" y="242"/>
                    </a:cxn>
                    <a:cxn ang="0">
                      <a:pos x="67" y="270"/>
                    </a:cxn>
                    <a:cxn ang="0">
                      <a:pos x="61" y="346"/>
                    </a:cxn>
                    <a:cxn ang="0">
                      <a:pos x="21" y="355"/>
                    </a:cxn>
                    <a:cxn ang="0">
                      <a:pos x="5" y="378"/>
                    </a:cxn>
                    <a:cxn ang="0">
                      <a:pos x="12" y="390"/>
                    </a:cxn>
                    <a:cxn ang="0">
                      <a:pos x="39" y="399"/>
                    </a:cxn>
                    <a:cxn ang="0">
                      <a:pos x="58" y="424"/>
                    </a:cxn>
                    <a:cxn ang="0">
                      <a:pos x="93" y="453"/>
                    </a:cxn>
                    <a:cxn ang="0">
                      <a:pos x="113" y="502"/>
                    </a:cxn>
                    <a:cxn ang="0">
                      <a:pos x="150" y="522"/>
                    </a:cxn>
                    <a:cxn ang="0">
                      <a:pos x="157" y="544"/>
                    </a:cxn>
                    <a:cxn ang="0">
                      <a:pos x="185" y="569"/>
                    </a:cxn>
                    <a:cxn ang="0">
                      <a:pos x="255" y="600"/>
                    </a:cxn>
                    <a:cxn ang="0">
                      <a:pos x="303" y="619"/>
                    </a:cxn>
                    <a:cxn ang="0">
                      <a:pos x="373" y="614"/>
                    </a:cxn>
                    <a:cxn ang="0">
                      <a:pos x="427" y="588"/>
                    </a:cxn>
                    <a:cxn ang="0">
                      <a:pos x="483" y="604"/>
                    </a:cxn>
                    <a:cxn ang="0">
                      <a:pos x="506" y="592"/>
                    </a:cxn>
                    <a:cxn ang="0">
                      <a:pos x="567" y="559"/>
                    </a:cxn>
                    <a:cxn ang="0">
                      <a:pos x="661" y="545"/>
                    </a:cxn>
                    <a:cxn ang="0">
                      <a:pos x="823" y="381"/>
                    </a:cxn>
                    <a:cxn ang="0">
                      <a:pos x="684" y="347"/>
                    </a:cxn>
                    <a:cxn ang="0">
                      <a:pos x="579" y="298"/>
                    </a:cxn>
                    <a:cxn ang="0">
                      <a:pos x="564" y="276"/>
                    </a:cxn>
                    <a:cxn ang="0">
                      <a:pos x="550" y="261"/>
                    </a:cxn>
                    <a:cxn ang="0">
                      <a:pos x="539" y="226"/>
                    </a:cxn>
                    <a:cxn ang="0">
                      <a:pos x="534" y="212"/>
                    </a:cxn>
                    <a:cxn ang="0">
                      <a:pos x="516" y="218"/>
                    </a:cxn>
                    <a:cxn ang="0">
                      <a:pos x="504" y="220"/>
                    </a:cxn>
                    <a:cxn ang="0">
                      <a:pos x="484" y="203"/>
                    </a:cxn>
                    <a:cxn ang="0">
                      <a:pos x="499" y="177"/>
                    </a:cxn>
                    <a:cxn ang="0">
                      <a:pos x="512" y="140"/>
                    </a:cxn>
                    <a:cxn ang="0">
                      <a:pos x="495" y="119"/>
                    </a:cxn>
                    <a:cxn ang="0">
                      <a:pos x="480" y="99"/>
                    </a:cxn>
                    <a:cxn ang="0">
                      <a:pos x="445" y="71"/>
                    </a:cxn>
                    <a:cxn ang="0">
                      <a:pos x="420" y="40"/>
                    </a:cxn>
                    <a:cxn ang="0">
                      <a:pos x="389" y="23"/>
                    </a:cxn>
                    <a:cxn ang="0">
                      <a:pos x="372" y="26"/>
                    </a:cxn>
                    <a:cxn ang="0">
                      <a:pos x="356" y="18"/>
                    </a:cxn>
                    <a:cxn ang="0">
                      <a:pos x="340" y="23"/>
                    </a:cxn>
                    <a:cxn ang="0">
                      <a:pos x="334" y="18"/>
                    </a:cxn>
                    <a:cxn ang="0">
                      <a:pos x="324" y="17"/>
                    </a:cxn>
                    <a:cxn ang="0">
                      <a:pos x="301" y="26"/>
                    </a:cxn>
                    <a:cxn ang="0">
                      <a:pos x="284" y="12"/>
                    </a:cxn>
                    <a:cxn ang="0">
                      <a:pos x="268" y="5"/>
                    </a:cxn>
                    <a:cxn ang="0">
                      <a:pos x="236" y="34"/>
                    </a:cxn>
                    <a:cxn ang="0">
                      <a:pos x="223" y="26"/>
                    </a:cxn>
                    <a:cxn ang="0">
                      <a:pos x="216" y="35"/>
                    </a:cxn>
                    <a:cxn ang="0">
                      <a:pos x="194" y="33"/>
                    </a:cxn>
                  </a:cxnLst>
                  <a:rect l="0" t="0" r="r" b="b"/>
                  <a:pathLst>
                    <a:path w="824" h="626">
                      <a:moveTo>
                        <a:pt x="192" y="32"/>
                      </a:moveTo>
                      <a:lnTo>
                        <a:pt x="192" y="48"/>
                      </a:lnTo>
                      <a:lnTo>
                        <a:pt x="174" y="105"/>
                      </a:lnTo>
                      <a:lnTo>
                        <a:pt x="167" y="113"/>
                      </a:lnTo>
                      <a:lnTo>
                        <a:pt x="158" y="115"/>
                      </a:lnTo>
                      <a:lnTo>
                        <a:pt x="149" y="125"/>
                      </a:lnTo>
                      <a:lnTo>
                        <a:pt x="114" y="174"/>
                      </a:lnTo>
                      <a:lnTo>
                        <a:pt x="109" y="188"/>
                      </a:lnTo>
                      <a:lnTo>
                        <a:pt x="104" y="215"/>
                      </a:lnTo>
                      <a:lnTo>
                        <a:pt x="99" y="220"/>
                      </a:lnTo>
                      <a:lnTo>
                        <a:pt x="88" y="220"/>
                      </a:lnTo>
                      <a:lnTo>
                        <a:pt x="81" y="225"/>
                      </a:lnTo>
                      <a:lnTo>
                        <a:pt x="74" y="237"/>
                      </a:lnTo>
                      <a:lnTo>
                        <a:pt x="71" y="244"/>
                      </a:lnTo>
                      <a:lnTo>
                        <a:pt x="67" y="242"/>
                      </a:lnTo>
                      <a:lnTo>
                        <a:pt x="67" y="253"/>
                      </a:lnTo>
                      <a:lnTo>
                        <a:pt x="69" y="259"/>
                      </a:lnTo>
                      <a:lnTo>
                        <a:pt x="67" y="270"/>
                      </a:lnTo>
                      <a:lnTo>
                        <a:pt x="63" y="286"/>
                      </a:lnTo>
                      <a:lnTo>
                        <a:pt x="63" y="331"/>
                      </a:lnTo>
                      <a:lnTo>
                        <a:pt x="61" y="346"/>
                      </a:lnTo>
                      <a:lnTo>
                        <a:pt x="54" y="352"/>
                      </a:lnTo>
                      <a:lnTo>
                        <a:pt x="43" y="357"/>
                      </a:lnTo>
                      <a:lnTo>
                        <a:pt x="21" y="355"/>
                      </a:lnTo>
                      <a:lnTo>
                        <a:pt x="11" y="359"/>
                      </a:lnTo>
                      <a:lnTo>
                        <a:pt x="11" y="373"/>
                      </a:lnTo>
                      <a:lnTo>
                        <a:pt x="5" y="378"/>
                      </a:lnTo>
                      <a:lnTo>
                        <a:pt x="0" y="386"/>
                      </a:lnTo>
                      <a:lnTo>
                        <a:pt x="6" y="390"/>
                      </a:lnTo>
                      <a:lnTo>
                        <a:pt x="12" y="390"/>
                      </a:lnTo>
                      <a:lnTo>
                        <a:pt x="20" y="397"/>
                      </a:lnTo>
                      <a:lnTo>
                        <a:pt x="28" y="395"/>
                      </a:lnTo>
                      <a:lnTo>
                        <a:pt x="39" y="399"/>
                      </a:lnTo>
                      <a:lnTo>
                        <a:pt x="48" y="404"/>
                      </a:lnTo>
                      <a:lnTo>
                        <a:pt x="56" y="414"/>
                      </a:lnTo>
                      <a:lnTo>
                        <a:pt x="58" y="424"/>
                      </a:lnTo>
                      <a:lnTo>
                        <a:pt x="64" y="432"/>
                      </a:lnTo>
                      <a:lnTo>
                        <a:pt x="71" y="440"/>
                      </a:lnTo>
                      <a:lnTo>
                        <a:pt x="93" y="453"/>
                      </a:lnTo>
                      <a:lnTo>
                        <a:pt x="98" y="463"/>
                      </a:lnTo>
                      <a:lnTo>
                        <a:pt x="103" y="475"/>
                      </a:lnTo>
                      <a:lnTo>
                        <a:pt x="113" y="502"/>
                      </a:lnTo>
                      <a:lnTo>
                        <a:pt x="118" y="511"/>
                      </a:lnTo>
                      <a:lnTo>
                        <a:pt x="126" y="517"/>
                      </a:lnTo>
                      <a:lnTo>
                        <a:pt x="150" y="522"/>
                      </a:lnTo>
                      <a:lnTo>
                        <a:pt x="157" y="527"/>
                      </a:lnTo>
                      <a:lnTo>
                        <a:pt x="158" y="534"/>
                      </a:lnTo>
                      <a:lnTo>
                        <a:pt x="157" y="544"/>
                      </a:lnTo>
                      <a:lnTo>
                        <a:pt x="156" y="566"/>
                      </a:lnTo>
                      <a:lnTo>
                        <a:pt x="169" y="571"/>
                      </a:lnTo>
                      <a:lnTo>
                        <a:pt x="185" y="569"/>
                      </a:lnTo>
                      <a:lnTo>
                        <a:pt x="200" y="570"/>
                      </a:lnTo>
                      <a:lnTo>
                        <a:pt x="217" y="578"/>
                      </a:lnTo>
                      <a:lnTo>
                        <a:pt x="255" y="600"/>
                      </a:lnTo>
                      <a:lnTo>
                        <a:pt x="266" y="613"/>
                      </a:lnTo>
                      <a:lnTo>
                        <a:pt x="286" y="619"/>
                      </a:lnTo>
                      <a:lnTo>
                        <a:pt x="303" y="619"/>
                      </a:lnTo>
                      <a:lnTo>
                        <a:pt x="325" y="625"/>
                      </a:lnTo>
                      <a:lnTo>
                        <a:pt x="350" y="626"/>
                      </a:lnTo>
                      <a:lnTo>
                        <a:pt x="373" y="614"/>
                      </a:lnTo>
                      <a:lnTo>
                        <a:pt x="389" y="598"/>
                      </a:lnTo>
                      <a:lnTo>
                        <a:pt x="408" y="592"/>
                      </a:lnTo>
                      <a:lnTo>
                        <a:pt x="427" y="588"/>
                      </a:lnTo>
                      <a:lnTo>
                        <a:pt x="461" y="604"/>
                      </a:lnTo>
                      <a:lnTo>
                        <a:pt x="474" y="603"/>
                      </a:lnTo>
                      <a:lnTo>
                        <a:pt x="483" y="604"/>
                      </a:lnTo>
                      <a:lnTo>
                        <a:pt x="488" y="603"/>
                      </a:lnTo>
                      <a:lnTo>
                        <a:pt x="491" y="599"/>
                      </a:lnTo>
                      <a:lnTo>
                        <a:pt x="506" y="592"/>
                      </a:lnTo>
                      <a:lnTo>
                        <a:pt x="542" y="580"/>
                      </a:lnTo>
                      <a:lnTo>
                        <a:pt x="554" y="567"/>
                      </a:lnTo>
                      <a:lnTo>
                        <a:pt x="567" y="559"/>
                      </a:lnTo>
                      <a:lnTo>
                        <a:pt x="588" y="550"/>
                      </a:lnTo>
                      <a:lnTo>
                        <a:pt x="596" y="545"/>
                      </a:lnTo>
                      <a:lnTo>
                        <a:pt x="661" y="545"/>
                      </a:lnTo>
                      <a:lnTo>
                        <a:pt x="742" y="463"/>
                      </a:lnTo>
                      <a:lnTo>
                        <a:pt x="813" y="393"/>
                      </a:lnTo>
                      <a:lnTo>
                        <a:pt x="823" y="381"/>
                      </a:lnTo>
                      <a:lnTo>
                        <a:pt x="824" y="378"/>
                      </a:lnTo>
                      <a:lnTo>
                        <a:pt x="771" y="379"/>
                      </a:lnTo>
                      <a:lnTo>
                        <a:pt x="684" y="347"/>
                      </a:lnTo>
                      <a:lnTo>
                        <a:pt x="606" y="320"/>
                      </a:lnTo>
                      <a:lnTo>
                        <a:pt x="599" y="313"/>
                      </a:lnTo>
                      <a:lnTo>
                        <a:pt x="579" y="298"/>
                      </a:lnTo>
                      <a:lnTo>
                        <a:pt x="572" y="288"/>
                      </a:lnTo>
                      <a:lnTo>
                        <a:pt x="566" y="282"/>
                      </a:lnTo>
                      <a:lnTo>
                        <a:pt x="564" y="276"/>
                      </a:lnTo>
                      <a:lnTo>
                        <a:pt x="559" y="273"/>
                      </a:lnTo>
                      <a:lnTo>
                        <a:pt x="553" y="266"/>
                      </a:lnTo>
                      <a:lnTo>
                        <a:pt x="550" y="261"/>
                      </a:lnTo>
                      <a:lnTo>
                        <a:pt x="543" y="254"/>
                      </a:lnTo>
                      <a:lnTo>
                        <a:pt x="538" y="231"/>
                      </a:lnTo>
                      <a:lnTo>
                        <a:pt x="539" y="226"/>
                      </a:lnTo>
                      <a:lnTo>
                        <a:pt x="543" y="221"/>
                      </a:lnTo>
                      <a:lnTo>
                        <a:pt x="543" y="220"/>
                      </a:lnTo>
                      <a:lnTo>
                        <a:pt x="534" y="212"/>
                      </a:lnTo>
                      <a:lnTo>
                        <a:pt x="529" y="211"/>
                      </a:lnTo>
                      <a:lnTo>
                        <a:pt x="517" y="216"/>
                      </a:lnTo>
                      <a:lnTo>
                        <a:pt x="516" y="218"/>
                      </a:lnTo>
                      <a:lnTo>
                        <a:pt x="515" y="220"/>
                      </a:lnTo>
                      <a:lnTo>
                        <a:pt x="508" y="217"/>
                      </a:lnTo>
                      <a:lnTo>
                        <a:pt x="504" y="220"/>
                      </a:lnTo>
                      <a:lnTo>
                        <a:pt x="491" y="218"/>
                      </a:lnTo>
                      <a:lnTo>
                        <a:pt x="485" y="212"/>
                      </a:lnTo>
                      <a:lnTo>
                        <a:pt x="484" y="203"/>
                      </a:lnTo>
                      <a:lnTo>
                        <a:pt x="484" y="200"/>
                      </a:lnTo>
                      <a:lnTo>
                        <a:pt x="493" y="190"/>
                      </a:lnTo>
                      <a:lnTo>
                        <a:pt x="499" y="177"/>
                      </a:lnTo>
                      <a:lnTo>
                        <a:pt x="501" y="166"/>
                      </a:lnTo>
                      <a:lnTo>
                        <a:pt x="506" y="144"/>
                      </a:lnTo>
                      <a:lnTo>
                        <a:pt x="512" y="140"/>
                      </a:lnTo>
                      <a:lnTo>
                        <a:pt x="506" y="132"/>
                      </a:lnTo>
                      <a:lnTo>
                        <a:pt x="502" y="125"/>
                      </a:lnTo>
                      <a:lnTo>
                        <a:pt x="495" y="119"/>
                      </a:lnTo>
                      <a:lnTo>
                        <a:pt x="486" y="115"/>
                      </a:lnTo>
                      <a:lnTo>
                        <a:pt x="483" y="109"/>
                      </a:lnTo>
                      <a:lnTo>
                        <a:pt x="480" y="99"/>
                      </a:lnTo>
                      <a:lnTo>
                        <a:pt x="474" y="93"/>
                      </a:lnTo>
                      <a:lnTo>
                        <a:pt x="462" y="83"/>
                      </a:lnTo>
                      <a:lnTo>
                        <a:pt x="445" y="71"/>
                      </a:lnTo>
                      <a:lnTo>
                        <a:pt x="440" y="62"/>
                      </a:lnTo>
                      <a:lnTo>
                        <a:pt x="432" y="51"/>
                      </a:lnTo>
                      <a:lnTo>
                        <a:pt x="420" y="40"/>
                      </a:lnTo>
                      <a:lnTo>
                        <a:pt x="413" y="39"/>
                      </a:lnTo>
                      <a:lnTo>
                        <a:pt x="403" y="34"/>
                      </a:lnTo>
                      <a:lnTo>
                        <a:pt x="389" y="23"/>
                      </a:lnTo>
                      <a:lnTo>
                        <a:pt x="378" y="24"/>
                      </a:lnTo>
                      <a:lnTo>
                        <a:pt x="376" y="26"/>
                      </a:lnTo>
                      <a:lnTo>
                        <a:pt x="372" y="26"/>
                      </a:lnTo>
                      <a:lnTo>
                        <a:pt x="371" y="22"/>
                      </a:lnTo>
                      <a:lnTo>
                        <a:pt x="361" y="22"/>
                      </a:lnTo>
                      <a:lnTo>
                        <a:pt x="356" y="18"/>
                      </a:lnTo>
                      <a:lnTo>
                        <a:pt x="352" y="18"/>
                      </a:lnTo>
                      <a:lnTo>
                        <a:pt x="348" y="22"/>
                      </a:lnTo>
                      <a:lnTo>
                        <a:pt x="340" y="23"/>
                      </a:lnTo>
                      <a:lnTo>
                        <a:pt x="339" y="24"/>
                      </a:lnTo>
                      <a:lnTo>
                        <a:pt x="337" y="24"/>
                      </a:lnTo>
                      <a:lnTo>
                        <a:pt x="334" y="18"/>
                      </a:lnTo>
                      <a:lnTo>
                        <a:pt x="329" y="13"/>
                      </a:lnTo>
                      <a:lnTo>
                        <a:pt x="324" y="13"/>
                      </a:lnTo>
                      <a:lnTo>
                        <a:pt x="324" y="17"/>
                      </a:lnTo>
                      <a:lnTo>
                        <a:pt x="318" y="22"/>
                      </a:lnTo>
                      <a:lnTo>
                        <a:pt x="305" y="24"/>
                      </a:lnTo>
                      <a:lnTo>
                        <a:pt x="301" y="26"/>
                      </a:lnTo>
                      <a:lnTo>
                        <a:pt x="292" y="26"/>
                      </a:lnTo>
                      <a:lnTo>
                        <a:pt x="284" y="15"/>
                      </a:lnTo>
                      <a:lnTo>
                        <a:pt x="284" y="12"/>
                      </a:lnTo>
                      <a:lnTo>
                        <a:pt x="281" y="11"/>
                      </a:lnTo>
                      <a:lnTo>
                        <a:pt x="274" y="11"/>
                      </a:lnTo>
                      <a:lnTo>
                        <a:pt x="268" y="5"/>
                      </a:lnTo>
                      <a:lnTo>
                        <a:pt x="264" y="0"/>
                      </a:lnTo>
                      <a:lnTo>
                        <a:pt x="244" y="44"/>
                      </a:lnTo>
                      <a:lnTo>
                        <a:pt x="236" y="34"/>
                      </a:lnTo>
                      <a:lnTo>
                        <a:pt x="236" y="31"/>
                      </a:lnTo>
                      <a:lnTo>
                        <a:pt x="231" y="26"/>
                      </a:lnTo>
                      <a:lnTo>
                        <a:pt x="223" y="26"/>
                      </a:lnTo>
                      <a:lnTo>
                        <a:pt x="220" y="29"/>
                      </a:lnTo>
                      <a:lnTo>
                        <a:pt x="219" y="33"/>
                      </a:lnTo>
                      <a:lnTo>
                        <a:pt x="216" y="35"/>
                      </a:lnTo>
                      <a:lnTo>
                        <a:pt x="212" y="35"/>
                      </a:lnTo>
                      <a:lnTo>
                        <a:pt x="208" y="33"/>
                      </a:lnTo>
                      <a:lnTo>
                        <a:pt x="194" y="33"/>
                      </a:lnTo>
                      <a:lnTo>
                        <a:pt x="192" y="3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35" name="Freeform 134"/>
                <p:cNvSpPr>
                  <a:spLocks noChangeAspect="1"/>
                </p:cNvSpPr>
                <p:nvPr/>
              </p:nvSpPr>
              <p:spPr bwMode="gray">
                <a:xfrm>
                  <a:off x="5296692" y="4153247"/>
                  <a:ext cx="20638" cy="28575"/>
                </a:xfrm>
                <a:custGeom>
                  <a:avLst/>
                  <a:gdLst/>
                  <a:ahLst/>
                  <a:cxnLst>
                    <a:cxn ang="0">
                      <a:pos x="67" y="63"/>
                    </a:cxn>
                    <a:cxn ang="0">
                      <a:pos x="65" y="35"/>
                    </a:cxn>
                    <a:cxn ang="0">
                      <a:pos x="65" y="14"/>
                    </a:cxn>
                    <a:cxn ang="0">
                      <a:pos x="63" y="6"/>
                    </a:cxn>
                    <a:cxn ang="0">
                      <a:pos x="56" y="15"/>
                    </a:cxn>
                    <a:cxn ang="0">
                      <a:pos x="33" y="0"/>
                    </a:cxn>
                    <a:cxn ang="0">
                      <a:pos x="19" y="9"/>
                    </a:cxn>
                    <a:cxn ang="0">
                      <a:pos x="12" y="21"/>
                    </a:cxn>
                    <a:cxn ang="0">
                      <a:pos x="4" y="38"/>
                    </a:cxn>
                    <a:cxn ang="0">
                      <a:pos x="0" y="54"/>
                    </a:cxn>
                    <a:cxn ang="0">
                      <a:pos x="2" y="67"/>
                    </a:cxn>
                    <a:cxn ang="0">
                      <a:pos x="12" y="86"/>
                    </a:cxn>
                    <a:cxn ang="0">
                      <a:pos x="35" y="89"/>
                    </a:cxn>
                    <a:cxn ang="0">
                      <a:pos x="47" y="90"/>
                    </a:cxn>
                    <a:cxn ang="0">
                      <a:pos x="55" y="81"/>
                    </a:cxn>
                    <a:cxn ang="0">
                      <a:pos x="61" y="67"/>
                    </a:cxn>
                    <a:cxn ang="0">
                      <a:pos x="67" y="63"/>
                    </a:cxn>
                  </a:cxnLst>
                  <a:rect l="0" t="0" r="r" b="b"/>
                  <a:pathLst>
                    <a:path w="67" h="90">
                      <a:moveTo>
                        <a:pt x="67" y="63"/>
                      </a:moveTo>
                      <a:lnTo>
                        <a:pt x="65" y="35"/>
                      </a:lnTo>
                      <a:lnTo>
                        <a:pt x="65" y="14"/>
                      </a:lnTo>
                      <a:lnTo>
                        <a:pt x="63" y="6"/>
                      </a:lnTo>
                      <a:lnTo>
                        <a:pt x="56" y="15"/>
                      </a:lnTo>
                      <a:lnTo>
                        <a:pt x="33" y="0"/>
                      </a:lnTo>
                      <a:lnTo>
                        <a:pt x="19" y="9"/>
                      </a:lnTo>
                      <a:lnTo>
                        <a:pt x="12" y="21"/>
                      </a:lnTo>
                      <a:lnTo>
                        <a:pt x="4" y="38"/>
                      </a:lnTo>
                      <a:lnTo>
                        <a:pt x="0" y="54"/>
                      </a:lnTo>
                      <a:lnTo>
                        <a:pt x="2" y="67"/>
                      </a:lnTo>
                      <a:lnTo>
                        <a:pt x="12" y="86"/>
                      </a:lnTo>
                      <a:lnTo>
                        <a:pt x="35" y="89"/>
                      </a:lnTo>
                      <a:lnTo>
                        <a:pt x="47" y="90"/>
                      </a:lnTo>
                      <a:lnTo>
                        <a:pt x="55" y="81"/>
                      </a:lnTo>
                      <a:lnTo>
                        <a:pt x="61" y="67"/>
                      </a:lnTo>
                      <a:lnTo>
                        <a:pt x="67" y="63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36" name="Freeform 135"/>
                <p:cNvSpPr>
                  <a:spLocks noChangeAspect="1"/>
                </p:cNvSpPr>
                <p:nvPr/>
              </p:nvSpPr>
              <p:spPr bwMode="gray">
                <a:xfrm>
                  <a:off x="5045867" y="4083397"/>
                  <a:ext cx="285750" cy="250825"/>
                </a:xfrm>
                <a:custGeom>
                  <a:avLst/>
                  <a:gdLst/>
                  <a:ahLst/>
                  <a:cxnLst>
                    <a:cxn ang="0">
                      <a:pos x="188" y="334"/>
                    </a:cxn>
                    <a:cxn ang="0">
                      <a:pos x="157" y="406"/>
                    </a:cxn>
                    <a:cxn ang="0">
                      <a:pos x="101" y="418"/>
                    </a:cxn>
                    <a:cxn ang="0">
                      <a:pos x="59" y="396"/>
                    </a:cxn>
                    <a:cxn ang="0">
                      <a:pos x="8" y="398"/>
                    </a:cxn>
                    <a:cxn ang="0">
                      <a:pos x="1" y="411"/>
                    </a:cxn>
                    <a:cxn ang="0">
                      <a:pos x="37" y="491"/>
                    </a:cxn>
                    <a:cxn ang="0">
                      <a:pos x="70" y="562"/>
                    </a:cxn>
                    <a:cxn ang="0">
                      <a:pos x="90" y="665"/>
                    </a:cxn>
                    <a:cxn ang="0">
                      <a:pos x="77" y="678"/>
                    </a:cxn>
                    <a:cxn ang="0">
                      <a:pos x="88" y="701"/>
                    </a:cxn>
                    <a:cxn ang="0">
                      <a:pos x="108" y="734"/>
                    </a:cxn>
                    <a:cxn ang="0">
                      <a:pos x="109" y="770"/>
                    </a:cxn>
                    <a:cxn ang="0">
                      <a:pos x="112" y="750"/>
                    </a:cxn>
                    <a:cxn ang="0">
                      <a:pos x="128" y="769"/>
                    </a:cxn>
                    <a:cxn ang="0">
                      <a:pos x="155" y="782"/>
                    </a:cxn>
                    <a:cxn ang="0">
                      <a:pos x="195" y="791"/>
                    </a:cxn>
                    <a:cxn ang="0">
                      <a:pos x="236" y="771"/>
                    </a:cxn>
                    <a:cxn ang="0">
                      <a:pos x="287" y="771"/>
                    </a:cxn>
                    <a:cxn ang="0">
                      <a:pos x="311" y="753"/>
                    </a:cxn>
                    <a:cxn ang="0">
                      <a:pos x="365" y="753"/>
                    </a:cxn>
                    <a:cxn ang="0">
                      <a:pos x="408" y="746"/>
                    </a:cxn>
                    <a:cxn ang="0">
                      <a:pos x="479" y="743"/>
                    </a:cxn>
                    <a:cxn ang="0">
                      <a:pos x="505" y="733"/>
                    </a:cxn>
                    <a:cxn ang="0">
                      <a:pos x="553" y="727"/>
                    </a:cxn>
                    <a:cxn ang="0">
                      <a:pos x="633" y="679"/>
                    </a:cxn>
                    <a:cxn ang="0">
                      <a:pos x="705" y="600"/>
                    </a:cxn>
                    <a:cxn ang="0">
                      <a:pos x="765" y="533"/>
                    </a:cxn>
                    <a:cxn ang="0">
                      <a:pos x="804" y="465"/>
                    </a:cxn>
                    <a:cxn ang="0">
                      <a:pos x="836" y="420"/>
                    </a:cxn>
                    <a:cxn ang="0">
                      <a:pos x="881" y="357"/>
                    </a:cxn>
                    <a:cxn ang="0">
                      <a:pos x="894" y="305"/>
                    </a:cxn>
                    <a:cxn ang="0">
                      <a:pos x="856" y="281"/>
                    </a:cxn>
                    <a:cxn ang="0">
                      <a:pos x="824" y="307"/>
                    </a:cxn>
                    <a:cxn ang="0">
                      <a:pos x="793" y="256"/>
                    </a:cxn>
                    <a:cxn ang="0">
                      <a:pos x="845" y="233"/>
                    </a:cxn>
                    <a:cxn ang="0">
                      <a:pos x="830" y="55"/>
                    </a:cxn>
                    <a:cxn ang="0">
                      <a:pos x="807" y="17"/>
                    </a:cxn>
                    <a:cxn ang="0">
                      <a:pos x="749" y="9"/>
                    </a:cxn>
                    <a:cxn ang="0">
                      <a:pos x="704" y="8"/>
                    </a:cxn>
                    <a:cxn ang="0">
                      <a:pos x="625" y="57"/>
                    </a:cxn>
                    <a:cxn ang="0">
                      <a:pos x="558" y="129"/>
                    </a:cxn>
                    <a:cxn ang="0">
                      <a:pos x="496" y="207"/>
                    </a:cxn>
                    <a:cxn ang="0">
                      <a:pos x="437" y="217"/>
                    </a:cxn>
                    <a:cxn ang="0">
                      <a:pos x="376" y="201"/>
                    </a:cxn>
                    <a:cxn ang="0">
                      <a:pos x="339" y="248"/>
                    </a:cxn>
                    <a:cxn ang="0">
                      <a:pos x="277" y="286"/>
                    </a:cxn>
                    <a:cxn ang="0">
                      <a:pos x="230" y="271"/>
                    </a:cxn>
                    <a:cxn ang="0">
                      <a:pos x="238" y="213"/>
                    </a:cxn>
                    <a:cxn ang="0">
                      <a:pos x="200" y="170"/>
                    </a:cxn>
                  </a:cxnLst>
                  <a:rect l="0" t="0" r="r" b="b"/>
                  <a:pathLst>
                    <a:path w="898" h="791">
                      <a:moveTo>
                        <a:pt x="188" y="161"/>
                      </a:moveTo>
                      <a:lnTo>
                        <a:pt x="188" y="216"/>
                      </a:lnTo>
                      <a:lnTo>
                        <a:pt x="188" y="275"/>
                      </a:lnTo>
                      <a:lnTo>
                        <a:pt x="188" y="334"/>
                      </a:lnTo>
                      <a:lnTo>
                        <a:pt x="188" y="390"/>
                      </a:lnTo>
                      <a:lnTo>
                        <a:pt x="182" y="394"/>
                      </a:lnTo>
                      <a:lnTo>
                        <a:pt x="171" y="396"/>
                      </a:lnTo>
                      <a:lnTo>
                        <a:pt x="157" y="406"/>
                      </a:lnTo>
                      <a:lnTo>
                        <a:pt x="141" y="421"/>
                      </a:lnTo>
                      <a:lnTo>
                        <a:pt x="129" y="421"/>
                      </a:lnTo>
                      <a:lnTo>
                        <a:pt x="120" y="418"/>
                      </a:lnTo>
                      <a:lnTo>
                        <a:pt x="101" y="418"/>
                      </a:lnTo>
                      <a:lnTo>
                        <a:pt x="86" y="423"/>
                      </a:lnTo>
                      <a:lnTo>
                        <a:pt x="70" y="421"/>
                      </a:lnTo>
                      <a:lnTo>
                        <a:pt x="59" y="409"/>
                      </a:lnTo>
                      <a:lnTo>
                        <a:pt x="59" y="396"/>
                      </a:lnTo>
                      <a:lnTo>
                        <a:pt x="33" y="378"/>
                      </a:lnTo>
                      <a:lnTo>
                        <a:pt x="21" y="379"/>
                      </a:lnTo>
                      <a:lnTo>
                        <a:pt x="15" y="390"/>
                      </a:lnTo>
                      <a:lnTo>
                        <a:pt x="8" y="398"/>
                      </a:lnTo>
                      <a:lnTo>
                        <a:pt x="5" y="400"/>
                      </a:lnTo>
                      <a:lnTo>
                        <a:pt x="0" y="401"/>
                      </a:lnTo>
                      <a:lnTo>
                        <a:pt x="2" y="405"/>
                      </a:lnTo>
                      <a:lnTo>
                        <a:pt x="1" y="411"/>
                      </a:lnTo>
                      <a:lnTo>
                        <a:pt x="5" y="416"/>
                      </a:lnTo>
                      <a:lnTo>
                        <a:pt x="13" y="426"/>
                      </a:lnTo>
                      <a:lnTo>
                        <a:pt x="28" y="464"/>
                      </a:lnTo>
                      <a:lnTo>
                        <a:pt x="37" y="491"/>
                      </a:lnTo>
                      <a:lnTo>
                        <a:pt x="51" y="528"/>
                      </a:lnTo>
                      <a:lnTo>
                        <a:pt x="59" y="536"/>
                      </a:lnTo>
                      <a:lnTo>
                        <a:pt x="64" y="552"/>
                      </a:lnTo>
                      <a:lnTo>
                        <a:pt x="70" y="562"/>
                      </a:lnTo>
                      <a:lnTo>
                        <a:pt x="91" y="595"/>
                      </a:lnTo>
                      <a:lnTo>
                        <a:pt x="97" y="608"/>
                      </a:lnTo>
                      <a:lnTo>
                        <a:pt x="99" y="648"/>
                      </a:lnTo>
                      <a:lnTo>
                        <a:pt x="90" y="665"/>
                      </a:lnTo>
                      <a:lnTo>
                        <a:pt x="78" y="660"/>
                      </a:lnTo>
                      <a:lnTo>
                        <a:pt x="76" y="667"/>
                      </a:lnTo>
                      <a:lnTo>
                        <a:pt x="75" y="678"/>
                      </a:lnTo>
                      <a:lnTo>
                        <a:pt x="77" y="678"/>
                      </a:lnTo>
                      <a:lnTo>
                        <a:pt x="85" y="683"/>
                      </a:lnTo>
                      <a:lnTo>
                        <a:pt x="87" y="690"/>
                      </a:lnTo>
                      <a:lnTo>
                        <a:pt x="83" y="691"/>
                      </a:lnTo>
                      <a:lnTo>
                        <a:pt x="88" y="701"/>
                      </a:lnTo>
                      <a:lnTo>
                        <a:pt x="93" y="705"/>
                      </a:lnTo>
                      <a:lnTo>
                        <a:pt x="99" y="716"/>
                      </a:lnTo>
                      <a:lnTo>
                        <a:pt x="107" y="726"/>
                      </a:lnTo>
                      <a:lnTo>
                        <a:pt x="108" y="734"/>
                      </a:lnTo>
                      <a:lnTo>
                        <a:pt x="103" y="742"/>
                      </a:lnTo>
                      <a:lnTo>
                        <a:pt x="103" y="749"/>
                      </a:lnTo>
                      <a:lnTo>
                        <a:pt x="103" y="760"/>
                      </a:lnTo>
                      <a:lnTo>
                        <a:pt x="109" y="770"/>
                      </a:lnTo>
                      <a:lnTo>
                        <a:pt x="110" y="769"/>
                      </a:lnTo>
                      <a:lnTo>
                        <a:pt x="109" y="761"/>
                      </a:lnTo>
                      <a:lnTo>
                        <a:pt x="109" y="754"/>
                      </a:lnTo>
                      <a:lnTo>
                        <a:pt x="112" y="750"/>
                      </a:lnTo>
                      <a:lnTo>
                        <a:pt x="119" y="749"/>
                      </a:lnTo>
                      <a:lnTo>
                        <a:pt x="128" y="750"/>
                      </a:lnTo>
                      <a:lnTo>
                        <a:pt x="129" y="762"/>
                      </a:lnTo>
                      <a:lnTo>
                        <a:pt x="128" y="769"/>
                      </a:lnTo>
                      <a:lnTo>
                        <a:pt x="133" y="771"/>
                      </a:lnTo>
                      <a:lnTo>
                        <a:pt x="151" y="770"/>
                      </a:lnTo>
                      <a:lnTo>
                        <a:pt x="156" y="775"/>
                      </a:lnTo>
                      <a:lnTo>
                        <a:pt x="155" y="782"/>
                      </a:lnTo>
                      <a:lnTo>
                        <a:pt x="166" y="788"/>
                      </a:lnTo>
                      <a:lnTo>
                        <a:pt x="174" y="788"/>
                      </a:lnTo>
                      <a:lnTo>
                        <a:pt x="183" y="791"/>
                      </a:lnTo>
                      <a:lnTo>
                        <a:pt x="195" y="791"/>
                      </a:lnTo>
                      <a:lnTo>
                        <a:pt x="204" y="788"/>
                      </a:lnTo>
                      <a:lnTo>
                        <a:pt x="214" y="776"/>
                      </a:lnTo>
                      <a:lnTo>
                        <a:pt x="232" y="775"/>
                      </a:lnTo>
                      <a:lnTo>
                        <a:pt x="236" y="771"/>
                      </a:lnTo>
                      <a:lnTo>
                        <a:pt x="244" y="770"/>
                      </a:lnTo>
                      <a:lnTo>
                        <a:pt x="264" y="772"/>
                      </a:lnTo>
                      <a:lnTo>
                        <a:pt x="266" y="769"/>
                      </a:lnTo>
                      <a:lnTo>
                        <a:pt x="287" y="771"/>
                      </a:lnTo>
                      <a:lnTo>
                        <a:pt x="293" y="769"/>
                      </a:lnTo>
                      <a:lnTo>
                        <a:pt x="296" y="761"/>
                      </a:lnTo>
                      <a:lnTo>
                        <a:pt x="305" y="758"/>
                      </a:lnTo>
                      <a:lnTo>
                        <a:pt x="311" y="753"/>
                      </a:lnTo>
                      <a:lnTo>
                        <a:pt x="316" y="748"/>
                      </a:lnTo>
                      <a:lnTo>
                        <a:pt x="333" y="745"/>
                      </a:lnTo>
                      <a:lnTo>
                        <a:pt x="341" y="746"/>
                      </a:lnTo>
                      <a:lnTo>
                        <a:pt x="365" y="753"/>
                      </a:lnTo>
                      <a:lnTo>
                        <a:pt x="372" y="753"/>
                      </a:lnTo>
                      <a:lnTo>
                        <a:pt x="381" y="745"/>
                      </a:lnTo>
                      <a:lnTo>
                        <a:pt x="394" y="744"/>
                      </a:lnTo>
                      <a:lnTo>
                        <a:pt x="408" y="746"/>
                      </a:lnTo>
                      <a:lnTo>
                        <a:pt x="446" y="758"/>
                      </a:lnTo>
                      <a:lnTo>
                        <a:pt x="459" y="758"/>
                      </a:lnTo>
                      <a:lnTo>
                        <a:pt x="467" y="744"/>
                      </a:lnTo>
                      <a:lnTo>
                        <a:pt x="479" y="743"/>
                      </a:lnTo>
                      <a:lnTo>
                        <a:pt x="491" y="748"/>
                      </a:lnTo>
                      <a:lnTo>
                        <a:pt x="507" y="749"/>
                      </a:lnTo>
                      <a:lnTo>
                        <a:pt x="508" y="743"/>
                      </a:lnTo>
                      <a:lnTo>
                        <a:pt x="505" y="733"/>
                      </a:lnTo>
                      <a:lnTo>
                        <a:pt x="512" y="728"/>
                      </a:lnTo>
                      <a:lnTo>
                        <a:pt x="519" y="727"/>
                      </a:lnTo>
                      <a:lnTo>
                        <a:pt x="532" y="726"/>
                      </a:lnTo>
                      <a:lnTo>
                        <a:pt x="553" y="727"/>
                      </a:lnTo>
                      <a:lnTo>
                        <a:pt x="564" y="726"/>
                      </a:lnTo>
                      <a:lnTo>
                        <a:pt x="586" y="715"/>
                      </a:lnTo>
                      <a:lnTo>
                        <a:pt x="623" y="689"/>
                      </a:lnTo>
                      <a:lnTo>
                        <a:pt x="633" y="679"/>
                      </a:lnTo>
                      <a:lnTo>
                        <a:pt x="642" y="668"/>
                      </a:lnTo>
                      <a:lnTo>
                        <a:pt x="663" y="652"/>
                      </a:lnTo>
                      <a:lnTo>
                        <a:pt x="689" y="624"/>
                      </a:lnTo>
                      <a:lnTo>
                        <a:pt x="705" y="600"/>
                      </a:lnTo>
                      <a:lnTo>
                        <a:pt x="714" y="589"/>
                      </a:lnTo>
                      <a:lnTo>
                        <a:pt x="723" y="582"/>
                      </a:lnTo>
                      <a:lnTo>
                        <a:pt x="747" y="561"/>
                      </a:lnTo>
                      <a:lnTo>
                        <a:pt x="765" y="533"/>
                      </a:lnTo>
                      <a:lnTo>
                        <a:pt x="774" y="520"/>
                      </a:lnTo>
                      <a:lnTo>
                        <a:pt x="796" y="480"/>
                      </a:lnTo>
                      <a:lnTo>
                        <a:pt x="800" y="473"/>
                      </a:lnTo>
                      <a:lnTo>
                        <a:pt x="804" y="465"/>
                      </a:lnTo>
                      <a:lnTo>
                        <a:pt x="808" y="454"/>
                      </a:lnTo>
                      <a:lnTo>
                        <a:pt x="819" y="437"/>
                      </a:lnTo>
                      <a:lnTo>
                        <a:pt x="828" y="426"/>
                      </a:lnTo>
                      <a:lnTo>
                        <a:pt x="836" y="420"/>
                      </a:lnTo>
                      <a:lnTo>
                        <a:pt x="846" y="417"/>
                      </a:lnTo>
                      <a:lnTo>
                        <a:pt x="866" y="401"/>
                      </a:lnTo>
                      <a:lnTo>
                        <a:pt x="875" y="388"/>
                      </a:lnTo>
                      <a:lnTo>
                        <a:pt x="881" y="357"/>
                      </a:lnTo>
                      <a:lnTo>
                        <a:pt x="886" y="345"/>
                      </a:lnTo>
                      <a:lnTo>
                        <a:pt x="888" y="331"/>
                      </a:lnTo>
                      <a:lnTo>
                        <a:pt x="888" y="318"/>
                      </a:lnTo>
                      <a:lnTo>
                        <a:pt x="894" y="305"/>
                      </a:lnTo>
                      <a:lnTo>
                        <a:pt x="897" y="294"/>
                      </a:lnTo>
                      <a:lnTo>
                        <a:pt x="898" y="282"/>
                      </a:lnTo>
                      <a:lnTo>
                        <a:pt x="892" y="281"/>
                      </a:lnTo>
                      <a:lnTo>
                        <a:pt x="856" y="281"/>
                      </a:lnTo>
                      <a:lnTo>
                        <a:pt x="850" y="285"/>
                      </a:lnTo>
                      <a:lnTo>
                        <a:pt x="844" y="299"/>
                      </a:lnTo>
                      <a:lnTo>
                        <a:pt x="836" y="308"/>
                      </a:lnTo>
                      <a:lnTo>
                        <a:pt x="824" y="307"/>
                      </a:lnTo>
                      <a:lnTo>
                        <a:pt x="801" y="304"/>
                      </a:lnTo>
                      <a:lnTo>
                        <a:pt x="791" y="285"/>
                      </a:lnTo>
                      <a:lnTo>
                        <a:pt x="789" y="272"/>
                      </a:lnTo>
                      <a:lnTo>
                        <a:pt x="793" y="256"/>
                      </a:lnTo>
                      <a:lnTo>
                        <a:pt x="801" y="239"/>
                      </a:lnTo>
                      <a:lnTo>
                        <a:pt x="808" y="227"/>
                      </a:lnTo>
                      <a:lnTo>
                        <a:pt x="822" y="218"/>
                      </a:lnTo>
                      <a:lnTo>
                        <a:pt x="845" y="233"/>
                      </a:lnTo>
                      <a:lnTo>
                        <a:pt x="852" y="224"/>
                      </a:lnTo>
                      <a:lnTo>
                        <a:pt x="849" y="131"/>
                      </a:lnTo>
                      <a:lnTo>
                        <a:pt x="836" y="87"/>
                      </a:lnTo>
                      <a:lnTo>
                        <a:pt x="830" y="55"/>
                      </a:lnTo>
                      <a:lnTo>
                        <a:pt x="828" y="34"/>
                      </a:lnTo>
                      <a:lnTo>
                        <a:pt x="827" y="33"/>
                      </a:lnTo>
                      <a:lnTo>
                        <a:pt x="822" y="32"/>
                      </a:lnTo>
                      <a:lnTo>
                        <a:pt x="807" y="17"/>
                      </a:lnTo>
                      <a:lnTo>
                        <a:pt x="786" y="11"/>
                      </a:lnTo>
                      <a:lnTo>
                        <a:pt x="774" y="9"/>
                      </a:lnTo>
                      <a:lnTo>
                        <a:pt x="761" y="12"/>
                      </a:lnTo>
                      <a:lnTo>
                        <a:pt x="749" y="9"/>
                      </a:lnTo>
                      <a:lnTo>
                        <a:pt x="726" y="2"/>
                      </a:lnTo>
                      <a:lnTo>
                        <a:pt x="717" y="0"/>
                      </a:lnTo>
                      <a:lnTo>
                        <a:pt x="705" y="5"/>
                      </a:lnTo>
                      <a:lnTo>
                        <a:pt x="704" y="8"/>
                      </a:lnTo>
                      <a:lnTo>
                        <a:pt x="693" y="13"/>
                      </a:lnTo>
                      <a:lnTo>
                        <a:pt x="679" y="22"/>
                      </a:lnTo>
                      <a:lnTo>
                        <a:pt x="641" y="40"/>
                      </a:lnTo>
                      <a:lnTo>
                        <a:pt x="625" y="57"/>
                      </a:lnTo>
                      <a:lnTo>
                        <a:pt x="605" y="70"/>
                      </a:lnTo>
                      <a:lnTo>
                        <a:pt x="586" y="88"/>
                      </a:lnTo>
                      <a:lnTo>
                        <a:pt x="575" y="104"/>
                      </a:lnTo>
                      <a:lnTo>
                        <a:pt x="558" y="129"/>
                      </a:lnTo>
                      <a:lnTo>
                        <a:pt x="531" y="148"/>
                      </a:lnTo>
                      <a:lnTo>
                        <a:pt x="516" y="167"/>
                      </a:lnTo>
                      <a:lnTo>
                        <a:pt x="501" y="201"/>
                      </a:lnTo>
                      <a:lnTo>
                        <a:pt x="496" y="207"/>
                      </a:lnTo>
                      <a:lnTo>
                        <a:pt x="488" y="211"/>
                      </a:lnTo>
                      <a:lnTo>
                        <a:pt x="477" y="212"/>
                      </a:lnTo>
                      <a:lnTo>
                        <a:pt x="452" y="218"/>
                      </a:lnTo>
                      <a:lnTo>
                        <a:pt x="437" y="217"/>
                      </a:lnTo>
                      <a:lnTo>
                        <a:pt x="414" y="204"/>
                      </a:lnTo>
                      <a:lnTo>
                        <a:pt x="402" y="199"/>
                      </a:lnTo>
                      <a:lnTo>
                        <a:pt x="388" y="197"/>
                      </a:lnTo>
                      <a:lnTo>
                        <a:pt x="376" y="201"/>
                      </a:lnTo>
                      <a:lnTo>
                        <a:pt x="357" y="221"/>
                      </a:lnTo>
                      <a:lnTo>
                        <a:pt x="351" y="229"/>
                      </a:lnTo>
                      <a:lnTo>
                        <a:pt x="348" y="237"/>
                      </a:lnTo>
                      <a:lnTo>
                        <a:pt x="339" y="248"/>
                      </a:lnTo>
                      <a:lnTo>
                        <a:pt x="327" y="255"/>
                      </a:lnTo>
                      <a:lnTo>
                        <a:pt x="322" y="260"/>
                      </a:lnTo>
                      <a:lnTo>
                        <a:pt x="312" y="277"/>
                      </a:lnTo>
                      <a:lnTo>
                        <a:pt x="277" y="286"/>
                      </a:lnTo>
                      <a:lnTo>
                        <a:pt x="259" y="285"/>
                      </a:lnTo>
                      <a:lnTo>
                        <a:pt x="243" y="282"/>
                      </a:lnTo>
                      <a:lnTo>
                        <a:pt x="233" y="280"/>
                      </a:lnTo>
                      <a:lnTo>
                        <a:pt x="230" y="271"/>
                      </a:lnTo>
                      <a:lnTo>
                        <a:pt x="237" y="250"/>
                      </a:lnTo>
                      <a:lnTo>
                        <a:pt x="239" y="237"/>
                      </a:lnTo>
                      <a:lnTo>
                        <a:pt x="239" y="231"/>
                      </a:lnTo>
                      <a:lnTo>
                        <a:pt x="238" y="213"/>
                      </a:lnTo>
                      <a:lnTo>
                        <a:pt x="231" y="201"/>
                      </a:lnTo>
                      <a:lnTo>
                        <a:pt x="217" y="190"/>
                      </a:lnTo>
                      <a:lnTo>
                        <a:pt x="212" y="181"/>
                      </a:lnTo>
                      <a:lnTo>
                        <a:pt x="200" y="170"/>
                      </a:lnTo>
                      <a:lnTo>
                        <a:pt x="198" y="167"/>
                      </a:lnTo>
                      <a:lnTo>
                        <a:pt x="192" y="161"/>
                      </a:lnTo>
                      <a:lnTo>
                        <a:pt x="188" y="161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37" name="Freeform 136"/>
                <p:cNvSpPr>
                  <a:spLocks noChangeAspect="1"/>
                </p:cNvSpPr>
                <p:nvPr/>
              </p:nvSpPr>
              <p:spPr bwMode="gray">
                <a:xfrm>
                  <a:off x="5330030" y="3854797"/>
                  <a:ext cx="55563" cy="138113"/>
                </a:xfrm>
                <a:custGeom>
                  <a:avLst/>
                  <a:gdLst/>
                  <a:ahLst/>
                  <a:cxnLst>
                    <a:cxn ang="0">
                      <a:pos x="61" y="11"/>
                    </a:cxn>
                    <a:cxn ang="0">
                      <a:pos x="42" y="14"/>
                    </a:cxn>
                    <a:cxn ang="0">
                      <a:pos x="25" y="8"/>
                    </a:cxn>
                    <a:cxn ang="0">
                      <a:pos x="13" y="8"/>
                    </a:cxn>
                    <a:cxn ang="0">
                      <a:pos x="25" y="15"/>
                    </a:cxn>
                    <a:cxn ang="0">
                      <a:pos x="37" y="40"/>
                    </a:cxn>
                    <a:cxn ang="0">
                      <a:pos x="50" y="65"/>
                    </a:cxn>
                    <a:cxn ang="0">
                      <a:pos x="42" y="80"/>
                    </a:cxn>
                    <a:cxn ang="0">
                      <a:pos x="35" y="94"/>
                    </a:cxn>
                    <a:cxn ang="0">
                      <a:pos x="31" y="127"/>
                    </a:cxn>
                    <a:cxn ang="0">
                      <a:pos x="31" y="159"/>
                    </a:cxn>
                    <a:cxn ang="0">
                      <a:pos x="41" y="172"/>
                    </a:cxn>
                    <a:cxn ang="0">
                      <a:pos x="24" y="181"/>
                    </a:cxn>
                    <a:cxn ang="0">
                      <a:pos x="14" y="198"/>
                    </a:cxn>
                    <a:cxn ang="0">
                      <a:pos x="2" y="235"/>
                    </a:cxn>
                    <a:cxn ang="0">
                      <a:pos x="8" y="248"/>
                    </a:cxn>
                    <a:cxn ang="0">
                      <a:pos x="23" y="257"/>
                    </a:cxn>
                    <a:cxn ang="0">
                      <a:pos x="30" y="263"/>
                    </a:cxn>
                    <a:cxn ang="0">
                      <a:pos x="51" y="289"/>
                    </a:cxn>
                    <a:cxn ang="0">
                      <a:pos x="93" y="284"/>
                    </a:cxn>
                    <a:cxn ang="0">
                      <a:pos x="101" y="310"/>
                    </a:cxn>
                    <a:cxn ang="0">
                      <a:pos x="94" y="343"/>
                    </a:cxn>
                    <a:cxn ang="0">
                      <a:pos x="86" y="365"/>
                    </a:cxn>
                    <a:cxn ang="0">
                      <a:pos x="97" y="388"/>
                    </a:cxn>
                    <a:cxn ang="0">
                      <a:pos x="112" y="404"/>
                    </a:cxn>
                    <a:cxn ang="0">
                      <a:pos x="128" y="414"/>
                    </a:cxn>
                    <a:cxn ang="0">
                      <a:pos x="127" y="429"/>
                    </a:cxn>
                    <a:cxn ang="0">
                      <a:pos x="142" y="430"/>
                    </a:cxn>
                    <a:cxn ang="0">
                      <a:pos x="139" y="409"/>
                    </a:cxn>
                    <a:cxn ang="0">
                      <a:pos x="139" y="392"/>
                    </a:cxn>
                    <a:cxn ang="0">
                      <a:pos x="153" y="377"/>
                    </a:cxn>
                    <a:cxn ang="0">
                      <a:pos x="169" y="368"/>
                    </a:cxn>
                    <a:cxn ang="0">
                      <a:pos x="169" y="325"/>
                    </a:cxn>
                    <a:cxn ang="0">
                      <a:pos x="172" y="295"/>
                    </a:cxn>
                    <a:cxn ang="0">
                      <a:pos x="148" y="266"/>
                    </a:cxn>
                    <a:cxn ang="0">
                      <a:pos x="116" y="230"/>
                    </a:cxn>
                    <a:cxn ang="0">
                      <a:pos x="116" y="242"/>
                    </a:cxn>
                    <a:cxn ang="0">
                      <a:pos x="126" y="250"/>
                    </a:cxn>
                    <a:cxn ang="0">
                      <a:pos x="134" y="282"/>
                    </a:cxn>
                    <a:cxn ang="0">
                      <a:pos x="121" y="269"/>
                    </a:cxn>
                    <a:cxn ang="0">
                      <a:pos x="115" y="262"/>
                    </a:cxn>
                    <a:cxn ang="0">
                      <a:pos x="102" y="272"/>
                    </a:cxn>
                    <a:cxn ang="0">
                      <a:pos x="97" y="261"/>
                    </a:cxn>
                    <a:cxn ang="0">
                      <a:pos x="100" y="245"/>
                    </a:cxn>
                    <a:cxn ang="0">
                      <a:pos x="89" y="231"/>
                    </a:cxn>
                    <a:cxn ang="0">
                      <a:pos x="85" y="208"/>
                    </a:cxn>
                    <a:cxn ang="0">
                      <a:pos x="68" y="159"/>
                    </a:cxn>
                    <a:cxn ang="0">
                      <a:pos x="79" y="140"/>
                    </a:cxn>
                    <a:cxn ang="0">
                      <a:pos x="79" y="70"/>
                    </a:cxn>
                    <a:cxn ang="0">
                      <a:pos x="78" y="51"/>
                    </a:cxn>
                    <a:cxn ang="0">
                      <a:pos x="63" y="32"/>
                    </a:cxn>
                    <a:cxn ang="0">
                      <a:pos x="69" y="10"/>
                    </a:cxn>
                  </a:cxnLst>
                  <a:rect l="0" t="0" r="r" b="b"/>
                  <a:pathLst>
                    <a:path w="175" h="431">
                      <a:moveTo>
                        <a:pt x="64" y="18"/>
                      </a:moveTo>
                      <a:lnTo>
                        <a:pt x="62" y="14"/>
                      </a:lnTo>
                      <a:lnTo>
                        <a:pt x="61" y="11"/>
                      </a:lnTo>
                      <a:lnTo>
                        <a:pt x="58" y="10"/>
                      </a:lnTo>
                      <a:lnTo>
                        <a:pt x="53" y="10"/>
                      </a:lnTo>
                      <a:lnTo>
                        <a:pt x="42" y="14"/>
                      </a:lnTo>
                      <a:lnTo>
                        <a:pt x="40" y="13"/>
                      </a:lnTo>
                      <a:lnTo>
                        <a:pt x="35" y="6"/>
                      </a:lnTo>
                      <a:lnTo>
                        <a:pt x="25" y="8"/>
                      </a:lnTo>
                      <a:lnTo>
                        <a:pt x="14" y="0"/>
                      </a:lnTo>
                      <a:lnTo>
                        <a:pt x="13" y="3"/>
                      </a:lnTo>
                      <a:lnTo>
                        <a:pt x="13" y="8"/>
                      </a:lnTo>
                      <a:lnTo>
                        <a:pt x="14" y="9"/>
                      </a:lnTo>
                      <a:lnTo>
                        <a:pt x="16" y="15"/>
                      </a:lnTo>
                      <a:lnTo>
                        <a:pt x="25" y="15"/>
                      </a:lnTo>
                      <a:lnTo>
                        <a:pt x="32" y="24"/>
                      </a:lnTo>
                      <a:lnTo>
                        <a:pt x="34" y="29"/>
                      </a:lnTo>
                      <a:lnTo>
                        <a:pt x="37" y="40"/>
                      </a:lnTo>
                      <a:lnTo>
                        <a:pt x="43" y="45"/>
                      </a:lnTo>
                      <a:lnTo>
                        <a:pt x="46" y="63"/>
                      </a:lnTo>
                      <a:lnTo>
                        <a:pt x="50" y="65"/>
                      </a:lnTo>
                      <a:lnTo>
                        <a:pt x="51" y="72"/>
                      </a:lnTo>
                      <a:lnTo>
                        <a:pt x="51" y="75"/>
                      </a:lnTo>
                      <a:lnTo>
                        <a:pt x="42" y="80"/>
                      </a:lnTo>
                      <a:lnTo>
                        <a:pt x="40" y="81"/>
                      </a:lnTo>
                      <a:lnTo>
                        <a:pt x="36" y="84"/>
                      </a:lnTo>
                      <a:lnTo>
                        <a:pt x="35" y="94"/>
                      </a:lnTo>
                      <a:lnTo>
                        <a:pt x="36" y="102"/>
                      </a:lnTo>
                      <a:lnTo>
                        <a:pt x="30" y="119"/>
                      </a:lnTo>
                      <a:lnTo>
                        <a:pt x="31" y="127"/>
                      </a:lnTo>
                      <a:lnTo>
                        <a:pt x="32" y="142"/>
                      </a:lnTo>
                      <a:lnTo>
                        <a:pt x="30" y="156"/>
                      </a:lnTo>
                      <a:lnTo>
                        <a:pt x="31" y="159"/>
                      </a:lnTo>
                      <a:lnTo>
                        <a:pt x="35" y="164"/>
                      </a:lnTo>
                      <a:lnTo>
                        <a:pt x="40" y="166"/>
                      </a:lnTo>
                      <a:lnTo>
                        <a:pt x="41" y="172"/>
                      </a:lnTo>
                      <a:lnTo>
                        <a:pt x="38" y="175"/>
                      </a:lnTo>
                      <a:lnTo>
                        <a:pt x="30" y="176"/>
                      </a:lnTo>
                      <a:lnTo>
                        <a:pt x="24" y="181"/>
                      </a:lnTo>
                      <a:lnTo>
                        <a:pt x="19" y="182"/>
                      </a:lnTo>
                      <a:lnTo>
                        <a:pt x="18" y="183"/>
                      </a:lnTo>
                      <a:lnTo>
                        <a:pt x="14" y="198"/>
                      </a:lnTo>
                      <a:lnTo>
                        <a:pt x="14" y="213"/>
                      </a:lnTo>
                      <a:lnTo>
                        <a:pt x="9" y="228"/>
                      </a:lnTo>
                      <a:lnTo>
                        <a:pt x="2" y="235"/>
                      </a:lnTo>
                      <a:lnTo>
                        <a:pt x="0" y="239"/>
                      </a:lnTo>
                      <a:lnTo>
                        <a:pt x="3" y="247"/>
                      </a:lnTo>
                      <a:lnTo>
                        <a:pt x="8" y="248"/>
                      </a:lnTo>
                      <a:lnTo>
                        <a:pt x="11" y="256"/>
                      </a:lnTo>
                      <a:lnTo>
                        <a:pt x="19" y="255"/>
                      </a:lnTo>
                      <a:lnTo>
                        <a:pt x="23" y="257"/>
                      </a:lnTo>
                      <a:lnTo>
                        <a:pt x="23" y="258"/>
                      </a:lnTo>
                      <a:lnTo>
                        <a:pt x="24" y="261"/>
                      </a:lnTo>
                      <a:lnTo>
                        <a:pt x="30" y="263"/>
                      </a:lnTo>
                      <a:lnTo>
                        <a:pt x="37" y="279"/>
                      </a:lnTo>
                      <a:lnTo>
                        <a:pt x="47" y="289"/>
                      </a:lnTo>
                      <a:lnTo>
                        <a:pt x="51" y="289"/>
                      </a:lnTo>
                      <a:lnTo>
                        <a:pt x="59" y="287"/>
                      </a:lnTo>
                      <a:lnTo>
                        <a:pt x="89" y="283"/>
                      </a:lnTo>
                      <a:lnTo>
                        <a:pt x="93" y="284"/>
                      </a:lnTo>
                      <a:lnTo>
                        <a:pt x="96" y="289"/>
                      </a:lnTo>
                      <a:lnTo>
                        <a:pt x="100" y="302"/>
                      </a:lnTo>
                      <a:lnTo>
                        <a:pt x="101" y="310"/>
                      </a:lnTo>
                      <a:lnTo>
                        <a:pt x="102" y="328"/>
                      </a:lnTo>
                      <a:lnTo>
                        <a:pt x="100" y="336"/>
                      </a:lnTo>
                      <a:lnTo>
                        <a:pt x="94" y="343"/>
                      </a:lnTo>
                      <a:lnTo>
                        <a:pt x="95" y="349"/>
                      </a:lnTo>
                      <a:lnTo>
                        <a:pt x="89" y="354"/>
                      </a:lnTo>
                      <a:lnTo>
                        <a:pt x="86" y="365"/>
                      </a:lnTo>
                      <a:lnTo>
                        <a:pt x="89" y="369"/>
                      </a:lnTo>
                      <a:lnTo>
                        <a:pt x="94" y="385"/>
                      </a:lnTo>
                      <a:lnTo>
                        <a:pt x="97" y="388"/>
                      </a:lnTo>
                      <a:lnTo>
                        <a:pt x="101" y="390"/>
                      </a:lnTo>
                      <a:lnTo>
                        <a:pt x="104" y="395"/>
                      </a:lnTo>
                      <a:lnTo>
                        <a:pt x="112" y="404"/>
                      </a:lnTo>
                      <a:lnTo>
                        <a:pt x="117" y="411"/>
                      </a:lnTo>
                      <a:lnTo>
                        <a:pt x="121" y="413"/>
                      </a:lnTo>
                      <a:lnTo>
                        <a:pt x="128" y="414"/>
                      </a:lnTo>
                      <a:lnTo>
                        <a:pt x="132" y="419"/>
                      </a:lnTo>
                      <a:lnTo>
                        <a:pt x="132" y="423"/>
                      </a:lnTo>
                      <a:lnTo>
                        <a:pt x="127" y="429"/>
                      </a:lnTo>
                      <a:lnTo>
                        <a:pt x="128" y="431"/>
                      </a:lnTo>
                      <a:lnTo>
                        <a:pt x="140" y="431"/>
                      </a:lnTo>
                      <a:lnTo>
                        <a:pt x="142" y="430"/>
                      </a:lnTo>
                      <a:lnTo>
                        <a:pt x="140" y="420"/>
                      </a:lnTo>
                      <a:lnTo>
                        <a:pt x="142" y="414"/>
                      </a:lnTo>
                      <a:lnTo>
                        <a:pt x="139" y="409"/>
                      </a:lnTo>
                      <a:lnTo>
                        <a:pt x="136" y="406"/>
                      </a:lnTo>
                      <a:lnTo>
                        <a:pt x="136" y="400"/>
                      </a:lnTo>
                      <a:lnTo>
                        <a:pt x="139" y="392"/>
                      </a:lnTo>
                      <a:lnTo>
                        <a:pt x="139" y="388"/>
                      </a:lnTo>
                      <a:lnTo>
                        <a:pt x="140" y="385"/>
                      </a:lnTo>
                      <a:lnTo>
                        <a:pt x="153" y="377"/>
                      </a:lnTo>
                      <a:lnTo>
                        <a:pt x="159" y="376"/>
                      </a:lnTo>
                      <a:lnTo>
                        <a:pt x="165" y="374"/>
                      </a:lnTo>
                      <a:lnTo>
                        <a:pt x="169" y="368"/>
                      </a:lnTo>
                      <a:lnTo>
                        <a:pt x="170" y="347"/>
                      </a:lnTo>
                      <a:lnTo>
                        <a:pt x="172" y="339"/>
                      </a:lnTo>
                      <a:lnTo>
                        <a:pt x="169" y="325"/>
                      </a:lnTo>
                      <a:lnTo>
                        <a:pt x="172" y="315"/>
                      </a:lnTo>
                      <a:lnTo>
                        <a:pt x="175" y="307"/>
                      </a:lnTo>
                      <a:lnTo>
                        <a:pt x="172" y="295"/>
                      </a:lnTo>
                      <a:lnTo>
                        <a:pt x="167" y="288"/>
                      </a:lnTo>
                      <a:lnTo>
                        <a:pt x="154" y="275"/>
                      </a:lnTo>
                      <a:lnTo>
                        <a:pt x="148" y="266"/>
                      </a:lnTo>
                      <a:lnTo>
                        <a:pt x="133" y="247"/>
                      </a:lnTo>
                      <a:lnTo>
                        <a:pt x="123" y="240"/>
                      </a:lnTo>
                      <a:lnTo>
                        <a:pt x="116" y="230"/>
                      </a:lnTo>
                      <a:lnTo>
                        <a:pt x="115" y="231"/>
                      </a:lnTo>
                      <a:lnTo>
                        <a:pt x="115" y="239"/>
                      </a:lnTo>
                      <a:lnTo>
                        <a:pt x="116" y="242"/>
                      </a:lnTo>
                      <a:lnTo>
                        <a:pt x="117" y="245"/>
                      </a:lnTo>
                      <a:lnTo>
                        <a:pt x="122" y="246"/>
                      </a:lnTo>
                      <a:lnTo>
                        <a:pt x="126" y="250"/>
                      </a:lnTo>
                      <a:lnTo>
                        <a:pt x="136" y="274"/>
                      </a:lnTo>
                      <a:lnTo>
                        <a:pt x="136" y="280"/>
                      </a:lnTo>
                      <a:lnTo>
                        <a:pt x="134" y="282"/>
                      </a:lnTo>
                      <a:lnTo>
                        <a:pt x="132" y="280"/>
                      </a:lnTo>
                      <a:lnTo>
                        <a:pt x="126" y="272"/>
                      </a:lnTo>
                      <a:lnTo>
                        <a:pt x="121" y="269"/>
                      </a:lnTo>
                      <a:lnTo>
                        <a:pt x="117" y="262"/>
                      </a:lnTo>
                      <a:lnTo>
                        <a:pt x="116" y="262"/>
                      </a:lnTo>
                      <a:lnTo>
                        <a:pt x="115" y="262"/>
                      </a:lnTo>
                      <a:lnTo>
                        <a:pt x="111" y="271"/>
                      </a:lnTo>
                      <a:lnTo>
                        <a:pt x="109" y="272"/>
                      </a:lnTo>
                      <a:lnTo>
                        <a:pt x="102" y="272"/>
                      </a:lnTo>
                      <a:lnTo>
                        <a:pt x="101" y="269"/>
                      </a:lnTo>
                      <a:lnTo>
                        <a:pt x="99" y="266"/>
                      </a:lnTo>
                      <a:lnTo>
                        <a:pt x="97" y="261"/>
                      </a:lnTo>
                      <a:lnTo>
                        <a:pt x="97" y="256"/>
                      </a:lnTo>
                      <a:lnTo>
                        <a:pt x="100" y="247"/>
                      </a:lnTo>
                      <a:lnTo>
                        <a:pt x="100" y="245"/>
                      </a:lnTo>
                      <a:lnTo>
                        <a:pt x="97" y="241"/>
                      </a:lnTo>
                      <a:lnTo>
                        <a:pt x="91" y="235"/>
                      </a:lnTo>
                      <a:lnTo>
                        <a:pt x="89" y="231"/>
                      </a:lnTo>
                      <a:lnTo>
                        <a:pt x="86" y="223"/>
                      </a:lnTo>
                      <a:lnTo>
                        <a:pt x="86" y="209"/>
                      </a:lnTo>
                      <a:lnTo>
                        <a:pt x="85" y="208"/>
                      </a:lnTo>
                      <a:lnTo>
                        <a:pt x="80" y="187"/>
                      </a:lnTo>
                      <a:lnTo>
                        <a:pt x="68" y="164"/>
                      </a:lnTo>
                      <a:lnTo>
                        <a:pt x="68" y="159"/>
                      </a:lnTo>
                      <a:lnTo>
                        <a:pt x="68" y="154"/>
                      </a:lnTo>
                      <a:lnTo>
                        <a:pt x="73" y="145"/>
                      </a:lnTo>
                      <a:lnTo>
                        <a:pt x="79" y="140"/>
                      </a:lnTo>
                      <a:lnTo>
                        <a:pt x="83" y="128"/>
                      </a:lnTo>
                      <a:lnTo>
                        <a:pt x="81" y="94"/>
                      </a:lnTo>
                      <a:lnTo>
                        <a:pt x="79" y="70"/>
                      </a:lnTo>
                      <a:lnTo>
                        <a:pt x="81" y="63"/>
                      </a:lnTo>
                      <a:lnTo>
                        <a:pt x="81" y="57"/>
                      </a:lnTo>
                      <a:lnTo>
                        <a:pt x="78" y="51"/>
                      </a:lnTo>
                      <a:lnTo>
                        <a:pt x="72" y="48"/>
                      </a:lnTo>
                      <a:lnTo>
                        <a:pt x="69" y="46"/>
                      </a:lnTo>
                      <a:lnTo>
                        <a:pt x="63" y="32"/>
                      </a:lnTo>
                      <a:lnTo>
                        <a:pt x="62" y="26"/>
                      </a:lnTo>
                      <a:lnTo>
                        <a:pt x="64" y="18"/>
                      </a:lnTo>
                      <a:lnTo>
                        <a:pt x="69" y="10"/>
                      </a:lnTo>
                      <a:lnTo>
                        <a:pt x="64" y="18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38" name="Freeform 137"/>
                <p:cNvSpPr>
                  <a:spLocks noChangeAspect="1"/>
                </p:cNvSpPr>
                <p:nvPr/>
              </p:nvSpPr>
              <p:spPr bwMode="gray">
                <a:xfrm>
                  <a:off x="5511005" y="3904009"/>
                  <a:ext cx="123825" cy="247650"/>
                </a:xfrm>
                <a:custGeom>
                  <a:avLst/>
                  <a:gdLst/>
                  <a:ahLst/>
                  <a:cxnLst>
                    <a:cxn ang="0">
                      <a:pos x="76" y="226"/>
                    </a:cxn>
                    <a:cxn ang="0">
                      <a:pos x="107" y="215"/>
                    </a:cxn>
                    <a:cxn ang="0">
                      <a:pos x="118" y="215"/>
                    </a:cxn>
                    <a:cxn ang="0">
                      <a:pos x="130" y="204"/>
                    </a:cxn>
                    <a:cxn ang="0">
                      <a:pos x="152" y="199"/>
                    </a:cxn>
                    <a:cxn ang="0">
                      <a:pos x="170" y="219"/>
                    </a:cxn>
                    <a:cxn ang="0">
                      <a:pos x="182" y="210"/>
                    </a:cxn>
                    <a:cxn ang="0">
                      <a:pos x="183" y="181"/>
                    </a:cxn>
                    <a:cxn ang="0">
                      <a:pos x="204" y="189"/>
                    </a:cxn>
                    <a:cxn ang="0">
                      <a:pos x="208" y="167"/>
                    </a:cxn>
                    <a:cxn ang="0">
                      <a:pos x="221" y="149"/>
                    </a:cxn>
                    <a:cxn ang="0">
                      <a:pos x="229" y="160"/>
                    </a:cxn>
                    <a:cxn ang="0">
                      <a:pos x="258" y="140"/>
                    </a:cxn>
                    <a:cxn ang="0">
                      <a:pos x="242" y="125"/>
                    </a:cxn>
                    <a:cxn ang="0">
                      <a:pos x="258" y="113"/>
                    </a:cxn>
                    <a:cxn ang="0">
                      <a:pos x="253" y="81"/>
                    </a:cxn>
                    <a:cxn ang="0">
                      <a:pos x="270" y="92"/>
                    </a:cxn>
                    <a:cxn ang="0">
                      <a:pos x="293" y="68"/>
                    </a:cxn>
                    <a:cxn ang="0">
                      <a:pos x="307" y="25"/>
                    </a:cxn>
                    <a:cxn ang="0">
                      <a:pos x="316" y="5"/>
                    </a:cxn>
                    <a:cxn ang="0">
                      <a:pos x="344" y="23"/>
                    </a:cxn>
                    <a:cxn ang="0">
                      <a:pos x="365" y="60"/>
                    </a:cxn>
                    <a:cxn ang="0">
                      <a:pos x="374" y="106"/>
                    </a:cxn>
                    <a:cxn ang="0">
                      <a:pos x="382" y="151"/>
                    </a:cxn>
                    <a:cxn ang="0">
                      <a:pos x="388" y="198"/>
                    </a:cxn>
                    <a:cxn ang="0">
                      <a:pos x="370" y="198"/>
                    </a:cxn>
                    <a:cxn ang="0">
                      <a:pos x="353" y="206"/>
                    </a:cxn>
                    <a:cxn ang="0">
                      <a:pos x="360" y="251"/>
                    </a:cxn>
                    <a:cxn ang="0">
                      <a:pos x="342" y="283"/>
                    </a:cxn>
                    <a:cxn ang="0">
                      <a:pos x="329" y="366"/>
                    </a:cxn>
                    <a:cxn ang="0">
                      <a:pos x="316" y="405"/>
                    </a:cxn>
                    <a:cxn ang="0">
                      <a:pos x="283" y="511"/>
                    </a:cxn>
                    <a:cxn ang="0">
                      <a:pos x="254" y="606"/>
                    </a:cxn>
                    <a:cxn ang="0">
                      <a:pos x="236" y="684"/>
                    </a:cxn>
                    <a:cxn ang="0">
                      <a:pos x="210" y="736"/>
                    </a:cxn>
                    <a:cxn ang="0">
                      <a:pos x="183" y="748"/>
                    </a:cxn>
                    <a:cxn ang="0">
                      <a:pos x="106" y="776"/>
                    </a:cxn>
                    <a:cxn ang="0">
                      <a:pos x="59" y="746"/>
                    </a:cxn>
                    <a:cxn ang="0">
                      <a:pos x="27" y="697"/>
                    </a:cxn>
                    <a:cxn ang="0">
                      <a:pos x="28" y="654"/>
                    </a:cxn>
                    <a:cxn ang="0">
                      <a:pos x="9" y="615"/>
                    </a:cxn>
                    <a:cxn ang="0">
                      <a:pos x="0" y="574"/>
                    </a:cxn>
                    <a:cxn ang="0">
                      <a:pos x="15" y="527"/>
                    </a:cxn>
                    <a:cxn ang="0">
                      <a:pos x="38" y="489"/>
                    </a:cxn>
                    <a:cxn ang="0">
                      <a:pos x="69" y="435"/>
                    </a:cxn>
                    <a:cxn ang="0">
                      <a:pos x="69" y="409"/>
                    </a:cxn>
                    <a:cxn ang="0">
                      <a:pos x="48" y="348"/>
                    </a:cxn>
                    <a:cxn ang="0">
                      <a:pos x="51" y="280"/>
                    </a:cxn>
                  </a:cxnLst>
                  <a:rect l="0" t="0" r="r" b="b"/>
                  <a:pathLst>
                    <a:path w="391" h="776">
                      <a:moveTo>
                        <a:pt x="64" y="230"/>
                      </a:moveTo>
                      <a:lnTo>
                        <a:pt x="69" y="224"/>
                      </a:lnTo>
                      <a:lnTo>
                        <a:pt x="76" y="226"/>
                      </a:lnTo>
                      <a:lnTo>
                        <a:pt x="92" y="225"/>
                      </a:lnTo>
                      <a:lnTo>
                        <a:pt x="96" y="221"/>
                      </a:lnTo>
                      <a:lnTo>
                        <a:pt x="107" y="215"/>
                      </a:lnTo>
                      <a:lnTo>
                        <a:pt x="109" y="220"/>
                      </a:lnTo>
                      <a:lnTo>
                        <a:pt x="113" y="221"/>
                      </a:lnTo>
                      <a:lnTo>
                        <a:pt x="118" y="215"/>
                      </a:lnTo>
                      <a:lnTo>
                        <a:pt x="124" y="217"/>
                      </a:lnTo>
                      <a:lnTo>
                        <a:pt x="129" y="211"/>
                      </a:lnTo>
                      <a:lnTo>
                        <a:pt x="130" y="204"/>
                      </a:lnTo>
                      <a:lnTo>
                        <a:pt x="140" y="202"/>
                      </a:lnTo>
                      <a:lnTo>
                        <a:pt x="146" y="205"/>
                      </a:lnTo>
                      <a:lnTo>
                        <a:pt x="152" y="199"/>
                      </a:lnTo>
                      <a:lnTo>
                        <a:pt x="159" y="202"/>
                      </a:lnTo>
                      <a:lnTo>
                        <a:pt x="164" y="211"/>
                      </a:lnTo>
                      <a:lnTo>
                        <a:pt x="170" y="219"/>
                      </a:lnTo>
                      <a:lnTo>
                        <a:pt x="178" y="221"/>
                      </a:lnTo>
                      <a:lnTo>
                        <a:pt x="184" y="220"/>
                      </a:lnTo>
                      <a:lnTo>
                        <a:pt x="182" y="210"/>
                      </a:lnTo>
                      <a:lnTo>
                        <a:pt x="172" y="202"/>
                      </a:lnTo>
                      <a:lnTo>
                        <a:pt x="173" y="192"/>
                      </a:lnTo>
                      <a:lnTo>
                        <a:pt x="183" y="181"/>
                      </a:lnTo>
                      <a:lnTo>
                        <a:pt x="195" y="173"/>
                      </a:lnTo>
                      <a:lnTo>
                        <a:pt x="202" y="176"/>
                      </a:lnTo>
                      <a:lnTo>
                        <a:pt x="204" y="189"/>
                      </a:lnTo>
                      <a:lnTo>
                        <a:pt x="211" y="189"/>
                      </a:lnTo>
                      <a:lnTo>
                        <a:pt x="218" y="186"/>
                      </a:lnTo>
                      <a:lnTo>
                        <a:pt x="208" y="167"/>
                      </a:lnTo>
                      <a:lnTo>
                        <a:pt x="215" y="161"/>
                      </a:lnTo>
                      <a:lnTo>
                        <a:pt x="224" y="150"/>
                      </a:lnTo>
                      <a:lnTo>
                        <a:pt x="221" y="149"/>
                      </a:lnTo>
                      <a:lnTo>
                        <a:pt x="227" y="141"/>
                      </a:lnTo>
                      <a:lnTo>
                        <a:pt x="231" y="149"/>
                      </a:lnTo>
                      <a:lnTo>
                        <a:pt x="229" y="160"/>
                      </a:lnTo>
                      <a:lnTo>
                        <a:pt x="245" y="140"/>
                      </a:lnTo>
                      <a:lnTo>
                        <a:pt x="253" y="141"/>
                      </a:lnTo>
                      <a:lnTo>
                        <a:pt x="258" y="140"/>
                      </a:lnTo>
                      <a:lnTo>
                        <a:pt x="256" y="135"/>
                      </a:lnTo>
                      <a:lnTo>
                        <a:pt x="247" y="133"/>
                      </a:lnTo>
                      <a:lnTo>
                        <a:pt x="242" y="125"/>
                      </a:lnTo>
                      <a:lnTo>
                        <a:pt x="245" y="119"/>
                      </a:lnTo>
                      <a:lnTo>
                        <a:pt x="253" y="108"/>
                      </a:lnTo>
                      <a:lnTo>
                        <a:pt x="258" y="113"/>
                      </a:lnTo>
                      <a:lnTo>
                        <a:pt x="259" y="101"/>
                      </a:lnTo>
                      <a:lnTo>
                        <a:pt x="256" y="93"/>
                      </a:lnTo>
                      <a:lnTo>
                        <a:pt x="253" y="81"/>
                      </a:lnTo>
                      <a:lnTo>
                        <a:pt x="256" y="77"/>
                      </a:lnTo>
                      <a:lnTo>
                        <a:pt x="267" y="81"/>
                      </a:lnTo>
                      <a:lnTo>
                        <a:pt x="270" y="92"/>
                      </a:lnTo>
                      <a:lnTo>
                        <a:pt x="283" y="74"/>
                      </a:lnTo>
                      <a:lnTo>
                        <a:pt x="285" y="63"/>
                      </a:lnTo>
                      <a:lnTo>
                        <a:pt x="293" y="68"/>
                      </a:lnTo>
                      <a:lnTo>
                        <a:pt x="301" y="61"/>
                      </a:lnTo>
                      <a:lnTo>
                        <a:pt x="306" y="47"/>
                      </a:lnTo>
                      <a:lnTo>
                        <a:pt x="307" y="25"/>
                      </a:lnTo>
                      <a:lnTo>
                        <a:pt x="301" y="15"/>
                      </a:lnTo>
                      <a:lnTo>
                        <a:pt x="306" y="17"/>
                      </a:lnTo>
                      <a:lnTo>
                        <a:pt x="316" y="5"/>
                      </a:lnTo>
                      <a:lnTo>
                        <a:pt x="323" y="0"/>
                      </a:lnTo>
                      <a:lnTo>
                        <a:pt x="334" y="10"/>
                      </a:lnTo>
                      <a:lnTo>
                        <a:pt x="344" y="23"/>
                      </a:lnTo>
                      <a:lnTo>
                        <a:pt x="354" y="33"/>
                      </a:lnTo>
                      <a:lnTo>
                        <a:pt x="361" y="47"/>
                      </a:lnTo>
                      <a:lnTo>
                        <a:pt x="365" y="60"/>
                      </a:lnTo>
                      <a:lnTo>
                        <a:pt x="366" y="73"/>
                      </a:lnTo>
                      <a:lnTo>
                        <a:pt x="371" y="89"/>
                      </a:lnTo>
                      <a:lnTo>
                        <a:pt x="374" y="106"/>
                      </a:lnTo>
                      <a:lnTo>
                        <a:pt x="377" y="120"/>
                      </a:lnTo>
                      <a:lnTo>
                        <a:pt x="379" y="135"/>
                      </a:lnTo>
                      <a:lnTo>
                        <a:pt x="382" y="151"/>
                      </a:lnTo>
                      <a:lnTo>
                        <a:pt x="388" y="167"/>
                      </a:lnTo>
                      <a:lnTo>
                        <a:pt x="391" y="183"/>
                      </a:lnTo>
                      <a:lnTo>
                        <a:pt x="388" y="198"/>
                      </a:lnTo>
                      <a:lnTo>
                        <a:pt x="383" y="210"/>
                      </a:lnTo>
                      <a:lnTo>
                        <a:pt x="376" y="211"/>
                      </a:lnTo>
                      <a:lnTo>
                        <a:pt x="370" y="198"/>
                      </a:lnTo>
                      <a:lnTo>
                        <a:pt x="366" y="183"/>
                      </a:lnTo>
                      <a:lnTo>
                        <a:pt x="356" y="184"/>
                      </a:lnTo>
                      <a:lnTo>
                        <a:pt x="353" y="206"/>
                      </a:lnTo>
                      <a:lnTo>
                        <a:pt x="353" y="222"/>
                      </a:lnTo>
                      <a:lnTo>
                        <a:pt x="360" y="235"/>
                      </a:lnTo>
                      <a:lnTo>
                        <a:pt x="360" y="251"/>
                      </a:lnTo>
                      <a:lnTo>
                        <a:pt x="355" y="262"/>
                      </a:lnTo>
                      <a:lnTo>
                        <a:pt x="349" y="268"/>
                      </a:lnTo>
                      <a:lnTo>
                        <a:pt x="342" y="283"/>
                      </a:lnTo>
                      <a:lnTo>
                        <a:pt x="339" y="300"/>
                      </a:lnTo>
                      <a:lnTo>
                        <a:pt x="339" y="315"/>
                      </a:lnTo>
                      <a:lnTo>
                        <a:pt x="329" y="366"/>
                      </a:lnTo>
                      <a:lnTo>
                        <a:pt x="318" y="397"/>
                      </a:lnTo>
                      <a:lnTo>
                        <a:pt x="317" y="397"/>
                      </a:lnTo>
                      <a:lnTo>
                        <a:pt x="316" y="405"/>
                      </a:lnTo>
                      <a:lnTo>
                        <a:pt x="300" y="459"/>
                      </a:lnTo>
                      <a:lnTo>
                        <a:pt x="288" y="488"/>
                      </a:lnTo>
                      <a:lnTo>
                        <a:pt x="283" y="511"/>
                      </a:lnTo>
                      <a:lnTo>
                        <a:pt x="273" y="549"/>
                      </a:lnTo>
                      <a:lnTo>
                        <a:pt x="266" y="566"/>
                      </a:lnTo>
                      <a:lnTo>
                        <a:pt x="254" y="606"/>
                      </a:lnTo>
                      <a:lnTo>
                        <a:pt x="248" y="635"/>
                      </a:lnTo>
                      <a:lnTo>
                        <a:pt x="243" y="651"/>
                      </a:lnTo>
                      <a:lnTo>
                        <a:pt x="236" y="684"/>
                      </a:lnTo>
                      <a:lnTo>
                        <a:pt x="227" y="700"/>
                      </a:lnTo>
                      <a:lnTo>
                        <a:pt x="223" y="715"/>
                      </a:lnTo>
                      <a:lnTo>
                        <a:pt x="210" y="736"/>
                      </a:lnTo>
                      <a:lnTo>
                        <a:pt x="200" y="744"/>
                      </a:lnTo>
                      <a:lnTo>
                        <a:pt x="192" y="749"/>
                      </a:lnTo>
                      <a:lnTo>
                        <a:pt x="183" y="748"/>
                      </a:lnTo>
                      <a:lnTo>
                        <a:pt x="151" y="755"/>
                      </a:lnTo>
                      <a:lnTo>
                        <a:pt x="119" y="774"/>
                      </a:lnTo>
                      <a:lnTo>
                        <a:pt x="106" y="776"/>
                      </a:lnTo>
                      <a:lnTo>
                        <a:pt x="86" y="762"/>
                      </a:lnTo>
                      <a:lnTo>
                        <a:pt x="71" y="753"/>
                      </a:lnTo>
                      <a:lnTo>
                        <a:pt x="59" y="746"/>
                      </a:lnTo>
                      <a:lnTo>
                        <a:pt x="47" y="736"/>
                      </a:lnTo>
                      <a:lnTo>
                        <a:pt x="32" y="714"/>
                      </a:lnTo>
                      <a:lnTo>
                        <a:pt x="27" y="697"/>
                      </a:lnTo>
                      <a:lnTo>
                        <a:pt x="24" y="678"/>
                      </a:lnTo>
                      <a:lnTo>
                        <a:pt x="24" y="663"/>
                      </a:lnTo>
                      <a:lnTo>
                        <a:pt x="28" y="654"/>
                      </a:lnTo>
                      <a:lnTo>
                        <a:pt x="24" y="638"/>
                      </a:lnTo>
                      <a:lnTo>
                        <a:pt x="17" y="624"/>
                      </a:lnTo>
                      <a:lnTo>
                        <a:pt x="9" y="615"/>
                      </a:lnTo>
                      <a:lnTo>
                        <a:pt x="1" y="601"/>
                      </a:lnTo>
                      <a:lnTo>
                        <a:pt x="1" y="586"/>
                      </a:lnTo>
                      <a:lnTo>
                        <a:pt x="0" y="574"/>
                      </a:lnTo>
                      <a:lnTo>
                        <a:pt x="0" y="555"/>
                      </a:lnTo>
                      <a:lnTo>
                        <a:pt x="8" y="543"/>
                      </a:lnTo>
                      <a:lnTo>
                        <a:pt x="15" y="527"/>
                      </a:lnTo>
                      <a:lnTo>
                        <a:pt x="21" y="518"/>
                      </a:lnTo>
                      <a:lnTo>
                        <a:pt x="30" y="516"/>
                      </a:lnTo>
                      <a:lnTo>
                        <a:pt x="38" y="489"/>
                      </a:lnTo>
                      <a:lnTo>
                        <a:pt x="55" y="457"/>
                      </a:lnTo>
                      <a:lnTo>
                        <a:pt x="65" y="446"/>
                      </a:lnTo>
                      <a:lnTo>
                        <a:pt x="69" y="435"/>
                      </a:lnTo>
                      <a:lnTo>
                        <a:pt x="68" y="425"/>
                      </a:lnTo>
                      <a:lnTo>
                        <a:pt x="71" y="419"/>
                      </a:lnTo>
                      <a:lnTo>
                        <a:pt x="69" y="409"/>
                      </a:lnTo>
                      <a:lnTo>
                        <a:pt x="60" y="396"/>
                      </a:lnTo>
                      <a:lnTo>
                        <a:pt x="54" y="376"/>
                      </a:lnTo>
                      <a:lnTo>
                        <a:pt x="48" y="348"/>
                      </a:lnTo>
                      <a:lnTo>
                        <a:pt x="47" y="318"/>
                      </a:lnTo>
                      <a:lnTo>
                        <a:pt x="37" y="302"/>
                      </a:lnTo>
                      <a:lnTo>
                        <a:pt x="51" y="280"/>
                      </a:lnTo>
                      <a:lnTo>
                        <a:pt x="65" y="247"/>
                      </a:lnTo>
                      <a:lnTo>
                        <a:pt x="64" y="23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grpSp>
              <p:nvGrpSpPr>
                <p:cNvPr id="139" name="Group 25"/>
                <p:cNvGrpSpPr>
                  <a:grpSpLocks noChangeAspect="1"/>
                </p:cNvGrpSpPr>
                <p:nvPr/>
              </p:nvGrpSpPr>
              <p:grpSpPr>
                <a:xfrm>
                  <a:off x="4961730" y="3769072"/>
                  <a:ext cx="219075" cy="239713"/>
                  <a:chOff x="2643" y="2535"/>
                  <a:chExt cx="138" cy="151"/>
                </a:xfrm>
                <a:grpFill/>
              </p:grpSpPr>
              <p:sp>
                <p:nvSpPr>
                  <p:cNvPr id="169" name="Freeform 26"/>
                  <p:cNvSpPr>
                    <a:spLocks noChangeAspect="1"/>
                  </p:cNvSpPr>
                  <p:nvPr/>
                </p:nvSpPr>
                <p:spPr bwMode="gray">
                  <a:xfrm>
                    <a:off x="2643" y="2550"/>
                    <a:ext cx="138" cy="136"/>
                  </a:xfrm>
                  <a:custGeom>
                    <a:avLst/>
                    <a:gdLst/>
                    <a:ahLst/>
                    <a:cxnLst>
                      <a:cxn ang="0">
                        <a:pos x="14" y="557"/>
                      </a:cxn>
                      <a:cxn ang="0">
                        <a:pos x="30" y="499"/>
                      </a:cxn>
                      <a:cxn ang="0">
                        <a:pos x="43" y="451"/>
                      </a:cxn>
                      <a:cxn ang="0">
                        <a:pos x="53" y="418"/>
                      </a:cxn>
                      <a:cxn ang="0">
                        <a:pos x="90" y="381"/>
                      </a:cxn>
                      <a:cxn ang="0">
                        <a:pos x="116" y="331"/>
                      </a:cxn>
                      <a:cxn ang="0">
                        <a:pos x="122" y="283"/>
                      </a:cxn>
                      <a:cxn ang="0">
                        <a:pos x="95" y="235"/>
                      </a:cxn>
                      <a:cxn ang="0">
                        <a:pos x="86" y="175"/>
                      </a:cxn>
                      <a:cxn ang="0">
                        <a:pos x="84" y="128"/>
                      </a:cxn>
                      <a:cxn ang="0">
                        <a:pos x="53" y="53"/>
                      </a:cxn>
                      <a:cxn ang="0">
                        <a:pos x="40" y="26"/>
                      </a:cxn>
                      <a:cxn ang="0">
                        <a:pos x="79" y="9"/>
                      </a:cxn>
                      <a:cxn ang="0">
                        <a:pos x="132" y="4"/>
                      </a:cxn>
                      <a:cxn ang="0">
                        <a:pos x="193" y="3"/>
                      </a:cxn>
                      <a:cxn ang="0">
                        <a:pos x="258" y="3"/>
                      </a:cxn>
                      <a:cxn ang="0">
                        <a:pos x="275" y="19"/>
                      </a:cxn>
                      <a:cxn ang="0">
                        <a:pos x="290" y="68"/>
                      </a:cxn>
                      <a:cxn ang="0">
                        <a:pos x="339" y="129"/>
                      </a:cxn>
                      <a:cxn ang="0">
                        <a:pos x="404" y="122"/>
                      </a:cxn>
                      <a:cxn ang="0">
                        <a:pos x="430" y="95"/>
                      </a:cxn>
                      <a:cxn ang="0">
                        <a:pos x="436" y="67"/>
                      </a:cxn>
                      <a:cxn ang="0">
                        <a:pos x="504" y="83"/>
                      </a:cxn>
                      <a:cxn ang="0">
                        <a:pos x="560" y="128"/>
                      </a:cxn>
                      <a:cxn ang="0">
                        <a:pos x="565" y="178"/>
                      </a:cxn>
                      <a:cxn ang="0">
                        <a:pos x="573" y="226"/>
                      </a:cxn>
                      <a:cxn ang="0">
                        <a:pos x="580" y="278"/>
                      </a:cxn>
                      <a:cxn ang="0">
                        <a:pos x="572" y="295"/>
                      </a:cxn>
                      <a:cxn ang="0">
                        <a:pos x="590" y="304"/>
                      </a:cxn>
                      <a:cxn ang="0">
                        <a:pos x="651" y="288"/>
                      </a:cxn>
                      <a:cxn ang="0">
                        <a:pos x="682" y="279"/>
                      </a:cxn>
                      <a:cxn ang="0">
                        <a:pos x="686" y="288"/>
                      </a:cxn>
                      <a:cxn ang="0">
                        <a:pos x="683" y="311"/>
                      </a:cxn>
                      <a:cxn ang="0">
                        <a:pos x="681" y="364"/>
                      </a:cxn>
                      <a:cxn ang="0">
                        <a:pos x="683" y="396"/>
                      </a:cxn>
                      <a:cxn ang="0">
                        <a:pos x="573" y="452"/>
                      </a:cxn>
                      <a:cxn ang="0">
                        <a:pos x="573" y="601"/>
                      </a:cxn>
                      <a:cxn ang="0">
                        <a:pos x="603" y="630"/>
                      </a:cxn>
                      <a:cxn ang="0">
                        <a:pos x="630" y="654"/>
                      </a:cxn>
                      <a:cxn ang="0">
                        <a:pos x="549" y="683"/>
                      </a:cxn>
                      <a:cxn ang="0">
                        <a:pos x="513" y="677"/>
                      </a:cxn>
                      <a:cxn ang="0">
                        <a:pos x="417" y="671"/>
                      </a:cxn>
                      <a:cxn ang="0">
                        <a:pos x="369" y="644"/>
                      </a:cxn>
                      <a:cxn ang="0">
                        <a:pos x="201" y="644"/>
                      </a:cxn>
                      <a:cxn ang="0">
                        <a:pos x="112" y="633"/>
                      </a:cxn>
                      <a:cxn ang="0">
                        <a:pos x="62" y="618"/>
                      </a:cxn>
                      <a:cxn ang="0">
                        <a:pos x="26" y="629"/>
                      </a:cxn>
                      <a:cxn ang="0">
                        <a:pos x="0" y="617"/>
                      </a:cxn>
                    </a:cxnLst>
                    <a:rect l="0" t="0" r="r" b="b"/>
                    <a:pathLst>
                      <a:path w="692" h="684">
                        <a:moveTo>
                          <a:pt x="5" y="597"/>
                        </a:moveTo>
                        <a:lnTo>
                          <a:pt x="5" y="576"/>
                        </a:lnTo>
                        <a:lnTo>
                          <a:pt x="6" y="565"/>
                        </a:lnTo>
                        <a:lnTo>
                          <a:pt x="14" y="557"/>
                        </a:lnTo>
                        <a:lnTo>
                          <a:pt x="21" y="532"/>
                        </a:lnTo>
                        <a:lnTo>
                          <a:pt x="25" y="522"/>
                        </a:lnTo>
                        <a:lnTo>
                          <a:pt x="26" y="508"/>
                        </a:lnTo>
                        <a:lnTo>
                          <a:pt x="30" y="499"/>
                        </a:lnTo>
                        <a:lnTo>
                          <a:pt x="31" y="487"/>
                        </a:lnTo>
                        <a:lnTo>
                          <a:pt x="33" y="481"/>
                        </a:lnTo>
                        <a:lnTo>
                          <a:pt x="36" y="470"/>
                        </a:lnTo>
                        <a:lnTo>
                          <a:pt x="43" y="451"/>
                        </a:lnTo>
                        <a:lnTo>
                          <a:pt x="43" y="444"/>
                        </a:lnTo>
                        <a:lnTo>
                          <a:pt x="47" y="439"/>
                        </a:lnTo>
                        <a:lnTo>
                          <a:pt x="47" y="433"/>
                        </a:lnTo>
                        <a:lnTo>
                          <a:pt x="53" y="418"/>
                        </a:lnTo>
                        <a:lnTo>
                          <a:pt x="63" y="411"/>
                        </a:lnTo>
                        <a:lnTo>
                          <a:pt x="69" y="403"/>
                        </a:lnTo>
                        <a:lnTo>
                          <a:pt x="70" y="391"/>
                        </a:lnTo>
                        <a:lnTo>
                          <a:pt x="90" y="381"/>
                        </a:lnTo>
                        <a:lnTo>
                          <a:pt x="103" y="366"/>
                        </a:lnTo>
                        <a:lnTo>
                          <a:pt x="108" y="358"/>
                        </a:lnTo>
                        <a:lnTo>
                          <a:pt x="113" y="347"/>
                        </a:lnTo>
                        <a:lnTo>
                          <a:pt x="116" y="331"/>
                        </a:lnTo>
                        <a:lnTo>
                          <a:pt x="116" y="315"/>
                        </a:lnTo>
                        <a:lnTo>
                          <a:pt x="118" y="306"/>
                        </a:lnTo>
                        <a:lnTo>
                          <a:pt x="117" y="290"/>
                        </a:lnTo>
                        <a:lnTo>
                          <a:pt x="122" y="283"/>
                        </a:lnTo>
                        <a:lnTo>
                          <a:pt x="117" y="264"/>
                        </a:lnTo>
                        <a:lnTo>
                          <a:pt x="105" y="253"/>
                        </a:lnTo>
                        <a:lnTo>
                          <a:pt x="100" y="242"/>
                        </a:lnTo>
                        <a:lnTo>
                          <a:pt x="95" y="235"/>
                        </a:lnTo>
                        <a:lnTo>
                          <a:pt x="89" y="219"/>
                        </a:lnTo>
                        <a:lnTo>
                          <a:pt x="81" y="188"/>
                        </a:lnTo>
                        <a:lnTo>
                          <a:pt x="81" y="182"/>
                        </a:lnTo>
                        <a:lnTo>
                          <a:pt x="86" y="175"/>
                        </a:lnTo>
                        <a:lnTo>
                          <a:pt x="94" y="169"/>
                        </a:lnTo>
                        <a:lnTo>
                          <a:pt x="94" y="151"/>
                        </a:lnTo>
                        <a:lnTo>
                          <a:pt x="90" y="137"/>
                        </a:lnTo>
                        <a:lnTo>
                          <a:pt x="84" y="128"/>
                        </a:lnTo>
                        <a:lnTo>
                          <a:pt x="73" y="91"/>
                        </a:lnTo>
                        <a:lnTo>
                          <a:pt x="70" y="79"/>
                        </a:lnTo>
                        <a:lnTo>
                          <a:pt x="67" y="70"/>
                        </a:lnTo>
                        <a:lnTo>
                          <a:pt x="53" y="53"/>
                        </a:lnTo>
                        <a:lnTo>
                          <a:pt x="48" y="45"/>
                        </a:lnTo>
                        <a:lnTo>
                          <a:pt x="43" y="36"/>
                        </a:lnTo>
                        <a:lnTo>
                          <a:pt x="40" y="30"/>
                        </a:lnTo>
                        <a:lnTo>
                          <a:pt x="40" y="26"/>
                        </a:lnTo>
                        <a:lnTo>
                          <a:pt x="41" y="24"/>
                        </a:lnTo>
                        <a:lnTo>
                          <a:pt x="47" y="21"/>
                        </a:lnTo>
                        <a:lnTo>
                          <a:pt x="65" y="16"/>
                        </a:lnTo>
                        <a:lnTo>
                          <a:pt x="79" y="9"/>
                        </a:lnTo>
                        <a:lnTo>
                          <a:pt x="92" y="4"/>
                        </a:lnTo>
                        <a:lnTo>
                          <a:pt x="101" y="4"/>
                        </a:lnTo>
                        <a:lnTo>
                          <a:pt x="108" y="3"/>
                        </a:lnTo>
                        <a:lnTo>
                          <a:pt x="132" y="4"/>
                        </a:lnTo>
                        <a:lnTo>
                          <a:pt x="154" y="2"/>
                        </a:lnTo>
                        <a:lnTo>
                          <a:pt x="161" y="4"/>
                        </a:lnTo>
                        <a:lnTo>
                          <a:pt x="180" y="5"/>
                        </a:lnTo>
                        <a:lnTo>
                          <a:pt x="193" y="3"/>
                        </a:lnTo>
                        <a:lnTo>
                          <a:pt x="207" y="3"/>
                        </a:lnTo>
                        <a:lnTo>
                          <a:pt x="240" y="0"/>
                        </a:lnTo>
                        <a:lnTo>
                          <a:pt x="256" y="2"/>
                        </a:lnTo>
                        <a:lnTo>
                          <a:pt x="258" y="3"/>
                        </a:lnTo>
                        <a:lnTo>
                          <a:pt x="263" y="10"/>
                        </a:lnTo>
                        <a:lnTo>
                          <a:pt x="267" y="11"/>
                        </a:lnTo>
                        <a:lnTo>
                          <a:pt x="271" y="10"/>
                        </a:lnTo>
                        <a:lnTo>
                          <a:pt x="275" y="19"/>
                        </a:lnTo>
                        <a:lnTo>
                          <a:pt x="280" y="37"/>
                        </a:lnTo>
                        <a:lnTo>
                          <a:pt x="282" y="51"/>
                        </a:lnTo>
                        <a:lnTo>
                          <a:pt x="283" y="56"/>
                        </a:lnTo>
                        <a:lnTo>
                          <a:pt x="290" y="68"/>
                        </a:lnTo>
                        <a:lnTo>
                          <a:pt x="294" y="84"/>
                        </a:lnTo>
                        <a:lnTo>
                          <a:pt x="306" y="97"/>
                        </a:lnTo>
                        <a:lnTo>
                          <a:pt x="327" y="124"/>
                        </a:lnTo>
                        <a:lnTo>
                          <a:pt x="339" y="129"/>
                        </a:lnTo>
                        <a:lnTo>
                          <a:pt x="353" y="129"/>
                        </a:lnTo>
                        <a:lnTo>
                          <a:pt x="374" y="122"/>
                        </a:lnTo>
                        <a:lnTo>
                          <a:pt x="387" y="119"/>
                        </a:lnTo>
                        <a:lnTo>
                          <a:pt x="404" y="122"/>
                        </a:lnTo>
                        <a:lnTo>
                          <a:pt x="424" y="122"/>
                        </a:lnTo>
                        <a:lnTo>
                          <a:pt x="427" y="107"/>
                        </a:lnTo>
                        <a:lnTo>
                          <a:pt x="428" y="100"/>
                        </a:lnTo>
                        <a:lnTo>
                          <a:pt x="430" y="95"/>
                        </a:lnTo>
                        <a:lnTo>
                          <a:pt x="431" y="91"/>
                        </a:lnTo>
                        <a:lnTo>
                          <a:pt x="433" y="86"/>
                        </a:lnTo>
                        <a:lnTo>
                          <a:pt x="434" y="75"/>
                        </a:lnTo>
                        <a:lnTo>
                          <a:pt x="436" y="67"/>
                        </a:lnTo>
                        <a:lnTo>
                          <a:pt x="479" y="67"/>
                        </a:lnTo>
                        <a:lnTo>
                          <a:pt x="482" y="61"/>
                        </a:lnTo>
                        <a:lnTo>
                          <a:pt x="505" y="61"/>
                        </a:lnTo>
                        <a:lnTo>
                          <a:pt x="504" y="83"/>
                        </a:lnTo>
                        <a:lnTo>
                          <a:pt x="552" y="84"/>
                        </a:lnTo>
                        <a:lnTo>
                          <a:pt x="556" y="88"/>
                        </a:lnTo>
                        <a:lnTo>
                          <a:pt x="558" y="96"/>
                        </a:lnTo>
                        <a:lnTo>
                          <a:pt x="560" y="128"/>
                        </a:lnTo>
                        <a:lnTo>
                          <a:pt x="563" y="140"/>
                        </a:lnTo>
                        <a:lnTo>
                          <a:pt x="563" y="156"/>
                        </a:lnTo>
                        <a:lnTo>
                          <a:pt x="565" y="172"/>
                        </a:lnTo>
                        <a:lnTo>
                          <a:pt x="565" y="178"/>
                        </a:lnTo>
                        <a:lnTo>
                          <a:pt x="562" y="189"/>
                        </a:lnTo>
                        <a:lnTo>
                          <a:pt x="562" y="203"/>
                        </a:lnTo>
                        <a:lnTo>
                          <a:pt x="564" y="212"/>
                        </a:lnTo>
                        <a:lnTo>
                          <a:pt x="573" y="226"/>
                        </a:lnTo>
                        <a:lnTo>
                          <a:pt x="579" y="247"/>
                        </a:lnTo>
                        <a:lnTo>
                          <a:pt x="585" y="263"/>
                        </a:lnTo>
                        <a:lnTo>
                          <a:pt x="585" y="271"/>
                        </a:lnTo>
                        <a:lnTo>
                          <a:pt x="580" y="278"/>
                        </a:lnTo>
                        <a:lnTo>
                          <a:pt x="569" y="289"/>
                        </a:lnTo>
                        <a:lnTo>
                          <a:pt x="569" y="291"/>
                        </a:lnTo>
                        <a:lnTo>
                          <a:pt x="570" y="294"/>
                        </a:lnTo>
                        <a:lnTo>
                          <a:pt x="572" y="295"/>
                        </a:lnTo>
                        <a:lnTo>
                          <a:pt x="575" y="296"/>
                        </a:lnTo>
                        <a:lnTo>
                          <a:pt x="581" y="304"/>
                        </a:lnTo>
                        <a:lnTo>
                          <a:pt x="587" y="305"/>
                        </a:lnTo>
                        <a:lnTo>
                          <a:pt x="590" y="304"/>
                        </a:lnTo>
                        <a:lnTo>
                          <a:pt x="592" y="298"/>
                        </a:lnTo>
                        <a:lnTo>
                          <a:pt x="595" y="290"/>
                        </a:lnTo>
                        <a:lnTo>
                          <a:pt x="600" y="288"/>
                        </a:lnTo>
                        <a:lnTo>
                          <a:pt x="651" y="288"/>
                        </a:lnTo>
                        <a:lnTo>
                          <a:pt x="661" y="284"/>
                        </a:lnTo>
                        <a:lnTo>
                          <a:pt x="670" y="287"/>
                        </a:lnTo>
                        <a:lnTo>
                          <a:pt x="672" y="287"/>
                        </a:lnTo>
                        <a:lnTo>
                          <a:pt x="682" y="279"/>
                        </a:lnTo>
                        <a:lnTo>
                          <a:pt x="683" y="279"/>
                        </a:lnTo>
                        <a:lnTo>
                          <a:pt x="687" y="283"/>
                        </a:lnTo>
                        <a:lnTo>
                          <a:pt x="687" y="287"/>
                        </a:lnTo>
                        <a:lnTo>
                          <a:pt x="686" y="288"/>
                        </a:lnTo>
                        <a:lnTo>
                          <a:pt x="685" y="290"/>
                        </a:lnTo>
                        <a:lnTo>
                          <a:pt x="686" y="300"/>
                        </a:lnTo>
                        <a:lnTo>
                          <a:pt x="686" y="305"/>
                        </a:lnTo>
                        <a:lnTo>
                          <a:pt x="683" y="311"/>
                        </a:lnTo>
                        <a:lnTo>
                          <a:pt x="683" y="323"/>
                        </a:lnTo>
                        <a:lnTo>
                          <a:pt x="681" y="336"/>
                        </a:lnTo>
                        <a:lnTo>
                          <a:pt x="682" y="350"/>
                        </a:lnTo>
                        <a:lnTo>
                          <a:pt x="681" y="364"/>
                        </a:lnTo>
                        <a:lnTo>
                          <a:pt x="678" y="373"/>
                        </a:lnTo>
                        <a:lnTo>
                          <a:pt x="678" y="388"/>
                        </a:lnTo>
                        <a:lnTo>
                          <a:pt x="680" y="392"/>
                        </a:lnTo>
                        <a:lnTo>
                          <a:pt x="683" y="396"/>
                        </a:lnTo>
                        <a:lnTo>
                          <a:pt x="692" y="398"/>
                        </a:lnTo>
                        <a:lnTo>
                          <a:pt x="633" y="398"/>
                        </a:lnTo>
                        <a:lnTo>
                          <a:pt x="573" y="398"/>
                        </a:lnTo>
                        <a:lnTo>
                          <a:pt x="573" y="452"/>
                        </a:lnTo>
                        <a:lnTo>
                          <a:pt x="573" y="508"/>
                        </a:lnTo>
                        <a:lnTo>
                          <a:pt x="573" y="562"/>
                        </a:lnTo>
                        <a:lnTo>
                          <a:pt x="573" y="600"/>
                        </a:lnTo>
                        <a:lnTo>
                          <a:pt x="573" y="601"/>
                        </a:lnTo>
                        <a:lnTo>
                          <a:pt x="580" y="607"/>
                        </a:lnTo>
                        <a:lnTo>
                          <a:pt x="584" y="614"/>
                        </a:lnTo>
                        <a:lnTo>
                          <a:pt x="597" y="623"/>
                        </a:lnTo>
                        <a:lnTo>
                          <a:pt x="603" y="630"/>
                        </a:lnTo>
                        <a:lnTo>
                          <a:pt x="613" y="639"/>
                        </a:lnTo>
                        <a:lnTo>
                          <a:pt x="617" y="644"/>
                        </a:lnTo>
                        <a:lnTo>
                          <a:pt x="626" y="648"/>
                        </a:lnTo>
                        <a:lnTo>
                          <a:pt x="630" y="654"/>
                        </a:lnTo>
                        <a:lnTo>
                          <a:pt x="638" y="659"/>
                        </a:lnTo>
                        <a:lnTo>
                          <a:pt x="635" y="661"/>
                        </a:lnTo>
                        <a:lnTo>
                          <a:pt x="624" y="664"/>
                        </a:lnTo>
                        <a:lnTo>
                          <a:pt x="549" y="683"/>
                        </a:lnTo>
                        <a:lnTo>
                          <a:pt x="541" y="684"/>
                        </a:lnTo>
                        <a:lnTo>
                          <a:pt x="537" y="682"/>
                        </a:lnTo>
                        <a:lnTo>
                          <a:pt x="525" y="681"/>
                        </a:lnTo>
                        <a:lnTo>
                          <a:pt x="513" y="677"/>
                        </a:lnTo>
                        <a:lnTo>
                          <a:pt x="497" y="676"/>
                        </a:lnTo>
                        <a:lnTo>
                          <a:pt x="463" y="669"/>
                        </a:lnTo>
                        <a:lnTo>
                          <a:pt x="436" y="669"/>
                        </a:lnTo>
                        <a:lnTo>
                          <a:pt x="417" y="671"/>
                        </a:lnTo>
                        <a:lnTo>
                          <a:pt x="408" y="671"/>
                        </a:lnTo>
                        <a:lnTo>
                          <a:pt x="391" y="665"/>
                        </a:lnTo>
                        <a:lnTo>
                          <a:pt x="385" y="655"/>
                        </a:lnTo>
                        <a:lnTo>
                          <a:pt x="369" y="644"/>
                        </a:lnTo>
                        <a:lnTo>
                          <a:pt x="349" y="644"/>
                        </a:lnTo>
                        <a:lnTo>
                          <a:pt x="302" y="644"/>
                        </a:lnTo>
                        <a:lnTo>
                          <a:pt x="255" y="644"/>
                        </a:lnTo>
                        <a:lnTo>
                          <a:pt x="201" y="644"/>
                        </a:lnTo>
                        <a:lnTo>
                          <a:pt x="151" y="644"/>
                        </a:lnTo>
                        <a:lnTo>
                          <a:pt x="133" y="644"/>
                        </a:lnTo>
                        <a:lnTo>
                          <a:pt x="126" y="646"/>
                        </a:lnTo>
                        <a:lnTo>
                          <a:pt x="112" y="633"/>
                        </a:lnTo>
                        <a:lnTo>
                          <a:pt x="99" y="628"/>
                        </a:lnTo>
                        <a:lnTo>
                          <a:pt x="94" y="619"/>
                        </a:lnTo>
                        <a:lnTo>
                          <a:pt x="84" y="618"/>
                        </a:lnTo>
                        <a:lnTo>
                          <a:pt x="62" y="618"/>
                        </a:lnTo>
                        <a:lnTo>
                          <a:pt x="52" y="622"/>
                        </a:lnTo>
                        <a:lnTo>
                          <a:pt x="42" y="632"/>
                        </a:lnTo>
                        <a:lnTo>
                          <a:pt x="36" y="635"/>
                        </a:lnTo>
                        <a:lnTo>
                          <a:pt x="26" y="629"/>
                        </a:lnTo>
                        <a:lnTo>
                          <a:pt x="15" y="638"/>
                        </a:lnTo>
                        <a:lnTo>
                          <a:pt x="4" y="644"/>
                        </a:lnTo>
                        <a:lnTo>
                          <a:pt x="4" y="638"/>
                        </a:lnTo>
                        <a:lnTo>
                          <a:pt x="0" y="617"/>
                        </a:lnTo>
                        <a:lnTo>
                          <a:pt x="0" y="606"/>
                        </a:lnTo>
                        <a:lnTo>
                          <a:pt x="5" y="608"/>
                        </a:lnTo>
                        <a:lnTo>
                          <a:pt x="5" y="597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US" dirty="0">
                      <a:latin typeface="方正综艺简体" panose="03000509000000000000" pitchFamily="65" charset="-122"/>
                      <a:ea typeface="方正综艺简体" panose="03000509000000000000" pitchFamily="65" charset="-122"/>
                      <a:cs typeface="思源黑体 CN Regular" panose="020B0500000000000000" charset="-122"/>
                    </a:endParaRPr>
                  </a:p>
                </p:txBody>
              </p:sp>
              <p:sp>
                <p:nvSpPr>
                  <p:cNvPr id="170" name="Freeform 27"/>
                  <p:cNvSpPr>
                    <a:spLocks noChangeAspect="1"/>
                  </p:cNvSpPr>
                  <p:nvPr/>
                </p:nvSpPr>
                <p:spPr bwMode="gray">
                  <a:xfrm>
                    <a:off x="2647" y="2535"/>
                    <a:ext cx="11" cy="16"/>
                  </a:xfrm>
                  <a:custGeom>
                    <a:avLst/>
                    <a:gdLst/>
                    <a:ahLst/>
                    <a:cxnLst>
                      <a:cxn ang="0">
                        <a:pos x="56" y="14"/>
                      </a:cxn>
                      <a:cxn ang="0">
                        <a:pos x="51" y="3"/>
                      </a:cxn>
                      <a:cxn ang="0">
                        <a:pos x="41" y="0"/>
                      </a:cxn>
                      <a:cxn ang="0">
                        <a:pos x="31" y="5"/>
                      </a:cxn>
                      <a:cxn ang="0">
                        <a:pos x="24" y="19"/>
                      </a:cxn>
                      <a:cxn ang="0">
                        <a:pos x="14" y="25"/>
                      </a:cxn>
                      <a:cxn ang="0">
                        <a:pos x="0" y="35"/>
                      </a:cxn>
                      <a:cxn ang="0">
                        <a:pos x="5" y="40"/>
                      </a:cxn>
                      <a:cxn ang="0">
                        <a:pos x="8" y="55"/>
                      </a:cxn>
                      <a:cxn ang="0">
                        <a:pos x="8" y="64"/>
                      </a:cxn>
                      <a:cxn ang="0">
                        <a:pos x="9" y="71"/>
                      </a:cxn>
                      <a:cxn ang="0">
                        <a:pos x="18" y="78"/>
                      </a:cxn>
                      <a:cxn ang="0">
                        <a:pos x="26" y="73"/>
                      </a:cxn>
                      <a:cxn ang="0">
                        <a:pos x="27" y="61"/>
                      </a:cxn>
                      <a:cxn ang="0">
                        <a:pos x="30" y="46"/>
                      </a:cxn>
                      <a:cxn ang="0">
                        <a:pos x="34" y="30"/>
                      </a:cxn>
                      <a:cxn ang="0">
                        <a:pos x="43" y="22"/>
                      </a:cxn>
                      <a:cxn ang="0">
                        <a:pos x="52" y="16"/>
                      </a:cxn>
                      <a:cxn ang="0">
                        <a:pos x="56" y="14"/>
                      </a:cxn>
                    </a:cxnLst>
                    <a:rect l="0" t="0" r="r" b="b"/>
                    <a:pathLst>
                      <a:path w="56" h="78">
                        <a:moveTo>
                          <a:pt x="56" y="14"/>
                        </a:moveTo>
                        <a:lnTo>
                          <a:pt x="51" y="3"/>
                        </a:lnTo>
                        <a:lnTo>
                          <a:pt x="41" y="0"/>
                        </a:lnTo>
                        <a:lnTo>
                          <a:pt x="31" y="5"/>
                        </a:lnTo>
                        <a:lnTo>
                          <a:pt x="24" y="19"/>
                        </a:lnTo>
                        <a:lnTo>
                          <a:pt x="14" y="25"/>
                        </a:lnTo>
                        <a:lnTo>
                          <a:pt x="0" y="35"/>
                        </a:lnTo>
                        <a:lnTo>
                          <a:pt x="5" y="40"/>
                        </a:lnTo>
                        <a:lnTo>
                          <a:pt x="8" y="55"/>
                        </a:lnTo>
                        <a:lnTo>
                          <a:pt x="8" y="64"/>
                        </a:lnTo>
                        <a:lnTo>
                          <a:pt x="9" y="71"/>
                        </a:lnTo>
                        <a:lnTo>
                          <a:pt x="18" y="78"/>
                        </a:lnTo>
                        <a:lnTo>
                          <a:pt x="26" y="73"/>
                        </a:lnTo>
                        <a:lnTo>
                          <a:pt x="27" y="61"/>
                        </a:lnTo>
                        <a:lnTo>
                          <a:pt x="30" y="46"/>
                        </a:lnTo>
                        <a:lnTo>
                          <a:pt x="34" y="30"/>
                        </a:lnTo>
                        <a:lnTo>
                          <a:pt x="43" y="22"/>
                        </a:lnTo>
                        <a:lnTo>
                          <a:pt x="52" y="16"/>
                        </a:lnTo>
                        <a:lnTo>
                          <a:pt x="56" y="14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US" dirty="0">
                      <a:latin typeface="方正综艺简体" panose="03000509000000000000" pitchFamily="65" charset="-122"/>
                      <a:ea typeface="方正综艺简体" panose="03000509000000000000" pitchFamily="65" charset="-122"/>
                      <a:cs typeface="思源黑体 CN Regular" panose="020B0500000000000000" charset="-122"/>
                    </a:endParaRPr>
                  </a:p>
                </p:txBody>
              </p:sp>
            </p:grpSp>
            <p:sp>
              <p:nvSpPr>
                <p:cNvPr id="140" name="Freeform 28"/>
                <p:cNvSpPr>
                  <a:spLocks noChangeAspect="1"/>
                </p:cNvSpPr>
                <p:nvPr/>
              </p:nvSpPr>
              <p:spPr bwMode="gray">
                <a:xfrm>
                  <a:off x="5231605" y="4207222"/>
                  <a:ext cx="39688" cy="41275"/>
                </a:xfrm>
                <a:custGeom>
                  <a:avLst/>
                  <a:gdLst/>
                  <a:ahLst/>
                  <a:cxnLst>
                    <a:cxn ang="0">
                      <a:pos x="125" y="52"/>
                    </a:cxn>
                    <a:cxn ang="0">
                      <a:pos x="127" y="49"/>
                    </a:cxn>
                    <a:cxn ang="0">
                      <a:pos x="126" y="58"/>
                    </a:cxn>
                    <a:cxn ang="0">
                      <a:pos x="103" y="98"/>
                    </a:cxn>
                    <a:cxn ang="0">
                      <a:pos x="73" y="109"/>
                    </a:cxn>
                    <a:cxn ang="0">
                      <a:pos x="63" y="125"/>
                    </a:cxn>
                    <a:cxn ang="0">
                      <a:pos x="55" y="129"/>
                    </a:cxn>
                    <a:cxn ang="0">
                      <a:pos x="43" y="131"/>
                    </a:cxn>
                    <a:cxn ang="0">
                      <a:pos x="23" y="113"/>
                    </a:cxn>
                    <a:cxn ang="0">
                      <a:pos x="11" y="100"/>
                    </a:cxn>
                    <a:cxn ang="0">
                      <a:pos x="5" y="88"/>
                    </a:cxn>
                    <a:cxn ang="0">
                      <a:pos x="0" y="74"/>
                    </a:cxn>
                    <a:cxn ang="0">
                      <a:pos x="2" y="61"/>
                    </a:cxn>
                    <a:cxn ang="0">
                      <a:pos x="28" y="27"/>
                    </a:cxn>
                    <a:cxn ang="0">
                      <a:pos x="40" y="16"/>
                    </a:cxn>
                    <a:cxn ang="0">
                      <a:pos x="68" y="1"/>
                    </a:cxn>
                    <a:cxn ang="0">
                      <a:pos x="83" y="0"/>
                    </a:cxn>
                    <a:cxn ang="0">
                      <a:pos x="95" y="6"/>
                    </a:cxn>
                    <a:cxn ang="0">
                      <a:pos x="105" y="18"/>
                    </a:cxn>
                    <a:cxn ang="0">
                      <a:pos x="113" y="29"/>
                    </a:cxn>
                    <a:cxn ang="0">
                      <a:pos x="121" y="42"/>
                    </a:cxn>
                    <a:cxn ang="0">
                      <a:pos x="125" y="52"/>
                    </a:cxn>
                  </a:cxnLst>
                  <a:rect l="0" t="0" r="r" b="b"/>
                  <a:pathLst>
                    <a:path w="127" h="131">
                      <a:moveTo>
                        <a:pt x="125" y="52"/>
                      </a:moveTo>
                      <a:lnTo>
                        <a:pt x="127" y="49"/>
                      </a:lnTo>
                      <a:lnTo>
                        <a:pt x="126" y="58"/>
                      </a:lnTo>
                      <a:lnTo>
                        <a:pt x="103" y="98"/>
                      </a:lnTo>
                      <a:lnTo>
                        <a:pt x="73" y="109"/>
                      </a:lnTo>
                      <a:lnTo>
                        <a:pt x="63" y="125"/>
                      </a:lnTo>
                      <a:lnTo>
                        <a:pt x="55" y="129"/>
                      </a:lnTo>
                      <a:lnTo>
                        <a:pt x="43" y="131"/>
                      </a:lnTo>
                      <a:lnTo>
                        <a:pt x="23" y="113"/>
                      </a:lnTo>
                      <a:lnTo>
                        <a:pt x="11" y="100"/>
                      </a:lnTo>
                      <a:lnTo>
                        <a:pt x="5" y="88"/>
                      </a:lnTo>
                      <a:lnTo>
                        <a:pt x="0" y="74"/>
                      </a:lnTo>
                      <a:lnTo>
                        <a:pt x="2" y="61"/>
                      </a:lnTo>
                      <a:lnTo>
                        <a:pt x="28" y="27"/>
                      </a:lnTo>
                      <a:lnTo>
                        <a:pt x="40" y="16"/>
                      </a:lnTo>
                      <a:lnTo>
                        <a:pt x="68" y="1"/>
                      </a:lnTo>
                      <a:lnTo>
                        <a:pt x="83" y="0"/>
                      </a:lnTo>
                      <a:lnTo>
                        <a:pt x="95" y="6"/>
                      </a:lnTo>
                      <a:lnTo>
                        <a:pt x="105" y="18"/>
                      </a:lnTo>
                      <a:lnTo>
                        <a:pt x="113" y="29"/>
                      </a:lnTo>
                      <a:lnTo>
                        <a:pt x="121" y="42"/>
                      </a:lnTo>
                      <a:lnTo>
                        <a:pt x="125" y="5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41" name="Freeform 29"/>
                <p:cNvSpPr>
                  <a:spLocks noChangeAspect="1"/>
                </p:cNvSpPr>
                <p:nvPr/>
              </p:nvSpPr>
              <p:spPr bwMode="gray">
                <a:xfrm>
                  <a:off x="5142705" y="3834159"/>
                  <a:ext cx="203200" cy="174625"/>
                </a:xfrm>
                <a:custGeom>
                  <a:avLst/>
                  <a:gdLst/>
                  <a:ahLst/>
                  <a:cxnLst>
                    <a:cxn ang="0">
                      <a:pos x="0" y="320"/>
                    </a:cxn>
                    <a:cxn ang="0">
                      <a:pos x="110" y="264"/>
                    </a:cxn>
                    <a:cxn ang="0">
                      <a:pos x="108" y="232"/>
                    </a:cxn>
                    <a:cxn ang="0">
                      <a:pos x="110" y="179"/>
                    </a:cxn>
                    <a:cxn ang="0">
                      <a:pos x="113" y="156"/>
                    </a:cxn>
                    <a:cxn ang="0">
                      <a:pos x="120" y="145"/>
                    </a:cxn>
                    <a:cxn ang="0">
                      <a:pos x="132" y="168"/>
                    </a:cxn>
                    <a:cxn ang="0">
                      <a:pos x="156" y="166"/>
                    </a:cxn>
                    <a:cxn ang="0">
                      <a:pos x="183" y="178"/>
                    </a:cxn>
                    <a:cxn ang="0">
                      <a:pos x="231" y="205"/>
                    </a:cxn>
                    <a:cxn ang="0">
                      <a:pos x="274" y="196"/>
                    </a:cxn>
                    <a:cxn ang="0">
                      <a:pos x="323" y="226"/>
                    </a:cxn>
                    <a:cxn ang="0">
                      <a:pos x="350" y="252"/>
                    </a:cxn>
                    <a:cxn ang="0">
                      <a:pos x="397" y="277"/>
                    </a:cxn>
                    <a:cxn ang="0">
                      <a:pos x="411" y="275"/>
                    </a:cxn>
                    <a:cxn ang="0">
                      <a:pos x="426" y="281"/>
                    </a:cxn>
                    <a:cxn ang="0">
                      <a:pos x="421" y="223"/>
                    </a:cxn>
                    <a:cxn ang="0">
                      <a:pos x="383" y="225"/>
                    </a:cxn>
                    <a:cxn ang="0">
                      <a:pos x="358" y="199"/>
                    </a:cxn>
                    <a:cxn ang="0">
                      <a:pos x="377" y="131"/>
                    </a:cxn>
                    <a:cxn ang="0">
                      <a:pos x="370" y="66"/>
                    </a:cxn>
                    <a:cxn ang="0">
                      <a:pos x="379" y="37"/>
                    </a:cxn>
                    <a:cxn ang="0">
                      <a:pos x="397" y="17"/>
                    </a:cxn>
                    <a:cxn ang="0">
                      <a:pos x="470" y="13"/>
                    </a:cxn>
                    <a:cxn ang="0">
                      <a:pos x="494" y="33"/>
                    </a:cxn>
                    <a:cxn ang="0">
                      <a:pos x="526" y="32"/>
                    </a:cxn>
                    <a:cxn ang="0">
                      <a:pos x="575" y="57"/>
                    </a:cxn>
                    <a:cxn ang="0">
                      <a:pos x="603" y="67"/>
                    </a:cxn>
                    <a:cxn ang="0">
                      <a:pos x="605" y="82"/>
                    </a:cxn>
                    <a:cxn ang="0">
                      <a:pos x="626" y="107"/>
                    </a:cxn>
                    <a:cxn ang="0">
                      <a:pos x="640" y="139"/>
                    </a:cxn>
                    <a:cxn ang="0">
                      <a:pos x="625" y="151"/>
                    </a:cxn>
                    <a:cxn ang="0">
                      <a:pos x="620" y="194"/>
                    </a:cxn>
                    <a:cxn ang="0">
                      <a:pos x="624" y="231"/>
                    </a:cxn>
                    <a:cxn ang="0">
                      <a:pos x="619" y="243"/>
                    </a:cxn>
                    <a:cxn ang="0">
                      <a:pos x="603" y="265"/>
                    </a:cxn>
                    <a:cxn ang="0">
                      <a:pos x="589" y="306"/>
                    </a:cxn>
                    <a:cxn ang="0">
                      <a:pos x="608" y="322"/>
                    </a:cxn>
                    <a:cxn ang="0">
                      <a:pos x="438" y="383"/>
                    </a:cxn>
                    <a:cxn ang="0">
                      <a:pos x="452" y="416"/>
                    </a:cxn>
                    <a:cxn ang="0">
                      <a:pos x="424" y="414"/>
                    </a:cxn>
                    <a:cxn ang="0">
                      <a:pos x="385" y="425"/>
                    </a:cxn>
                    <a:cxn ang="0">
                      <a:pos x="365" y="442"/>
                    </a:cxn>
                    <a:cxn ang="0">
                      <a:pos x="363" y="464"/>
                    </a:cxn>
                    <a:cxn ang="0">
                      <a:pos x="336" y="469"/>
                    </a:cxn>
                    <a:cxn ang="0">
                      <a:pos x="315" y="481"/>
                    </a:cxn>
                    <a:cxn ang="0">
                      <a:pos x="303" y="491"/>
                    </a:cxn>
                    <a:cxn ang="0">
                      <a:pos x="285" y="524"/>
                    </a:cxn>
                    <a:cxn ang="0">
                      <a:pos x="264" y="549"/>
                    </a:cxn>
                    <a:cxn ang="0">
                      <a:pos x="245" y="546"/>
                    </a:cxn>
                    <a:cxn ang="0">
                      <a:pos x="211" y="546"/>
                    </a:cxn>
                    <a:cxn ang="0">
                      <a:pos x="172" y="539"/>
                    </a:cxn>
                    <a:cxn ang="0">
                      <a:pos x="139" y="518"/>
                    </a:cxn>
                    <a:cxn ang="0">
                      <a:pos x="65" y="527"/>
                    </a:cxn>
                    <a:cxn ang="0">
                      <a:pos x="40" y="507"/>
                    </a:cxn>
                    <a:cxn ang="0">
                      <a:pos x="7" y="475"/>
                    </a:cxn>
                  </a:cxnLst>
                  <a:rect l="0" t="0" r="r" b="b"/>
                  <a:pathLst>
                    <a:path w="640" h="552">
                      <a:moveTo>
                        <a:pt x="0" y="468"/>
                      </a:moveTo>
                      <a:lnTo>
                        <a:pt x="0" y="430"/>
                      </a:lnTo>
                      <a:lnTo>
                        <a:pt x="0" y="376"/>
                      </a:lnTo>
                      <a:lnTo>
                        <a:pt x="0" y="320"/>
                      </a:lnTo>
                      <a:lnTo>
                        <a:pt x="0" y="266"/>
                      </a:lnTo>
                      <a:lnTo>
                        <a:pt x="60" y="266"/>
                      </a:lnTo>
                      <a:lnTo>
                        <a:pt x="119" y="266"/>
                      </a:lnTo>
                      <a:lnTo>
                        <a:pt x="110" y="264"/>
                      </a:lnTo>
                      <a:lnTo>
                        <a:pt x="107" y="260"/>
                      </a:lnTo>
                      <a:lnTo>
                        <a:pt x="105" y="256"/>
                      </a:lnTo>
                      <a:lnTo>
                        <a:pt x="105" y="241"/>
                      </a:lnTo>
                      <a:lnTo>
                        <a:pt x="108" y="232"/>
                      </a:lnTo>
                      <a:lnTo>
                        <a:pt x="109" y="218"/>
                      </a:lnTo>
                      <a:lnTo>
                        <a:pt x="108" y="204"/>
                      </a:lnTo>
                      <a:lnTo>
                        <a:pt x="110" y="191"/>
                      </a:lnTo>
                      <a:lnTo>
                        <a:pt x="110" y="179"/>
                      </a:lnTo>
                      <a:lnTo>
                        <a:pt x="113" y="173"/>
                      </a:lnTo>
                      <a:lnTo>
                        <a:pt x="113" y="168"/>
                      </a:lnTo>
                      <a:lnTo>
                        <a:pt x="112" y="158"/>
                      </a:lnTo>
                      <a:lnTo>
                        <a:pt x="113" y="156"/>
                      </a:lnTo>
                      <a:lnTo>
                        <a:pt x="114" y="155"/>
                      </a:lnTo>
                      <a:lnTo>
                        <a:pt x="114" y="151"/>
                      </a:lnTo>
                      <a:lnTo>
                        <a:pt x="110" y="147"/>
                      </a:lnTo>
                      <a:lnTo>
                        <a:pt x="120" y="145"/>
                      </a:lnTo>
                      <a:lnTo>
                        <a:pt x="124" y="145"/>
                      </a:lnTo>
                      <a:lnTo>
                        <a:pt x="126" y="146"/>
                      </a:lnTo>
                      <a:lnTo>
                        <a:pt x="132" y="156"/>
                      </a:lnTo>
                      <a:lnTo>
                        <a:pt x="132" y="168"/>
                      </a:lnTo>
                      <a:lnTo>
                        <a:pt x="134" y="173"/>
                      </a:lnTo>
                      <a:lnTo>
                        <a:pt x="137" y="173"/>
                      </a:lnTo>
                      <a:lnTo>
                        <a:pt x="151" y="167"/>
                      </a:lnTo>
                      <a:lnTo>
                        <a:pt x="156" y="166"/>
                      </a:lnTo>
                      <a:lnTo>
                        <a:pt x="162" y="166"/>
                      </a:lnTo>
                      <a:lnTo>
                        <a:pt x="173" y="161"/>
                      </a:lnTo>
                      <a:lnTo>
                        <a:pt x="179" y="169"/>
                      </a:lnTo>
                      <a:lnTo>
                        <a:pt x="183" y="178"/>
                      </a:lnTo>
                      <a:lnTo>
                        <a:pt x="188" y="184"/>
                      </a:lnTo>
                      <a:lnTo>
                        <a:pt x="201" y="190"/>
                      </a:lnTo>
                      <a:lnTo>
                        <a:pt x="213" y="198"/>
                      </a:lnTo>
                      <a:lnTo>
                        <a:pt x="231" y="205"/>
                      </a:lnTo>
                      <a:lnTo>
                        <a:pt x="243" y="206"/>
                      </a:lnTo>
                      <a:lnTo>
                        <a:pt x="252" y="204"/>
                      </a:lnTo>
                      <a:lnTo>
                        <a:pt x="264" y="199"/>
                      </a:lnTo>
                      <a:lnTo>
                        <a:pt x="274" y="196"/>
                      </a:lnTo>
                      <a:lnTo>
                        <a:pt x="279" y="198"/>
                      </a:lnTo>
                      <a:lnTo>
                        <a:pt x="298" y="216"/>
                      </a:lnTo>
                      <a:lnTo>
                        <a:pt x="312" y="222"/>
                      </a:lnTo>
                      <a:lnTo>
                        <a:pt x="323" y="226"/>
                      </a:lnTo>
                      <a:lnTo>
                        <a:pt x="334" y="227"/>
                      </a:lnTo>
                      <a:lnTo>
                        <a:pt x="341" y="233"/>
                      </a:lnTo>
                      <a:lnTo>
                        <a:pt x="346" y="245"/>
                      </a:lnTo>
                      <a:lnTo>
                        <a:pt x="350" y="252"/>
                      </a:lnTo>
                      <a:lnTo>
                        <a:pt x="363" y="264"/>
                      </a:lnTo>
                      <a:lnTo>
                        <a:pt x="377" y="272"/>
                      </a:lnTo>
                      <a:lnTo>
                        <a:pt x="387" y="276"/>
                      </a:lnTo>
                      <a:lnTo>
                        <a:pt x="397" y="277"/>
                      </a:lnTo>
                      <a:lnTo>
                        <a:pt x="400" y="277"/>
                      </a:lnTo>
                      <a:lnTo>
                        <a:pt x="406" y="275"/>
                      </a:lnTo>
                      <a:lnTo>
                        <a:pt x="410" y="274"/>
                      </a:lnTo>
                      <a:lnTo>
                        <a:pt x="411" y="275"/>
                      </a:lnTo>
                      <a:lnTo>
                        <a:pt x="416" y="282"/>
                      </a:lnTo>
                      <a:lnTo>
                        <a:pt x="420" y="283"/>
                      </a:lnTo>
                      <a:lnTo>
                        <a:pt x="424" y="283"/>
                      </a:lnTo>
                      <a:lnTo>
                        <a:pt x="426" y="281"/>
                      </a:lnTo>
                      <a:lnTo>
                        <a:pt x="426" y="274"/>
                      </a:lnTo>
                      <a:lnTo>
                        <a:pt x="425" y="266"/>
                      </a:lnTo>
                      <a:lnTo>
                        <a:pt x="424" y="231"/>
                      </a:lnTo>
                      <a:lnTo>
                        <a:pt x="421" y="223"/>
                      </a:lnTo>
                      <a:lnTo>
                        <a:pt x="415" y="222"/>
                      </a:lnTo>
                      <a:lnTo>
                        <a:pt x="406" y="227"/>
                      </a:lnTo>
                      <a:lnTo>
                        <a:pt x="395" y="225"/>
                      </a:lnTo>
                      <a:lnTo>
                        <a:pt x="383" y="225"/>
                      </a:lnTo>
                      <a:lnTo>
                        <a:pt x="376" y="220"/>
                      </a:lnTo>
                      <a:lnTo>
                        <a:pt x="366" y="207"/>
                      </a:lnTo>
                      <a:lnTo>
                        <a:pt x="360" y="201"/>
                      </a:lnTo>
                      <a:lnTo>
                        <a:pt x="358" y="199"/>
                      </a:lnTo>
                      <a:lnTo>
                        <a:pt x="357" y="189"/>
                      </a:lnTo>
                      <a:lnTo>
                        <a:pt x="360" y="182"/>
                      </a:lnTo>
                      <a:lnTo>
                        <a:pt x="362" y="170"/>
                      </a:lnTo>
                      <a:lnTo>
                        <a:pt x="377" y="131"/>
                      </a:lnTo>
                      <a:lnTo>
                        <a:pt x="378" y="124"/>
                      </a:lnTo>
                      <a:lnTo>
                        <a:pt x="379" y="99"/>
                      </a:lnTo>
                      <a:lnTo>
                        <a:pt x="377" y="85"/>
                      </a:lnTo>
                      <a:lnTo>
                        <a:pt x="370" y="66"/>
                      </a:lnTo>
                      <a:lnTo>
                        <a:pt x="370" y="56"/>
                      </a:lnTo>
                      <a:lnTo>
                        <a:pt x="372" y="53"/>
                      </a:lnTo>
                      <a:lnTo>
                        <a:pt x="374" y="44"/>
                      </a:lnTo>
                      <a:lnTo>
                        <a:pt x="379" y="37"/>
                      </a:lnTo>
                      <a:lnTo>
                        <a:pt x="387" y="23"/>
                      </a:lnTo>
                      <a:lnTo>
                        <a:pt x="389" y="21"/>
                      </a:lnTo>
                      <a:lnTo>
                        <a:pt x="394" y="17"/>
                      </a:lnTo>
                      <a:lnTo>
                        <a:pt x="397" y="17"/>
                      </a:lnTo>
                      <a:lnTo>
                        <a:pt x="406" y="13"/>
                      </a:lnTo>
                      <a:lnTo>
                        <a:pt x="468" y="0"/>
                      </a:lnTo>
                      <a:lnTo>
                        <a:pt x="471" y="6"/>
                      </a:lnTo>
                      <a:lnTo>
                        <a:pt x="470" y="13"/>
                      </a:lnTo>
                      <a:lnTo>
                        <a:pt x="471" y="22"/>
                      </a:lnTo>
                      <a:lnTo>
                        <a:pt x="475" y="23"/>
                      </a:lnTo>
                      <a:lnTo>
                        <a:pt x="483" y="24"/>
                      </a:lnTo>
                      <a:lnTo>
                        <a:pt x="494" y="33"/>
                      </a:lnTo>
                      <a:lnTo>
                        <a:pt x="502" y="22"/>
                      </a:lnTo>
                      <a:lnTo>
                        <a:pt x="508" y="21"/>
                      </a:lnTo>
                      <a:lnTo>
                        <a:pt x="516" y="23"/>
                      </a:lnTo>
                      <a:lnTo>
                        <a:pt x="526" y="32"/>
                      </a:lnTo>
                      <a:lnTo>
                        <a:pt x="530" y="39"/>
                      </a:lnTo>
                      <a:lnTo>
                        <a:pt x="538" y="43"/>
                      </a:lnTo>
                      <a:lnTo>
                        <a:pt x="546" y="45"/>
                      </a:lnTo>
                      <a:lnTo>
                        <a:pt x="575" y="57"/>
                      </a:lnTo>
                      <a:lnTo>
                        <a:pt x="586" y="61"/>
                      </a:lnTo>
                      <a:lnTo>
                        <a:pt x="597" y="61"/>
                      </a:lnTo>
                      <a:lnTo>
                        <a:pt x="599" y="64"/>
                      </a:lnTo>
                      <a:lnTo>
                        <a:pt x="603" y="67"/>
                      </a:lnTo>
                      <a:lnTo>
                        <a:pt x="602" y="70"/>
                      </a:lnTo>
                      <a:lnTo>
                        <a:pt x="602" y="75"/>
                      </a:lnTo>
                      <a:lnTo>
                        <a:pt x="603" y="76"/>
                      </a:lnTo>
                      <a:lnTo>
                        <a:pt x="605" y="82"/>
                      </a:lnTo>
                      <a:lnTo>
                        <a:pt x="614" y="82"/>
                      </a:lnTo>
                      <a:lnTo>
                        <a:pt x="621" y="91"/>
                      </a:lnTo>
                      <a:lnTo>
                        <a:pt x="623" y="96"/>
                      </a:lnTo>
                      <a:lnTo>
                        <a:pt x="626" y="107"/>
                      </a:lnTo>
                      <a:lnTo>
                        <a:pt x="632" y="112"/>
                      </a:lnTo>
                      <a:lnTo>
                        <a:pt x="635" y="130"/>
                      </a:lnTo>
                      <a:lnTo>
                        <a:pt x="639" y="132"/>
                      </a:lnTo>
                      <a:lnTo>
                        <a:pt x="640" y="139"/>
                      </a:lnTo>
                      <a:lnTo>
                        <a:pt x="640" y="142"/>
                      </a:lnTo>
                      <a:lnTo>
                        <a:pt x="631" y="147"/>
                      </a:lnTo>
                      <a:lnTo>
                        <a:pt x="629" y="148"/>
                      </a:lnTo>
                      <a:lnTo>
                        <a:pt x="625" y="151"/>
                      </a:lnTo>
                      <a:lnTo>
                        <a:pt x="624" y="161"/>
                      </a:lnTo>
                      <a:lnTo>
                        <a:pt x="625" y="169"/>
                      </a:lnTo>
                      <a:lnTo>
                        <a:pt x="619" y="186"/>
                      </a:lnTo>
                      <a:lnTo>
                        <a:pt x="620" y="194"/>
                      </a:lnTo>
                      <a:lnTo>
                        <a:pt x="621" y="209"/>
                      </a:lnTo>
                      <a:lnTo>
                        <a:pt x="619" y="223"/>
                      </a:lnTo>
                      <a:lnTo>
                        <a:pt x="620" y="226"/>
                      </a:lnTo>
                      <a:lnTo>
                        <a:pt x="624" y="231"/>
                      </a:lnTo>
                      <a:lnTo>
                        <a:pt x="629" y="233"/>
                      </a:lnTo>
                      <a:lnTo>
                        <a:pt x="630" y="239"/>
                      </a:lnTo>
                      <a:lnTo>
                        <a:pt x="627" y="242"/>
                      </a:lnTo>
                      <a:lnTo>
                        <a:pt x="619" y="243"/>
                      </a:lnTo>
                      <a:lnTo>
                        <a:pt x="613" y="248"/>
                      </a:lnTo>
                      <a:lnTo>
                        <a:pt x="608" y="249"/>
                      </a:lnTo>
                      <a:lnTo>
                        <a:pt x="607" y="250"/>
                      </a:lnTo>
                      <a:lnTo>
                        <a:pt x="603" y="265"/>
                      </a:lnTo>
                      <a:lnTo>
                        <a:pt x="603" y="280"/>
                      </a:lnTo>
                      <a:lnTo>
                        <a:pt x="598" y="295"/>
                      </a:lnTo>
                      <a:lnTo>
                        <a:pt x="591" y="302"/>
                      </a:lnTo>
                      <a:lnTo>
                        <a:pt x="589" y="306"/>
                      </a:lnTo>
                      <a:lnTo>
                        <a:pt x="592" y="314"/>
                      </a:lnTo>
                      <a:lnTo>
                        <a:pt x="597" y="315"/>
                      </a:lnTo>
                      <a:lnTo>
                        <a:pt x="600" y="323"/>
                      </a:lnTo>
                      <a:lnTo>
                        <a:pt x="608" y="322"/>
                      </a:lnTo>
                      <a:lnTo>
                        <a:pt x="612" y="324"/>
                      </a:lnTo>
                      <a:lnTo>
                        <a:pt x="612" y="325"/>
                      </a:lnTo>
                      <a:lnTo>
                        <a:pt x="603" y="326"/>
                      </a:lnTo>
                      <a:lnTo>
                        <a:pt x="438" y="383"/>
                      </a:lnTo>
                      <a:lnTo>
                        <a:pt x="446" y="399"/>
                      </a:lnTo>
                      <a:lnTo>
                        <a:pt x="448" y="411"/>
                      </a:lnTo>
                      <a:lnTo>
                        <a:pt x="453" y="414"/>
                      </a:lnTo>
                      <a:lnTo>
                        <a:pt x="452" y="416"/>
                      </a:lnTo>
                      <a:lnTo>
                        <a:pt x="444" y="415"/>
                      </a:lnTo>
                      <a:lnTo>
                        <a:pt x="436" y="417"/>
                      </a:lnTo>
                      <a:lnTo>
                        <a:pt x="430" y="416"/>
                      </a:lnTo>
                      <a:lnTo>
                        <a:pt x="424" y="414"/>
                      </a:lnTo>
                      <a:lnTo>
                        <a:pt x="420" y="414"/>
                      </a:lnTo>
                      <a:lnTo>
                        <a:pt x="408" y="420"/>
                      </a:lnTo>
                      <a:lnTo>
                        <a:pt x="392" y="421"/>
                      </a:lnTo>
                      <a:lnTo>
                        <a:pt x="385" y="425"/>
                      </a:lnTo>
                      <a:lnTo>
                        <a:pt x="378" y="432"/>
                      </a:lnTo>
                      <a:lnTo>
                        <a:pt x="372" y="432"/>
                      </a:lnTo>
                      <a:lnTo>
                        <a:pt x="366" y="435"/>
                      </a:lnTo>
                      <a:lnTo>
                        <a:pt x="365" y="442"/>
                      </a:lnTo>
                      <a:lnTo>
                        <a:pt x="365" y="451"/>
                      </a:lnTo>
                      <a:lnTo>
                        <a:pt x="366" y="455"/>
                      </a:lnTo>
                      <a:lnTo>
                        <a:pt x="365" y="459"/>
                      </a:lnTo>
                      <a:lnTo>
                        <a:pt x="363" y="464"/>
                      </a:lnTo>
                      <a:lnTo>
                        <a:pt x="362" y="468"/>
                      </a:lnTo>
                      <a:lnTo>
                        <a:pt x="354" y="468"/>
                      </a:lnTo>
                      <a:lnTo>
                        <a:pt x="342" y="467"/>
                      </a:lnTo>
                      <a:lnTo>
                        <a:pt x="336" y="469"/>
                      </a:lnTo>
                      <a:lnTo>
                        <a:pt x="334" y="473"/>
                      </a:lnTo>
                      <a:lnTo>
                        <a:pt x="331" y="473"/>
                      </a:lnTo>
                      <a:lnTo>
                        <a:pt x="324" y="482"/>
                      </a:lnTo>
                      <a:lnTo>
                        <a:pt x="315" y="481"/>
                      </a:lnTo>
                      <a:lnTo>
                        <a:pt x="312" y="482"/>
                      </a:lnTo>
                      <a:lnTo>
                        <a:pt x="309" y="485"/>
                      </a:lnTo>
                      <a:lnTo>
                        <a:pt x="307" y="490"/>
                      </a:lnTo>
                      <a:lnTo>
                        <a:pt x="303" y="491"/>
                      </a:lnTo>
                      <a:lnTo>
                        <a:pt x="297" y="503"/>
                      </a:lnTo>
                      <a:lnTo>
                        <a:pt x="287" y="513"/>
                      </a:lnTo>
                      <a:lnTo>
                        <a:pt x="285" y="518"/>
                      </a:lnTo>
                      <a:lnTo>
                        <a:pt x="285" y="524"/>
                      </a:lnTo>
                      <a:lnTo>
                        <a:pt x="280" y="529"/>
                      </a:lnTo>
                      <a:lnTo>
                        <a:pt x="276" y="532"/>
                      </a:lnTo>
                      <a:lnTo>
                        <a:pt x="270" y="541"/>
                      </a:lnTo>
                      <a:lnTo>
                        <a:pt x="264" y="549"/>
                      </a:lnTo>
                      <a:lnTo>
                        <a:pt x="259" y="549"/>
                      </a:lnTo>
                      <a:lnTo>
                        <a:pt x="252" y="552"/>
                      </a:lnTo>
                      <a:lnTo>
                        <a:pt x="247" y="551"/>
                      </a:lnTo>
                      <a:lnTo>
                        <a:pt x="245" y="546"/>
                      </a:lnTo>
                      <a:lnTo>
                        <a:pt x="241" y="544"/>
                      </a:lnTo>
                      <a:lnTo>
                        <a:pt x="233" y="545"/>
                      </a:lnTo>
                      <a:lnTo>
                        <a:pt x="228" y="544"/>
                      </a:lnTo>
                      <a:lnTo>
                        <a:pt x="211" y="546"/>
                      </a:lnTo>
                      <a:lnTo>
                        <a:pt x="198" y="541"/>
                      </a:lnTo>
                      <a:lnTo>
                        <a:pt x="179" y="543"/>
                      </a:lnTo>
                      <a:lnTo>
                        <a:pt x="174" y="543"/>
                      </a:lnTo>
                      <a:lnTo>
                        <a:pt x="172" y="539"/>
                      </a:lnTo>
                      <a:lnTo>
                        <a:pt x="164" y="537"/>
                      </a:lnTo>
                      <a:lnTo>
                        <a:pt x="157" y="524"/>
                      </a:lnTo>
                      <a:lnTo>
                        <a:pt x="153" y="521"/>
                      </a:lnTo>
                      <a:lnTo>
                        <a:pt x="139" y="518"/>
                      </a:lnTo>
                      <a:lnTo>
                        <a:pt x="118" y="518"/>
                      </a:lnTo>
                      <a:lnTo>
                        <a:pt x="115" y="514"/>
                      </a:lnTo>
                      <a:lnTo>
                        <a:pt x="72" y="525"/>
                      </a:lnTo>
                      <a:lnTo>
                        <a:pt x="65" y="527"/>
                      </a:lnTo>
                      <a:lnTo>
                        <a:pt x="57" y="522"/>
                      </a:lnTo>
                      <a:lnTo>
                        <a:pt x="53" y="516"/>
                      </a:lnTo>
                      <a:lnTo>
                        <a:pt x="44" y="512"/>
                      </a:lnTo>
                      <a:lnTo>
                        <a:pt x="40" y="507"/>
                      </a:lnTo>
                      <a:lnTo>
                        <a:pt x="30" y="498"/>
                      </a:lnTo>
                      <a:lnTo>
                        <a:pt x="24" y="491"/>
                      </a:lnTo>
                      <a:lnTo>
                        <a:pt x="11" y="482"/>
                      </a:lnTo>
                      <a:lnTo>
                        <a:pt x="7" y="475"/>
                      </a:lnTo>
                      <a:lnTo>
                        <a:pt x="0" y="469"/>
                      </a:lnTo>
                      <a:lnTo>
                        <a:pt x="0" y="468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42" name="Freeform 30"/>
                <p:cNvSpPr>
                  <a:spLocks noChangeAspect="1"/>
                </p:cNvSpPr>
                <p:nvPr/>
              </p:nvSpPr>
              <p:spPr bwMode="gray">
                <a:xfrm>
                  <a:off x="5198267" y="3965922"/>
                  <a:ext cx="134938" cy="128588"/>
                </a:xfrm>
                <a:custGeom>
                  <a:avLst/>
                  <a:gdLst/>
                  <a:ahLst/>
                  <a:cxnLst>
                    <a:cxn ang="0">
                      <a:pos x="202" y="60"/>
                    </a:cxn>
                    <a:cxn ang="0">
                      <a:pos x="198" y="66"/>
                    </a:cxn>
                    <a:cxn ang="0">
                      <a:pos x="193" y="70"/>
                    </a:cxn>
                    <a:cxn ang="0">
                      <a:pos x="179" y="66"/>
                    </a:cxn>
                    <a:cxn ang="0">
                      <a:pos x="175" y="71"/>
                    </a:cxn>
                    <a:cxn ang="0">
                      <a:pos x="169" y="70"/>
                    </a:cxn>
                    <a:cxn ang="0">
                      <a:pos x="164" y="72"/>
                    </a:cxn>
                    <a:cxn ang="0">
                      <a:pos x="156" y="78"/>
                    </a:cxn>
                    <a:cxn ang="0">
                      <a:pos x="156" y="83"/>
                    </a:cxn>
                    <a:cxn ang="0">
                      <a:pos x="153" y="86"/>
                    </a:cxn>
                    <a:cxn ang="0">
                      <a:pos x="143" y="87"/>
                    </a:cxn>
                    <a:cxn ang="0">
                      <a:pos x="140" y="93"/>
                    </a:cxn>
                    <a:cxn ang="0">
                      <a:pos x="130" y="100"/>
                    </a:cxn>
                    <a:cxn ang="0">
                      <a:pos x="121" y="110"/>
                    </a:cxn>
                    <a:cxn ang="0">
                      <a:pos x="115" y="115"/>
                    </a:cxn>
                    <a:cxn ang="0">
                      <a:pos x="103" y="129"/>
                    </a:cxn>
                    <a:cxn ang="0">
                      <a:pos x="92" y="135"/>
                    </a:cxn>
                    <a:cxn ang="0">
                      <a:pos x="80" y="138"/>
                    </a:cxn>
                    <a:cxn ang="0">
                      <a:pos x="73" y="132"/>
                    </a:cxn>
                    <a:cxn ang="0">
                      <a:pos x="61" y="131"/>
                    </a:cxn>
                    <a:cxn ang="0">
                      <a:pos x="39" y="132"/>
                    </a:cxn>
                    <a:cxn ang="0">
                      <a:pos x="7" y="129"/>
                    </a:cxn>
                    <a:cxn ang="0">
                      <a:pos x="0" y="125"/>
                    </a:cxn>
                    <a:cxn ang="0">
                      <a:pos x="3" y="140"/>
                    </a:cxn>
                    <a:cxn ang="0">
                      <a:pos x="27" y="172"/>
                    </a:cxn>
                    <a:cxn ang="0">
                      <a:pos x="35" y="197"/>
                    </a:cxn>
                    <a:cxn ang="0">
                      <a:pos x="77" y="247"/>
                    </a:cxn>
                    <a:cxn ang="0">
                      <a:pos x="107" y="260"/>
                    </a:cxn>
                    <a:cxn ang="0">
                      <a:pos x="129" y="279"/>
                    </a:cxn>
                    <a:cxn ang="0">
                      <a:pos x="140" y="308"/>
                    </a:cxn>
                    <a:cxn ang="0">
                      <a:pos x="150" y="341"/>
                    </a:cxn>
                    <a:cxn ang="0">
                      <a:pos x="167" y="355"/>
                    </a:cxn>
                    <a:cxn ang="0">
                      <a:pos x="193" y="357"/>
                    </a:cxn>
                    <a:cxn ang="0">
                      <a:pos x="216" y="367"/>
                    </a:cxn>
                    <a:cxn ang="0">
                      <a:pos x="239" y="371"/>
                    </a:cxn>
                    <a:cxn ang="0">
                      <a:pos x="271" y="380"/>
                    </a:cxn>
                    <a:cxn ang="0">
                      <a:pos x="296" y="380"/>
                    </a:cxn>
                    <a:cxn ang="0">
                      <a:pos x="329" y="388"/>
                    </a:cxn>
                    <a:cxn ang="0">
                      <a:pos x="349" y="404"/>
                    </a:cxn>
                    <a:cxn ang="0">
                      <a:pos x="351" y="404"/>
                    </a:cxn>
                    <a:cxn ang="0">
                      <a:pos x="355" y="377"/>
                    </a:cxn>
                    <a:cxn ang="0">
                      <a:pos x="372" y="360"/>
                    </a:cxn>
                    <a:cxn ang="0">
                      <a:pos x="398" y="318"/>
                    </a:cxn>
                    <a:cxn ang="0">
                      <a:pos x="422" y="251"/>
                    </a:cxn>
                    <a:cxn ang="0">
                      <a:pos x="414" y="211"/>
                    </a:cxn>
                    <a:cxn ang="0">
                      <a:pos x="422" y="175"/>
                    </a:cxn>
                    <a:cxn ang="0">
                      <a:pos x="428" y="151"/>
                    </a:cxn>
                    <a:cxn ang="0">
                      <a:pos x="428" y="105"/>
                    </a:cxn>
                    <a:cxn ang="0">
                      <a:pos x="420" y="73"/>
                    </a:cxn>
                    <a:cxn ang="0">
                      <a:pos x="410" y="50"/>
                    </a:cxn>
                    <a:cxn ang="0">
                      <a:pos x="351" y="27"/>
                    </a:cxn>
                    <a:cxn ang="0">
                      <a:pos x="322" y="19"/>
                    </a:cxn>
                    <a:cxn ang="0">
                      <a:pos x="281" y="19"/>
                    </a:cxn>
                    <a:cxn ang="0">
                      <a:pos x="280" y="2"/>
                    </a:cxn>
                    <a:cxn ang="0">
                      <a:pos x="264" y="3"/>
                    </a:cxn>
                    <a:cxn ang="0">
                      <a:pos x="252" y="0"/>
                    </a:cxn>
                    <a:cxn ang="0">
                      <a:pos x="236" y="6"/>
                    </a:cxn>
                    <a:cxn ang="0">
                      <a:pos x="213" y="11"/>
                    </a:cxn>
                    <a:cxn ang="0">
                      <a:pos x="200" y="18"/>
                    </a:cxn>
                    <a:cxn ang="0">
                      <a:pos x="193" y="28"/>
                    </a:cxn>
                    <a:cxn ang="0">
                      <a:pos x="194" y="41"/>
                    </a:cxn>
                    <a:cxn ang="0">
                      <a:pos x="191" y="50"/>
                    </a:cxn>
                  </a:cxnLst>
                  <a:rect l="0" t="0" r="r" b="b"/>
                  <a:pathLst>
                    <a:path w="428" h="405">
                      <a:moveTo>
                        <a:pt x="190" y="54"/>
                      </a:moveTo>
                      <a:lnTo>
                        <a:pt x="202" y="60"/>
                      </a:lnTo>
                      <a:lnTo>
                        <a:pt x="202" y="64"/>
                      </a:lnTo>
                      <a:lnTo>
                        <a:pt x="198" y="66"/>
                      </a:lnTo>
                      <a:lnTo>
                        <a:pt x="195" y="70"/>
                      </a:lnTo>
                      <a:lnTo>
                        <a:pt x="193" y="70"/>
                      </a:lnTo>
                      <a:lnTo>
                        <a:pt x="184" y="66"/>
                      </a:lnTo>
                      <a:lnTo>
                        <a:pt x="179" y="66"/>
                      </a:lnTo>
                      <a:lnTo>
                        <a:pt x="177" y="67"/>
                      </a:lnTo>
                      <a:lnTo>
                        <a:pt x="175" y="71"/>
                      </a:lnTo>
                      <a:lnTo>
                        <a:pt x="172" y="72"/>
                      </a:lnTo>
                      <a:lnTo>
                        <a:pt x="169" y="70"/>
                      </a:lnTo>
                      <a:lnTo>
                        <a:pt x="167" y="70"/>
                      </a:lnTo>
                      <a:lnTo>
                        <a:pt x="164" y="72"/>
                      </a:lnTo>
                      <a:lnTo>
                        <a:pt x="159" y="75"/>
                      </a:lnTo>
                      <a:lnTo>
                        <a:pt x="156" y="78"/>
                      </a:lnTo>
                      <a:lnTo>
                        <a:pt x="155" y="81"/>
                      </a:lnTo>
                      <a:lnTo>
                        <a:pt x="156" y="83"/>
                      </a:lnTo>
                      <a:lnTo>
                        <a:pt x="155" y="84"/>
                      </a:lnTo>
                      <a:lnTo>
                        <a:pt x="153" y="86"/>
                      </a:lnTo>
                      <a:lnTo>
                        <a:pt x="151" y="83"/>
                      </a:lnTo>
                      <a:lnTo>
                        <a:pt x="143" y="87"/>
                      </a:lnTo>
                      <a:lnTo>
                        <a:pt x="140" y="91"/>
                      </a:lnTo>
                      <a:lnTo>
                        <a:pt x="140" y="93"/>
                      </a:lnTo>
                      <a:lnTo>
                        <a:pt x="135" y="96"/>
                      </a:lnTo>
                      <a:lnTo>
                        <a:pt x="130" y="100"/>
                      </a:lnTo>
                      <a:lnTo>
                        <a:pt x="126" y="107"/>
                      </a:lnTo>
                      <a:lnTo>
                        <a:pt x="121" y="110"/>
                      </a:lnTo>
                      <a:lnTo>
                        <a:pt x="121" y="113"/>
                      </a:lnTo>
                      <a:lnTo>
                        <a:pt x="115" y="115"/>
                      </a:lnTo>
                      <a:lnTo>
                        <a:pt x="110" y="123"/>
                      </a:lnTo>
                      <a:lnTo>
                        <a:pt x="103" y="129"/>
                      </a:lnTo>
                      <a:lnTo>
                        <a:pt x="98" y="127"/>
                      </a:lnTo>
                      <a:lnTo>
                        <a:pt x="92" y="135"/>
                      </a:lnTo>
                      <a:lnTo>
                        <a:pt x="87" y="135"/>
                      </a:lnTo>
                      <a:lnTo>
                        <a:pt x="80" y="138"/>
                      </a:lnTo>
                      <a:lnTo>
                        <a:pt x="75" y="137"/>
                      </a:lnTo>
                      <a:lnTo>
                        <a:pt x="73" y="132"/>
                      </a:lnTo>
                      <a:lnTo>
                        <a:pt x="69" y="130"/>
                      </a:lnTo>
                      <a:lnTo>
                        <a:pt x="61" y="131"/>
                      </a:lnTo>
                      <a:lnTo>
                        <a:pt x="56" y="130"/>
                      </a:lnTo>
                      <a:lnTo>
                        <a:pt x="39" y="132"/>
                      </a:lnTo>
                      <a:lnTo>
                        <a:pt x="26" y="127"/>
                      </a:lnTo>
                      <a:lnTo>
                        <a:pt x="7" y="129"/>
                      </a:lnTo>
                      <a:lnTo>
                        <a:pt x="2" y="129"/>
                      </a:lnTo>
                      <a:lnTo>
                        <a:pt x="0" y="125"/>
                      </a:lnTo>
                      <a:lnTo>
                        <a:pt x="0" y="134"/>
                      </a:lnTo>
                      <a:lnTo>
                        <a:pt x="3" y="140"/>
                      </a:lnTo>
                      <a:lnTo>
                        <a:pt x="16" y="162"/>
                      </a:lnTo>
                      <a:lnTo>
                        <a:pt x="27" y="172"/>
                      </a:lnTo>
                      <a:lnTo>
                        <a:pt x="28" y="183"/>
                      </a:lnTo>
                      <a:lnTo>
                        <a:pt x="35" y="197"/>
                      </a:lnTo>
                      <a:lnTo>
                        <a:pt x="48" y="216"/>
                      </a:lnTo>
                      <a:lnTo>
                        <a:pt x="77" y="247"/>
                      </a:lnTo>
                      <a:lnTo>
                        <a:pt x="94" y="250"/>
                      </a:lnTo>
                      <a:lnTo>
                        <a:pt x="107" y="260"/>
                      </a:lnTo>
                      <a:lnTo>
                        <a:pt x="116" y="274"/>
                      </a:lnTo>
                      <a:lnTo>
                        <a:pt x="129" y="279"/>
                      </a:lnTo>
                      <a:lnTo>
                        <a:pt x="140" y="287"/>
                      </a:lnTo>
                      <a:lnTo>
                        <a:pt x="140" y="308"/>
                      </a:lnTo>
                      <a:lnTo>
                        <a:pt x="143" y="328"/>
                      </a:lnTo>
                      <a:lnTo>
                        <a:pt x="150" y="341"/>
                      </a:lnTo>
                      <a:lnTo>
                        <a:pt x="158" y="350"/>
                      </a:lnTo>
                      <a:lnTo>
                        <a:pt x="167" y="355"/>
                      </a:lnTo>
                      <a:lnTo>
                        <a:pt x="180" y="357"/>
                      </a:lnTo>
                      <a:lnTo>
                        <a:pt x="193" y="357"/>
                      </a:lnTo>
                      <a:lnTo>
                        <a:pt x="206" y="363"/>
                      </a:lnTo>
                      <a:lnTo>
                        <a:pt x="216" y="367"/>
                      </a:lnTo>
                      <a:lnTo>
                        <a:pt x="227" y="376"/>
                      </a:lnTo>
                      <a:lnTo>
                        <a:pt x="239" y="371"/>
                      </a:lnTo>
                      <a:lnTo>
                        <a:pt x="248" y="373"/>
                      </a:lnTo>
                      <a:lnTo>
                        <a:pt x="271" y="380"/>
                      </a:lnTo>
                      <a:lnTo>
                        <a:pt x="283" y="383"/>
                      </a:lnTo>
                      <a:lnTo>
                        <a:pt x="296" y="380"/>
                      </a:lnTo>
                      <a:lnTo>
                        <a:pt x="308" y="382"/>
                      </a:lnTo>
                      <a:lnTo>
                        <a:pt x="329" y="388"/>
                      </a:lnTo>
                      <a:lnTo>
                        <a:pt x="344" y="403"/>
                      </a:lnTo>
                      <a:lnTo>
                        <a:pt x="349" y="404"/>
                      </a:lnTo>
                      <a:lnTo>
                        <a:pt x="350" y="405"/>
                      </a:lnTo>
                      <a:lnTo>
                        <a:pt x="351" y="404"/>
                      </a:lnTo>
                      <a:lnTo>
                        <a:pt x="351" y="389"/>
                      </a:lnTo>
                      <a:lnTo>
                        <a:pt x="355" y="377"/>
                      </a:lnTo>
                      <a:lnTo>
                        <a:pt x="361" y="367"/>
                      </a:lnTo>
                      <a:lnTo>
                        <a:pt x="372" y="360"/>
                      </a:lnTo>
                      <a:lnTo>
                        <a:pt x="379" y="352"/>
                      </a:lnTo>
                      <a:lnTo>
                        <a:pt x="398" y="318"/>
                      </a:lnTo>
                      <a:lnTo>
                        <a:pt x="405" y="287"/>
                      </a:lnTo>
                      <a:lnTo>
                        <a:pt x="422" y="251"/>
                      </a:lnTo>
                      <a:lnTo>
                        <a:pt x="419" y="224"/>
                      </a:lnTo>
                      <a:lnTo>
                        <a:pt x="414" y="211"/>
                      </a:lnTo>
                      <a:lnTo>
                        <a:pt x="412" y="194"/>
                      </a:lnTo>
                      <a:lnTo>
                        <a:pt x="422" y="175"/>
                      </a:lnTo>
                      <a:lnTo>
                        <a:pt x="424" y="167"/>
                      </a:lnTo>
                      <a:lnTo>
                        <a:pt x="428" y="151"/>
                      </a:lnTo>
                      <a:lnTo>
                        <a:pt x="427" y="140"/>
                      </a:lnTo>
                      <a:lnTo>
                        <a:pt x="428" y="105"/>
                      </a:lnTo>
                      <a:lnTo>
                        <a:pt x="424" y="83"/>
                      </a:lnTo>
                      <a:lnTo>
                        <a:pt x="420" y="73"/>
                      </a:lnTo>
                      <a:lnTo>
                        <a:pt x="419" y="60"/>
                      </a:lnTo>
                      <a:lnTo>
                        <a:pt x="410" y="50"/>
                      </a:lnTo>
                      <a:lnTo>
                        <a:pt x="379" y="39"/>
                      </a:lnTo>
                      <a:lnTo>
                        <a:pt x="351" y="27"/>
                      </a:lnTo>
                      <a:lnTo>
                        <a:pt x="336" y="23"/>
                      </a:lnTo>
                      <a:lnTo>
                        <a:pt x="322" y="19"/>
                      </a:lnTo>
                      <a:lnTo>
                        <a:pt x="299" y="21"/>
                      </a:lnTo>
                      <a:lnTo>
                        <a:pt x="281" y="19"/>
                      </a:lnTo>
                      <a:lnTo>
                        <a:pt x="281" y="0"/>
                      </a:lnTo>
                      <a:lnTo>
                        <a:pt x="280" y="2"/>
                      </a:lnTo>
                      <a:lnTo>
                        <a:pt x="272" y="1"/>
                      </a:lnTo>
                      <a:lnTo>
                        <a:pt x="264" y="3"/>
                      </a:lnTo>
                      <a:lnTo>
                        <a:pt x="258" y="2"/>
                      </a:lnTo>
                      <a:lnTo>
                        <a:pt x="252" y="0"/>
                      </a:lnTo>
                      <a:lnTo>
                        <a:pt x="248" y="0"/>
                      </a:lnTo>
                      <a:lnTo>
                        <a:pt x="236" y="6"/>
                      </a:lnTo>
                      <a:lnTo>
                        <a:pt x="220" y="7"/>
                      </a:lnTo>
                      <a:lnTo>
                        <a:pt x="213" y="11"/>
                      </a:lnTo>
                      <a:lnTo>
                        <a:pt x="206" y="18"/>
                      </a:lnTo>
                      <a:lnTo>
                        <a:pt x="200" y="18"/>
                      </a:lnTo>
                      <a:lnTo>
                        <a:pt x="194" y="21"/>
                      </a:lnTo>
                      <a:lnTo>
                        <a:pt x="193" y="28"/>
                      </a:lnTo>
                      <a:lnTo>
                        <a:pt x="193" y="37"/>
                      </a:lnTo>
                      <a:lnTo>
                        <a:pt x="194" y="41"/>
                      </a:lnTo>
                      <a:lnTo>
                        <a:pt x="193" y="45"/>
                      </a:lnTo>
                      <a:lnTo>
                        <a:pt x="191" y="50"/>
                      </a:lnTo>
                      <a:lnTo>
                        <a:pt x="190" y="54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43" name="Freeform 31"/>
                <p:cNvSpPr>
                  <a:spLocks noChangeAspect="1"/>
                </p:cNvSpPr>
                <p:nvPr/>
              </p:nvSpPr>
              <p:spPr bwMode="gray">
                <a:xfrm>
                  <a:off x="4961730" y="3988147"/>
                  <a:ext cx="233363" cy="230188"/>
                </a:xfrm>
                <a:custGeom>
                  <a:avLst/>
                  <a:gdLst/>
                  <a:ahLst/>
                  <a:cxnLst>
                    <a:cxn ang="0">
                      <a:pos x="252" y="26"/>
                    </a:cxn>
                    <a:cxn ang="0">
                      <a:pos x="130" y="26"/>
                    </a:cxn>
                    <a:cxn ang="0">
                      <a:pos x="96" y="10"/>
                    </a:cxn>
                    <a:cxn ang="0">
                      <a:pos x="59" y="0"/>
                    </a:cxn>
                    <a:cxn ang="0">
                      <a:pos x="33" y="17"/>
                    </a:cxn>
                    <a:cxn ang="0">
                      <a:pos x="1" y="26"/>
                    </a:cxn>
                    <a:cxn ang="0">
                      <a:pos x="3" y="64"/>
                    </a:cxn>
                    <a:cxn ang="0">
                      <a:pos x="17" y="100"/>
                    </a:cxn>
                    <a:cxn ang="0">
                      <a:pos x="34" y="117"/>
                    </a:cxn>
                    <a:cxn ang="0">
                      <a:pos x="46" y="139"/>
                    </a:cxn>
                    <a:cxn ang="0">
                      <a:pos x="62" y="168"/>
                    </a:cxn>
                    <a:cxn ang="0">
                      <a:pos x="82" y="209"/>
                    </a:cxn>
                    <a:cxn ang="0">
                      <a:pos x="96" y="238"/>
                    </a:cxn>
                    <a:cxn ang="0">
                      <a:pos x="118" y="278"/>
                    </a:cxn>
                    <a:cxn ang="0">
                      <a:pos x="150" y="331"/>
                    </a:cxn>
                    <a:cxn ang="0">
                      <a:pos x="151" y="369"/>
                    </a:cxn>
                    <a:cxn ang="0">
                      <a:pos x="153" y="435"/>
                    </a:cxn>
                    <a:cxn ang="0">
                      <a:pos x="172" y="477"/>
                    </a:cxn>
                    <a:cxn ang="0">
                      <a:pos x="172" y="521"/>
                    </a:cxn>
                    <a:cxn ang="0">
                      <a:pos x="179" y="555"/>
                    </a:cxn>
                    <a:cxn ang="0">
                      <a:pos x="188" y="589"/>
                    </a:cxn>
                    <a:cxn ang="0">
                      <a:pos x="214" y="646"/>
                    </a:cxn>
                    <a:cxn ang="0">
                      <a:pos x="243" y="683"/>
                    </a:cxn>
                    <a:cxn ang="0">
                      <a:pos x="264" y="700"/>
                    </a:cxn>
                    <a:cxn ang="0">
                      <a:pos x="279" y="689"/>
                    </a:cxn>
                    <a:cxn ang="0">
                      <a:pos x="323" y="695"/>
                    </a:cxn>
                    <a:cxn ang="0">
                      <a:pos x="350" y="722"/>
                    </a:cxn>
                    <a:cxn ang="0">
                      <a:pos x="393" y="720"/>
                    </a:cxn>
                    <a:cxn ang="0">
                      <a:pos x="435" y="695"/>
                    </a:cxn>
                    <a:cxn ang="0">
                      <a:pos x="452" y="633"/>
                    </a:cxn>
                    <a:cxn ang="0">
                      <a:pos x="452" y="460"/>
                    </a:cxn>
                    <a:cxn ang="0">
                      <a:pos x="452" y="295"/>
                    </a:cxn>
                    <a:cxn ang="0">
                      <a:pos x="507" y="200"/>
                    </a:cxn>
                    <a:cxn ang="0">
                      <a:pos x="512" y="86"/>
                    </a:cxn>
                    <a:cxn ang="0">
                      <a:pos x="615" y="68"/>
                    </a:cxn>
                    <a:cxn ang="0">
                      <a:pos x="650" y="85"/>
                    </a:cxn>
                    <a:cxn ang="0">
                      <a:pos x="668" y="81"/>
                    </a:cxn>
                    <a:cxn ang="0">
                      <a:pos x="716" y="57"/>
                    </a:cxn>
                    <a:cxn ang="0">
                      <a:pos x="727" y="38"/>
                    </a:cxn>
                    <a:cxn ang="0">
                      <a:pos x="688" y="32"/>
                    </a:cxn>
                    <a:cxn ang="0">
                      <a:pos x="635" y="41"/>
                    </a:cxn>
                    <a:cxn ang="0">
                      <a:pos x="546" y="65"/>
                    </a:cxn>
                    <a:cxn ang="0">
                      <a:pos x="522" y="63"/>
                    </a:cxn>
                    <a:cxn ang="0">
                      <a:pos x="460" y="51"/>
                    </a:cxn>
                    <a:cxn ang="0">
                      <a:pos x="405" y="53"/>
                    </a:cxn>
                    <a:cxn ang="0">
                      <a:pos x="366" y="26"/>
                    </a:cxn>
                  </a:cxnLst>
                  <a:rect l="0" t="0" r="r" b="b"/>
                  <a:pathLst>
                    <a:path w="734" h="722">
                      <a:moveTo>
                        <a:pt x="346" y="26"/>
                      </a:moveTo>
                      <a:lnTo>
                        <a:pt x="299" y="26"/>
                      </a:lnTo>
                      <a:lnTo>
                        <a:pt x="252" y="26"/>
                      </a:lnTo>
                      <a:lnTo>
                        <a:pt x="198" y="26"/>
                      </a:lnTo>
                      <a:lnTo>
                        <a:pt x="148" y="26"/>
                      </a:lnTo>
                      <a:lnTo>
                        <a:pt x="130" y="26"/>
                      </a:lnTo>
                      <a:lnTo>
                        <a:pt x="123" y="28"/>
                      </a:lnTo>
                      <a:lnTo>
                        <a:pt x="109" y="15"/>
                      </a:lnTo>
                      <a:lnTo>
                        <a:pt x="96" y="10"/>
                      </a:lnTo>
                      <a:lnTo>
                        <a:pt x="91" y="1"/>
                      </a:lnTo>
                      <a:lnTo>
                        <a:pt x="81" y="0"/>
                      </a:lnTo>
                      <a:lnTo>
                        <a:pt x="59" y="0"/>
                      </a:lnTo>
                      <a:lnTo>
                        <a:pt x="49" y="4"/>
                      </a:lnTo>
                      <a:lnTo>
                        <a:pt x="39" y="14"/>
                      </a:lnTo>
                      <a:lnTo>
                        <a:pt x="33" y="17"/>
                      </a:lnTo>
                      <a:lnTo>
                        <a:pt x="23" y="11"/>
                      </a:lnTo>
                      <a:lnTo>
                        <a:pt x="12" y="20"/>
                      </a:lnTo>
                      <a:lnTo>
                        <a:pt x="1" y="26"/>
                      </a:lnTo>
                      <a:lnTo>
                        <a:pt x="0" y="49"/>
                      </a:lnTo>
                      <a:lnTo>
                        <a:pt x="0" y="55"/>
                      </a:lnTo>
                      <a:lnTo>
                        <a:pt x="3" y="64"/>
                      </a:lnTo>
                      <a:lnTo>
                        <a:pt x="3" y="74"/>
                      </a:lnTo>
                      <a:lnTo>
                        <a:pt x="12" y="92"/>
                      </a:lnTo>
                      <a:lnTo>
                        <a:pt x="17" y="100"/>
                      </a:lnTo>
                      <a:lnTo>
                        <a:pt x="19" y="102"/>
                      </a:lnTo>
                      <a:lnTo>
                        <a:pt x="28" y="108"/>
                      </a:lnTo>
                      <a:lnTo>
                        <a:pt x="34" y="117"/>
                      </a:lnTo>
                      <a:lnTo>
                        <a:pt x="38" y="127"/>
                      </a:lnTo>
                      <a:lnTo>
                        <a:pt x="44" y="134"/>
                      </a:lnTo>
                      <a:lnTo>
                        <a:pt x="46" y="139"/>
                      </a:lnTo>
                      <a:lnTo>
                        <a:pt x="55" y="150"/>
                      </a:lnTo>
                      <a:lnTo>
                        <a:pt x="56" y="157"/>
                      </a:lnTo>
                      <a:lnTo>
                        <a:pt x="62" y="168"/>
                      </a:lnTo>
                      <a:lnTo>
                        <a:pt x="65" y="176"/>
                      </a:lnTo>
                      <a:lnTo>
                        <a:pt x="81" y="202"/>
                      </a:lnTo>
                      <a:lnTo>
                        <a:pt x="82" y="209"/>
                      </a:lnTo>
                      <a:lnTo>
                        <a:pt x="86" y="215"/>
                      </a:lnTo>
                      <a:lnTo>
                        <a:pt x="88" y="224"/>
                      </a:lnTo>
                      <a:lnTo>
                        <a:pt x="96" y="238"/>
                      </a:lnTo>
                      <a:lnTo>
                        <a:pt x="110" y="263"/>
                      </a:lnTo>
                      <a:lnTo>
                        <a:pt x="116" y="273"/>
                      </a:lnTo>
                      <a:lnTo>
                        <a:pt x="118" y="278"/>
                      </a:lnTo>
                      <a:lnTo>
                        <a:pt x="121" y="288"/>
                      </a:lnTo>
                      <a:lnTo>
                        <a:pt x="141" y="312"/>
                      </a:lnTo>
                      <a:lnTo>
                        <a:pt x="150" y="331"/>
                      </a:lnTo>
                      <a:lnTo>
                        <a:pt x="151" y="334"/>
                      </a:lnTo>
                      <a:lnTo>
                        <a:pt x="152" y="350"/>
                      </a:lnTo>
                      <a:lnTo>
                        <a:pt x="151" y="369"/>
                      </a:lnTo>
                      <a:lnTo>
                        <a:pt x="152" y="406"/>
                      </a:lnTo>
                      <a:lnTo>
                        <a:pt x="151" y="424"/>
                      </a:lnTo>
                      <a:lnTo>
                        <a:pt x="153" y="435"/>
                      </a:lnTo>
                      <a:lnTo>
                        <a:pt x="157" y="445"/>
                      </a:lnTo>
                      <a:lnTo>
                        <a:pt x="162" y="458"/>
                      </a:lnTo>
                      <a:lnTo>
                        <a:pt x="172" y="477"/>
                      </a:lnTo>
                      <a:lnTo>
                        <a:pt x="173" y="484"/>
                      </a:lnTo>
                      <a:lnTo>
                        <a:pt x="171" y="498"/>
                      </a:lnTo>
                      <a:lnTo>
                        <a:pt x="172" y="521"/>
                      </a:lnTo>
                      <a:lnTo>
                        <a:pt x="174" y="531"/>
                      </a:lnTo>
                      <a:lnTo>
                        <a:pt x="182" y="546"/>
                      </a:lnTo>
                      <a:lnTo>
                        <a:pt x="179" y="555"/>
                      </a:lnTo>
                      <a:lnTo>
                        <a:pt x="182" y="559"/>
                      </a:lnTo>
                      <a:lnTo>
                        <a:pt x="185" y="569"/>
                      </a:lnTo>
                      <a:lnTo>
                        <a:pt x="188" y="589"/>
                      </a:lnTo>
                      <a:lnTo>
                        <a:pt x="191" y="600"/>
                      </a:lnTo>
                      <a:lnTo>
                        <a:pt x="194" y="622"/>
                      </a:lnTo>
                      <a:lnTo>
                        <a:pt x="214" y="646"/>
                      </a:lnTo>
                      <a:lnTo>
                        <a:pt x="222" y="665"/>
                      </a:lnTo>
                      <a:lnTo>
                        <a:pt x="233" y="676"/>
                      </a:lnTo>
                      <a:lnTo>
                        <a:pt x="243" y="683"/>
                      </a:lnTo>
                      <a:lnTo>
                        <a:pt x="256" y="698"/>
                      </a:lnTo>
                      <a:lnTo>
                        <a:pt x="261" y="698"/>
                      </a:lnTo>
                      <a:lnTo>
                        <a:pt x="264" y="700"/>
                      </a:lnTo>
                      <a:lnTo>
                        <a:pt x="269" y="699"/>
                      </a:lnTo>
                      <a:lnTo>
                        <a:pt x="272" y="697"/>
                      </a:lnTo>
                      <a:lnTo>
                        <a:pt x="279" y="689"/>
                      </a:lnTo>
                      <a:lnTo>
                        <a:pt x="285" y="678"/>
                      </a:lnTo>
                      <a:lnTo>
                        <a:pt x="297" y="677"/>
                      </a:lnTo>
                      <a:lnTo>
                        <a:pt x="323" y="695"/>
                      </a:lnTo>
                      <a:lnTo>
                        <a:pt x="323" y="708"/>
                      </a:lnTo>
                      <a:lnTo>
                        <a:pt x="334" y="720"/>
                      </a:lnTo>
                      <a:lnTo>
                        <a:pt x="350" y="722"/>
                      </a:lnTo>
                      <a:lnTo>
                        <a:pt x="365" y="717"/>
                      </a:lnTo>
                      <a:lnTo>
                        <a:pt x="384" y="717"/>
                      </a:lnTo>
                      <a:lnTo>
                        <a:pt x="393" y="720"/>
                      </a:lnTo>
                      <a:lnTo>
                        <a:pt x="405" y="720"/>
                      </a:lnTo>
                      <a:lnTo>
                        <a:pt x="421" y="705"/>
                      </a:lnTo>
                      <a:lnTo>
                        <a:pt x="435" y="695"/>
                      </a:lnTo>
                      <a:lnTo>
                        <a:pt x="446" y="693"/>
                      </a:lnTo>
                      <a:lnTo>
                        <a:pt x="452" y="689"/>
                      </a:lnTo>
                      <a:lnTo>
                        <a:pt x="452" y="633"/>
                      </a:lnTo>
                      <a:lnTo>
                        <a:pt x="452" y="574"/>
                      </a:lnTo>
                      <a:lnTo>
                        <a:pt x="452" y="515"/>
                      </a:lnTo>
                      <a:lnTo>
                        <a:pt x="452" y="460"/>
                      </a:lnTo>
                      <a:lnTo>
                        <a:pt x="452" y="407"/>
                      </a:lnTo>
                      <a:lnTo>
                        <a:pt x="452" y="349"/>
                      </a:lnTo>
                      <a:lnTo>
                        <a:pt x="452" y="295"/>
                      </a:lnTo>
                      <a:lnTo>
                        <a:pt x="507" y="295"/>
                      </a:lnTo>
                      <a:lnTo>
                        <a:pt x="507" y="257"/>
                      </a:lnTo>
                      <a:lnTo>
                        <a:pt x="507" y="200"/>
                      </a:lnTo>
                      <a:lnTo>
                        <a:pt x="507" y="144"/>
                      </a:lnTo>
                      <a:lnTo>
                        <a:pt x="507" y="91"/>
                      </a:lnTo>
                      <a:lnTo>
                        <a:pt x="512" y="86"/>
                      </a:lnTo>
                      <a:lnTo>
                        <a:pt x="592" y="71"/>
                      </a:lnTo>
                      <a:lnTo>
                        <a:pt x="609" y="68"/>
                      </a:lnTo>
                      <a:lnTo>
                        <a:pt x="615" y="68"/>
                      </a:lnTo>
                      <a:lnTo>
                        <a:pt x="632" y="69"/>
                      </a:lnTo>
                      <a:lnTo>
                        <a:pt x="643" y="73"/>
                      </a:lnTo>
                      <a:lnTo>
                        <a:pt x="650" y="85"/>
                      </a:lnTo>
                      <a:lnTo>
                        <a:pt x="653" y="100"/>
                      </a:lnTo>
                      <a:lnTo>
                        <a:pt x="659" y="92"/>
                      </a:lnTo>
                      <a:lnTo>
                        <a:pt x="668" y="81"/>
                      </a:lnTo>
                      <a:lnTo>
                        <a:pt x="684" y="69"/>
                      </a:lnTo>
                      <a:lnTo>
                        <a:pt x="711" y="63"/>
                      </a:lnTo>
                      <a:lnTo>
                        <a:pt x="716" y="57"/>
                      </a:lnTo>
                      <a:lnTo>
                        <a:pt x="723" y="52"/>
                      </a:lnTo>
                      <a:lnTo>
                        <a:pt x="734" y="51"/>
                      </a:lnTo>
                      <a:lnTo>
                        <a:pt x="727" y="38"/>
                      </a:lnTo>
                      <a:lnTo>
                        <a:pt x="723" y="35"/>
                      </a:lnTo>
                      <a:lnTo>
                        <a:pt x="709" y="32"/>
                      </a:lnTo>
                      <a:lnTo>
                        <a:pt x="688" y="32"/>
                      </a:lnTo>
                      <a:lnTo>
                        <a:pt x="685" y="28"/>
                      </a:lnTo>
                      <a:lnTo>
                        <a:pt x="642" y="39"/>
                      </a:lnTo>
                      <a:lnTo>
                        <a:pt x="635" y="41"/>
                      </a:lnTo>
                      <a:lnTo>
                        <a:pt x="632" y="43"/>
                      </a:lnTo>
                      <a:lnTo>
                        <a:pt x="621" y="46"/>
                      </a:lnTo>
                      <a:lnTo>
                        <a:pt x="546" y="65"/>
                      </a:lnTo>
                      <a:lnTo>
                        <a:pt x="538" y="66"/>
                      </a:lnTo>
                      <a:lnTo>
                        <a:pt x="534" y="64"/>
                      </a:lnTo>
                      <a:lnTo>
                        <a:pt x="522" y="63"/>
                      </a:lnTo>
                      <a:lnTo>
                        <a:pt x="510" y="59"/>
                      </a:lnTo>
                      <a:lnTo>
                        <a:pt x="494" y="58"/>
                      </a:lnTo>
                      <a:lnTo>
                        <a:pt x="460" y="51"/>
                      </a:lnTo>
                      <a:lnTo>
                        <a:pt x="433" y="51"/>
                      </a:lnTo>
                      <a:lnTo>
                        <a:pt x="414" y="53"/>
                      </a:lnTo>
                      <a:lnTo>
                        <a:pt x="405" y="53"/>
                      </a:lnTo>
                      <a:lnTo>
                        <a:pt x="388" y="47"/>
                      </a:lnTo>
                      <a:lnTo>
                        <a:pt x="382" y="37"/>
                      </a:lnTo>
                      <a:lnTo>
                        <a:pt x="366" y="26"/>
                      </a:lnTo>
                      <a:lnTo>
                        <a:pt x="346" y="2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44" name="Freeform 32"/>
                <p:cNvSpPr>
                  <a:spLocks noChangeAspect="1"/>
                </p:cNvSpPr>
                <p:nvPr/>
              </p:nvSpPr>
              <p:spPr bwMode="gray">
                <a:xfrm>
                  <a:off x="5282405" y="3875434"/>
                  <a:ext cx="185738" cy="296863"/>
                </a:xfrm>
                <a:custGeom>
                  <a:avLst/>
                  <a:gdLst/>
                  <a:ahLst/>
                  <a:cxnLst>
                    <a:cxn ang="0">
                      <a:pos x="584" y="10"/>
                    </a:cxn>
                    <a:cxn ang="0">
                      <a:pos x="570" y="56"/>
                    </a:cxn>
                    <a:cxn ang="0">
                      <a:pos x="572" y="128"/>
                    </a:cxn>
                    <a:cxn ang="0">
                      <a:pos x="569" y="176"/>
                    </a:cxn>
                    <a:cxn ang="0">
                      <a:pos x="578" y="205"/>
                    </a:cxn>
                    <a:cxn ang="0">
                      <a:pos x="585" y="224"/>
                    </a:cxn>
                    <a:cxn ang="0">
                      <a:pos x="568" y="263"/>
                    </a:cxn>
                    <a:cxn ang="0">
                      <a:pos x="564" y="285"/>
                    </a:cxn>
                    <a:cxn ang="0">
                      <a:pos x="532" y="328"/>
                    </a:cxn>
                    <a:cxn ang="0">
                      <a:pos x="497" y="355"/>
                    </a:cxn>
                    <a:cxn ang="0">
                      <a:pos x="447" y="378"/>
                    </a:cxn>
                    <a:cxn ang="0">
                      <a:pos x="368" y="434"/>
                    </a:cxn>
                    <a:cxn ang="0">
                      <a:pos x="345" y="462"/>
                    </a:cxn>
                    <a:cxn ang="0">
                      <a:pos x="323" y="477"/>
                    </a:cxn>
                    <a:cxn ang="0">
                      <a:pos x="273" y="521"/>
                    </a:cxn>
                    <a:cxn ang="0">
                      <a:pos x="253" y="572"/>
                    </a:cxn>
                    <a:cxn ang="0">
                      <a:pos x="273" y="598"/>
                    </a:cxn>
                    <a:cxn ang="0">
                      <a:pos x="289" y="667"/>
                    </a:cxn>
                    <a:cxn ang="0">
                      <a:pos x="295" y="725"/>
                    </a:cxn>
                    <a:cxn ang="0">
                      <a:pos x="295" y="764"/>
                    </a:cxn>
                    <a:cxn ang="0">
                      <a:pos x="273" y="811"/>
                    </a:cxn>
                    <a:cxn ang="0">
                      <a:pos x="192" y="843"/>
                    </a:cxn>
                    <a:cxn ang="0">
                      <a:pos x="156" y="863"/>
                    </a:cxn>
                    <a:cxn ang="0">
                      <a:pos x="134" y="893"/>
                    </a:cxn>
                    <a:cxn ang="0">
                      <a:pos x="158" y="899"/>
                    </a:cxn>
                    <a:cxn ang="0">
                      <a:pos x="110" y="908"/>
                    </a:cxn>
                    <a:cxn ang="0">
                      <a:pos x="92" y="742"/>
                    </a:cxn>
                    <a:cxn ang="0">
                      <a:pos x="85" y="673"/>
                    </a:cxn>
                    <a:cxn ang="0">
                      <a:pos x="113" y="636"/>
                    </a:cxn>
                    <a:cxn ang="0">
                      <a:pos x="153" y="508"/>
                    </a:cxn>
                    <a:cxn ang="0">
                      <a:pos x="158" y="451"/>
                    </a:cxn>
                    <a:cxn ang="0">
                      <a:pos x="158" y="367"/>
                    </a:cxn>
                    <a:cxn ang="0">
                      <a:pos x="113" y="323"/>
                    </a:cxn>
                    <a:cxn ang="0">
                      <a:pos x="33" y="305"/>
                    </a:cxn>
                    <a:cxn ang="0">
                      <a:pos x="8" y="269"/>
                    </a:cxn>
                    <a:cxn ang="0">
                      <a:pos x="175" y="198"/>
                    </a:cxn>
                    <a:cxn ang="0">
                      <a:pos x="202" y="226"/>
                    </a:cxn>
                    <a:cxn ang="0">
                      <a:pos x="247" y="226"/>
                    </a:cxn>
                    <a:cxn ang="0">
                      <a:pos x="251" y="273"/>
                    </a:cxn>
                    <a:cxn ang="0">
                      <a:pos x="236" y="302"/>
                    </a:cxn>
                    <a:cxn ang="0">
                      <a:pos x="252" y="327"/>
                    </a:cxn>
                    <a:cxn ang="0">
                      <a:pos x="272" y="350"/>
                    </a:cxn>
                    <a:cxn ang="0">
                      <a:pos x="278" y="366"/>
                    </a:cxn>
                    <a:cxn ang="0">
                      <a:pos x="291" y="357"/>
                    </a:cxn>
                    <a:cxn ang="0">
                      <a:pos x="287" y="337"/>
                    </a:cxn>
                    <a:cxn ang="0">
                      <a:pos x="304" y="314"/>
                    </a:cxn>
                    <a:cxn ang="0">
                      <a:pos x="321" y="284"/>
                    </a:cxn>
                    <a:cxn ang="0">
                      <a:pos x="326" y="244"/>
                    </a:cxn>
                    <a:cxn ang="0">
                      <a:pos x="299" y="203"/>
                    </a:cxn>
                    <a:cxn ang="0">
                      <a:pos x="266" y="167"/>
                    </a:cxn>
                    <a:cxn ang="0">
                      <a:pos x="262" y="123"/>
                    </a:cxn>
                    <a:cxn ang="0">
                      <a:pos x="269" y="76"/>
                    </a:cxn>
                    <a:cxn ang="0">
                      <a:pos x="323" y="53"/>
                    </a:cxn>
                    <a:cxn ang="0">
                      <a:pos x="349" y="65"/>
                    </a:cxn>
                    <a:cxn ang="0">
                      <a:pos x="381" y="56"/>
                    </a:cxn>
                    <a:cxn ang="0">
                      <a:pos x="436" y="43"/>
                    </a:cxn>
                    <a:cxn ang="0">
                      <a:pos x="482" y="45"/>
                    </a:cxn>
                    <a:cxn ang="0">
                      <a:pos x="547" y="25"/>
                    </a:cxn>
                  </a:cxnLst>
                  <a:rect l="0" t="0" r="r" b="b"/>
                  <a:pathLst>
                    <a:path w="586" h="937">
                      <a:moveTo>
                        <a:pt x="580" y="0"/>
                      </a:moveTo>
                      <a:lnTo>
                        <a:pt x="584" y="2"/>
                      </a:lnTo>
                      <a:lnTo>
                        <a:pt x="586" y="7"/>
                      </a:lnTo>
                      <a:lnTo>
                        <a:pt x="584" y="10"/>
                      </a:lnTo>
                      <a:lnTo>
                        <a:pt x="585" y="27"/>
                      </a:lnTo>
                      <a:lnTo>
                        <a:pt x="583" y="33"/>
                      </a:lnTo>
                      <a:lnTo>
                        <a:pt x="578" y="42"/>
                      </a:lnTo>
                      <a:lnTo>
                        <a:pt x="570" y="56"/>
                      </a:lnTo>
                      <a:lnTo>
                        <a:pt x="567" y="70"/>
                      </a:lnTo>
                      <a:lnTo>
                        <a:pt x="568" y="95"/>
                      </a:lnTo>
                      <a:lnTo>
                        <a:pt x="570" y="113"/>
                      </a:lnTo>
                      <a:lnTo>
                        <a:pt x="572" y="128"/>
                      </a:lnTo>
                      <a:lnTo>
                        <a:pt x="565" y="133"/>
                      </a:lnTo>
                      <a:lnTo>
                        <a:pt x="568" y="142"/>
                      </a:lnTo>
                      <a:lnTo>
                        <a:pt x="570" y="142"/>
                      </a:lnTo>
                      <a:lnTo>
                        <a:pt x="569" y="176"/>
                      </a:lnTo>
                      <a:lnTo>
                        <a:pt x="572" y="196"/>
                      </a:lnTo>
                      <a:lnTo>
                        <a:pt x="570" y="205"/>
                      </a:lnTo>
                      <a:lnTo>
                        <a:pt x="574" y="208"/>
                      </a:lnTo>
                      <a:lnTo>
                        <a:pt x="578" y="205"/>
                      </a:lnTo>
                      <a:lnTo>
                        <a:pt x="581" y="212"/>
                      </a:lnTo>
                      <a:lnTo>
                        <a:pt x="575" y="220"/>
                      </a:lnTo>
                      <a:lnTo>
                        <a:pt x="580" y="220"/>
                      </a:lnTo>
                      <a:lnTo>
                        <a:pt x="585" y="224"/>
                      </a:lnTo>
                      <a:lnTo>
                        <a:pt x="585" y="232"/>
                      </a:lnTo>
                      <a:lnTo>
                        <a:pt x="580" y="242"/>
                      </a:lnTo>
                      <a:lnTo>
                        <a:pt x="576" y="253"/>
                      </a:lnTo>
                      <a:lnTo>
                        <a:pt x="568" y="263"/>
                      </a:lnTo>
                      <a:lnTo>
                        <a:pt x="575" y="265"/>
                      </a:lnTo>
                      <a:lnTo>
                        <a:pt x="574" y="274"/>
                      </a:lnTo>
                      <a:lnTo>
                        <a:pt x="573" y="280"/>
                      </a:lnTo>
                      <a:lnTo>
                        <a:pt x="564" y="285"/>
                      </a:lnTo>
                      <a:lnTo>
                        <a:pt x="547" y="305"/>
                      </a:lnTo>
                      <a:lnTo>
                        <a:pt x="543" y="313"/>
                      </a:lnTo>
                      <a:lnTo>
                        <a:pt x="526" y="323"/>
                      </a:lnTo>
                      <a:lnTo>
                        <a:pt x="532" y="328"/>
                      </a:lnTo>
                      <a:lnTo>
                        <a:pt x="527" y="337"/>
                      </a:lnTo>
                      <a:lnTo>
                        <a:pt x="517" y="344"/>
                      </a:lnTo>
                      <a:lnTo>
                        <a:pt x="505" y="351"/>
                      </a:lnTo>
                      <a:lnTo>
                        <a:pt x="497" y="355"/>
                      </a:lnTo>
                      <a:lnTo>
                        <a:pt x="490" y="366"/>
                      </a:lnTo>
                      <a:lnTo>
                        <a:pt x="477" y="373"/>
                      </a:lnTo>
                      <a:lnTo>
                        <a:pt x="460" y="373"/>
                      </a:lnTo>
                      <a:lnTo>
                        <a:pt x="447" y="378"/>
                      </a:lnTo>
                      <a:lnTo>
                        <a:pt x="403" y="398"/>
                      </a:lnTo>
                      <a:lnTo>
                        <a:pt x="375" y="420"/>
                      </a:lnTo>
                      <a:lnTo>
                        <a:pt x="373" y="430"/>
                      </a:lnTo>
                      <a:lnTo>
                        <a:pt x="368" y="434"/>
                      </a:lnTo>
                      <a:lnTo>
                        <a:pt x="360" y="435"/>
                      </a:lnTo>
                      <a:lnTo>
                        <a:pt x="355" y="436"/>
                      </a:lnTo>
                      <a:lnTo>
                        <a:pt x="361" y="442"/>
                      </a:lnTo>
                      <a:lnTo>
                        <a:pt x="345" y="462"/>
                      </a:lnTo>
                      <a:lnTo>
                        <a:pt x="338" y="473"/>
                      </a:lnTo>
                      <a:lnTo>
                        <a:pt x="333" y="470"/>
                      </a:lnTo>
                      <a:lnTo>
                        <a:pt x="330" y="461"/>
                      </a:lnTo>
                      <a:lnTo>
                        <a:pt x="323" y="477"/>
                      </a:lnTo>
                      <a:lnTo>
                        <a:pt x="315" y="480"/>
                      </a:lnTo>
                      <a:lnTo>
                        <a:pt x="305" y="493"/>
                      </a:lnTo>
                      <a:lnTo>
                        <a:pt x="287" y="512"/>
                      </a:lnTo>
                      <a:lnTo>
                        <a:pt x="273" y="521"/>
                      </a:lnTo>
                      <a:lnTo>
                        <a:pt x="266" y="529"/>
                      </a:lnTo>
                      <a:lnTo>
                        <a:pt x="255" y="533"/>
                      </a:lnTo>
                      <a:lnTo>
                        <a:pt x="252" y="563"/>
                      </a:lnTo>
                      <a:lnTo>
                        <a:pt x="253" y="572"/>
                      </a:lnTo>
                      <a:lnTo>
                        <a:pt x="267" y="582"/>
                      </a:lnTo>
                      <a:lnTo>
                        <a:pt x="271" y="588"/>
                      </a:lnTo>
                      <a:lnTo>
                        <a:pt x="272" y="597"/>
                      </a:lnTo>
                      <a:lnTo>
                        <a:pt x="273" y="598"/>
                      </a:lnTo>
                      <a:lnTo>
                        <a:pt x="274" y="608"/>
                      </a:lnTo>
                      <a:lnTo>
                        <a:pt x="287" y="642"/>
                      </a:lnTo>
                      <a:lnTo>
                        <a:pt x="288" y="662"/>
                      </a:lnTo>
                      <a:lnTo>
                        <a:pt x="289" y="667"/>
                      </a:lnTo>
                      <a:lnTo>
                        <a:pt x="295" y="662"/>
                      </a:lnTo>
                      <a:lnTo>
                        <a:pt x="299" y="666"/>
                      </a:lnTo>
                      <a:lnTo>
                        <a:pt x="299" y="688"/>
                      </a:lnTo>
                      <a:lnTo>
                        <a:pt x="295" y="725"/>
                      </a:lnTo>
                      <a:lnTo>
                        <a:pt x="283" y="771"/>
                      </a:lnTo>
                      <a:lnTo>
                        <a:pt x="285" y="782"/>
                      </a:lnTo>
                      <a:lnTo>
                        <a:pt x="289" y="774"/>
                      </a:lnTo>
                      <a:lnTo>
                        <a:pt x="295" y="764"/>
                      </a:lnTo>
                      <a:lnTo>
                        <a:pt x="295" y="768"/>
                      </a:lnTo>
                      <a:lnTo>
                        <a:pt x="293" y="781"/>
                      </a:lnTo>
                      <a:lnTo>
                        <a:pt x="288" y="792"/>
                      </a:lnTo>
                      <a:lnTo>
                        <a:pt x="273" y="811"/>
                      </a:lnTo>
                      <a:lnTo>
                        <a:pt x="258" y="822"/>
                      </a:lnTo>
                      <a:lnTo>
                        <a:pt x="240" y="829"/>
                      </a:lnTo>
                      <a:lnTo>
                        <a:pt x="228" y="830"/>
                      </a:lnTo>
                      <a:lnTo>
                        <a:pt x="192" y="843"/>
                      </a:lnTo>
                      <a:lnTo>
                        <a:pt x="183" y="849"/>
                      </a:lnTo>
                      <a:lnTo>
                        <a:pt x="176" y="855"/>
                      </a:lnTo>
                      <a:lnTo>
                        <a:pt x="166" y="861"/>
                      </a:lnTo>
                      <a:lnTo>
                        <a:pt x="156" y="863"/>
                      </a:lnTo>
                      <a:lnTo>
                        <a:pt x="151" y="868"/>
                      </a:lnTo>
                      <a:lnTo>
                        <a:pt x="144" y="881"/>
                      </a:lnTo>
                      <a:lnTo>
                        <a:pt x="135" y="893"/>
                      </a:lnTo>
                      <a:lnTo>
                        <a:pt x="134" y="893"/>
                      </a:lnTo>
                      <a:lnTo>
                        <a:pt x="142" y="900"/>
                      </a:lnTo>
                      <a:lnTo>
                        <a:pt x="148" y="910"/>
                      </a:lnTo>
                      <a:lnTo>
                        <a:pt x="154" y="905"/>
                      </a:lnTo>
                      <a:lnTo>
                        <a:pt x="158" y="899"/>
                      </a:lnTo>
                      <a:lnTo>
                        <a:pt x="154" y="937"/>
                      </a:lnTo>
                      <a:lnTo>
                        <a:pt x="148" y="936"/>
                      </a:lnTo>
                      <a:lnTo>
                        <a:pt x="112" y="936"/>
                      </a:lnTo>
                      <a:lnTo>
                        <a:pt x="110" y="908"/>
                      </a:lnTo>
                      <a:lnTo>
                        <a:pt x="110" y="887"/>
                      </a:lnTo>
                      <a:lnTo>
                        <a:pt x="108" y="879"/>
                      </a:lnTo>
                      <a:lnTo>
                        <a:pt x="105" y="786"/>
                      </a:lnTo>
                      <a:lnTo>
                        <a:pt x="92" y="742"/>
                      </a:lnTo>
                      <a:lnTo>
                        <a:pt x="86" y="710"/>
                      </a:lnTo>
                      <a:lnTo>
                        <a:pt x="84" y="689"/>
                      </a:lnTo>
                      <a:lnTo>
                        <a:pt x="85" y="688"/>
                      </a:lnTo>
                      <a:lnTo>
                        <a:pt x="85" y="673"/>
                      </a:lnTo>
                      <a:lnTo>
                        <a:pt x="89" y="661"/>
                      </a:lnTo>
                      <a:lnTo>
                        <a:pt x="95" y="651"/>
                      </a:lnTo>
                      <a:lnTo>
                        <a:pt x="106" y="644"/>
                      </a:lnTo>
                      <a:lnTo>
                        <a:pt x="113" y="636"/>
                      </a:lnTo>
                      <a:lnTo>
                        <a:pt x="132" y="602"/>
                      </a:lnTo>
                      <a:lnTo>
                        <a:pt x="139" y="571"/>
                      </a:lnTo>
                      <a:lnTo>
                        <a:pt x="156" y="535"/>
                      </a:lnTo>
                      <a:lnTo>
                        <a:pt x="153" y="508"/>
                      </a:lnTo>
                      <a:lnTo>
                        <a:pt x="148" y="495"/>
                      </a:lnTo>
                      <a:lnTo>
                        <a:pt x="146" y="478"/>
                      </a:lnTo>
                      <a:lnTo>
                        <a:pt x="156" y="459"/>
                      </a:lnTo>
                      <a:lnTo>
                        <a:pt x="158" y="451"/>
                      </a:lnTo>
                      <a:lnTo>
                        <a:pt x="162" y="435"/>
                      </a:lnTo>
                      <a:lnTo>
                        <a:pt x="161" y="424"/>
                      </a:lnTo>
                      <a:lnTo>
                        <a:pt x="162" y="389"/>
                      </a:lnTo>
                      <a:lnTo>
                        <a:pt x="158" y="367"/>
                      </a:lnTo>
                      <a:lnTo>
                        <a:pt x="154" y="357"/>
                      </a:lnTo>
                      <a:lnTo>
                        <a:pt x="153" y="344"/>
                      </a:lnTo>
                      <a:lnTo>
                        <a:pt x="144" y="334"/>
                      </a:lnTo>
                      <a:lnTo>
                        <a:pt x="113" y="323"/>
                      </a:lnTo>
                      <a:lnTo>
                        <a:pt x="85" y="311"/>
                      </a:lnTo>
                      <a:lnTo>
                        <a:pt x="70" y="307"/>
                      </a:lnTo>
                      <a:lnTo>
                        <a:pt x="56" y="303"/>
                      </a:lnTo>
                      <a:lnTo>
                        <a:pt x="33" y="305"/>
                      </a:lnTo>
                      <a:lnTo>
                        <a:pt x="15" y="303"/>
                      </a:lnTo>
                      <a:lnTo>
                        <a:pt x="15" y="284"/>
                      </a:lnTo>
                      <a:lnTo>
                        <a:pt x="10" y="281"/>
                      </a:lnTo>
                      <a:lnTo>
                        <a:pt x="8" y="269"/>
                      </a:lnTo>
                      <a:lnTo>
                        <a:pt x="0" y="253"/>
                      </a:lnTo>
                      <a:lnTo>
                        <a:pt x="165" y="196"/>
                      </a:lnTo>
                      <a:lnTo>
                        <a:pt x="174" y="195"/>
                      </a:lnTo>
                      <a:lnTo>
                        <a:pt x="175" y="198"/>
                      </a:lnTo>
                      <a:lnTo>
                        <a:pt x="181" y="200"/>
                      </a:lnTo>
                      <a:lnTo>
                        <a:pt x="188" y="216"/>
                      </a:lnTo>
                      <a:lnTo>
                        <a:pt x="198" y="226"/>
                      </a:lnTo>
                      <a:lnTo>
                        <a:pt x="202" y="226"/>
                      </a:lnTo>
                      <a:lnTo>
                        <a:pt x="210" y="224"/>
                      </a:lnTo>
                      <a:lnTo>
                        <a:pt x="240" y="220"/>
                      </a:lnTo>
                      <a:lnTo>
                        <a:pt x="244" y="221"/>
                      </a:lnTo>
                      <a:lnTo>
                        <a:pt x="247" y="226"/>
                      </a:lnTo>
                      <a:lnTo>
                        <a:pt x="251" y="239"/>
                      </a:lnTo>
                      <a:lnTo>
                        <a:pt x="252" y="247"/>
                      </a:lnTo>
                      <a:lnTo>
                        <a:pt x="253" y="265"/>
                      </a:lnTo>
                      <a:lnTo>
                        <a:pt x="251" y="273"/>
                      </a:lnTo>
                      <a:lnTo>
                        <a:pt x="245" y="280"/>
                      </a:lnTo>
                      <a:lnTo>
                        <a:pt x="246" y="286"/>
                      </a:lnTo>
                      <a:lnTo>
                        <a:pt x="240" y="291"/>
                      </a:lnTo>
                      <a:lnTo>
                        <a:pt x="236" y="302"/>
                      </a:lnTo>
                      <a:lnTo>
                        <a:pt x="240" y="306"/>
                      </a:lnTo>
                      <a:lnTo>
                        <a:pt x="245" y="322"/>
                      </a:lnTo>
                      <a:lnTo>
                        <a:pt x="248" y="325"/>
                      </a:lnTo>
                      <a:lnTo>
                        <a:pt x="252" y="327"/>
                      </a:lnTo>
                      <a:lnTo>
                        <a:pt x="255" y="332"/>
                      </a:lnTo>
                      <a:lnTo>
                        <a:pt x="263" y="341"/>
                      </a:lnTo>
                      <a:lnTo>
                        <a:pt x="268" y="348"/>
                      </a:lnTo>
                      <a:lnTo>
                        <a:pt x="272" y="350"/>
                      </a:lnTo>
                      <a:lnTo>
                        <a:pt x="279" y="351"/>
                      </a:lnTo>
                      <a:lnTo>
                        <a:pt x="283" y="356"/>
                      </a:lnTo>
                      <a:lnTo>
                        <a:pt x="283" y="360"/>
                      </a:lnTo>
                      <a:lnTo>
                        <a:pt x="278" y="366"/>
                      </a:lnTo>
                      <a:lnTo>
                        <a:pt x="279" y="368"/>
                      </a:lnTo>
                      <a:lnTo>
                        <a:pt x="291" y="368"/>
                      </a:lnTo>
                      <a:lnTo>
                        <a:pt x="293" y="367"/>
                      </a:lnTo>
                      <a:lnTo>
                        <a:pt x="291" y="357"/>
                      </a:lnTo>
                      <a:lnTo>
                        <a:pt x="293" y="351"/>
                      </a:lnTo>
                      <a:lnTo>
                        <a:pt x="290" y="346"/>
                      </a:lnTo>
                      <a:lnTo>
                        <a:pt x="287" y="343"/>
                      </a:lnTo>
                      <a:lnTo>
                        <a:pt x="287" y="337"/>
                      </a:lnTo>
                      <a:lnTo>
                        <a:pt x="290" y="329"/>
                      </a:lnTo>
                      <a:lnTo>
                        <a:pt x="290" y="325"/>
                      </a:lnTo>
                      <a:lnTo>
                        <a:pt x="291" y="322"/>
                      </a:lnTo>
                      <a:lnTo>
                        <a:pt x="304" y="314"/>
                      </a:lnTo>
                      <a:lnTo>
                        <a:pt x="310" y="313"/>
                      </a:lnTo>
                      <a:lnTo>
                        <a:pt x="316" y="311"/>
                      </a:lnTo>
                      <a:lnTo>
                        <a:pt x="320" y="305"/>
                      </a:lnTo>
                      <a:lnTo>
                        <a:pt x="321" y="284"/>
                      </a:lnTo>
                      <a:lnTo>
                        <a:pt x="323" y="276"/>
                      </a:lnTo>
                      <a:lnTo>
                        <a:pt x="320" y="262"/>
                      </a:lnTo>
                      <a:lnTo>
                        <a:pt x="323" y="252"/>
                      </a:lnTo>
                      <a:lnTo>
                        <a:pt x="326" y="244"/>
                      </a:lnTo>
                      <a:lnTo>
                        <a:pt x="323" y="232"/>
                      </a:lnTo>
                      <a:lnTo>
                        <a:pt x="318" y="225"/>
                      </a:lnTo>
                      <a:lnTo>
                        <a:pt x="305" y="212"/>
                      </a:lnTo>
                      <a:lnTo>
                        <a:pt x="299" y="203"/>
                      </a:lnTo>
                      <a:lnTo>
                        <a:pt x="284" y="184"/>
                      </a:lnTo>
                      <a:lnTo>
                        <a:pt x="274" y="177"/>
                      </a:lnTo>
                      <a:lnTo>
                        <a:pt x="267" y="167"/>
                      </a:lnTo>
                      <a:lnTo>
                        <a:pt x="266" y="167"/>
                      </a:lnTo>
                      <a:lnTo>
                        <a:pt x="263" y="156"/>
                      </a:lnTo>
                      <a:lnTo>
                        <a:pt x="263" y="146"/>
                      </a:lnTo>
                      <a:lnTo>
                        <a:pt x="262" y="138"/>
                      </a:lnTo>
                      <a:lnTo>
                        <a:pt x="262" y="123"/>
                      </a:lnTo>
                      <a:lnTo>
                        <a:pt x="258" y="115"/>
                      </a:lnTo>
                      <a:lnTo>
                        <a:pt x="258" y="107"/>
                      </a:lnTo>
                      <a:lnTo>
                        <a:pt x="262" y="92"/>
                      </a:lnTo>
                      <a:lnTo>
                        <a:pt x="269" y="76"/>
                      </a:lnTo>
                      <a:lnTo>
                        <a:pt x="273" y="58"/>
                      </a:lnTo>
                      <a:lnTo>
                        <a:pt x="314" y="59"/>
                      </a:lnTo>
                      <a:lnTo>
                        <a:pt x="317" y="58"/>
                      </a:lnTo>
                      <a:lnTo>
                        <a:pt x="323" y="53"/>
                      </a:lnTo>
                      <a:lnTo>
                        <a:pt x="331" y="53"/>
                      </a:lnTo>
                      <a:lnTo>
                        <a:pt x="338" y="55"/>
                      </a:lnTo>
                      <a:lnTo>
                        <a:pt x="344" y="61"/>
                      </a:lnTo>
                      <a:lnTo>
                        <a:pt x="349" y="65"/>
                      </a:lnTo>
                      <a:lnTo>
                        <a:pt x="354" y="66"/>
                      </a:lnTo>
                      <a:lnTo>
                        <a:pt x="361" y="64"/>
                      </a:lnTo>
                      <a:lnTo>
                        <a:pt x="370" y="64"/>
                      </a:lnTo>
                      <a:lnTo>
                        <a:pt x="381" y="56"/>
                      </a:lnTo>
                      <a:lnTo>
                        <a:pt x="412" y="58"/>
                      </a:lnTo>
                      <a:lnTo>
                        <a:pt x="419" y="58"/>
                      </a:lnTo>
                      <a:lnTo>
                        <a:pt x="423" y="56"/>
                      </a:lnTo>
                      <a:lnTo>
                        <a:pt x="436" y="43"/>
                      </a:lnTo>
                      <a:lnTo>
                        <a:pt x="450" y="42"/>
                      </a:lnTo>
                      <a:lnTo>
                        <a:pt x="459" y="39"/>
                      </a:lnTo>
                      <a:lnTo>
                        <a:pt x="472" y="45"/>
                      </a:lnTo>
                      <a:lnTo>
                        <a:pt x="482" y="45"/>
                      </a:lnTo>
                      <a:lnTo>
                        <a:pt x="490" y="44"/>
                      </a:lnTo>
                      <a:lnTo>
                        <a:pt x="524" y="32"/>
                      </a:lnTo>
                      <a:lnTo>
                        <a:pt x="543" y="27"/>
                      </a:lnTo>
                      <a:lnTo>
                        <a:pt x="547" y="25"/>
                      </a:lnTo>
                      <a:lnTo>
                        <a:pt x="562" y="11"/>
                      </a:lnTo>
                      <a:lnTo>
                        <a:pt x="576" y="1"/>
                      </a:lnTo>
                      <a:lnTo>
                        <a:pt x="580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45" name="Freeform 33"/>
                <p:cNvSpPr>
                  <a:spLocks noChangeAspect="1"/>
                </p:cNvSpPr>
                <p:nvPr/>
              </p:nvSpPr>
              <p:spPr bwMode="gray">
                <a:xfrm>
                  <a:off x="5104605" y="4004022"/>
                  <a:ext cx="165100" cy="169863"/>
                </a:xfrm>
                <a:custGeom>
                  <a:avLst/>
                  <a:gdLst/>
                  <a:ahLst/>
                  <a:cxnLst>
                    <a:cxn ang="0">
                      <a:pos x="0" y="356"/>
                    </a:cxn>
                    <a:cxn ang="0">
                      <a:pos x="0" y="244"/>
                    </a:cxn>
                    <a:cxn ang="0">
                      <a:pos x="56" y="206"/>
                    </a:cxn>
                    <a:cxn ang="0">
                      <a:pos x="56" y="93"/>
                    </a:cxn>
                    <a:cxn ang="0">
                      <a:pos x="61" y="35"/>
                    </a:cxn>
                    <a:cxn ang="0">
                      <a:pos x="158" y="17"/>
                    </a:cxn>
                    <a:cxn ang="0">
                      <a:pos x="181" y="18"/>
                    </a:cxn>
                    <a:cxn ang="0">
                      <a:pos x="199" y="34"/>
                    </a:cxn>
                    <a:cxn ang="0">
                      <a:pos x="208" y="41"/>
                    </a:cxn>
                    <a:cxn ang="0">
                      <a:pos x="233" y="18"/>
                    </a:cxn>
                    <a:cxn ang="0">
                      <a:pos x="265" y="6"/>
                    </a:cxn>
                    <a:cxn ang="0">
                      <a:pos x="283" y="0"/>
                    </a:cxn>
                    <a:cxn ang="0">
                      <a:pos x="291" y="11"/>
                    </a:cxn>
                    <a:cxn ang="0">
                      <a:pos x="307" y="39"/>
                    </a:cxn>
                    <a:cxn ang="0">
                      <a:pos x="319" y="60"/>
                    </a:cxn>
                    <a:cxn ang="0">
                      <a:pos x="339" y="93"/>
                    </a:cxn>
                    <a:cxn ang="0">
                      <a:pos x="385" y="127"/>
                    </a:cxn>
                    <a:cxn ang="0">
                      <a:pos x="407" y="151"/>
                    </a:cxn>
                    <a:cxn ang="0">
                      <a:pos x="431" y="164"/>
                    </a:cxn>
                    <a:cxn ang="0">
                      <a:pos x="434" y="205"/>
                    </a:cxn>
                    <a:cxn ang="0">
                      <a:pos x="449" y="227"/>
                    </a:cxn>
                    <a:cxn ang="0">
                      <a:pos x="470" y="234"/>
                    </a:cxn>
                    <a:cxn ang="0">
                      <a:pos x="497" y="240"/>
                    </a:cxn>
                    <a:cxn ang="0">
                      <a:pos x="518" y="253"/>
                    </a:cxn>
                    <a:cxn ang="0">
                      <a:pos x="506" y="261"/>
                    </a:cxn>
                    <a:cxn ang="0">
                      <a:pos x="454" y="288"/>
                    </a:cxn>
                    <a:cxn ang="0">
                      <a:pos x="418" y="318"/>
                    </a:cxn>
                    <a:cxn ang="0">
                      <a:pos x="388" y="352"/>
                    </a:cxn>
                    <a:cxn ang="0">
                      <a:pos x="344" y="396"/>
                    </a:cxn>
                    <a:cxn ang="0">
                      <a:pos x="314" y="449"/>
                    </a:cxn>
                    <a:cxn ang="0">
                      <a:pos x="301" y="459"/>
                    </a:cxn>
                    <a:cxn ang="0">
                      <a:pos x="265" y="466"/>
                    </a:cxn>
                    <a:cxn ang="0">
                      <a:pos x="227" y="452"/>
                    </a:cxn>
                    <a:cxn ang="0">
                      <a:pos x="201" y="445"/>
                    </a:cxn>
                    <a:cxn ang="0">
                      <a:pos x="170" y="469"/>
                    </a:cxn>
                    <a:cxn ang="0">
                      <a:pos x="161" y="485"/>
                    </a:cxn>
                    <a:cxn ang="0">
                      <a:pos x="140" y="503"/>
                    </a:cxn>
                    <a:cxn ang="0">
                      <a:pos x="125" y="525"/>
                    </a:cxn>
                    <a:cxn ang="0">
                      <a:pos x="72" y="533"/>
                    </a:cxn>
                    <a:cxn ang="0">
                      <a:pos x="46" y="528"/>
                    </a:cxn>
                    <a:cxn ang="0">
                      <a:pos x="50" y="498"/>
                    </a:cxn>
                    <a:cxn ang="0">
                      <a:pos x="52" y="479"/>
                    </a:cxn>
                    <a:cxn ang="0">
                      <a:pos x="44" y="449"/>
                    </a:cxn>
                    <a:cxn ang="0">
                      <a:pos x="25" y="429"/>
                    </a:cxn>
                    <a:cxn ang="0">
                      <a:pos x="11" y="415"/>
                    </a:cxn>
                    <a:cxn ang="0">
                      <a:pos x="0" y="409"/>
                    </a:cxn>
                  </a:cxnLst>
                  <a:rect l="0" t="0" r="r" b="b"/>
                  <a:pathLst>
                    <a:path w="518" h="534">
                      <a:moveTo>
                        <a:pt x="0" y="409"/>
                      </a:moveTo>
                      <a:lnTo>
                        <a:pt x="0" y="356"/>
                      </a:lnTo>
                      <a:lnTo>
                        <a:pt x="0" y="298"/>
                      </a:lnTo>
                      <a:lnTo>
                        <a:pt x="0" y="244"/>
                      </a:lnTo>
                      <a:lnTo>
                        <a:pt x="56" y="244"/>
                      </a:lnTo>
                      <a:lnTo>
                        <a:pt x="56" y="206"/>
                      </a:lnTo>
                      <a:lnTo>
                        <a:pt x="56" y="149"/>
                      </a:lnTo>
                      <a:lnTo>
                        <a:pt x="56" y="93"/>
                      </a:lnTo>
                      <a:lnTo>
                        <a:pt x="56" y="40"/>
                      </a:lnTo>
                      <a:lnTo>
                        <a:pt x="61" y="35"/>
                      </a:lnTo>
                      <a:lnTo>
                        <a:pt x="141" y="20"/>
                      </a:lnTo>
                      <a:lnTo>
                        <a:pt x="158" y="17"/>
                      </a:lnTo>
                      <a:lnTo>
                        <a:pt x="164" y="17"/>
                      </a:lnTo>
                      <a:lnTo>
                        <a:pt x="181" y="18"/>
                      </a:lnTo>
                      <a:lnTo>
                        <a:pt x="192" y="22"/>
                      </a:lnTo>
                      <a:lnTo>
                        <a:pt x="199" y="34"/>
                      </a:lnTo>
                      <a:lnTo>
                        <a:pt x="202" y="49"/>
                      </a:lnTo>
                      <a:lnTo>
                        <a:pt x="208" y="41"/>
                      </a:lnTo>
                      <a:lnTo>
                        <a:pt x="217" y="30"/>
                      </a:lnTo>
                      <a:lnTo>
                        <a:pt x="233" y="18"/>
                      </a:lnTo>
                      <a:lnTo>
                        <a:pt x="260" y="12"/>
                      </a:lnTo>
                      <a:lnTo>
                        <a:pt x="265" y="6"/>
                      </a:lnTo>
                      <a:lnTo>
                        <a:pt x="272" y="1"/>
                      </a:lnTo>
                      <a:lnTo>
                        <a:pt x="283" y="0"/>
                      </a:lnTo>
                      <a:lnTo>
                        <a:pt x="291" y="2"/>
                      </a:lnTo>
                      <a:lnTo>
                        <a:pt x="291" y="11"/>
                      </a:lnTo>
                      <a:lnTo>
                        <a:pt x="294" y="17"/>
                      </a:lnTo>
                      <a:lnTo>
                        <a:pt x="307" y="39"/>
                      </a:lnTo>
                      <a:lnTo>
                        <a:pt x="317" y="49"/>
                      </a:lnTo>
                      <a:lnTo>
                        <a:pt x="319" y="60"/>
                      </a:lnTo>
                      <a:lnTo>
                        <a:pt x="325" y="74"/>
                      </a:lnTo>
                      <a:lnTo>
                        <a:pt x="339" y="93"/>
                      </a:lnTo>
                      <a:lnTo>
                        <a:pt x="368" y="124"/>
                      </a:lnTo>
                      <a:lnTo>
                        <a:pt x="385" y="127"/>
                      </a:lnTo>
                      <a:lnTo>
                        <a:pt x="398" y="137"/>
                      </a:lnTo>
                      <a:lnTo>
                        <a:pt x="407" y="151"/>
                      </a:lnTo>
                      <a:lnTo>
                        <a:pt x="420" y="154"/>
                      </a:lnTo>
                      <a:lnTo>
                        <a:pt x="431" y="164"/>
                      </a:lnTo>
                      <a:lnTo>
                        <a:pt x="431" y="185"/>
                      </a:lnTo>
                      <a:lnTo>
                        <a:pt x="434" y="205"/>
                      </a:lnTo>
                      <a:lnTo>
                        <a:pt x="441" y="218"/>
                      </a:lnTo>
                      <a:lnTo>
                        <a:pt x="449" y="227"/>
                      </a:lnTo>
                      <a:lnTo>
                        <a:pt x="458" y="232"/>
                      </a:lnTo>
                      <a:lnTo>
                        <a:pt x="470" y="234"/>
                      </a:lnTo>
                      <a:lnTo>
                        <a:pt x="484" y="234"/>
                      </a:lnTo>
                      <a:lnTo>
                        <a:pt x="497" y="240"/>
                      </a:lnTo>
                      <a:lnTo>
                        <a:pt x="507" y="244"/>
                      </a:lnTo>
                      <a:lnTo>
                        <a:pt x="518" y="253"/>
                      </a:lnTo>
                      <a:lnTo>
                        <a:pt x="517" y="256"/>
                      </a:lnTo>
                      <a:lnTo>
                        <a:pt x="506" y="261"/>
                      </a:lnTo>
                      <a:lnTo>
                        <a:pt x="492" y="270"/>
                      </a:lnTo>
                      <a:lnTo>
                        <a:pt x="454" y="288"/>
                      </a:lnTo>
                      <a:lnTo>
                        <a:pt x="438" y="305"/>
                      </a:lnTo>
                      <a:lnTo>
                        <a:pt x="418" y="318"/>
                      </a:lnTo>
                      <a:lnTo>
                        <a:pt x="399" y="336"/>
                      </a:lnTo>
                      <a:lnTo>
                        <a:pt x="388" y="352"/>
                      </a:lnTo>
                      <a:lnTo>
                        <a:pt x="371" y="377"/>
                      </a:lnTo>
                      <a:lnTo>
                        <a:pt x="344" y="396"/>
                      </a:lnTo>
                      <a:lnTo>
                        <a:pt x="329" y="415"/>
                      </a:lnTo>
                      <a:lnTo>
                        <a:pt x="314" y="449"/>
                      </a:lnTo>
                      <a:lnTo>
                        <a:pt x="309" y="455"/>
                      </a:lnTo>
                      <a:lnTo>
                        <a:pt x="301" y="459"/>
                      </a:lnTo>
                      <a:lnTo>
                        <a:pt x="290" y="460"/>
                      </a:lnTo>
                      <a:lnTo>
                        <a:pt x="265" y="466"/>
                      </a:lnTo>
                      <a:lnTo>
                        <a:pt x="250" y="465"/>
                      </a:lnTo>
                      <a:lnTo>
                        <a:pt x="227" y="452"/>
                      </a:lnTo>
                      <a:lnTo>
                        <a:pt x="215" y="447"/>
                      </a:lnTo>
                      <a:lnTo>
                        <a:pt x="201" y="445"/>
                      </a:lnTo>
                      <a:lnTo>
                        <a:pt x="189" y="449"/>
                      </a:lnTo>
                      <a:lnTo>
                        <a:pt x="170" y="469"/>
                      </a:lnTo>
                      <a:lnTo>
                        <a:pt x="163" y="477"/>
                      </a:lnTo>
                      <a:lnTo>
                        <a:pt x="161" y="485"/>
                      </a:lnTo>
                      <a:lnTo>
                        <a:pt x="152" y="496"/>
                      </a:lnTo>
                      <a:lnTo>
                        <a:pt x="140" y="503"/>
                      </a:lnTo>
                      <a:lnTo>
                        <a:pt x="135" y="508"/>
                      </a:lnTo>
                      <a:lnTo>
                        <a:pt x="125" y="525"/>
                      </a:lnTo>
                      <a:lnTo>
                        <a:pt x="90" y="534"/>
                      </a:lnTo>
                      <a:lnTo>
                        <a:pt x="72" y="533"/>
                      </a:lnTo>
                      <a:lnTo>
                        <a:pt x="56" y="530"/>
                      </a:lnTo>
                      <a:lnTo>
                        <a:pt x="46" y="528"/>
                      </a:lnTo>
                      <a:lnTo>
                        <a:pt x="43" y="519"/>
                      </a:lnTo>
                      <a:lnTo>
                        <a:pt x="50" y="498"/>
                      </a:lnTo>
                      <a:lnTo>
                        <a:pt x="52" y="485"/>
                      </a:lnTo>
                      <a:lnTo>
                        <a:pt x="52" y="479"/>
                      </a:lnTo>
                      <a:lnTo>
                        <a:pt x="51" y="461"/>
                      </a:lnTo>
                      <a:lnTo>
                        <a:pt x="44" y="449"/>
                      </a:lnTo>
                      <a:lnTo>
                        <a:pt x="30" y="438"/>
                      </a:lnTo>
                      <a:lnTo>
                        <a:pt x="25" y="429"/>
                      </a:lnTo>
                      <a:lnTo>
                        <a:pt x="13" y="418"/>
                      </a:lnTo>
                      <a:lnTo>
                        <a:pt x="11" y="415"/>
                      </a:lnTo>
                      <a:lnTo>
                        <a:pt x="5" y="409"/>
                      </a:lnTo>
                      <a:lnTo>
                        <a:pt x="0" y="409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46" name="Freeform 34"/>
                <p:cNvSpPr>
                  <a:spLocks noChangeAspect="1"/>
                </p:cNvSpPr>
                <p:nvPr/>
              </p:nvSpPr>
              <p:spPr bwMode="gray">
                <a:xfrm>
                  <a:off x="4498181" y="3470622"/>
                  <a:ext cx="128588" cy="96838"/>
                </a:xfrm>
                <a:custGeom>
                  <a:avLst/>
                  <a:gdLst/>
                  <a:ahLst/>
                  <a:cxnLst>
                    <a:cxn ang="0">
                      <a:pos x="174" y="17"/>
                    </a:cxn>
                    <a:cxn ang="0">
                      <a:pos x="146" y="18"/>
                    </a:cxn>
                    <a:cxn ang="0">
                      <a:pos x="119" y="11"/>
                    </a:cxn>
                    <a:cxn ang="0">
                      <a:pos x="101" y="3"/>
                    </a:cxn>
                    <a:cxn ang="0">
                      <a:pos x="80" y="14"/>
                    </a:cxn>
                    <a:cxn ang="0">
                      <a:pos x="67" y="27"/>
                    </a:cxn>
                    <a:cxn ang="0">
                      <a:pos x="69" y="57"/>
                    </a:cxn>
                    <a:cxn ang="0">
                      <a:pos x="17" y="81"/>
                    </a:cxn>
                    <a:cxn ang="0">
                      <a:pos x="1" y="109"/>
                    </a:cxn>
                    <a:cxn ang="0">
                      <a:pos x="17" y="100"/>
                    </a:cxn>
                    <a:cxn ang="0">
                      <a:pos x="31" y="128"/>
                    </a:cxn>
                    <a:cxn ang="0">
                      <a:pos x="66" y="159"/>
                    </a:cxn>
                    <a:cxn ang="0">
                      <a:pos x="88" y="190"/>
                    </a:cxn>
                    <a:cxn ang="0">
                      <a:pos x="104" y="203"/>
                    </a:cxn>
                    <a:cxn ang="0">
                      <a:pos x="124" y="191"/>
                    </a:cxn>
                    <a:cxn ang="0">
                      <a:pos x="142" y="168"/>
                    </a:cxn>
                    <a:cxn ang="0">
                      <a:pos x="161" y="159"/>
                    </a:cxn>
                    <a:cxn ang="0">
                      <a:pos x="211" y="153"/>
                    </a:cxn>
                    <a:cxn ang="0">
                      <a:pos x="230" y="175"/>
                    </a:cxn>
                    <a:cxn ang="0">
                      <a:pos x="241" y="187"/>
                    </a:cxn>
                    <a:cxn ang="0">
                      <a:pos x="241" y="202"/>
                    </a:cxn>
                    <a:cxn ang="0">
                      <a:pos x="249" y="223"/>
                    </a:cxn>
                    <a:cxn ang="0">
                      <a:pos x="252" y="239"/>
                    </a:cxn>
                    <a:cxn ang="0">
                      <a:pos x="264" y="240"/>
                    </a:cxn>
                    <a:cxn ang="0">
                      <a:pos x="281" y="238"/>
                    </a:cxn>
                    <a:cxn ang="0">
                      <a:pos x="297" y="239"/>
                    </a:cxn>
                    <a:cxn ang="0">
                      <a:pos x="313" y="273"/>
                    </a:cxn>
                    <a:cxn ang="0">
                      <a:pos x="306" y="298"/>
                    </a:cxn>
                    <a:cxn ang="0">
                      <a:pos x="327" y="307"/>
                    </a:cxn>
                    <a:cxn ang="0">
                      <a:pos x="348" y="292"/>
                    </a:cxn>
                    <a:cxn ang="0">
                      <a:pos x="365" y="286"/>
                    </a:cxn>
                    <a:cxn ang="0">
                      <a:pos x="384" y="262"/>
                    </a:cxn>
                    <a:cxn ang="0">
                      <a:pos x="386" y="251"/>
                    </a:cxn>
                    <a:cxn ang="0">
                      <a:pos x="375" y="239"/>
                    </a:cxn>
                    <a:cxn ang="0">
                      <a:pos x="394" y="239"/>
                    </a:cxn>
                    <a:cxn ang="0">
                      <a:pos x="403" y="235"/>
                    </a:cxn>
                    <a:cxn ang="0">
                      <a:pos x="393" y="219"/>
                    </a:cxn>
                    <a:cxn ang="0">
                      <a:pos x="400" y="203"/>
                    </a:cxn>
                    <a:cxn ang="0">
                      <a:pos x="380" y="183"/>
                    </a:cxn>
                    <a:cxn ang="0">
                      <a:pos x="382" y="149"/>
                    </a:cxn>
                    <a:cxn ang="0">
                      <a:pos x="382" y="131"/>
                    </a:cxn>
                    <a:cxn ang="0">
                      <a:pos x="370" y="93"/>
                    </a:cxn>
                    <a:cxn ang="0">
                      <a:pos x="351" y="92"/>
                    </a:cxn>
                    <a:cxn ang="0">
                      <a:pos x="364" y="79"/>
                    </a:cxn>
                    <a:cxn ang="0">
                      <a:pos x="357" y="70"/>
                    </a:cxn>
                    <a:cxn ang="0">
                      <a:pos x="343" y="41"/>
                    </a:cxn>
                    <a:cxn ang="0">
                      <a:pos x="334" y="28"/>
                    </a:cxn>
                    <a:cxn ang="0">
                      <a:pos x="328" y="12"/>
                    </a:cxn>
                    <a:cxn ang="0">
                      <a:pos x="312" y="12"/>
                    </a:cxn>
                    <a:cxn ang="0">
                      <a:pos x="294" y="38"/>
                    </a:cxn>
                    <a:cxn ang="0">
                      <a:pos x="255" y="33"/>
                    </a:cxn>
                    <a:cxn ang="0">
                      <a:pos x="230" y="30"/>
                    </a:cxn>
                    <a:cxn ang="0">
                      <a:pos x="208" y="39"/>
                    </a:cxn>
                    <a:cxn ang="0">
                      <a:pos x="203" y="19"/>
                    </a:cxn>
                  </a:cxnLst>
                  <a:rect l="0" t="0" r="r" b="b"/>
                  <a:pathLst>
                    <a:path w="402" h="307">
                      <a:moveTo>
                        <a:pt x="205" y="15"/>
                      </a:moveTo>
                      <a:lnTo>
                        <a:pt x="195" y="15"/>
                      </a:lnTo>
                      <a:lnTo>
                        <a:pt x="189" y="18"/>
                      </a:lnTo>
                      <a:lnTo>
                        <a:pt x="185" y="18"/>
                      </a:lnTo>
                      <a:lnTo>
                        <a:pt x="174" y="17"/>
                      </a:lnTo>
                      <a:lnTo>
                        <a:pt x="172" y="18"/>
                      </a:lnTo>
                      <a:lnTo>
                        <a:pt x="165" y="18"/>
                      </a:lnTo>
                      <a:lnTo>
                        <a:pt x="157" y="20"/>
                      </a:lnTo>
                      <a:lnTo>
                        <a:pt x="151" y="20"/>
                      </a:lnTo>
                      <a:lnTo>
                        <a:pt x="146" y="18"/>
                      </a:lnTo>
                      <a:lnTo>
                        <a:pt x="142" y="18"/>
                      </a:lnTo>
                      <a:lnTo>
                        <a:pt x="135" y="15"/>
                      </a:lnTo>
                      <a:lnTo>
                        <a:pt x="128" y="15"/>
                      </a:lnTo>
                      <a:lnTo>
                        <a:pt x="122" y="9"/>
                      </a:lnTo>
                      <a:lnTo>
                        <a:pt x="119" y="11"/>
                      </a:lnTo>
                      <a:lnTo>
                        <a:pt x="119" y="14"/>
                      </a:lnTo>
                      <a:lnTo>
                        <a:pt x="112" y="13"/>
                      </a:lnTo>
                      <a:lnTo>
                        <a:pt x="112" y="7"/>
                      </a:lnTo>
                      <a:lnTo>
                        <a:pt x="109" y="4"/>
                      </a:lnTo>
                      <a:lnTo>
                        <a:pt x="101" y="3"/>
                      </a:lnTo>
                      <a:lnTo>
                        <a:pt x="95" y="4"/>
                      </a:lnTo>
                      <a:lnTo>
                        <a:pt x="90" y="1"/>
                      </a:lnTo>
                      <a:lnTo>
                        <a:pt x="76" y="0"/>
                      </a:lnTo>
                      <a:lnTo>
                        <a:pt x="76" y="7"/>
                      </a:lnTo>
                      <a:lnTo>
                        <a:pt x="80" y="14"/>
                      </a:lnTo>
                      <a:lnTo>
                        <a:pt x="80" y="18"/>
                      </a:lnTo>
                      <a:lnTo>
                        <a:pt x="77" y="24"/>
                      </a:lnTo>
                      <a:lnTo>
                        <a:pt x="75" y="25"/>
                      </a:lnTo>
                      <a:lnTo>
                        <a:pt x="69" y="25"/>
                      </a:lnTo>
                      <a:lnTo>
                        <a:pt x="67" y="27"/>
                      </a:lnTo>
                      <a:lnTo>
                        <a:pt x="65" y="30"/>
                      </a:lnTo>
                      <a:lnTo>
                        <a:pt x="71" y="34"/>
                      </a:lnTo>
                      <a:lnTo>
                        <a:pt x="74" y="39"/>
                      </a:lnTo>
                      <a:lnTo>
                        <a:pt x="75" y="57"/>
                      </a:lnTo>
                      <a:lnTo>
                        <a:pt x="69" y="57"/>
                      </a:lnTo>
                      <a:lnTo>
                        <a:pt x="65" y="60"/>
                      </a:lnTo>
                      <a:lnTo>
                        <a:pt x="45" y="60"/>
                      </a:lnTo>
                      <a:lnTo>
                        <a:pt x="28" y="67"/>
                      </a:lnTo>
                      <a:lnTo>
                        <a:pt x="21" y="73"/>
                      </a:lnTo>
                      <a:lnTo>
                        <a:pt x="17" y="81"/>
                      </a:lnTo>
                      <a:lnTo>
                        <a:pt x="13" y="89"/>
                      </a:lnTo>
                      <a:lnTo>
                        <a:pt x="11" y="93"/>
                      </a:lnTo>
                      <a:lnTo>
                        <a:pt x="6" y="97"/>
                      </a:lnTo>
                      <a:lnTo>
                        <a:pt x="0" y="99"/>
                      </a:lnTo>
                      <a:lnTo>
                        <a:pt x="1" y="109"/>
                      </a:lnTo>
                      <a:lnTo>
                        <a:pt x="5" y="110"/>
                      </a:lnTo>
                      <a:lnTo>
                        <a:pt x="7" y="110"/>
                      </a:lnTo>
                      <a:lnTo>
                        <a:pt x="10" y="109"/>
                      </a:lnTo>
                      <a:lnTo>
                        <a:pt x="13" y="101"/>
                      </a:lnTo>
                      <a:lnTo>
                        <a:pt x="17" y="100"/>
                      </a:lnTo>
                      <a:lnTo>
                        <a:pt x="17" y="100"/>
                      </a:lnTo>
                      <a:lnTo>
                        <a:pt x="21" y="114"/>
                      </a:lnTo>
                      <a:lnTo>
                        <a:pt x="29" y="115"/>
                      </a:lnTo>
                      <a:lnTo>
                        <a:pt x="31" y="116"/>
                      </a:lnTo>
                      <a:lnTo>
                        <a:pt x="31" y="128"/>
                      </a:lnTo>
                      <a:lnTo>
                        <a:pt x="36" y="141"/>
                      </a:lnTo>
                      <a:lnTo>
                        <a:pt x="39" y="146"/>
                      </a:lnTo>
                      <a:lnTo>
                        <a:pt x="47" y="148"/>
                      </a:lnTo>
                      <a:lnTo>
                        <a:pt x="55" y="154"/>
                      </a:lnTo>
                      <a:lnTo>
                        <a:pt x="66" y="159"/>
                      </a:lnTo>
                      <a:lnTo>
                        <a:pt x="74" y="168"/>
                      </a:lnTo>
                      <a:lnTo>
                        <a:pt x="75" y="179"/>
                      </a:lnTo>
                      <a:lnTo>
                        <a:pt x="83" y="183"/>
                      </a:lnTo>
                      <a:lnTo>
                        <a:pt x="86" y="187"/>
                      </a:lnTo>
                      <a:lnTo>
                        <a:pt x="88" y="190"/>
                      </a:lnTo>
                      <a:lnTo>
                        <a:pt x="88" y="192"/>
                      </a:lnTo>
                      <a:lnTo>
                        <a:pt x="93" y="195"/>
                      </a:lnTo>
                      <a:lnTo>
                        <a:pt x="97" y="200"/>
                      </a:lnTo>
                      <a:lnTo>
                        <a:pt x="98" y="201"/>
                      </a:lnTo>
                      <a:lnTo>
                        <a:pt x="104" y="203"/>
                      </a:lnTo>
                      <a:lnTo>
                        <a:pt x="110" y="203"/>
                      </a:lnTo>
                      <a:lnTo>
                        <a:pt x="113" y="202"/>
                      </a:lnTo>
                      <a:lnTo>
                        <a:pt x="115" y="201"/>
                      </a:lnTo>
                      <a:lnTo>
                        <a:pt x="119" y="191"/>
                      </a:lnTo>
                      <a:lnTo>
                        <a:pt x="124" y="191"/>
                      </a:lnTo>
                      <a:lnTo>
                        <a:pt x="128" y="189"/>
                      </a:lnTo>
                      <a:lnTo>
                        <a:pt x="128" y="184"/>
                      </a:lnTo>
                      <a:lnTo>
                        <a:pt x="133" y="183"/>
                      </a:lnTo>
                      <a:lnTo>
                        <a:pt x="139" y="175"/>
                      </a:lnTo>
                      <a:lnTo>
                        <a:pt x="142" y="168"/>
                      </a:lnTo>
                      <a:lnTo>
                        <a:pt x="141" y="159"/>
                      </a:lnTo>
                      <a:lnTo>
                        <a:pt x="145" y="158"/>
                      </a:lnTo>
                      <a:lnTo>
                        <a:pt x="153" y="157"/>
                      </a:lnTo>
                      <a:lnTo>
                        <a:pt x="157" y="159"/>
                      </a:lnTo>
                      <a:lnTo>
                        <a:pt x="161" y="159"/>
                      </a:lnTo>
                      <a:lnTo>
                        <a:pt x="166" y="157"/>
                      </a:lnTo>
                      <a:lnTo>
                        <a:pt x="172" y="157"/>
                      </a:lnTo>
                      <a:lnTo>
                        <a:pt x="172" y="152"/>
                      </a:lnTo>
                      <a:lnTo>
                        <a:pt x="198" y="152"/>
                      </a:lnTo>
                      <a:lnTo>
                        <a:pt x="211" y="153"/>
                      </a:lnTo>
                      <a:lnTo>
                        <a:pt x="215" y="160"/>
                      </a:lnTo>
                      <a:lnTo>
                        <a:pt x="221" y="164"/>
                      </a:lnTo>
                      <a:lnTo>
                        <a:pt x="225" y="169"/>
                      </a:lnTo>
                      <a:lnTo>
                        <a:pt x="230" y="173"/>
                      </a:lnTo>
                      <a:lnTo>
                        <a:pt x="230" y="175"/>
                      </a:lnTo>
                      <a:lnTo>
                        <a:pt x="232" y="179"/>
                      </a:lnTo>
                      <a:lnTo>
                        <a:pt x="231" y="181"/>
                      </a:lnTo>
                      <a:lnTo>
                        <a:pt x="231" y="184"/>
                      </a:lnTo>
                      <a:lnTo>
                        <a:pt x="238" y="186"/>
                      </a:lnTo>
                      <a:lnTo>
                        <a:pt x="241" y="187"/>
                      </a:lnTo>
                      <a:lnTo>
                        <a:pt x="241" y="190"/>
                      </a:lnTo>
                      <a:lnTo>
                        <a:pt x="239" y="192"/>
                      </a:lnTo>
                      <a:lnTo>
                        <a:pt x="241" y="197"/>
                      </a:lnTo>
                      <a:lnTo>
                        <a:pt x="239" y="197"/>
                      </a:lnTo>
                      <a:lnTo>
                        <a:pt x="241" y="202"/>
                      </a:lnTo>
                      <a:lnTo>
                        <a:pt x="242" y="205"/>
                      </a:lnTo>
                      <a:lnTo>
                        <a:pt x="247" y="208"/>
                      </a:lnTo>
                      <a:lnTo>
                        <a:pt x="248" y="212"/>
                      </a:lnTo>
                      <a:lnTo>
                        <a:pt x="251" y="222"/>
                      </a:lnTo>
                      <a:lnTo>
                        <a:pt x="249" y="223"/>
                      </a:lnTo>
                      <a:lnTo>
                        <a:pt x="244" y="226"/>
                      </a:lnTo>
                      <a:lnTo>
                        <a:pt x="242" y="237"/>
                      </a:lnTo>
                      <a:lnTo>
                        <a:pt x="239" y="242"/>
                      </a:lnTo>
                      <a:lnTo>
                        <a:pt x="239" y="244"/>
                      </a:lnTo>
                      <a:lnTo>
                        <a:pt x="252" y="239"/>
                      </a:lnTo>
                      <a:lnTo>
                        <a:pt x="258" y="234"/>
                      </a:lnTo>
                      <a:lnTo>
                        <a:pt x="259" y="234"/>
                      </a:lnTo>
                      <a:lnTo>
                        <a:pt x="260" y="237"/>
                      </a:lnTo>
                      <a:lnTo>
                        <a:pt x="260" y="240"/>
                      </a:lnTo>
                      <a:lnTo>
                        <a:pt x="264" y="240"/>
                      </a:lnTo>
                      <a:lnTo>
                        <a:pt x="266" y="234"/>
                      </a:lnTo>
                      <a:lnTo>
                        <a:pt x="270" y="232"/>
                      </a:lnTo>
                      <a:lnTo>
                        <a:pt x="274" y="233"/>
                      </a:lnTo>
                      <a:lnTo>
                        <a:pt x="280" y="238"/>
                      </a:lnTo>
                      <a:lnTo>
                        <a:pt x="281" y="238"/>
                      </a:lnTo>
                      <a:lnTo>
                        <a:pt x="284" y="235"/>
                      </a:lnTo>
                      <a:lnTo>
                        <a:pt x="292" y="233"/>
                      </a:lnTo>
                      <a:lnTo>
                        <a:pt x="295" y="234"/>
                      </a:lnTo>
                      <a:lnTo>
                        <a:pt x="295" y="235"/>
                      </a:lnTo>
                      <a:lnTo>
                        <a:pt x="297" y="239"/>
                      </a:lnTo>
                      <a:lnTo>
                        <a:pt x="305" y="244"/>
                      </a:lnTo>
                      <a:lnTo>
                        <a:pt x="305" y="251"/>
                      </a:lnTo>
                      <a:lnTo>
                        <a:pt x="309" y="257"/>
                      </a:lnTo>
                      <a:lnTo>
                        <a:pt x="311" y="271"/>
                      </a:lnTo>
                      <a:lnTo>
                        <a:pt x="313" y="273"/>
                      </a:lnTo>
                      <a:lnTo>
                        <a:pt x="312" y="288"/>
                      </a:lnTo>
                      <a:lnTo>
                        <a:pt x="309" y="292"/>
                      </a:lnTo>
                      <a:lnTo>
                        <a:pt x="306" y="294"/>
                      </a:lnTo>
                      <a:lnTo>
                        <a:pt x="305" y="297"/>
                      </a:lnTo>
                      <a:lnTo>
                        <a:pt x="306" y="298"/>
                      </a:lnTo>
                      <a:lnTo>
                        <a:pt x="311" y="298"/>
                      </a:lnTo>
                      <a:lnTo>
                        <a:pt x="314" y="294"/>
                      </a:lnTo>
                      <a:lnTo>
                        <a:pt x="317" y="296"/>
                      </a:lnTo>
                      <a:lnTo>
                        <a:pt x="322" y="299"/>
                      </a:lnTo>
                      <a:lnTo>
                        <a:pt x="327" y="307"/>
                      </a:lnTo>
                      <a:lnTo>
                        <a:pt x="332" y="305"/>
                      </a:lnTo>
                      <a:lnTo>
                        <a:pt x="334" y="303"/>
                      </a:lnTo>
                      <a:lnTo>
                        <a:pt x="341" y="302"/>
                      </a:lnTo>
                      <a:lnTo>
                        <a:pt x="343" y="298"/>
                      </a:lnTo>
                      <a:lnTo>
                        <a:pt x="348" y="292"/>
                      </a:lnTo>
                      <a:lnTo>
                        <a:pt x="348" y="283"/>
                      </a:lnTo>
                      <a:lnTo>
                        <a:pt x="351" y="281"/>
                      </a:lnTo>
                      <a:lnTo>
                        <a:pt x="357" y="282"/>
                      </a:lnTo>
                      <a:lnTo>
                        <a:pt x="361" y="288"/>
                      </a:lnTo>
                      <a:lnTo>
                        <a:pt x="365" y="286"/>
                      </a:lnTo>
                      <a:lnTo>
                        <a:pt x="378" y="287"/>
                      </a:lnTo>
                      <a:lnTo>
                        <a:pt x="378" y="282"/>
                      </a:lnTo>
                      <a:lnTo>
                        <a:pt x="383" y="276"/>
                      </a:lnTo>
                      <a:lnTo>
                        <a:pt x="383" y="267"/>
                      </a:lnTo>
                      <a:lnTo>
                        <a:pt x="384" y="262"/>
                      </a:lnTo>
                      <a:lnTo>
                        <a:pt x="389" y="260"/>
                      </a:lnTo>
                      <a:lnTo>
                        <a:pt x="388" y="257"/>
                      </a:lnTo>
                      <a:lnTo>
                        <a:pt x="386" y="257"/>
                      </a:lnTo>
                      <a:lnTo>
                        <a:pt x="387" y="255"/>
                      </a:lnTo>
                      <a:lnTo>
                        <a:pt x="386" y="251"/>
                      </a:lnTo>
                      <a:lnTo>
                        <a:pt x="382" y="251"/>
                      </a:lnTo>
                      <a:lnTo>
                        <a:pt x="376" y="251"/>
                      </a:lnTo>
                      <a:lnTo>
                        <a:pt x="373" y="249"/>
                      </a:lnTo>
                      <a:lnTo>
                        <a:pt x="376" y="244"/>
                      </a:lnTo>
                      <a:lnTo>
                        <a:pt x="375" y="239"/>
                      </a:lnTo>
                      <a:lnTo>
                        <a:pt x="373" y="239"/>
                      </a:lnTo>
                      <a:lnTo>
                        <a:pt x="373" y="238"/>
                      </a:lnTo>
                      <a:lnTo>
                        <a:pt x="382" y="234"/>
                      </a:lnTo>
                      <a:lnTo>
                        <a:pt x="391" y="235"/>
                      </a:lnTo>
                      <a:lnTo>
                        <a:pt x="394" y="239"/>
                      </a:lnTo>
                      <a:lnTo>
                        <a:pt x="397" y="239"/>
                      </a:lnTo>
                      <a:lnTo>
                        <a:pt x="400" y="238"/>
                      </a:lnTo>
                      <a:lnTo>
                        <a:pt x="403" y="244"/>
                      </a:lnTo>
                      <a:lnTo>
                        <a:pt x="404" y="244"/>
                      </a:lnTo>
                      <a:lnTo>
                        <a:pt x="403" y="235"/>
                      </a:lnTo>
                      <a:lnTo>
                        <a:pt x="403" y="230"/>
                      </a:lnTo>
                      <a:lnTo>
                        <a:pt x="400" y="227"/>
                      </a:lnTo>
                      <a:lnTo>
                        <a:pt x="400" y="221"/>
                      </a:lnTo>
                      <a:lnTo>
                        <a:pt x="397" y="221"/>
                      </a:lnTo>
                      <a:lnTo>
                        <a:pt x="393" y="219"/>
                      </a:lnTo>
                      <a:lnTo>
                        <a:pt x="391" y="219"/>
                      </a:lnTo>
                      <a:lnTo>
                        <a:pt x="394" y="211"/>
                      </a:lnTo>
                      <a:lnTo>
                        <a:pt x="398" y="207"/>
                      </a:lnTo>
                      <a:lnTo>
                        <a:pt x="400" y="206"/>
                      </a:lnTo>
                      <a:lnTo>
                        <a:pt x="400" y="203"/>
                      </a:lnTo>
                      <a:lnTo>
                        <a:pt x="397" y="199"/>
                      </a:lnTo>
                      <a:lnTo>
                        <a:pt x="393" y="200"/>
                      </a:lnTo>
                      <a:lnTo>
                        <a:pt x="394" y="186"/>
                      </a:lnTo>
                      <a:lnTo>
                        <a:pt x="387" y="186"/>
                      </a:lnTo>
                      <a:lnTo>
                        <a:pt x="380" y="183"/>
                      </a:lnTo>
                      <a:lnTo>
                        <a:pt x="380" y="180"/>
                      </a:lnTo>
                      <a:lnTo>
                        <a:pt x="380" y="163"/>
                      </a:lnTo>
                      <a:lnTo>
                        <a:pt x="378" y="154"/>
                      </a:lnTo>
                      <a:lnTo>
                        <a:pt x="381" y="152"/>
                      </a:lnTo>
                      <a:lnTo>
                        <a:pt x="382" y="149"/>
                      </a:lnTo>
                      <a:lnTo>
                        <a:pt x="388" y="142"/>
                      </a:lnTo>
                      <a:lnTo>
                        <a:pt x="389" y="140"/>
                      </a:lnTo>
                      <a:lnTo>
                        <a:pt x="389" y="137"/>
                      </a:lnTo>
                      <a:lnTo>
                        <a:pt x="387" y="133"/>
                      </a:lnTo>
                      <a:lnTo>
                        <a:pt x="382" y="131"/>
                      </a:lnTo>
                      <a:lnTo>
                        <a:pt x="380" y="126"/>
                      </a:lnTo>
                      <a:lnTo>
                        <a:pt x="375" y="126"/>
                      </a:lnTo>
                      <a:lnTo>
                        <a:pt x="371" y="120"/>
                      </a:lnTo>
                      <a:lnTo>
                        <a:pt x="370" y="97"/>
                      </a:lnTo>
                      <a:lnTo>
                        <a:pt x="370" y="93"/>
                      </a:lnTo>
                      <a:lnTo>
                        <a:pt x="365" y="92"/>
                      </a:lnTo>
                      <a:lnTo>
                        <a:pt x="360" y="92"/>
                      </a:lnTo>
                      <a:lnTo>
                        <a:pt x="354" y="99"/>
                      </a:lnTo>
                      <a:lnTo>
                        <a:pt x="351" y="99"/>
                      </a:lnTo>
                      <a:lnTo>
                        <a:pt x="351" y="92"/>
                      </a:lnTo>
                      <a:lnTo>
                        <a:pt x="352" y="89"/>
                      </a:lnTo>
                      <a:lnTo>
                        <a:pt x="357" y="88"/>
                      </a:lnTo>
                      <a:lnTo>
                        <a:pt x="357" y="83"/>
                      </a:lnTo>
                      <a:lnTo>
                        <a:pt x="361" y="83"/>
                      </a:lnTo>
                      <a:lnTo>
                        <a:pt x="364" y="79"/>
                      </a:lnTo>
                      <a:lnTo>
                        <a:pt x="367" y="79"/>
                      </a:lnTo>
                      <a:lnTo>
                        <a:pt x="367" y="73"/>
                      </a:lnTo>
                      <a:lnTo>
                        <a:pt x="366" y="72"/>
                      </a:lnTo>
                      <a:lnTo>
                        <a:pt x="361" y="72"/>
                      </a:lnTo>
                      <a:lnTo>
                        <a:pt x="357" y="70"/>
                      </a:lnTo>
                      <a:lnTo>
                        <a:pt x="354" y="67"/>
                      </a:lnTo>
                      <a:lnTo>
                        <a:pt x="349" y="57"/>
                      </a:lnTo>
                      <a:lnTo>
                        <a:pt x="344" y="60"/>
                      </a:lnTo>
                      <a:lnTo>
                        <a:pt x="343" y="58"/>
                      </a:lnTo>
                      <a:lnTo>
                        <a:pt x="343" y="41"/>
                      </a:lnTo>
                      <a:lnTo>
                        <a:pt x="341" y="36"/>
                      </a:lnTo>
                      <a:lnTo>
                        <a:pt x="339" y="36"/>
                      </a:lnTo>
                      <a:lnTo>
                        <a:pt x="339" y="30"/>
                      </a:lnTo>
                      <a:lnTo>
                        <a:pt x="338" y="28"/>
                      </a:lnTo>
                      <a:lnTo>
                        <a:pt x="334" y="28"/>
                      </a:lnTo>
                      <a:lnTo>
                        <a:pt x="333" y="28"/>
                      </a:lnTo>
                      <a:lnTo>
                        <a:pt x="334" y="15"/>
                      </a:lnTo>
                      <a:lnTo>
                        <a:pt x="334" y="14"/>
                      </a:lnTo>
                      <a:lnTo>
                        <a:pt x="330" y="12"/>
                      </a:lnTo>
                      <a:lnTo>
                        <a:pt x="328" y="12"/>
                      </a:lnTo>
                      <a:lnTo>
                        <a:pt x="324" y="15"/>
                      </a:lnTo>
                      <a:lnTo>
                        <a:pt x="323" y="15"/>
                      </a:lnTo>
                      <a:lnTo>
                        <a:pt x="316" y="11"/>
                      </a:lnTo>
                      <a:lnTo>
                        <a:pt x="313" y="11"/>
                      </a:lnTo>
                      <a:lnTo>
                        <a:pt x="312" y="12"/>
                      </a:lnTo>
                      <a:lnTo>
                        <a:pt x="312" y="20"/>
                      </a:lnTo>
                      <a:lnTo>
                        <a:pt x="309" y="24"/>
                      </a:lnTo>
                      <a:lnTo>
                        <a:pt x="296" y="28"/>
                      </a:lnTo>
                      <a:lnTo>
                        <a:pt x="296" y="34"/>
                      </a:lnTo>
                      <a:lnTo>
                        <a:pt x="294" y="38"/>
                      </a:lnTo>
                      <a:lnTo>
                        <a:pt x="280" y="34"/>
                      </a:lnTo>
                      <a:lnTo>
                        <a:pt x="270" y="28"/>
                      </a:lnTo>
                      <a:lnTo>
                        <a:pt x="262" y="27"/>
                      </a:lnTo>
                      <a:lnTo>
                        <a:pt x="259" y="27"/>
                      </a:lnTo>
                      <a:lnTo>
                        <a:pt x="255" y="33"/>
                      </a:lnTo>
                      <a:lnTo>
                        <a:pt x="249" y="34"/>
                      </a:lnTo>
                      <a:lnTo>
                        <a:pt x="247" y="40"/>
                      </a:lnTo>
                      <a:lnTo>
                        <a:pt x="243" y="44"/>
                      </a:lnTo>
                      <a:lnTo>
                        <a:pt x="238" y="41"/>
                      </a:lnTo>
                      <a:lnTo>
                        <a:pt x="230" y="30"/>
                      </a:lnTo>
                      <a:lnTo>
                        <a:pt x="227" y="28"/>
                      </a:lnTo>
                      <a:lnTo>
                        <a:pt x="222" y="28"/>
                      </a:lnTo>
                      <a:lnTo>
                        <a:pt x="216" y="34"/>
                      </a:lnTo>
                      <a:lnTo>
                        <a:pt x="212" y="38"/>
                      </a:lnTo>
                      <a:lnTo>
                        <a:pt x="208" y="39"/>
                      </a:lnTo>
                      <a:lnTo>
                        <a:pt x="203" y="35"/>
                      </a:lnTo>
                      <a:lnTo>
                        <a:pt x="198" y="31"/>
                      </a:lnTo>
                      <a:lnTo>
                        <a:pt x="199" y="28"/>
                      </a:lnTo>
                      <a:lnTo>
                        <a:pt x="203" y="23"/>
                      </a:lnTo>
                      <a:lnTo>
                        <a:pt x="203" y="19"/>
                      </a:lnTo>
                      <a:lnTo>
                        <a:pt x="205" y="15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47" name="Freeform 35"/>
                <p:cNvSpPr>
                  <a:spLocks noChangeAspect="1"/>
                </p:cNvSpPr>
                <p:nvPr/>
              </p:nvSpPr>
              <p:spPr bwMode="gray">
                <a:xfrm>
                  <a:off x="5010942" y="3499197"/>
                  <a:ext cx="228600" cy="144463"/>
                </a:xfrm>
                <a:custGeom>
                  <a:avLst/>
                  <a:gdLst/>
                  <a:ahLst/>
                  <a:cxnLst>
                    <a:cxn ang="0">
                      <a:pos x="433" y="6"/>
                    </a:cxn>
                    <a:cxn ang="0">
                      <a:pos x="405" y="15"/>
                    </a:cxn>
                    <a:cxn ang="0">
                      <a:pos x="393" y="44"/>
                    </a:cxn>
                    <a:cxn ang="0">
                      <a:pos x="378" y="58"/>
                    </a:cxn>
                    <a:cxn ang="0">
                      <a:pos x="355" y="87"/>
                    </a:cxn>
                    <a:cxn ang="0">
                      <a:pos x="331" y="102"/>
                    </a:cxn>
                    <a:cxn ang="0">
                      <a:pos x="317" y="106"/>
                    </a:cxn>
                    <a:cxn ang="0">
                      <a:pos x="292" y="109"/>
                    </a:cxn>
                    <a:cxn ang="0">
                      <a:pos x="259" y="113"/>
                    </a:cxn>
                    <a:cxn ang="0">
                      <a:pos x="245" y="122"/>
                    </a:cxn>
                    <a:cxn ang="0">
                      <a:pos x="254" y="136"/>
                    </a:cxn>
                    <a:cxn ang="0">
                      <a:pos x="244" y="152"/>
                    </a:cxn>
                    <a:cxn ang="0">
                      <a:pos x="232" y="159"/>
                    </a:cxn>
                    <a:cxn ang="0">
                      <a:pos x="205" y="166"/>
                    </a:cxn>
                    <a:cxn ang="0">
                      <a:pos x="183" y="170"/>
                    </a:cxn>
                    <a:cxn ang="0">
                      <a:pos x="153" y="183"/>
                    </a:cxn>
                    <a:cxn ang="0">
                      <a:pos x="136" y="192"/>
                    </a:cxn>
                    <a:cxn ang="0">
                      <a:pos x="123" y="184"/>
                    </a:cxn>
                    <a:cxn ang="0">
                      <a:pos x="113" y="177"/>
                    </a:cxn>
                    <a:cxn ang="0">
                      <a:pos x="105" y="187"/>
                    </a:cxn>
                    <a:cxn ang="0">
                      <a:pos x="77" y="198"/>
                    </a:cxn>
                    <a:cxn ang="0">
                      <a:pos x="60" y="197"/>
                    </a:cxn>
                    <a:cxn ang="0">
                      <a:pos x="38" y="226"/>
                    </a:cxn>
                    <a:cxn ang="0">
                      <a:pos x="11" y="272"/>
                    </a:cxn>
                    <a:cxn ang="0">
                      <a:pos x="3" y="310"/>
                    </a:cxn>
                    <a:cxn ang="0">
                      <a:pos x="13" y="361"/>
                    </a:cxn>
                    <a:cxn ang="0">
                      <a:pos x="58" y="431"/>
                    </a:cxn>
                    <a:cxn ang="0">
                      <a:pos x="97" y="437"/>
                    </a:cxn>
                    <a:cxn ang="0">
                      <a:pos x="157" y="404"/>
                    </a:cxn>
                    <a:cxn ang="0">
                      <a:pos x="207" y="416"/>
                    </a:cxn>
                    <a:cxn ang="0">
                      <a:pos x="241" y="402"/>
                    </a:cxn>
                    <a:cxn ang="0">
                      <a:pos x="242" y="360"/>
                    </a:cxn>
                    <a:cxn ang="0">
                      <a:pos x="263" y="334"/>
                    </a:cxn>
                    <a:cxn ang="0">
                      <a:pos x="306" y="324"/>
                    </a:cxn>
                    <a:cxn ang="0">
                      <a:pos x="336" y="361"/>
                    </a:cxn>
                    <a:cxn ang="0">
                      <a:pos x="365" y="365"/>
                    </a:cxn>
                    <a:cxn ang="0">
                      <a:pos x="446" y="367"/>
                    </a:cxn>
                    <a:cxn ang="0">
                      <a:pos x="480" y="345"/>
                    </a:cxn>
                    <a:cxn ang="0">
                      <a:pos x="518" y="339"/>
                    </a:cxn>
                    <a:cxn ang="0">
                      <a:pos x="561" y="328"/>
                    </a:cxn>
                    <a:cxn ang="0">
                      <a:pos x="569" y="337"/>
                    </a:cxn>
                    <a:cxn ang="0">
                      <a:pos x="592" y="322"/>
                    </a:cxn>
                    <a:cxn ang="0">
                      <a:pos x="650" y="318"/>
                    </a:cxn>
                    <a:cxn ang="0">
                      <a:pos x="682" y="334"/>
                    </a:cxn>
                    <a:cxn ang="0">
                      <a:pos x="712" y="316"/>
                    </a:cxn>
                    <a:cxn ang="0">
                      <a:pos x="675" y="276"/>
                    </a:cxn>
                    <a:cxn ang="0">
                      <a:pos x="657" y="253"/>
                    </a:cxn>
                    <a:cxn ang="0">
                      <a:pos x="637" y="226"/>
                    </a:cxn>
                    <a:cxn ang="0">
                      <a:pos x="593" y="192"/>
                    </a:cxn>
                    <a:cxn ang="0">
                      <a:pos x="587" y="166"/>
                    </a:cxn>
                    <a:cxn ang="0">
                      <a:pos x="546" y="152"/>
                    </a:cxn>
                    <a:cxn ang="0">
                      <a:pos x="517" y="129"/>
                    </a:cxn>
                    <a:cxn ang="0">
                      <a:pos x="494" y="105"/>
                    </a:cxn>
                    <a:cxn ang="0">
                      <a:pos x="496" y="55"/>
                    </a:cxn>
                    <a:cxn ang="0">
                      <a:pos x="453" y="0"/>
                    </a:cxn>
                  </a:cxnLst>
                  <a:rect l="0" t="0" r="r" b="b"/>
                  <a:pathLst>
                    <a:path w="718" h="451">
                      <a:moveTo>
                        <a:pt x="453" y="0"/>
                      </a:moveTo>
                      <a:lnTo>
                        <a:pt x="442" y="3"/>
                      </a:lnTo>
                      <a:lnTo>
                        <a:pt x="433" y="6"/>
                      </a:lnTo>
                      <a:lnTo>
                        <a:pt x="417" y="7"/>
                      </a:lnTo>
                      <a:lnTo>
                        <a:pt x="411" y="10"/>
                      </a:lnTo>
                      <a:lnTo>
                        <a:pt x="405" y="15"/>
                      </a:lnTo>
                      <a:lnTo>
                        <a:pt x="400" y="26"/>
                      </a:lnTo>
                      <a:lnTo>
                        <a:pt x="400" y="42"/>
                      </a:lnTo>
                      <a:lnTo>
                        <a:pt x="393" y="44"/>
                      </a:lnTo>
                      <a:lnTo>
                        <a:pt x="387" y="54"/>
                      </a:lnTo>
                      <a:lnTo>
                        <a:pt x="383" y="57"/>
                      </a:lnTo>
                      <a:lnTo>
                        <a:pt x="378" y="58"/>
                      </a:lnTo>
                      <a:lnTo>
                        <a:pt x="362" y="74"/>
                      </a:lnTo>
                      <a:lnTo>
                        <a:pt x="358" y="84"/>
                      </a:lnTo>
                      <a:lnTo>
                        <a:pt x="355" y="87"/>
                      </a:lnTo>
                      <a:lnTo>
                        <a:pt x="342" y="93"/>
                      </a:lnTo>
                      <a:lnTo>
                        <a:pt x="336" y="95"/>
                      </a:lnTo>
                      <a:lnTo>
                        <a:pt x="331" y="102"/>
                      </a:lnTo>
                      <a:lnTo>
                        <a:pt x="329" y="105"/>
                      </a:lnTo>
                      <a:lnTo>
                        <a:pt x="322" y="108"/>
                      </a:lnTo>
                      <a:lnTo>
                        <a:pt x="317" y="106"/>
                      </a:lnTo>
                      <a:lnTo>
                        <a:pt x="309" y="106"/>
                      </a:lnTo>
                      <a:lnTo>
                        <a:pt x="302" y="108"/>
                      </a:lnTo>
                      <a:lnTo>
                        <a:pt x="292" y="109"/>
                      </a:lnTo>
                      <a:lnTo>
                        <a:pt x="290" y="112"/>
                      </a:lnTo>
                      <a:lnTo>
                        <a:pt x="270" y="112"/>
                      </a:lnTo>
                      <a:lnTo>
                        <a:pt x="259" y="113"/>
                      </a:lnTo>
                      <a:lnTo>
                        <a:pt x="249" y="117"/>
                      </a:lnTo>
                      <a:lnTo>
                        <a:pt x="247" y="118"/>
                      </a:lnTo>
                      <a:lnTo>
                        <a:pt x="245" y="122"/>
                      </a:lnTo>
                      <a:lnTo>
                        <a:pt x="245" y="124"/>
                      </a:lnTo>
                      <a:lnTo>
                        <a:pt x="252" y="129"/>
                      </a:lnTo>
                      <a:lnTo>
                        <a:pt x="254" y="136"/>
                      </a:lnTo>
                      <a:lnTo>
                        <a:pt x="252" y="140"/>
                      </a:lnTo>
                      <a:lnTo>
                        <a:pt x="247" y="144"/>
                      </a:lnTo>
                      <a:lnTo>
                        <a:pt x="244" y="152"/>
                      </a:lnTo>
                      <a:lnTo>
                        <a:pt x="239" y="155"/>
                      </a:lnTo>
                      <a:lnTo>
                        <a:pt x="234" y="156"/>
                      </a:lnTo>
                      <a:lnTo>
                        <a:pt x="232" y="159"/>
                      </a:lnTo>
                      <a:lnTo>
                        <a:pt x="231" y="165"/>
                      </a:lnTo>
                      <a:lnTo>
                        <a:pt x="229" y="166"/>
                      </a:lnTo>
                      <a:lnTo>
                        <a:pt x="205" y="166"/>
                      </a:lnTo>
                      <a:lnTo>
                        <a:pt x="198" y="170"/>
                      </a:lnTo>
                      <a:lnTo>
                        <a:pt x="189" y="170"/>
                      </a:lnTo>
                      <a:lnTo>
                        <a:pt x="183" y="170"/>
                      </a:lnTo>
                      <a:lnTo>
                        <a:pt x="161" y="177"/>
                      </a:lnTo>
                      <a:lnTo>
                        <a:pt x="157" y="181"/>
                      </a:lnTo>
                      <a:lnTo>
                        <a:pt x="153" y="183"/>
                      </a:lnTo>
                      <a:lnTo>
                        <a:pt x="147" y="187"/>
                      </a:lnTo>
                      <a:lnTo>
                        <a:pt x="139" y="188"/>
                      </a:lnTo>
                      <a:lnTo>
                        <a:pt x="136" y="192"/>
                      </a:lnTo>
                      <a:lnTo>
                        <a:pt x="132" y="193"/>
                      </a:lnTo>
                      <a:lnTo>
                        <a:pt x="125" y="187"/>
                      </a:lnTo>
                      <a:lnTo>
                        <a:pt x="123" y="184"/>
                      </a:lnTo>
                      <a:lnTo>
                        <a:pt x="119" y="178"/>
                      </a:lnTo>
                      <a:lnTo>
                        <a:pt x="116" y="177"/>
                      </a:lnTo>
                      <a:lnTo>
                        <a:pt x="113" y="177"/>
                      </a:lnTo>
                      <a:lnTo>
                        <a:pt x="112" y="179"/>
                      </a:lnTo>
                      <a:lnTo>
                        <a:pt x="108" y="179"/>
                      </a:lnTo>
                      <a:lnTo>
                        <a:pt x="105" y="187"/>
                      </a:lnTo>
                      <a:lnTo>
                        <a:pt x="92" y="189"/>
                      </a:lnTo>
                      <a:lnTo>
                        <a:pt x="82" y="197"/>
                      </a:lnTo>
                      <a:lnTo>
                        <a:pt x="77" y="198"/>
                      </a:lnTo>
                      <a:lnTo>
                        <a:pt x="71" y="195"/>
                      </a:lnTo>
                      <a:lnTo>
                        <a:pt x="66" y="195"/>
                      </a:lnTo>
                      <a:lnTo>
                        <a:pt x="60" y="197"/>
                      </a:lnTo>
                      <a:lnTo>
                        <a:pt x="51" y="198"/>
                      </a:lnTo>
                      <a:lnTo>
                        <a:pt x="48" y="200"/>
                      </a:lnTo>
                      <a:lnTo>
                        <a:pt x="38" y="226"/>
                      </a:lnTo>
                      <a:lnTo>
                        <a:pt x="28" y="241"/>
                      </a:lnTo>
                      <a:lnTo>
                        <a:pt x="21" y="257"/>
                      </a:lnTo>
                      <a:lnTo>
                        <a:pt x="11" y="272"/>
                      </a:lnTo>
                      <a:lnTo>
                        <a:pt x="0" y="283"/>
                      </a:lnTo>
                      <a:lnTo>
                        <a:pt x="0" y="296"/>
                      </a:lnTo>
                      <a:lnTo>
                        <a:pt x="3" y="310"/>
                      </a:lnTo>
                      <a:lnTo>
                        <a:pt x="2" y="327"/>
                      </a:lnTo>
                      <a:lnTo>
                        <a:pt x="3" y="343"/>
                      </a:lnTo>
                      <a:lnTo>
                        <a:pt x="13" y="361"/>
                      </a:lnTo>
                      <a:lnTo>
                        <a:pt x="22" y="372"/>
                      </a:lnTo>
                      <a:lnTo>
                        <a:pt x="46" y="419"/>
                      </a:lnTo>
                      <a:lnTo>
                        <a:pt x="58" y="431"/>
                      </a:lnTo>
                      <a:lnTo>
                        <a:pt x="81" y="451"/>
                      </a:lnTo>
                      <a:lnTo>
                        <a:pt x="88" y="451"/>
                      </a:lnTo>
                      <a:lnTo>
                        <a:pt x="97" y="437"/>
                      </a:lnTo>
                      <a:lnTo>
                        <a:pt x="114" y="421"/>
                      </a:lnTo>
                      <a:lnTo>
                        <a:pt x="137" y="407"/>
                      </a:lnTo>
                      <a:lnTo>
                        <a:pt x="157" y="404"/>
                      </a:lnTo>
                      <a:lnTo>
                        <a:pt x="174" y="414"/>
                      </a:lnTo>
                      <a:lnTo>
                        <a:pt x="191" y="420"/>
                      </a:lnTo>
                      <a:lnTo>
                        <a:pt x="207" y="416"/>
                      </a:lnTo>
                      <a:lnTo>
                        <a:pt x="222" y="409"/>
                      </a:lnTo>
                      <a:lnTo>
                        <a:pt x="228" y="404"/>
                      </a:lnTo>
                      <a:lnTo>
                        <a:pt x="241" y="402"/>
                      </a:lnTo>
                      <a:lnTo>
                        <a:pt x="238" y="393"/>
                      </a:lnTo>
                      <a:lnTo>
                        <a:pt x="239" y="374"/>
                      </a:lnTo>
                      <a:lnTo>
                        <a:pt x="242" y="360"/>
                      </a:lnTo>
                      <a:lnTo>
                        <a:pt x="250" y="355"/>
                      </a:lnTo>
                      <a:lnTo>
                        <a:pt x="257" y="340"/>
                      </a:lnTo>
                      <a:lnTo>
                        <a:pt x="263" y="334"/>
                      </a:lnTo>
                      <a:lnTo>
                        <a:pt x="276" y="323"/>
                      </a:lnTo>
                      <a:lnTo>
                        <a:pt x="290" y="323"/>
                      </a:lnTo>
                      <a:lnTo>
                        <a:pt x="306" y="324"/>
                      </a:lnTo>
                      <a:lnTo>
                        <a:pt x="313" y="334"/>
                      </a:lnTo>
                      <a:lnTo>
                        <a:pt x="315" y="343"/>
                      </a:lnTo>
                      <a:lnTo>
                        <a:pt x="336" y="361"/>
                      </a:lnTo>
                      <a:lnTo>
                        <a:pt x="344" y="364"/>
                      </a:lnTo>
                      <a:lnTo>
                        <a:pt x="351" y="355"/>
                      </a:lnTo>
                      <a:lnTo>
                        <a:pt x="365" y="365"/>
                      </a:lnTo>
                      <a:lnTo>
                        <a:pt x="388" y="371"/>
                      </a:lnTo>
                      <a:lnTo>
                        <a:pt x="438" y="371"/>
                      </a:lnTo>
                      <a:lnTo>
                        <a:pt x="446" y="367"/>
                      </a:lnTo>
                      <a:lnTo>
                        <a:pt x="448" y="350"/>
                      </a:lnTo>
                      <a:lnTo>
                        <a:pt x="462" y="342"/>
                      </a:lnTo>
                      <a:lnTo>
                        <a:pt x="480" y="345"/>
                      </a:lnTo>
                      <a:lnTo>
                        <a:pt x="489" y="350"/>
                      </a:lnTo>
                      <a:lnTo>
                        <a:pt x="507" y="345"/>
                      </a:lnTo>
                      <a:lnTo>
                        <a:pt x="518" y="339"/>
                      </a:lnTo>
                      <a:lnTo>
                        <a:pt x="544" y="334"/>
                      </a:lnTo>
                      <a:lnTo>
                        <a:pt x="555" y="328"/>
                      </a:lnTo>
                      <a:lnTo>
                        <a:pt x="561" y="328"/>
                      </a:lnTo>
                      <a:lnTo>
                        <a:pt x="562" y="334"/>
                      </a:lnTo>
                      <a:lnTo>
                        <a:pt x="561" y="334"/>
                      </a:lnTo>
                      <a:lnTo>
                        <a:pt x="569" y="337"/>
                      </a:lnTo>
                      <a:lnTo>
                        <a:pt x="576" y="334"/>
                      </a:lnTo>
                      <a:lnTo>
                        <a:pt x="588" y="334"/>
                      </a:lnTo>
                      <a:lnTo>
                        <a:pt x="592" y="322"/>
                      </a:lnTo>
                      <a:lnTo>
                        <a:pt x="612" y="327"/>
                      </a:lnTo>
                      <a:lnTo>
                        <a:pt x="635" y="323"/>
                      </a:lnTo>
                      <a:lnTo>
                        <a:pt x="650" y="318"/>
                      </a:lnTo>
                      <a:lnTo>
                        <a:pt x="663" y="334"/>
                      </a:lnTo>
                      <a:lnTo>
                        <a:pt x="670" y="327"/>
                      </a:lnTo>
                      <a:lnTo>
                        <a:pt x="682" y="334"/>
                      </a:lnTo>
                      <a:lnTo>
                        <a:pt x="690" y="323"/>
                      </a:lnTo>
                      <a:lnTo>
                        <a:pt x="718" y="323"/>
                      </a:lnTo>
                      <a:lnTo>
                        <a:pt x="712" y="316"/>
                      </a:lnTo>
                      <a:lnTo>
                        <a:pt x="711" y="305"/>
                      </a:lnTo>
                      <a:lnTo>
                        <a:pt x="705" y="296"/>
                      </a:lnTo>
                      <a:lnTo>
                        <a:pt x="675" y="276"/>
                      </a:lnTo>
                      <a:lnTo>
                        <a:pt x="666" y="273"/>
                      </a:lnTo>
                      <a:lnTo>
                        <a:pt x="664" y="262"/>
                      </a:lnTo>
                      <a:lnTo>
                        <a:pt x="657" y="253"/>
                      </a:lnTo>
                      <a:lnTo>
                        <a:pt x="653" y="242"/>
                      </a:lnTo>
                      <a:lnTo>
                        <a:pt x="648" y="232"/>
                      </a:lnTo>
                      <a:lnTo>
                        <a:pt x="637" y="226"/>
                      </a:lnTo>
                      <a:lnTo>
                        <a:pt x="630" y="216"/>
                      </a:lnTo>
                      <a:lnTo>
                        <a:pt x="612" y="204"/>
                      </a:lnTo>
                      <a:lnTo>
                        <a:pt x="593" y="192"/>
                      </a:lnTo>
                      <a:lnTo>
                        <a:pt x="587" y="181"/>
                      </a:lnTo>
                      <a:lnTo>
                        <a:pt x="588" y="171"/>
                      </a:lnTo>
                      <a:lnTo>
                        <a:pt x="587" y="166"/>
                      </a:lnTo>
                      <a:lnTo>
                        <a:pt x="577" y="159"/>
                      </a:lnTo>
                      <a:lnTo>
                        <a:pt x="569" y="152"/>
                      </a:lnTo>
                      <a:lnTo>
                        <a:pt x="546" y="152"/>
                      </a:lnTo>
                      <a:lnTo>
                        <a:pt x="535" y="148"/>
                      </a:lnTo>
                      <a:lnTo>
                        <a:pt x="530" y="133"/>
                      </a:lnTo>
                      <a:lnTo>
                        <a:pt x="517" y="129"/>
                      </a:lnTo>
                      <a:lnTo>
                        <a:pt x="506" y="128"/>
                      </a:lnTo>
                      <a:lnTo>
                        <a:pt x="496" y="118"/>
                      </a:lnTo>
                      <a:lnTo>
                        <a:pt x="494" y="105"/>
                      </a:lnTo>
                      <a:lnTo>
                        <a:pt x="496" y="89"/>
                      </a:lnTo>
                      <a:lnTo>
                        <a:pt x="501" y="71"/>
                      </a:lnTo>
                      <a:lnTo>
                        <a:pt x="496" y="55"/>
                      </a:lnTo>
                      <a:lnTo>
                        <a:pt x="480" y="34"/>
                      </a:lnTo>
                      <a:lnTo>
                        <a:pt x="463" y="15"/>
                      </a:lnTo>
                      <a:lnTo>
                        <a:pt x="453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48" name="Freeform 36"/>
                <p:cNvSpPr>
                  <a:spLocks noChangeAspect="1"/>
                </p:cNvSpPr>
                <p:nvPr/>
              </p:nvSpPr>
              <p:spPr bwMode="gray">
                <a:xfrm>
                  <a:off x="4912518" y="3651597"/>
                  <a:ext cx="96838" cy="109538"/>
                </a:xfrm>
                <a:custGeom>
                  <a:avLst/>
                  <a:gdLst/>
                  <a:ahLst/>
                  <a:cxnLst>
                    <a:cxn ang="0">
                      <a:pos x="120" y="330"/>
                    </a:cxn>
                    <a:cxn ang="0">
                      <a:pos x="97" y="305"/>
                    </a:cxn>
                    <a:cxn ang="0">
                      <a:pos x="54" y="262"/>
                    </a:cxn>
                    <a:cxn ang="0">
                      <a:pos x="34" y="237"/>
                    </a:cxn>
                    <a:cxn ang="0">
                      <a:pos x="17" y="208"/>
                    </a:cxn>
                    <a:cxn ang="0">
                      <a:pos x="4" y="177"/>
                    </a:cxn>
                    <a:cxn ang="0">
                      <a:pos x="4" y="167"/>
                    </a:cxn>
                    <a:cxn ang="0">
                      <a:pos x="17" y="156"/>
                    </a:cxn>
                    <a:cxn ang="0">
                      <a:pos x="27" y="138"/>
                    </a:cxn>
                    <a:cxn ang="0">
                      <a:pos x="31" y="113"/>
                    </a:cxn>
                    <a:cxn ang="0">
                      <a:pos x="45" y="122"/>
                    </a:cxn>
                    <a:cxn ang="0">
                      <a:pos x="60" y="120"/>
                    </a:cxn>
                    <a:cxn ang="0">
                      <a:pos x="47" y="115"/>
                    </a:cxn>
                    <a:cxn ang="0">
                      <a:pos x="34" y="105"/>
                    </a:cxn>
                    <a:cxn ang="0">
                      <a:pos x="33" y="94"/>
                    </a:cxn>
                    <a:cxn ang="0">
                      <a:pos x="43" y="89"/>
                    </a:cxn>
                    <a:cxn ang="0">
                      <a:pos x="66" y="68"/>
                    </a:cxn>
                    <a:cxn ang="0">
                      <a:pos x="135" y="63"/>
                    </a:cxn>
                    <a:cxn ang="0">
                      <a:pos x="131" y="20"/>
                    </a:cxn>
                    <a:cxn ang="0">
                      <a:pos x="151" y="2"/>
                    </a:cxn>
                    <a:cxn ang="0">
                      <a:pos x="185" y="0"/>
                    </a:cxn>
                    <a:cxn ang="0">
                      <a:pos x="237" y="5"/>
                    </a:cxn>
                    <a:cxn ang="0">
                      <a:pos x="239" y="22"/>
                    </a:cxn>
                    <a:cxn ang="0">
                      <a:pos x="239" y="59"/>
                    </a:cxn>
                    <a:cxn ang="0">
                      <a:pos x="264" y="41"/>
                    </a:cxn>
                    <a:cxn ang="0">
                      <a:pos x="303" y="61"/>
                    </a:cxn>
                    <a:cxn ang="0">
                      <a:pos x="286" y="111"/>
                    </a:cxn>
                    <a:cxn ang="0">
                      <a:pos x="289" y="142"/>
                    </a:cxn>
                    <a:cxn ang="0">
                      <a:pos x="299" y="186"/>
                    </a:cxn>
                    <a:cxn ang="0">
                      <a:pos x="293" y="236"/>
                    </a:cxn>
                    <a:cxn ang="0">
                      <a:pos x="272" y="258"/>
                    </a:cxn>
                    <a:cxn ang="0">
                      <a:pos x="229" y="245"/>
                    </a:cxn>
                    <a:cxn ang="0">
                      <a:pos x="212" y="229"/>
                    </a:cxn>
                    <a:cxn ang="0">
                      <a:pos x="192" y="248"/>
                    </a:cxn>
                    <a:cxn ang="0">
                      <a:pos x="159" y="266"/>
                    </a:cxn>
                    <a:cxn ang="0">
                      <a:pos x="153" y="287"/>
                    </a:cxn>
                    <a:cxn ang="0">
                      <a:pos x="160" y="314"/>
                    </a:cxn>
                    <a:cxn ang="0">
                      <a:pos x="146" y="318"/>
                    </a:cxn>
                    <a:cxn ang="0">
                      <a:pos x="129" y="328"/>
                    </a:cxn>
                  </a:cxnLst>
                  <a:rect l="0" t="0" r="r" b="b"/>
                  <a:pathLst>
                    <a:path w="304" h="343">
                      <a:moveTo>
                        <a:pt x="127" y="343"/>
                      </a:moveTo>
                      <a:lnTo>
                        <a:pt x="120" y="330"/>
                      </a:lnTo>
                      <a:lnTo>
                        <a:pt x="110" y="320"/>
                      </a:lnTo>
                      <a:lnTo>
                        <a:pt x="97" y="305"/>
                      </a:lnTo>
                      <a:lnTo>
                        <a:pt x="61" y="274"/>
                      </a:lnTo>
                      <a:lnTo>
                        <a:pt x="54" y="262"/>
                      </a:lnTo>
                      <a:lnTo>
                        <a:pt x="45" y="251"/>
                      </a:lnTo>
                      <a:lnTo>
                        <a:pt x="34" y="237"/>
                      </a:lnTo>
                      <a:lnTo>
                        <a:pt x="27" y="231"/>
                      </a:lnTo>
                      <a:lnTo>
                        <a:pt x="17" y="208"/>
                      </a:lnTo>
                      <a:lnTo>
                        <a:pt x="13" y="194"/>
                      </a:lnTo>
                      <a:lnTo>
                        <a:pt x="4" y="177"/>
                      </a:lnTo>
                      <a:lnTo>
                        <a:pt x="0" y="169"/>
                      </a:lnTo>
                      <a:lnTo>
                        <a:pt x="4" y="167"/>
                      </a:lnTo>
                      <a:lnTo>
                        <a:pt x="12" y="165"/>
                      </a:lnTo>
                      <a:lnTo>
                        <a:pt x="17" y="156"/>
                      </a:lnTo>
                      <a:lnTo>
                        <a:pt x="24" y="150"/>
                      </a:lnTo>
                      <a:lnTo>
                        <a:pt x="27" y="138"/>
                      </a:lnTo>
                      <a:lnTo>
                        <a:pt x="28" y="113"/>
                      </a:lnTo>
                      <a:lnTo>
                        <a:pt x="31" y="113"/>
                      </a:lnTo>
                      <a:lnTo>
                        <a:pt x="36" y="118"/>
                      </a:lnTo>
                      <a:lnTo>
                        <a:pt x="45" y="122"/>
                      </a:lnTo>
                      <a:lnTo>
                        <a:pt x="57" y="122"/>
                      </a:lnTo>
                      <a:lnTo>
                        <a:pt x="60" y="120"/>
                      </a:lnTo>
                      <a:lnTo>
                        <a:pt x="56" y="117"/>
                      </a:lnTo>
                      <a:lnTo>
                        <a:pt x="47" y="115"/>
                      </a:lnTo>
                      <a:lnTo>
                        <a:pt x="40" y="110"/>
                      </a:lnTo>
                      <a:lnTo>
                        <a:pt x="34" y="105"/>
                      </a:lnTo>
                      <a:lnTo>
                        <a:pt x="30" y="99"/>
                      </a:lnTo>
                      <a:lnTo>
                        <a:pt x="33" y="94"/>
                      </a:lnTo>
                      <a:lnTo>
                        <a:pt x="40" y="94"/>
                      </a:lnTo>
                      <a:lnTo>
                        <a:pt x="43" y="89"/>
                      </a:lnTo>
                      <a:lnTo>
                        <a:pt x="43" y="73"/>
                      </a:lnTo>
                      <a:lnTo>
                        <a:pt x="66" y="68"/>
                      </a:lnTo>
                      <a:lnTo>
                        <a:pt x="137" y="65"/>
                      </a:lnTo>
                      <a:lnTo>
                        <a:pt x="135" y="63"/>
                      </a:lnTo>
                      <a:lnTo>
                        <a:pt x="132" y="43"/>
                      </a:lnTo>
                      <a:lnTo>
                        <a:pt x="131" y="20"/>
                      </a:lnTo>
                      <a:lnTo>
                        <a:pt x="137" y="5"/>
                      </a:lnTo>
                      <a:lnTo>
                        <a:pt x="151" y="2"/>
                      </a:lnTo>
                      <a:lnTo>
                        <a:pt x="165" y="4"/>
                      </a:lnTo>
                      <a:lnTo>
                        <a:pt x="185" y="0"/>
                      </a:lnTo>
                      <a:lnTo>
                        <a:pt x="201" y="4"/>
                      </a:lnTo>
                      <a:lnTo>
                        <a:pt x="237" y="5"/>
                      </a:lnTo>
                      <a:lnTo>
                        <a:pt x="245" y="8"/>
                      </a:lnTo>
                      <a:lnTo>
                        <a:pt x="239" y="22"/>
                      </a:lnTo>
                      <a:lnTo>
                        <a:pt x="238" y="41"/>
                      </a:lnTo>
                      <a:lnTo>
                        <a:pt x="239" y="59"/>
                      </a:lnTo>
                      <a:lnTo>
                        <a:pt x="248" y="64"/>
                      </a:lnTo>
                      <a:lnTo>
                        <a:pt x="264" y="41"/>
                      </a:lnTo>
                      <a:lnTo>
                        <a:pt x="293" y="48"/>
                      </a:lnTo>
                      <a:lnTo>
                        <a:pt x="303" y="61"/>
                      </a:lnTo>
                      <a:lnTo>
                        <a:pt x="304" y="81"/>
                      </a:lnTo>
                      <a:lnTo>
                        <a:pt x="286" y="111"/>
                      </a:lnTo>
                      <a:lnTo>
                        <a:pt x="285" y="128"/>
                      </a:lnTo>
                      <a:lnTo>
                        <a:pt x="289" y="142"/>
                      </a:lnTo>
                      <a:lnTo>
                        <a:pt x="300" y="170"/>
                      </a:lnTo>
                      <a:lnTo>
                        <a:pt x="299" y="186"/>
                      </a:lnTo>
                      <a:lnTo>
                        <a:pt x="296" y="199"/>
                      </a:lnTo>
                      <a:lnTo>
                        <a:pt x="293" y="236"/>
                      </a:lnTo>
                      <a:lnTo>
                        <a:pt x="288" y="253"/>
                      </a:lnTo>
                      <a:lnTo>
                        <a:pt x="272" y="258"/>
                      </a:lnTo>
                      <a:lnTo>
                        <a:pt x="254" y="242"/>
                      </a:lnTo>
                      <a:lnTo>
                        <a:pt x="229" y="245"/>
                      </a:lnTo>
                      <a:lnTo>
                        <a:pt x="219" y="234"/>
                      </a:lnTo>
                      <a:lnTo>
                        <a:pt x="212" y="229"/>
                      </a:lnTo>
                      <a:lnTo>
                        <a:pt x="201" y="237"/>
                      </a:lnTo>
                      <a:lnTo>
                        <a:pt x="192" y="248"/>
                      </a:lnTo>
                      <a:lnTo>
                        <a:pt x="169" y="257"/>
                      </a:lnTo>
                      <a:lnTo>
                        <a:pt x="159" y="266"/>
                      </a:lnTo>
                      <a:lnTo>
                        <a:pt x="154" y="274"/>
                      </a:lnTo>
                      <a:lnTo>
                        <a:pt x="153" y="287"/>
                      </a:lnTo>
                      <a:lnTo>
                        <a:pt x="158" y="299"/>
                      </a:lnTo>
                      <a:lnTo>
                        <a:pt x="160" y="314"/>
                      </a:lnTo>
                      <a:lnTo>
                        <a:pt x="158" y="318"/>
                      </a:lnTo>
                      <a:lnTo>
                        <a:pt x="146" y="318"/>
                      </a:lnTo>
                      <a:lnTo>
                        <a:pt x="135" y="321"/>
                      </a:lnTo>
                      <a:lnTo>
                        <a:pt x="129" y="328"/>
                      </a:lnTo>
                      <a:lnTo>
                        <a:pt x="127" y="343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49" name="Freeform 37"/>
                <p:cNvSpPr>
                  <a:spLocks noChangeAspect="1"/>
                </p:cNvSpPr>
                <p:nvPr/>
              </p:nvSpPr>
              <p:spPr bwMode="gray">
                <a:xfrm>
                  <a:off x="4466431" y="3449984"/>
                  <a:ext cx="53975" cy="14288"/>
                </a:xfrm>
                <a:custGeom>
                  <a:avLst/>
                  <a:gdLst/>
                  <a:ahLst/>
                  <a:cxnLst>
                    <a:cxn ang="0">
                      <a:pos x="4" y="44"/>
                    </a:cxn>
                    <a:cxn ang="0">
                      <a:pos x="8" y="38"/>
                    </a:cxn>
                    <a:cxn ang="0">
                      <a:pos x="47" y="34"/>
                    </a:cxn>
                    <a:cxn ang="0">
                      <a:pos x="55" y="34"/>
                    </a:cxn>
                    <a:cxn ang="0">
                      <a:pos x="56" y="34"/>
                    </a:cxn>
                    <a:cxn ang="0">
                      <a:pos x="59" y="27"/>
                    </a:cxn>
                    <a:cxn ang="0">
                      <a:pos x="64" y="26"/>
                    </a:cxn>
                    <a:cxn ang="0">
                      <a:pos x="67" y="27"/>
                    </a:cxn>
                    <a:cxn ang="0">
                      <a:pos x="80" y="26"/>
                    </a:cxn>
                    <a:cxn ang="0">
                      <a:pos x="88" y="22"/>
                    </a:cxn>
                    <a:cxn ang="0">
                      <a:pos x="92" y="17"/>
                    </a:cxn>
                    <a:cxn ang="0">
                      <a:pos x="94" y="16"/>
                    </a:cxn>
                    <a:cxn ang="0">
                      <a:pos x="101" y="17"/>
                    </a:cxn>
                    <a:cxn ang="0">
                      <a:pos x="104" y="21"/>
                    </a:cxn>
                    <a:cxn ang="0">
                      <a:pos x="112" y="23"/>
                    </a:cxn>
                    <a:cxn ang="0">
                      <a:pos x="120" y="28"/>
                    </a:cxn>
                    <a:cxn ang="0">
                      <a:pos x="128" y="29"/>
                    </a:cxn>
                    <a:cxn ang="0">
                      <a:pos x="136" y="33"/>
                    </a:cxn>
                    <a:cxn ang="0">
                      <a:pos x="144" y="33"/>
                    </a:cxn>
                    <a:cxn ang="0">
                      <a:pos x="146" y="34"/>
                    </a:cxn>
                    <a:cxn ang="0">
                      <a:pos x="152" y="31"/>
                    </a:cxn>
                    <a:cxn ang="0">
                      <a:pos x="164" y="28"/>
                    </a:cxn>
                    <a:cxn ang="0">
                      <a:pos x="168" y="24"/>
                    </a:cxn>
                    <a:cxn ang="0">
                      <a:pos x="168" y="21"/>
                    </a:cxn>
                    <a:cxn ang="0">
                      <a:pos x="168" y="16"/>
                    </a:cxn>
                    <a:cxn ang="0">
                      <a:pos x="167" y="16"/>
                    </a:cxn>
                    <a:cxn ang="0">
                      <a:pos x="164" y="16"/>
                    </a:cxn>
                    <a:cxn ang="0">
                      <a:pos x="161" y="15"/>
                    </a:cxn>
                    <a:cxn ang="0">
                      <a:pos x="156" y="15"/>
                    </a:cxn>
                    <a:cxn ang="0">
                      <a:pos x="152" y="16"/>
                    </a:cxn>
                    <a:cxn ang="0">
                      <a:pos x="141" y="21"/>
                    </a:cxn>
                    <a:cxn ang="0">
                      <a:pos x="136" y="20"/>
                    </a:cxn>
                    <a:cxn ang="0">
                      <a:pos x="130" y="17"/>
                    </a:cxn>
                    <a:cxn ang="0">
                      <a:pos x="126" y="11"/>
                    </a:cxn>
                    <a:cxn ang="0">
                      <a:pos x="125" y="10"/>
                    </a:cxn>
                    <a:cxn ang="0">
                      <a:pos x="113" y="10"/>
                    </a:cxn>
                    <a:cxn ang="0">
                      <a:pos x="107" y="2"/>
                    </a:cxn>
                    <a:cxn ang="0">
                      <a:pos x="101" y="1"/>
                    </a:cxn>
                    <a:cxn ang="0">
                      <a:pos x="98" y="0"/>
                    </a:cxn>
                    <a:cxn ang="0">
                      <a:pos x="92" y="1"/>
                    </a:cxn>
                    <a:cxn ang="0">
                      <a:pos x="87" y="4"/>
                    </a:cxn>
                    <a:cxn ang="0">
                      <a:pos x="81" y="2"/>
                    </a:cxn>
                    <a:cxn ang="0">
                      <a:pos x="76" y="7"/>
                    </a:cxn>
                    <a:cxn ang="0">
                      <a:pos x="72" y="13"/>
                    </a:cxn>
                    <a:cxn ang="0">
                      <a:pos x="16" y="13"/>
                    </a:cxn>
                    <a:cxn ang="0">
                      <a:pos x="15" y="13"/>
                    </a:cxn>
                    <a:cxn ang="0">
                      <a:pos x="13" y="17"/>
                    </a:cxn>
                    <a:cxn ang="0">
                      <a:pos x="15" y="21"/>
                    </a:cxn>
                    <a:cxn ang="0">
                      <a:pos x="8" y="20"/>
                    </a:cxn>
                    <a:cxn ang="0">
                      <a:pos x="6" y="21"/>
                    </a:cxn>
                    <a:cxn ang="0">
                      <a:pos x="4" y="26"/>
                    </a:cxn>
                    <a:cxn ang="0">
                      <a:pos x="1" y="28"/>
                    </a:cxn>
                    <a:cxn ang="0">
                      <a:pos x="0" y="34"/>
                    </a:cxn>
                    <a:cxn ang="0">
                      <a:pos x="1" y="44"/>
                    </a:cxn>
                    <a:cxn ang="0">
                      <a:pos x="2" y="45"/>
                    </a:cxn>
                    <a:cxn ang="0">
                      <a:pos x="4" y="44"/>
                    </a:cxn>
                  </a:cxnLst>
                  <a:rect l="0" t="0" r="r" b="b"/>
                  <a:pathLst>
                    <a:path w="168" h="45">
                      <a:moveTo>
                        <a:pt x="4" y="44"/>
                      </a:moveTo>
                      <a:lnTo>
                        <a:pt x="8" y="38"/>
                      </a:lnTo>
                      <a:lnTo>
                        <a:pt x="47" y="34"/>
                      </a:lnTo>
                      <a:lnTo>
                        <a:pt x="55" y="34"/>
                      </a:lnTo>
                      <a:lnTo>
                        <a:pt x="56" y="34"/>
                      </a:lnTo>
                      <a:lnTo>
                        <a:pt x="59" y="27"/>
                      </a:lnTo>
                      <a:lnTo>
                        <a:pt x="64" y="26"/>
                      </a:lnTo>
                      <a:lnTo>
                        <a:pt x="67" y="27"/>
                      </a:lnTo>
                      <a:lnTo>
                        <a:pt x="80" y="26"/>
                      </a:lnTo>
                      <a:lnTo>
                        <a:pt x="88" y="22"/>
                      </a:lnTo>
                      <a:lnTo>
                        <a:pt x="92" y="17"/>
                      </a:lnTo>
                      <a:lnTo>
                        <a:pt x="94" y="16"/>
                      </a:lnTo>
                      <a:lnTo>
                        <a:pt x="101" y="17"/>
                      </a:lnTo>
                      <a:lnTo>
                        <a:pt x="104" y="21"/>
                      </a:lnTo>
                      <a:lnTo>
                        <a:pt x="112" y="23"/>
                      </a:lnTo>
                      <a:lnTo>
                        <a:pt x="120" y="28"/>
                      </a:lnTo>
                      <a:lnTo>
                        <a:pt x="128" y="29"/>
                      </a:lnTo>
                      <a:lnTo>
                        <a:pt x="136" y="33"/>
                      </a:lnTo>
                      <a:lnTo>
                        <a:pt x="144" y="33"/>
                      </a:lnTo>
                      <a:lnTo>
                        <a:pt x="146" y="34"/>
                      </a:lnTo>
                      <a:lnTo>
                        <a:pt x="152" y="31"/>
                      </a:lnTo>
                      <a:lnTo>
                        <a:pt x="164" y="28"/>
                      </a:lnTo>
                      <a:lnTo>
                        <a:pt x="168" y="24"/>
                      </a:lnTo>
                      <a:lnTo>
                        <a:pt x="168" y="21"/>
                      </a:lnTo>
                      <a:lnTo>
                        <a:pt x="168" y="16"/>
                      </a:lnTo>
                      <a:lnTo>
                        <a:pt x="167" y="16"/>
                      </a:lnTo>
                      <a:lnTo>
                        <a:pt x="164" y="16"/>
                      </a:lnTo>
                      <a:lnTo>
                        <a:pt x="161" y="15"/>
                      </a:lnTo>
                      <a:lnTo>
                        <a:pt x="156" y="15"/>
                      </a:lnTo>
                      <a:lnTo>
                        <a:pt x="152" y="16"/>
                      </a:lnTo>
                      <a:lnTo>
                        <a:pt x="141" y="21"/>
                      </a:lnTo>
                      <a:lnTo>
                        <a:pt x="136" y="20"/>
                      </a:lnTo>
                      <a:lnTo>
                        <a:pt x="130" y="17"/>
                      </a:lnTo>
                      <a:lnTo>
                        <a:pt x="126" y="11"/>
                      </a:lnTo>
                      <a:lnTo>
                        <a:pt x="125" y="10"/>
                      </a:lnTo>
                      <a:lnTo>
                        <a:pt x="113" y="10"/>
                      </a:lnTo>
                      <a:lnTo>
                        <a:pt x="107" y="2"/>
                      </a:lnTo>
                      <a:lnTo>
                        <a:pt x="101" y="1"/>
                      </a:lnTo>
                      <a:lnTo>
                        <a:pt x="98" y="0"/>
                      </a:lnTo>
                      <a:lnTo>
                        <a:pt x="92" y="1"/>
                      </a:lnTo>
                      <a:lnTo>
                        <a:pt x="87" y="4"/>
                      </a:lnTo>
                      <a:lnTo>
                        <a:pt x="81" y="2"/>
                      </a:lnTo>
                      <a:lnTo>
                        <a:pt x="76" y="7"/>
                      </a:lnTo>
                      <a:lnTo>
                        <a:pt x="72" y="13"/>
                      </a:lnTo>
                      <a:lnTo>
                        <a:pt x="16" y="13"/>
                      </a:lnTo>
                      <a:lnTo>
                        <a:pt x="15" y="13"/>
                      </a:lnTo>
                      <a:lnTo>
                        <a:pt x="13" y="17"/>
                      </a:lnTo>
                      <a:lnTo>
                        <a:pt x="15" y="21"/>
                      </a:lnTo>
                      <a:lnTo>
                        <a:pt x="8" y="20"/>
                      </a:lnTo>
                      <a:lnTo>
                        <a:pt x="6" y="21"/>
                      </a:lnTo>
                      <a:lnTo>
                        <a:pt x="4" y="26"/>
                      </a:lnTo>
                      <a:lnTo>
                        <a:pt x="1" y="28"/>
                      </a:lnTo>
                      <a:lnTo>
                        <a:pt x="0" y="34"/>
                      </a:lnTo>
                      <a:lnTo>
                        <a:pt x="1" y="44"/>
                      </a:lnTo>
                      <a:lnTo>
                        <a:pt x="2" y="45"/>
                      </a:lnTo>
                      <a:lnTo>
                        <a:pt x="4" y="44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50" name="Freeform 38"/>
                <p:cNvSpPr>
                  <a:spLocks noChangeAspect="1"/>
                </p:cNvSpPr>
                <p:nvPr/>
              </p:nvSpPr>
              <p:spPr bwMode="gray">
                <a:xfrm>
                  <a:off x="4468018" y="3470622"/>
                  <a:ext cx="55563" cy="30163"/>
                </a:xfrm>
                <a:custGeom>
                  <a:avLst/>
                  <a:gdLst/>
                  <a:ahLst/>
                  <a:cxnLst>
                    <a:cxn ang="0">
                      <a:pos x="169" y="0"/>
                    </a:cxn>
                    <a:cxn ang="0">
                      <a:pos x="169" y="7"/>
                    </a:cxn>
                    <a:cxn ang="0">
                      <a:pos x="173" y="14"/>
                    </a:cxn>
                    <a:cxn ang="0">
                      <a:pos x="173" y="18"/>
                    </a:cxn>
                    <a:cxn ang="0">
                      <a:pos x="170" y="24"/>
                    </a:cxn>
                    <a:cxn ang="0">
                      <a:pos x="168" y="25"/>
                    </a:cxn>
                    <a:cxn ang="0">
                      <a:pos x="162" y="25"/>
                    </a:cxn>
                    <a:cxn ang="0">
                      <a:pos x="160" y="27"/>
                    </a:cxn>
                    <a:cxn ang="0">
                      <a:pos x="158" y="30"/>
                    </a:cxn>
                    <a:cxn ang="0">
                      <a:pos x="164" y="34"/>
                    </a:cxn>
                    <a:cxn ang="0">
                      <a:pos x="167" y="39"/>
                    </a:cxn>
                    <a:cxn ang="0">
                      <a:pos x="168" y="57"/>
                    </a:cxn>
                    <a:cxn ang="0">
                      <a:pos x="162" y="57"/>
                    </a:cxn>
                    <a:cxn ang="0">
                      <a:pos x="158" y="60"/>
                    </a:cxn>
                    <a:cxn ang="0">
                      <a:pos x="138" y="60"/>
                    </a:cxn>
                    <a:cxn ang="0">
                      <a:pos x="121" y="67"/>
                    </a:cxn>
                    <a:cxn ang="0">
                      <a:pos x="114" y="73"/>
                    </a:cxn>
                    <a:cxn ang="0">
                      <a:pos x="110" y="81"/>
                    </a:cxn>
                    <a:cxn ang="0">
                      <a:pos x="106" y="89"/>
                    </a:cxn>
                    <a:cxn ang="0">
                      <a:pos x="104" y="93"/>
                    </a:cxn>
                    <a:cxn ang="0">
                      <a:pos x="99" y="97"/>
                    </a:cxn>
                    <a:cxn ang="0">
                      <a:pos x="93" y="99"/>
                    </a:cxn>
                    <a:cxn ang="0">
                      <a:pos x="93" y="95"/>
                    </a:cxn>
                    <a:cxn ang="0">
                      <a:pos x="94" y="93"/>
                    </a:cxn>
                    <a:cxn ang="0">
                      <a:pos x="86" y="94"/>
                    </a:cxn>
                    <a:cxn ang="0">
                      <a:pos x="81" y="93"/>
                    </a:cxn>
                    <a:cxn ang="0">
                      <a:pos x="76" y="87"/>
                    </a:cxn>
                    <a:cxn ang="0">
                      <a:pos x="74" y="79"/>
                    </a:cxn>
                    <a:cxn ang="0">
                      <a:pos x="77" y="70"/>
                    </a:cxn>
                    <a:cxn ang="0">
                      <a:pos x="72" y="58"/>
                    </a:cxn>
                    <a:cxn ang="0">
                      <a:pos x="79" y="54"/>
                    </a:cxn>
                    <a:cxn ang="0">
                      <a:pos x="84" y="51"/>
                    </a:cxn>
                    <a:cxn ang="0">
                      <a:pos x="103" y="50"/>
                    </a:cxn>
                    <a:cxn ang="0">
                      <a:pos x="104" y="45"/>
                    </a:cxn>
                    <a:cxn ang="0">
                      <a:pos x="81" y="47"/>
                    </a:cxn>
                    <a:cxn ang="0">
                      <a:pos x="72" y="50"/>
                    </a:cxn>
                    <a:cxn ang="0">
                      <a:pos x="59" y="57"/>
                    </a:cxn>
                    <a:cxn ang="0">
                      <a:pos x="51" y="58"/>
                    </a:cxn>
                    <a:cxn ang="0">
                      <a:pos x="47" y="57"/>
                    </a:cxn>
                    <a:cxn ang="0">
                      <a:pos x="46" y="49"/>
                    </a:cxn>
                    <a:cxn ang="0">
                      <a:pos x="40" y="50"/>
                    </a:cxn>
                    <a:cxn ang="0">
                      <a:pos x="30" y="47"/>
                    </a:cxn>
                    <a:cxn ang="0">
                      <a:pos x="27" y="43"/>
                    </a:cxn>
                    <a:cxn ang="0">
                      <a:pos x="25" y="34"/>
                    </a:cxn>
                    <a:cxn ang="0">
                      <a:pos x="4" y="28"/>
                    </a:cxn>
                    <a:cxn ang="0">
                      <a:pos x="0" y="20"/>
                    </a:cxn>
                    <a:cxn ang="0">
                      <a:pos x="2" y="17"/>
                    </a:cxn>
                    <a:cxn ang="0">
                      <a:pos x="3" y="19"/>
                    </a:cxn>
                    <a:cxn ang="0">
                      <a:pos x="7" y="20"/>
                    </a:cxn>
                    <a:cxn ang="0">
                      <a:pos x="14" y="20"/>
                    </a:cxn>
                    <a:cxn ang="0">
                      <a:pos x="25" y="15"/>
                    </a:cxn>
                    <a:cxn ang="0">
                      <a:pos x="29" y="13"/>
                    </a:cxn>
                    <a:cxn ang="0">
                      <a:pos x="59" y="14"/>
                    </a:cxn>
                    <a:cxn ang="0">
                      <a:pos x="68" y="12"/>
                    </a:cxn>
                    <a:cxn ang="0">
                      <a:pos x="79" y="7"/>
                    </a:cxn>
                    <a:cxn ang="0">
                      <a:pos x="92" y="1"/>
                    </a:cxn>
                    <a:cxn ang="0">
                      <a:pos x="116" y="1"/>
                    </a:cxn>
                    <a:cxn ang="0">
                      <a:pos x="119" y="0"/>
                    </a:cxn>
                    <a:cxn ang="0">
                      <a:pos x="169" y="0"/>
                    </a:cxn>
                  </a:cxnLst>
                  <a:rect l="0" t="0" r="r" b="b"/>
                  <a:pathLst>
                    <a:path w="173" h="99">
                      <a:moveTo>
                        <a:pt x="169" y="0"/>
                      </a:moveTo>
                      <a:lnTo>
                        <a:pt x="169" y="7"/>
                      </a:lnTo>
                      <a:lnTo>
                        <a:pt x="173" y="14"/>
                      </a:lnTo>
                      <a:lnTo>
                        <a:pt x="173" y="18"/>
                      </a:lnTo>
                      <a:lnTo>
                        <a:pt x="170" y="24"/>
                      </a:lnTo>
                      <a:lnTo>
                        <a:pt x="168" y="25"/>
                      </a:lnTo>
                      <a:lnTo>
                        <a:pt x="162" y="25"/>
                      </a:lnTo>
                      <a:lnTo>
                        <a:pt x="160" y="27"/>
                      </a:lnTo>
                      <a:lnTo>
                        <a:pt x="158" y="30"/>
                      </a:lnTo>
                      <a:lnTo>
                        <a:pt x="164" y="34"/>
                      </a:lnTo>
                      <a:lnTo>
                        <a:pt x="167" y="39"/>
                      </a:lnTo>
                      <a:lnTo>
                        <a:pt x="168" y="57"/>
                      </a:lnTo>
                      <a:lnTo>
                        <a:pt x="162" y="57"/>
                      </a:lnTo>
                      <a:lnTo>
                        <a:pt x="158" y="60"/>
                      </a:lnTo>
                      <a:lnTo>
                        <a:pt x="138" y="60"/>
                      </a:lnTo>
                      <a:lnTo>
                        <a:pt x="121" y="67"/>
                      </a:lnTo>
                      <a:lnTo>
                        <a:pt x="114" y="73"/>
                      </a:lnTo>
                      <a:lnTo>
                        <a:pt x="110" y="81"/>
                      </a:lnTo>
                      <a:lnTo>
                        <a:pt x="106" y="89"/>
                      </a:lnTo>
                      <a:lnTo>
                        <a:pt x="104" y="93"/>
                      </a:lnTo>
                      <a:lnTo>
                        <a:pt x="99" y="97"/>
                      </a:lnTo>
                      <a:lnTo>
                        <a:pt x="93" y="99"/>
                      </a:lnTo>
                      <a:lnTo>
                        <a:pt x="93" y="95"/>
                      </a:lnTo>
                      <a:lnTo>
                        <a:pt x="94" y="93"/>
                      </a:lnTo>
                      <a:lnTo>
                        <a:pt x="86" y="94"/>
                      </a:lnTo>
                      <a:lnTo>
                        <a:pt x="81" y="93"/>
                      </a:lnTo>
                      <a:lnTo>
                        <a:pt x="76" y="87"/>
                      </a:lnTo>
                      <a:lnTo>
                        <a:pt x="74" y="79"/>
                      </a:lnTo>
                      <a:lnTo>
                        <a:pt x="77" y="70"/>
                      </a:lnTo>
                      <a:lnTo>
                        <a:pt x="72" y="58"/>
                      </a:lnTo>
                      <a:lnTo>
                        <a:pt x="79" y="54"/>
                      </a:lnTo>
                      <a:lnTo>
                        <a:pt x="84" y="51"/>
                      </a:lnTo>
                      <a:lnTo>
                        <a:pt x="103" y="50"/>
                      </a:lnTo>
                      <a:lnTo>
                        <a:pt x="104" y="45"/>
                      </a:lnTo>
                      <a:lnTo>
                        <a:pt x="81" y="47"/>
                      </a:lnTo>
                      <a:lnTo>
                        <a:pt x="72" y="50"/>
                      </a:lnTo>
                      <a:lnTo>
                        <a:pt x="59" y="57"/>
                      </a:lnTo>
                      <a:lnTo>
                        <a:pt x="51" y="58"/>
                      </a:lnTo>
                      <a:lnTo>
                        <a:pt x="47" y="57"/>
                      </a:lnTo>
                      <a:lnTo>
                        <a:pt x="46" y="49"/>
                      </a:lnTo>
                      <a:lnTo>
                        <a:pt x="40" y="50"/>
                      </a:lnTo>
                      <a:lnTo>
                        <a:pt x="30" y="47"/>
                      </a:lnTo>
                      <a:lnTo>
                        <a:pt x="27" y="43"/>
                      </a:lnTo>
                      <a:lnTo>
                        <a:pt x="25" y="34"/>
                      </a:lnTo>
                      <a:lnTo>
                        <a:pt x="4" y="28"/>
                      </a:lnTo>
                      <a:lnTo>
                        <a:pt x="0" y="20"/>
                      </a:lnTo>
                      <a:lnTo>
                        <a:pt x="2" y="17"/>
                      </a:lnTo>
                      <a:lnTo>
                        <a:pt x="3" y="19"/>
                      </a:lnTo>
                      <a:lnTo>
                        <a:pt x="7" y="20"/>
                      </a:lnTo>
                      <a:lnTo>
                        <a:pt x="14" y="20"/>
                      </a:lnTo>
                      <a:lnTo>
                        <a:pt x="25" y="15"/>
                      </a:lnTo>
                      <a:lnTo>
                        <a:pt x="29" y="13"/>
                      </a:lnTo>
                      <a:lnTo>
                        <a:pt x="59" y="14"/>
                      </a:lnTo>
                      <a:lnTo>
                        <a:pt x="68" y="12"/>
                      </a:lnTo>
                      <a:lnTo>
                        <a:pt x="79" y="7"/>
                      </a:lnTo>
                      <a:lnTo>
                        <a:pt x="92" y="1"/>
                      </a:lnTo>
                      <a:lnTo>
                        <a:pt x="116" y="1"/>
                      </a:lnTo>
                      <a:lnTo>
                        <a:pt x="119" y="0"/>
                      </a:lnTo>
                      <a:lnTo>
                        <a:pt x="169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51" name="Freeform 39"/>
                <p:cNvSpPr>
                  <a:spLocks noChangeAspect="1"/>
                </p:cNvSpPr>
                <p:nvPr/>
              </p:nvSpPr>
              <p:spPr bwMode="gray">
                <a:xfrm>
                  <a:off x="4560093" y="3543647"/>
                  <a:ext cx="71438" cy="73025"/>
                </a:xfrm>
                <a:custGeom>
                  <a:avLst/>
                  <a:gdLst/>
                  <a:ahLst/>
                  <a:cxnLst>
                    <a:cxn ang="0">
                      <a:pos x="4" y="86"/>
                    </a:cxn>
                    <a:cxn ang="0">
                      <a:pos x="10" y="77"/>
                    </a:cxn>
                    <a:cxn ang="0">
                      <a:pos x="13" y="71"/>
                    </a:cxn>
                    <a:cxn ang="0">
                      <a:pos x="19" y="68"/>
                    </a:cxn>
                    <a:cxn ang="0">
                      <a:pos x="31" y="57"/>
                    </a:cxn>
                    <a:cxn ang="0">
                      <a:pos x="41" y="49"/>
                    </a:cxn>
                    <a:cxn ang="0">
                      <a:pos x="47" y="44"/>
                    </a:cxn>
                    <a:cxn ang="0">
                      <a:pos x="51" y="27"/>
                    </a:cxn>
                    <a:cxn ang="0">
                      <a:pos x="58" y="19"/>
                    </a:cxn>
                    <a:cxn ang="0">
                      <a:pos x="68" y="17"/>
                    </a:cxn>
                    <a:cxn ang="0">
                      <a:pos x="65" y="8"/>
                    </a:cxn>
                    <a:cxn ang="0">
                      <a:pos x="71" y="2"/>
                    </a:cxn>
                    <a:cxn ang="0">
                      <a:pos x="79" y="1"/>
                    </a:cxn>
                    <a:cxn ang="0">
                      <a:pos x="86" y="6"/>
                    </a:cxn>
                    <a:cxn ang="0">
                      <a:pos x="97" y="1"/>
                    </a:cxn>
                    <a:cxn ang="0">
                      <a:pos x="100" y="3"/>
                    </a:cxn>
                    <a:cxn ang="0">
                      <a:pos x="110" y="12"/>
                    </a:cxn>
                    <a:cxn ang="0">
                      <a:pos x="114" y="25"/>
                    </a:cxn>
                    <a:cxn ang="0">
                      <a:pos x="118" y="41"/>
                    </a:cxn>
                    <a:cxn ang="0">
                      <a:pos x="114" y="60"/>
                    </a:cxn>
                    <a:cxn ang="0">
                      <a:pos x="110" y="65"/>
                    </a:cxn>
                    <a:cxn ang="0">
                      <a:pos x="116" y="66"/>
                    </a:cxn>
                    <a:cxn ang="0">
                      <a:pos x="122" y="64"/>
                    </a:cxn>
                    <a:cxn ang="0">
                      <a:pos x="132" y="75"/>
                    </a:cxn>
                    <a:cxn ang="0">
                      <a:pos x="139" y="71"/>
                    </a:cxn>
                    <a:cxn ang="0">
                      <a:pos x="148" y="66"/>
                    </a:cxn>
                    <a:cxn ang="0">
                      <a:pos x="153" y="51"/>
                    </a:cxn>
                    <a:cxn ang="0">
                      <a:pos x="162" y="50"/>
                    </a:cxn>
                    <a:cxn ang="0">
                      <a:pos x="167" y="61"/>
                    </a:cxn>
                    <a:cxn ang="0">
                      <a:pos x="171" y="71"/>
                    </a:cxn>
                    <a:cxn ang="0">
                      <a:pos x="173" y="76"/>
                    </a:cxn>
                    <a:cxn ang="0">
                      <a:pos x="175" y="95"/>
                    </a:cxn>
                    <a:cxn ang="0">
                      <a:pos x="165" y="105"/>
                    </a:cxn>
                    <a:cxn ang="0">
                      <a:pos x="161" y="113"/>
                    </a:cxn>
                    <a:cxn ang="0">
                      <a:pos x="165" y="115"/>
                    </a:cxn>
                    <a:cxn ang="0">
                      <a:pos x="170" y="116"/>
                    </a:cxn>
                    <a:cxn ang="0">
                      <a:pos x="176" y="118"/>
                    </a:cxn>
                    <a:cxn ang="0">
                      <a:pos x="193" y="123"/>
                    </a:cxn>
                    <a:cxn ang="0">
                      <a:pos x="199" y="130"/>
                    </a:cxn>
                    <a:cxn ang="0">
                      <a:pos x="202" y="135"/>
                    </a:cxn>
                    <a:cxn ang="0">
                      <a:pos x="207" y="143"/>
                    </a:cxn>
                    <a:cxn ang="0">
                      <a:pos x="218" y="150"/>
                    </a:cxn>
                    <a:cxn ang="0">
                      <a:pos x="224" y="153"/>
                    </a:cxn>
                    <a:cxn ang="0">
                      <a:pos x="227" y="164"/>
                    </a:cxn>
                    <a:cxn ang="0">
                      <a:pos x="227" y="177"/>
                    </a:cxn>
                    <a:cxn ang="0">
                      <a:pos x="223" y="178"/>
                    </a:cxn>
                    <a:cxn ang="0">
                      <a:pos x="221" y="189"/>
                    </a:cxn>
                    <a:cxn ang="0">
                      <a:pos x="218" y="191"/>
                    </a:cxn>
                    <a:cxn ang="0">
                      <a:pos x="216" y="201"/>
                    </a:cxn>
                    <a:cxn ang="0">
                      <a:pos x="196" y="224"/>
                    </a:cxn>
                    <a:cxn ang="0">
                      <a:pos x="186" y="217"/>
                    </a:cxn>
                    <a:cxn ang="0">
                      <a:pos x="169" y="215"/>
                    </a:cxn>
                    <a:cxn ang="0">
                      <a:pos x="154" y="206"/>
                    </a:cxn>
                    <a:cxn ang="0">
                      <a:pos x="133" y="193"/>
                    </a:cxn>
                    <a:cxn ang="0">
                      <a:pos x="105" y="169"/>
                    </a:cxn>
                    <a:cxn ang="0">
                      <a:pos x="64" y="135"/>
                    </a:cxn>
                    <a:cxn ang="0">
                      <a:pos x="49" y="129"/>
                    </a:cxn>
                    <a:cxn ang="0">
                      <a:pos x="28" y="109"/>
                    </a:cxn>
                    <a:cxn ang="0">
                      <a:pos x="16" y="103"/>
                    </a:cxn>
                    <a:cxn ang="0">
                      <a:pos x="15" y="95"/>
                    </a:cxn>
                    <a:cxn ang="0">
                      <a:pos x="3" y="88"/>
                    </a:cxn>
                    <a:cxn ang="0">
                      <a:pos x="3" y="87"/>
                    </a:cxn>
                  </a:cxnLst>
                  <a:rect l="0" t="0" r="r" b="b"/>
                  <a:pathLst>
                    <a:path w="226" h="228">
                      <a:moveTo>
                        <a:pt x="3" y="86"/>
                      </a:moveTo>
                      <a:lnTo>
                        <a:pt x="4" y="86"/>
                      </a:lnTo>
                      <a:lnTo>
                        <a:pt x="9" y="83"/>
                      </a:lnTo>
                      <a:lnTo>
                        <a:pt x="10" y="77"/>
                      </a:lnTo>
                      <a:lnTo>
                        <a:pt x="13" y="76"/>
                      </a:lnTo>
                      <a:lnTo>
                        <a:pt x="13" y="71"/>
                      </a:lnTo>
                      <a:lnTo>
                        <a:pt x="14" y="68"/>
                      </a:lnTo>
                      <a:lnTo>
                        <a:pt x="19" y="68"/>
                      </a:lnTo>
                      <a:lnTo>
                        <a:pt x="22" y="66"/>
                      </a:lnTo>
                      <a:lnTo>
                        <a:pt x="31" y="57"/>
                      </a:lnTo>
                      <a:lnTo>
                        <a:pt x="37" y="56"/>
                      </a:lnTo>
                      <a:lnTo>
                        <a:pt x="41" y="49"/>
                      </a:lnTo>
                      <a:lnTo>
                        <a:pt x="44" y="49"/>
                      </a:lnTo>
                      <a:lnTo>
                        <a:pt x="47" y="44"/>
                      </a:lnTo>
                      <a:lnTo>
                        <a:pt x="51" y="43"/>
                      </a:lnTo>
                      <a:lnTo>
                        <a:pt x="51" y="27"/>
                      </a:lnTo>
                      <a:lnTo>
                        <a:pt x="53" y="25"/>
                      </a:lnTo>
                      <a:lnTo>
                        <a:pt x="58" y="19"/>
                      </a:lnTo>
                      <a:lnTo>
                        <a:pt x="68" y="18"/>
                      </a:lnTo>
                      <a:lnTo>
                        <a:pt x="68" y="17"/>
                      </a:lnTo>
                      <a:lnTo>
                        <a:pt x="64" y="13"/>
                      </a:lnTo>
                      <a:lnTo>
                        <a:pt x="65" y="8"/>
                      </a:lnTo>
                      <a:lnTo>
                        <a:pt x="69" y="8"/>
                      </a:lnTo>
                      <a:lnTo>
                        <a:pt x="71" y="2"/>
                      </a:lnTo>
                      <a:lnTo>
                        <a:pt x="75" y="0"/>
                      </a:lnTo>
                      <a:lnTo>
                        <a:pt x="79" y="1"/>
                      </a:lnTo>
                      <a:lnTo>
                        <a:pt x="85" y="6"/>
                      </a:lnTo>
                      <a:lnTo>
                        <a:pt x="86" y="6"/>
                      </a:lnTo>
                      <a:lnTo>
                        <a:pt x="89" y="3"/>
                      </a:lnTo>
                      <a:lnTo>
                        <a:pt x="97" y="1"/>
                      </a:lnTo>
                      <a:lnTo>
                        <a:pt x="100" y="2"/>
                      </a:lnTo>
                      <a:lnTo>
                        <a:pt x="100" y="3"/>
                      </a:lnTo>
                      <a:lnTo>
                        <a:pt x="102" y="7"/>
                      </a:lnTo>
                      <a:lnTo>
                        <a:pt x="110" y="12"/>
                      </a:lnTo>
                      <a:lnTo>
                        <a:pt x="110" y="19"/>
                      </a:lnTo>
                      <a:lnTo>
                        <a:pt x="114" y="25"/>
                      </a:lnTo>
                      <a:lnTo>
                        <a:pt x="116" y="39"/>
                      </a:lnTo>
                      <a:lnTo>
                        <a:pt x="118" y="41"/>
                      </a:lnTo>
                      <a:lnTo>
                        <a:pt x="117" y="56"/>
                      </a:lnTo>
                      <a:lnTo>
                        <a:pt x="114" y="60"/>
                      </a:lnTo>
                      <a:lnTo>
                        <a:pt x="111" y="62"/>
                      </a:lnTo>
                      <a:lnTo>
                        <a:pt x="110" y="65"/>
                      </a:lnTo>
                      <a:lnTo>
                        <a:pt x="111" y="66"/>
                      </a:lnTo>
                      <a:lnTo>
                        <a:pt x="116" y="66"/>
                      </a:lnTo>
                      <a:lnTo>
                        <a:pt x="119" y="62"/>
                      </a:lnTo>
                      <a:lnTo>
                        <a:pt x="122" y="64"/>
                      </a:lnTo>
                      <a:lnTo>
                        <a:pt x="127" y="67"/>
                      </a:lnTo>
                      <a:lnTo>
                        <a:pt x="132" y="75"/>
                      </a:lnTo>
                      <a:lnTo>
                        <a:pt x="137" y="73"/>
                      </a:lnTo>
                      <a:lnTo>
                        <a:pt x="139" y="71"/>
                      </a:lnTo>
                      <a:lnTo>
                        <a:pt x="146" y="70"/>
                      </a:lnTo>
                      <a:lnTo>
                        <a:pt x="148" y="66"/>
                      </a:lnTo>
                      <a:lnTo>
                        <a:pt x="153" y="60"/>
                      </a:lnTo>
                      <a:lnTo>
                        <a:pt x="153" y="51"/>
                      </a:lnTo>
                      <a:lnTo>
                        <a:pt x="156" y="49"/>
                      </a:lnTo>
                      <a:lnTo>
                        <a:pt x="162" y="50"/>
                      </a:lnTo>
                      <a:lnTo>
                        <a:pt x="166" y="56"/>
                      </a:lnTo>
                      <a:lnTo>
                        <a:pt x="167" y="61"/>
                      </a:lnTo>
                      <a:lnTo>
                        <a:pt x="169" y="70"/>
                      </a:lnTo>
                      <a:lnTo>
                        <a:pt x="171" y="71"/>
                      </a:lnTo>
                      <a:lnTo>
                        <a:pt x="173" y="75"/>
                      </a:lnTo>
                      <a:lnTo>
                        <a:pt x="173" y="76"/>
                      </a:lnTo>
                      <a:lnTo>
                        <a:pt x="178" y="80"/>
                      </a:lnTo>
                      <a:lnTo>
                        <a:pt x="175" y="95"/>
                      </a:lnTo>
                      <a:lnTo>
                        <a:pt x="173" y="98"/>
                      </a:lnTo>
                      <a:lnTo>
                        <a:pt x="165" y="105"/>
                      </a:lnTo>
                      <a:lnTo>
                        <a:pt x="161" y="111"/>
                      </a:lnTo>
                      <a:lnTo>
                        <a:pt x="161" y="113"/>
                      </a:lnTo>
                      <a:lnTo>
                        <a:pt x="164" y="113"/>
                      </a:lnTo>
                      <a:lnTo>
                        <a:pt x="165" y="115"/>
                      </a:lnTo>
                      <a:lnTo>
                        <a:pt x="169" y="114"/>
                      </a:lnTo>
                      <a:lnTo>
                        <a:pt x="170" y="116"/>
                      </a:lnTo>
                      <a:lnTo>
                        <a:pt x="172" y="118"/>
                      </a:lnTo>
                      <a:lnTo>
                        <a:pt x="176" y="118"/>
                      </a:lnTo>
                      <a:lnTo>
                        <a:pt x="183" y="123"/>
                      </a:lnTo>
                      <a:lnTo>
                        <a:pt x="193" y="123"/>
                      </a:lnTo>
                      <a:lnTo>
                        <a:pt x="196" y="123"/>
                      </a:lnTo>
                      <a:lnTo>
                        <a:pt x="199" y="130"/>
                      </a:lnTo>
                      <a:lnTo>
                        <a:pt x="199" y="134"/>
                      </a:lnTo>
                      <a:lnTo>
                        <a:pt x="202" y="135"/>
                      </a:lnTo>
                      <a:lnTo>
                        <a:pt x="205" y="140"/>
                      </a:lnTo>
                      <a:lnTo>
                        <a:pt x="207" y="143"/>
                      </a:lnTo>
                      <a:lnTo>
                        <a:pt x="213" y="145"/>
                      </a:lnTo>
                      <a:lnTo>
                        <a:pt x="218" y="150"/>
                      </a:lnTo>
                      <a:lnTo>
                        <a:pt x="224" y="148"/>
                      </a:lnTo>
                      <a:lnTo>
                        <a:pt x="224" y="153"/>
                      </a:lnTo>
                      <a:lnTo>
                        <a:pt x="226" y="158"/>
                      </a:lnTo>
                      <a:lnTo>
                        <a:pt x="227" y="164"/>
                      </a:lnTo>
                      <a:lnTo>
                        <a:pt x="225" y="172"/>
                      </a:lnTo>
                      <a:lnTo>
                        <a:pt x="227" y="177"/>
                      </a:lnTo>
                      <a:lnTo>
                        <a:pt x="227" y="178"/>
                      </a:lnTo>
                      <a:lnTo>
                        <a:pt x="223" y="178"/>
                      </a:lnTo>
                      <a:lnTo>
                        <a:pt x="221" y="181"/>
                      </a:lnTo>
                      <a:lnTo>
                        <a:pt x="221" y="189"/>
                      </a:lnTo>
                      <a:lnTo>
                        <a:pt x="218" y="189"/>
                      </a:lnTo>
                      <a:lnTo>
                        <a:pt x="218" y="191"/>
                      </a:lnTo>
                      <a:lnTo>
                        <a:pt x="218" y="196"/>
                      </a:lnTo>
                      <a:lnTo>
                        <a:pt x="216" y="201"/>
                      </a:lnTo>
                      <a:lnTo>
                        <a:pt x="218" y="228"/>
                      </a:lnTo>
                      <a:lnTo>
                        <a:pt x="196" y="224"/>
                      </a:lnTo>
                      <a:lnTo>
                        <a:pt x="189" y="220"/>
                      </a:lnTo>
                      <a:lnTo>
                        <a:pt x="186" y="217"/>
                      </a:lnTo>
                      <a:lnTo>
                        <a:pt x="180" y="217"/>
                      </a:lnTo>
                      <a:lnTo>
                        <a:pt x="169" y="215"/>
                      </a:lnTo>
                      <a:lnTo>
                        <a:pt x="160" y="210"/>
                      </a:lnTo>
                      <a:lnTo>
                        <a:pt x="154" y="206"/>
                      </a:lnTo>
                      <a:lnTo>
                        <a:pt x="144" y="201"/>
                      </a:lnTo>
                      <a:lnTo>
                        <a:pt x="133" y="193"/>
                      </a:lnTo>
                      <a:lnTo>
                        <a:pt x="119" y="188"/>
                      </a:lnTo>
                      <a:lnTo>
                        <a:pt x="105" y="169"/>
                      </a:lnTo>
                      <a:lnTo>
                        <a:pt x="69" y="141"/>
                      </a:lnTo>
                      <a:lnTo>
                        <a:pt x="64" y="135"/>
                      </a:lnTo>
                      <a:lnTo>
                        <a:pt x="59" y="131"/>
                      </a:lnTo>
                      <a:lnTo>
                        <a:pt x="49" y="129"/>
                      </a:lnTo>
                      <a:lnTo>
                        <a:pt x="36" y="123"/>
                      </a:lnTo>
                      <a:lnTo>
                        <a:pt x="28" y="109"/>
                      </a:lnTo>
                      <a:lnTo>
                        <a:pt x="19" y="105"/>
                      </a:lnTo>
                      <a:lnTo>
                        <a:pt x="16" y="103"/>
                      </a:lnTo>
                      <a:lnTo>
                        <a:pt x="16" y="98"/>
                      </a:lnTo>
                      <a:lnTo>
                        <a:pt x="15" y="95"/>
                      </a:lnTo>
                      <a:lnTo>
                        <a:pt x="4" y="92"/>
                      </a:lnTo>
                      <a:lnTo>
                        <a:pt x="3" y="88"/>
                      </a:lnTo>
                      <a:lnTo>
                        <a:pt x="0" y="88"/>
                      </a:lnTo>
                      <a:lnTo>
                        <a:pt x="3" y="87"/>
                      </a:lnTo>
                      <a:lnTo>
                        <a:pt x="3" y="8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52" name="Freeform 40"/>
                <p:cNvSpPr>
                  <a:spLocks noChangeAspect="1"/>
                </p:cNvSpPr>
                <p:nvPr/>
              </p:nvSpPr>
              <p:spPr bwMode="gray">
                <a:xfrm>
                  <a:off x="4806156" y="3449984"/>
                  <a:ext cx="204788" cy="169863"/>
                </a:xfrm>
                <a:custGeom>
                  <a:avLst/>
                  <a:gdLst/>
                  <a:ahLst/>
                  <a:cxnLst>
                    <a:cxn ang="0">
                      <a:pos x="48" y="85"/>
                    </a:cxn>
                    <a:cxn ang="0">
                      <a:pos x="55" y="67"/>
                    </a:cxn>
                    <a:cxn ang="0">
                      <a:pos x="75" y="43"/>
                    </a:cxn>
                    <a:cxn ang="0">
                      <a:pos x="96" y="9"/>
                    </a:cxn>
                    <a:cxn ang="0">
                      <a:pos x="139" y="3"/>
                    </a:cxn>
                    <a:cxn ang="0">
                      <a:pos x="199" y="20"/>
                    </a:cxn>
                    <a:cxn ang="0">
                      <a:pos x="233" y="48"/>
                    </a:cxn>
                    <a:cxn ang="0">
                      <a:pos x="264" y="30"/>
                    </a:cxn>
                    <a:cxn ang="0">
                      <a:pos x="303" y="37"/>
                    </a:cxn>
                    <a:cxn ang="0">
                      <a:pos x="362" y="58"/>
                    </a:cxn>
                    <a:cxn ang="0">
                      <a:pos x="406" y="32"/>
                    </a:cxn>
                    <a:cxn ang="0">
                      <a:pos x="459" y="30"/>
                    </a:cxn>
                    <a:cxn ang="0">
                      <a:pos x="496" y="26"/>
                    </a:cxn>
                    <a:cxn ang="0">
                      <a:pos x="517" y="36"/>
                    </a:cxn>
                    <a:cxn ang="0">
                      <a:pos x="544" y="22"/>
                    </a:cxn>
                    <a:cxn ang="0">
                      <a:pos x="558" y="15"/>
                    </a:cxn>
                    <a:cxn ang="0">
                      <a:pos x="571" y="3"/>
                    </a:cxn>
                    <a:cxn ang="0">
                      <a:pos x="581" y="20"/>
                    </a:cxn>
                    <a:cxn ang="0">
                      <a:pos x="604" y="43"/>
                    </a:cxn>
                    <a:cxn ang="0">
                      <a:pos x="624" y="76"/>
                    </a:cxn>
                    <a:cxn ang="0">
                      <a:pos x="639" y="84"/>
                    </a:cxn>
                    <a:cxn ang="0">
                      <a:pos x="642" y="119"/>
                    </a:cxn>
                    <a:cxn ang="0">
                      <a:pos x="604" y="142"/>
                    </a:cxn>
                    <a:cxn ang="0">
                      <a:pos x="587" y="159"/>
                    </a:cxn>
                    <a:cxn ang="0">
                      <a:pos x="567" y="207"/>
                    </a:cxn>
                    <a:cxn ang="0">
                      <a:pos x="554" y="257"/>
                    </a:cxn>
                    <a:cxn ang="0">
                      <a:pos x="549" y="280"/>
                    </a:cxn>
                    <a:cxn ang="0">
                      <a:pos x="517" y="315"/>
                    </a:cxn>
                    <a:cxn ang="0">
                      <a:pos x="501" y="360"/>
                    </a:cxn>
                    <a:cxn ang="0">
                      <a:pos x="478" y="406"/>
                    </a:cxn>
                    <a:cxn ang="0">
                      <a:pos x="447" y="401"/>
                    </a:cxn>
                    <a:cxn ang="0">
                      <a:pos x="440" y="392"/>
                    </a:cxn>
                    <a:cxn ang="0">
                      <a:pos x="392" y="386"/>
                    </a:cxn>
                    <a:cxn ang="0">
                      <a:pos x="371" y="403"/>
                    </a:cxn>
                    <a:cxn ang="0">
                      <a:pos x="344" y="427"/>
                    </a:cxn>
                    <a:cxn ang="0">
                      <a:pos x="330" y="472"/>
                    </a:cxn>
                    <a:cxn ang="0">
                      <a:pos x="313" y="497"/>
                    </a:cxn>
                    <a:cxn ang="0">
                      <a:pos x="304" y="497"/>
                    </a:cxn>
                    <a:cxn ang="0">
                      <a:pos x="276" y="516"/>
                    </a:cxn>
                    <a:cxn ang="0">
                      <a:pos x="237" y="515"/>
                    </a:cxn>
                    <a:cxn ang="0">
                      <a:pos x="227" y="524"/>
                    </a:cxn>
                    <a:cxn ang="0">
                      <a:pos x="216" y="522"/>
                    </a:cxn>
                    <a:cxn ang="0">
                      <a:pos x="193" y="532"/>
                    </a:cxn>
                    <a:cxn ang="0">
                      <a:pos x="180" y="524"/>
                    </a:cxn>
                    <a:cxn ang="0">
                      <a:pos x="151" y="500"/>
                    </a:cxn>
                    <a:cxn ang="0">
                      <a:pos x="151" y="467"/>
                    </a:cxn>
                    <a:cxn ang="0">
                      <a:pos x="136" y="454"/>
                    </a:cxn>
                    <a:cxn ang="0">
                      <a:pos x="126" y="444"/>
                    </a:cxn>
                    <a:cxn ang="0">
                      <a:pos x="96" y="417"/>
                    </a:cxn>
                    <a:cxn ang="0">
                      <a:pos x="5" y="417"/>
                    </a:cxn>
                    <a:cxn ang="0">
                      <a:pos x="1" y="366"/>
                    </a:cxn>
                    <a:cxn ang="0">
                      <a:pos x="6" y="295"/>
                    </a:cxn>
                    <a:cxn ang="0">
                      <a:pos x="23" y="248"/>
                    </a:cxn>
                    <a:cxn ang="0">
                      <a:pos x="49" y="218"/>
                    </a:cxn>
                    <a:cxn ang="0">
                      <a:pos x="53" y="208"/>
                    </a:cxn>
                    <a:cxn ang="0">
                      <a:pos x="48" y="197"/>
                    </a:cxn>
                    <a:cxn ang="0">
                      <a:pos x="58" y="189"/>
                    </a:cxn>
                    <a:cxn ang="0">
                      <a:pos x="55" y="154"/>
                    </a:cxn>
                    <a:cxn ang="0">
                      <a:pos x="43" y="134"/>
                    </a:cxn>
                  </a:cxnLst>
                  <a:rect l="0" t="0" r="r" b="b"/>
                  <a:pathLst>
                    <a:path w="642" h="532">
                      <a:moveTo>
                        <a:pt x="49" y="117"/>
                      </a:moveTo>
                      <a:lnTo>
                        <a:pt x="50" y="110"/>
                      </a:lnTo>
                      <a:lnTo>
                        <a:pt x="48" y="85"/>
                      </a:lnTo>
                      <a:lnTo>
                        <a:pt x="49" y="76"/>
                      </a:lnTo>
                      <a:lnTo>
                        <a:pt x="51" y="72"/>
                      </a:lnTo>
                      <a:lnTo>
                        <a:pt x="55" y="67"/>
                      </a:lnTo>
                      <a:lnTo>
                        <a:pt x="62" y="63"/>
                      </a:lnTo>
                      <a:lnTo>
                        <a:pt x="67" y="57"/>
                      </a:lnTo>
                      <a:lnTo>
                        <a:pt x="75" y="43"/>
                      </a:lnTo>
                      <a:lnTo>
                        <a:pt x="77" y="25"/>
                      </a:lnTo>
                      <a:lnTo>
                        <a:pt x="78" y="21"/>
                      </a:lnTo>
                      <a:lnTo>
                        <a:pt x="96" y="9"/>
                      </a:lnTo>
                      <a:lnTo>
                        <a:pt x="115" y="4"/>
                      </a:lnTo>
                      <a:lnTo>
                        <a:pt x="133" y="4"/>
                      </a:lnTo>
                      <a:lnTo>
                        <a:pt x="139" y="3"/>
                      </a:lnTo>
                      <a:lnTo>
                        <a:pt x="147" y="0"/>
                      </a:lnTo>
                      <a:lnTo>
                        <a:pt x="162" y="2"/>
                      </a:lnTo>
                      <a:lnTo>
                        <a:pt x="199" y="20"/>
                      </a:lnTo>
                      <a:lnTo>
                        <a:pt x="221" y="41"/>
                      </a:lnTo>
                      <a:lnTo>
                        <a:pt x="228" y="46"/>
                      </a:lnTo>
                      <a:lnTo>
                        <a:pt x="233" y="48"/>
                      </a:lnTo>
                      <a:lnTo>
                        <a:pt x="242" y="48"/>
                      </a:lnTo>
                      <a:lnTo>
                        <a:pt x="248" y="38"/>
                      </a:lnTo>
                      <a:lnTo>
                        <a:pt x="264" y="30"/>
                      </a:lnTo>
                      <a:lnTo>
                        <a:pt x="274" y="27"/>
                      </a:lnTo>
                      <a:lnTo>
                        <a:pt x="286" y="27"/>
                      </a:lnTo>
                      <a:lnTo>
                        <a:pt x="303" y="37"/>
                      </a:lnTo>
                      <a:lnTo>
                        <a:pt x="327" y="52"/>
                      </a:lnTo>
                      <a:lnTo>
                        <a:pt x="339" y="56"/>
                      </a:lnTo>
                      <a:lnTo>
                        <a:pt x="362" y="58"/>
                      </a:lnTo>
                      <a:lnTo>
                        <a:pt x="375" y="57"/>
                      </a:lnTo>
                      <a:lnTo>
                        <a:pt x="389" y="47"/>
                      </a:lnTo>
                      <a:lnTo>
                        <a:pt x="406" y="32"/>
                      </a:lnTo>
                      <a:lnTo>
                        <a:pt x="415" y="27"/>
                      </a:lnTo>
                      <a:lnTo>
                        <a:pt x="441" y="27"/>
                      </a:lnTo>
                      <a:lnTo>
                        <a:pt x="459" y="30"/>
                      </a:lnTo>
                      <a:lnTo>
                        <a:pt x="469" y="26"/>
                      </a:lnTo>
                      <a:lnTo>
                        <a:pt x="489" y="24"/>
                      </a:lnTo>
                      <a:lnTo>
                        <a:pt x="496" y="26"/>
                      </a:lnTo>
                      <a:lnTo>
                        <a:pt x="503" y="30"/>
                      </a:lnTo>
                      <a:lnTo>
                        <a:pt x="511" y="32"/>
                      </a:lnTo>
                      <a:lnTo>
                        <a:pt x="517" y="36"/>
                      </a:lnTo>
                      <a:lnTo>
                        <a:pt x="528" y="36"/>
                      </a:lnTo>
                      <a:lnTo>
                        <a:pt x="534" y="32"/>
                      </a:lnTo>
                      <a:lnTo>
                        <a:pt x="544" y="22"/>
                      </a:lnTo>
                      <a:lnTo>
                        <a:pt x="544" y="21"/>
                      </a:lnTo>
                      <a:lnTo>
                        <a:pt x="550" y="16"/>
                      </a:lnTo>
                      <a:lnTo>
                        <a:pt x="558" y="15"/>
                      </a:lnTo>
                      <a:lnTo>
                        <a:pt x="564" y="15"/>
                      </a:lnTo>
                      <a:lnTo>
                        <a:pt x="570" y="3"/>
                      </a:lnTo>
                      <a:lnTo>
                        <a:pt x="571" y="3"/>
                      </a:lnTo>
                      <a:lnTo>
                        <a:pt x="574" y="0"/>
                      </a:lnTo>
                      <a:lnTo>
                        <a:pt x="577" y="11"/>
                      </a:lnTo>
                      <a:lnTo>
                        <a:pt x="581" y="20"/>
                      </a:lnTo>
                      <a:lnTo>
                        <a:pt x="588" y="30"/>
                      </a:lnTo>
                      <a:lnTo>
                        <a:pt x="599" y="36"/>
                      </a:lnTo>
                      <a:lnTo>
                        <a:pt x="604" y="43"/>
                      </a:lnTo>
                      <a:lnTo>
                        <a:pt x="613" y="65"/>
                      </a:lnTo>
                      <a:lnTo>
                        <a:pt x="623" y="73"/>
                      </a:lnTo>
                      <a:lnTo>
                        <a:pt x="624" y="76"/>
                      </a:lnTo>
                      <a:lnTo>
                        <a:pt x="635" y="80"/>
                      </a:lnTo>
                      <a:lnTo>
                        <a:pt x="636" y="81"/>
                      </a:lnTo>
                      <a:lnTo>
                        <a:pt x="639" y="84"/>
                      </a:lnTo>
                      <a:lnTo>
                        <a:pt x="641" y="89"/>
                      </a:lnTo>
                      <a:lnTo>
                        <a:pt x="640" y="106"/>
                      </a:lnTo>
                      <a:lnTo>
                        <a:pt x="642" y="119"/>
                      </a:lnTo>
                      <a:lnTo>
                        <a:pt x="623" y="132"/>
                      </a:lnTo>
                      <a:lnTo>
                        <a:pt x="620" y="135"/>
                      </a:lnTo>
                      <a:lnTo>
                        <a:pt x="604" y="142"/>
                      </a:lnTo>
                      <a:lnTo>
                        <a:pt x="601" y="143"/>
                      </a:lnTo>
                      <a:lnTo>
                        <a:pt x="592" y="153"/>
                      </a:lnTo>
                      <a:lnTo>
                        <a:pt x="587" y="159"/>
                      </a:lnTo>
                      <a:lnTo>
                        <a:pt x="583" y="166"/>
                      </a:lnTo>
                      <a:lnTo>
                        <a:pt x="576" y="189"/>
                      </a:lnTo>
                      <a:lnTo>
                        <a:pt x="567" y="207"/>
                      </a:lnTo>
                      <a:lnTo>
                        <a:pt x="564" y="218"/>
                      </a:lnTo>
                      <a:lnTo>
                        <a:pt x="562" y="229"/>
                      </a:lnTo>
                      <a:lnTo>
                        <a:pt x="554" y="257"/>
                      </a:lnTo>
                      <a:lnTo>
                        <a:pt x="553" y="269"/>
                      </a:lnTo>
                      <a:lnTo>
                        <a:pt x="551" y="275"/>
                      </a:lnTo>
                      <a:lnTo>
                        <a:pt x="549" y="280"/>
                      </a:lnTo>
                      <a:lnTo>
                        <a:pt x="534" y="287"/>
                      </a:lnTo>
                      <a:lnTo>
                        <a:pt x="523" y="299"/>
                      </a:lnTo>
                      <a:lnTo>
                        <a:pt x="517" y="315"/>
                      </a:lnTo>
                      <a:lnTo>
                        <a:pt x="513" y="331"/>
                      </a:lnTo>
                      <a:lnTo>
                        <a:pt x="511" y="338"/>
                      </a:lnTo>
                      <a:lnTo>
                        <a:pt x="501" y="360"/>
                      </a:lnTo>
                      <a:lnTo>
                        <a:pt x="483" y="391"/>
                      </a:lnTo>
                      <a:lnTo>
                        <a:pt x="481" y="400"/>
                      </a:lnTo>
                      <a:lnTo>
                        <a:pt x="478" y="406"/>
                      </a:lnTo>
                      <a:lnTo>
                        <a:pt x="469" y="409"/>
                      </a:lnTo>
                      <a:lnTo>
                        <a:pt x="456" y="408"/>
                      </a:lnTo>
                      <a:lnTo>
                        <a:pt x="447" y="401"/>
                      </a:lnTo>
                      <a:lnTo>
                        <a:pt x="443" y="398"/>
                      </a:lnTo>
                      <a:lnTo>
                        <a:pt x="443" y="397"/>
                      </a:lnTo>
                      <a:lnTo>
                        <a:pt x="440" y="392"/>
                      </a:lnTo>
                      <a:lnTo>
                        <a:pt x="429" y="382"/>
                      </a:lnTo>
                      <a:lnTo>
                        <a:pt x="414" y="381"/>
                      </a:lnTo>
                      <a:lnTo>
                        <a:pt x="392" y="386"/>
                      </a:lnTo>
                      <a:lnTo>
                        <a:pt x="377" y="386"/>
                      </a:lnTo>
                      <a:lnTo>
                        <a:pt x="375" y="386"/>
                      </a:lnTo>
                      <a:lnTo>
                        <a:pt x="371" y="403"/>
                      </a:lnTo>
                      <a:lnTo>
                        <a:pt x="360" y="408"/>
                      </a:lnTo>
                      <a:lnTo>
                        <a:pt x="352" y="416"/>
                      </a:lnTo>
                      <a:lnTo>
                        <a:pt x="344" y="427"/>
                      </a:lnTo>
                      <a:lnTo>
                        <a:pt x="335" y="443"/>
                      </a:lnTo>
                      <a:lnTo>
                        <a:pt x="332" y="458"/>
                      </a:lnTo>
                      <a:lnTo>
                        <a:pt x="330" y="472"/>
                      </a:lnTo>
                      <a:lnTo>
                        <a:pt x="327" y="481"/>
                      </a:lnTo>
                      <a:lnTo>
                        <a:pt x="320" y="490"/>
                      </a:lnTo>
                      <a:lnTo>
                        <a:pt x="313" y="497"/>
                      </a:lnTo>
                      <a:lnTo>
                        <a:pt x="313" y="504"/>
                      </a:lnTo>
                      <a:lnTo>
                        <a:pt x="309" y="498"/>
                      </a:lnTo>
                      <a:lnTo>
                        <a:pt x="304" y="497"/>
                      </a:lnTo>
                      <a:lnTo>
                        <a:pt x="301" y="505"/>
                      </a:lnTo>
                      <a:lnTo>
                        <a:pt x="300" y="517"/>
                      </a:lnTo>
                      <a:lnTo>
                        <a:pt x="276" y="516"/>
                      </a:lnTo>
                      <a:lnTo>
                        <a:pt x="265" y="517"/>
                      </a:lnTo>
                      <a:lnTo>
                        <a:pt x="242" y="508"/>
                      </a:lnTo>
                      <a:lnTo>
                        <a:pt x="237" y="515"/>
                      </a:lnTo>
                      <a:lnTo>
                        <a:pt x="234" y="516"/>
                      </a:lnTo>
                      <a:lnTo>
                        <a:pt x="231" y="521"/>
                      </a:lnTo>
                      <a:lnTo>
                        <a:pt x="227" y="524"/>
                      </a:lnTo>
                      <a:lnTo>
                        <a:pt x="225" y="524"/>
                      </a:lnTo>
                      <a:lnTo>
                        <a:pt x="221" y="525"/>
                      </a:lnTo>
                      <a:lnTo>
                        <a:pt x="216" y="522"/>
                      </a:lnTo>
                      <a:lnTo>
                        <a:pt x="212" y="525"/>
                      </a:lnTo>
                      <a:lnTo>
                        <a:pt x="210" y="524"/>
                      </a:lnTo>
                      <a:lnTo>
                        <a:pt x="193" y="532"/>
                      </a:lnTo>
                      <a:lnTo>
                        <a:pt x="190" y="524"/>
                      </a:lnTo>
                      <a:lnTo>
                        <a:pt x="182" y="524"/>
                      </a:lnTo>
                      <a:lnTo>
                        <a:pt x="180" y="524"/>
                      </a:lnTo>
                      <a:lnTo>
                        <a:pt x="168" y="521"/>
                      </a:lnTo>
                      <a:lnTo>
                        <a:pt x="163" y="513"/>
                      </a:lnTo>
                      <a:lnTo>
                        <a:pt x="151" y="500"/>
                      </a:lnTo>
                      <a:lnTo>
                        <a:pt x="146" y="482"/>
                      </a:lnTo>
                      <a:lnTo>
                        <a:pt x="146" y="471"/>
                      </a:lnTo>
                      <a:lnTo>
                        <a:pt x="151" y="467"/>
                      </a:lnTo>
                      <a:lnTo>
                        <a:pt x="147" y="467"/>
                      </a:lnTo>
                      <a:lnTo>
                        <a:pt x="140" y="465"/>
                      </a:lnTo>
                      <a:lnTo>
                        <a:pt x="136" y="454"/>
                      </a:lnTo>
                      <a:lnTo>
                        <a:pt x="133" y="451"/>
                      </a:lnTo>
                      <a:lnTo>
                        <a:pt x="130" y="445"/>
                      </a:lnTo>
                      <a:lnTo>
                        <a:pt x="126" y="444"/>
                      </a:lnTo>
                      <a:lnTo>
                        <a:pt x="124" y="439"/>
                      </a:lnTo>
                      <a:lnTo>
                        <a:pt x="117" y="429"/>
                      </a:lnTo>
                      <a:lnTo>
                        <a:pt x="96" y="417"/>
                      </a:lnTo>
                      <a:lnTo>
                        <a:pt x="86" y="416"/>
                      </a:lnTo>
                      <a:lnTo>
                        <a:pt x="64" y="413"/>
                      </a:lnTo>
                      <a:lnTo>
                        <a:pt x="5" y="417"/>
                      </a:lnTo>
                      <a:lnTo>
                        <a:pt x="2" y="414"/>
                      </a:lnTo>
                      <a:lnTo>
                        <a:pt x="0" y="375"/>
                      </a:lnTo>
                      <a:lnTo>
                        <a:pt x="1" y="366"/>
                      </a:lnTo>
                      <a:lnTo>
                        <a:pt x="6" y="345"/>
                      </a:lnTo>
                      <a:lnTo>
                        <a:pt x="5" y="315"/>
                      </a:lnTo>
                      <a:lnTo>
                        <a:pt x="6" y="295"/>
                      </a:lnTo>
                      <a:lnTo>
                        <a:pt x="10" y="283"/>
                      </a:lnTo>
                      <a:lnTo>
                        <a:pt x="22" y="263"/>
                      </a:lnTo>
                      <a:lnTo>
                        <a:pt x="23" y="248"/>
                      </a:lnTo>
                      <a:lnTo>
                        <a:pt x="26" y="239"/>
                      </a:lnTo>
                      <a:lnTo>
                        <a:pt x="34" y="229"/>
                      </a:lnTo>
                      <a:lnTo>
                        <a:pt x="49" y="218"/>
                      </a:lnTo>
                      <a:lnTo>
                        <a:pt x="49" y="212"/>
                      </a:lnTo>
                      <a:lnTo>
                        <a:pt x="53" y="209"/>
                      </a:lnTo>
                      <a:lnTo>
                        <a:pt x="53" y="208"/>
                      </a:lnTo>
                      <a:lnTo>
                        <a:pt x="53" y="204"/>
                      </a:lnTo>
                      <a:lnTo>
                        <a:pt x="48" y="199"/>
                      </a:lnTo>
                      <a:lnTo>
                        <a:pt x="48" y="197"/>
                      </a:lnTo>
                      <a:lnTo>
                        <a:pt x="50" y="191"/>
                      </a:lnTo>
                      <a:lnTo>
                        <a:pt x="53" y="189"/>
                      </a:lnTo>
                      <a:lnTo>
                        <a:pt x="58" y="189"/>
                      </a:lnTo>
                      <a:lnTo>
                        <a:pt x="59" y="187"/>
                      </a:lnTo>
                      <a:lnTo>
                        <a:pt x="59" y="169"/>
                      </a:lnTo>
                      <a:lnTo>
                        <a:pt x="55" y="154"/>
                      </a:lnTo>
                      <a:lnTo>
                        <a:pt x="54" y="149"/>
                      </a:lnTo>
                      <a:lnTo>
                        <a:pt x="44" y="139"/>
                      </a:lnTo>
                      <a:lnTo>
                        <a:pt x="43" y="134"/>
                      </a:lnTo>
                      <a:lnTo>
                        <a:pt x="44" y="123"/>
                      </a:lnTo>
                      <a:lnTo>
                        <a:pt x="49" y="11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53" name="Freeform 41"/>
                <p:cNvSpPr>
                  <a:spLocks noChangeAspect="1"/>
                </p:cNvSpPr>
                <p:nvPr/>
              </p:nvSpPr>
              <p:spPr bwMode="gray">
                <a:xfrm>
                  <a:off x="4952206" y="3627784"/>
                  <a:ext cx="133350" cy="152400"/>
                </a:xfrm>
                <a:custGeom>
                  <a:avLst/>
                  <a:gdLst/>
                  <a:ahLst/>
                  <a:cxnLst>
                    <a:cxn ang="0">
                      <a:pos x="408" y="5"/>
                    </a:cxn>
                    <a:cxn ang="0">
                      <a:pos x="377" y="16"/>
                    </a:cxn>
                    <a:cxn ang="0">
                      <a:pos x="343" y="0"/>
                    </a:cxn>
                    <a:cxn ang="0">
                      <a:pos x="300" y="17"/>
                    </a:cxn>
                    <a:cxn ang="0">
                      <a:pos x="274" y="47"/>
                    </a:cxn>
                    <a:cxn ang="0">
                      <a:pos x="274" y="101"/>
                    </a:cxn>
                    <a:cxn ang="0">
                      <a:pos x="267" y="114"/>
                    </a:cxn>
                    <a:cxn ang="0">
                      <a:pos x="234" y="96"/>
                    </a:cxn>
                    <a:cxn ang="0">
                      <a:pos x="205" y="90"/>
                    </a:cxn>
                    <a:cxn ang="0">
                      <a:pos x="118" y="84"/>
                    </a:cxn>
                    <a:cxn ang="0">
                      <a:pos x="111" y="117"/>
                    </a:cxn>
                    <a:cxn ang="0">
                      <a:pos x="121" y="140"/>
                    </a:cxn>
                    <a:cxn ang="0">
                      <a:pos x="166" y="124"/>
                    </a:cxn>
                    <a:cxn ang="0">
                      <a:pos x="177" y="157"/>
                    </a:cxn>
                    <a:cxn ang="0">
                      <a:pos x="158" y="204"/>
                    </a:cxn>
                    <a:cxn ang="0">
                      <a:pos x="173" y="246"/>
                    </a:cxn>
                    <a:cxn ang="0">
                      <a:pos x="169" y="275"/>
                    </a:cxn>
                    <a:cxn ang="0">
                      <a:pos x="161" y="329"/>
                    </a:cxn>
                    <a:cxn ang="0">
                      <a:pos x="127" y="318"/>
                    </a:cxn>
                    <a:cxn ang="0">
                      <a:pos x="92" y="310"/>
                    </a:cxn>
                    <a:cxn ang="0">
                      <a:pos x="74" y="313"/>
                    </a:cxn>
                    <a:cxn ang="0">
                      <a:pos x="42" y="333"/>
                    </a:cxn>
                    <a:cxn ang="0">
                      <a:pos x="27" y="350"/>
                    </a:cxn>
                    <a:cxn ang="0">
                      <a:pos x="31" y="375"/>
                    </a:cxn>
                    <a:cxn ang="0">
                      <a:pos x="31" y="394"/>
                    </a:cxn>
                    <a:cxn ang="0">
                      <a:pos x="8" y="397"/>
                    </a:cxn>
                    <a:cxn ang="0">
                      <a:pos x="0" y="419"/>
                    </a:cxn>
                    <a:cxn ang="0">
                      <a:pos x="19" y="434"/>
                    </a:cxn>
                    <a:cxn ang="0">
                      <a:pos x="40" y="456"/>
                    </a:cxn>
                    <a:cxn ang="0">
                      <a:pos x="63" y="469"/>
                    </a:cxn>
                    <a:cxn ang="0">
                      <a:pos x="80" y="449"/>
                    </a:cxn>
                    <a:cxn ang="0">
                      <a:pos x="100" y="447"/>
                    </a:cxn>
                    <a:cxn ang="0">
                      <a:pos x="121" y="468"/>
                    </a:cxn>
                    <a:cxn ang="0">
                      <a:pos x="140" y="452"/>
                    </a:cxn>
                    <a:cxn ang="0">
                      <a:pos x="161" y="444"/>
                    </a:cxn>
                    <a:cxn ang="0">
                      <a:pos x="177" y="445"/>
                    </a:cxn>
                    <a:cxn ang="0">
                      <a:pos x="188" y="466"/>
                    </a:cxn>
                    <a:cxn ang="0">
                      <a:pos x="232" y="437"/>
                    </a:cxn>
                    <a:cxn ang="0">
                      <a:pos x="261" y="415"/>
                    </a:cxn>
                    <a:cxn ang="0">
                      <a:pos x="278" y="376"/>
                    </a:cxn>
                    <a:cxn ang="0">
                      <a:pos x="282" y="337"/>
                    </a:cxn>
                    <a:cxn ang="0">
                      <a:pos x="312" y="280"/>
                    </a:cxn>
                    <a:cxn ang="0">
                      <a:pos x="348" y="254"/>
                    </a:cxn>
                    <a:cxn ang="0">
                      <a:pos x="364" y="237"/>
                    </a:cxn>
                    <a:cxn ang="0">
                      <a:pos x="372" y="141"/>
                    </a:cxn>
                    <a:cxn ang="0">
                      <a:pos x="391" y="73"/>
                    </a:cxn>
                    <a:cxn ang="0">
                      <a:pos x="417" y="17"/>
                    </a:cxn>
                  </a:cxnLst>
                  <a:rect l="0" t="0" r="r" b="b"/>
                  <a:pathLst>
                    <a:path w="417" h="479">
                      <a:moveTo>
                        <a:pt x="414" y="0"/>
                      </a:moveTo>
                      <a:lnTo>
                        <a:pt x="408" y="5"/>
                      </a:lnTo>
                      <a:lnTo>
                        <a:pt x="393" y="12"/>
                      </a:lnTo>
                      <a:lnTo>
                        <a:pt x="377" y="16"/>
                      </a:lnTo>
                      <a:lnTo>
                        <a:pt x="360" y="10"/>
                      </a:lnTo>
                      <a:lnTo>
                        <a:pt x="343" y="0"/>
                      </a:lnTo>
                      <a:lnTo>
                        <a:pt x="323" y="3"/>
                      </a:lnTo>
                      <a:lnTo>
                        <a:pt x="300" y="17"/>
                      </a:lnTo>
                      <a:lnTo>
                        <a:pt x="283" y="33"/>
                      </a:lnTo>
                      <a:lnTo>
                        <a:pt x="274" y="47"/>
                      </a:lnTo>
                      <a:lnTo>
                        <a:pt x="272" y="58"/>
                      </a:lnTo>
                      <a:lnTo>
                        <a:pt x="274" y="101"/>
                      </a:lnTo>
                      <a:lnTo>
                        <a:pt x="272" y="111"/>
                      </a:lnTo>
                      <a:lnTo>
                        <a:pt x="267" y="114"/>
                      </a:lnTo>
                      <a:lnTo>
                        <a:pt x="244" y="96"/>
                      </a:lnTo>
                      <a:lnTo>
                        <a:pt x="234" y="96"/>
                      </a:lnTo>
                      <a:lnTo>
                        <a:pt x="220" y="91"/>
                      </a:lnTo>
                      <a:lnTo>
                        <a:pt x="205" y="90"/>
                      </a:lnTo>
                      <a:lnTo>
                        <a:pt x="194" y="84"/>
                      </a:lnTo>
                      <a:lnTo>
                        <a:pt x="118" y="84"/>
                      </a:lnTo>
                      <a:lnTo>
                        <a:pt x="112" y="98"/>
                      </a:lnTo>
                      <a:lnTo>
                        <a:pt x="111" y="117"/>
                      </a:lnTo>
                      <a:lnTo>
                        <a:pt x="112" y="135"/>
                      </a:lnTo>
                      <a:lnTo>
                        <a:pt x="121" y="140"/>
                      </a:lnTo>
                      <a:lnTo>
                        <a:pt x="137" y="117"/>
                      </a:lnTo>
                      <a:lnTo>
                        <a:pt x="166" y="124"/>
                      </a:lnTo>
                      <a:lnTo>
                        <a:pt x="176" y="137"/>
                      </a:lnTo>
                      <a:lnTo>
                        <a:pt x="177" y="157"/>
                      </a:lnTo>
                      <a:lnTo>
                        <a:pt x="159" y="187"/>
                      </a:lnTo>
                      <a:lnTo>
                        <a:pt x="158" y="204"/>
                      </a:lnTo>
                      <a:lnTo>
                        <a:pt x="162" y="218"/>
                      </a:lnTo>
                      <a:lnTo>
                        <a:pt x="173" y="246"/>
                      </a:lnTo>
                      <a:lnTo>
                        <a:pt x="172" y="262"/>
                      </a:lnTo>
                      <a:lnTo>
                        <a:pt x="169" y="275"/>
                      </a:lnTo>
                      <a:lnTo>
                        <a:pt x="166" y="312"/>
                      </a:lnTo>
                      <a:lnTo>
                        <a:pt x="161" y="329"/>
                      </a:lnTo>
                      <a:lnTo>
                        <a:pt x="145" y="334"/>
                      </a:lnTo>
                      <a:lnTo>
                        <a:pt x="127" y="318"/>
                      </a:lnTo>
                      <a:lnTo>
                        <a:pt x="102" y="321"/>
                      </a:lnTo>
                      <a:lnTo>
                        <a:pt x="92" y="310"/>
                      </a:lnTo>
                      <a:lnTo>
                        <a:pt x="85" y="305"/>
                      </a:lnTo>
                      <a:lnTo>
                        <a:pt x="74" y="313"/>
                      </a:lnTo>
                      <a:lnTo>
                        <a:pt x="65" y="324"/>
                      </a:lnTo>
                      <a:lnTo>
                        <a:pt x="42" y="333"/>
                      </a:lnTo>
                      <a:lnTo>
                        <a:pt x="32" y="342"/>
                      </a:lnTo>
                      <a:lnTo>
                        <a:pt x="27" y="350"/>
                      </a:lnTo>
                      <a:lnTo>
                        <a:pt x="26" y="363"/>
                      </a:lnTo>
                      <a:lnTo>
                        <a:pt x="31" y="375"/>
                      </a:lnTo>
                      <a:lnTo>
                        <a:pt x="33" y="390"/>
                      </a:lnTo>
                      <a:lnTo>
                        <a:pt x="31" y="394"/>
                      </a:lnTo>
                      <a:lnTo>
                        <a:pt x="19" y="394"/>
                      </a:lnTo>
                      <a:lnTo>
                        <a:pt x="8" y="397"/>
                      </a:lnTo>
                      <a:lnTo>
                        <a:pt x="2" y="404"/>
                      </a:lnTo>
                      <a:lnTo>
                        <a:pt x="0" y="419"/>
                      </a:lnTo>
                      <a:lnTo>
                        <a:pt x="13" y="425"/>
                      </a:lnTo>
                      <a:lnTo>
                        <a:pt x="19" y="434"/>
                      </a:lnTo>
                      <a:lnTo>
                        <a:pt x="33" y="449"/>
                      </a:lnTo>
                      <a:lnTo>
                        <a:pt x="40" y="456"/>
                      </a:lnTo>
                      <a:lnTo>
                        <a:pt x="49" y="479"/>
                      </a:lnTo>
                      <a:lnTo>
                        <a:pt x="63" y="469"/>
                      </a:lnTo>
                      <a:lnTo>
                        <a:pt x="73" y="463"/>
                      </a:lnTo>
                      <a:lnTo>
                        <a:pt x="80" y="449"/>
                      </a:lnTo>
                      <a:lnTo>
                        <a:pt x="90" y="444"/>
                      </a:lnTo>
                      <a:lnTo>
                        <a:pt x="100" y="447"/>
                      </a:lnTo>
                      <a:lnTo>
                        <a:pt x="105" y="458"/>
                      </a:lnTo>
                      <a:lnTo>
                        <a:pt x="121" y="468"/>
                      </a:lnTo>
                      <a:lnTo>
                        <a:pt x="133" y="465"/>
                      </a:lnTo>
                      <a:lnTo>
                        <a:pt x="140" y="452"/>
                      </a:lnTo>
                      <a:lnTo>
                        <a:pt x="148" y="446"/>
                      </a:lnTo>
                      <a:lnTo>
                        <a:pt x="161" y="444"/>
                      </a:lnTo>
                      <a:lnTo>
                        <a:pt x="175" y="440"/>
                      </a:lnTo>
                      <a:lnTo>
                        <a:pt x="177" y="445"/>
                      </a:lnTo>
                      <a:lnTo>
                        <a:pt x="178" y="463"/>
                      </a:lnTo>
                      <a:lnTo>
                        <a:pt x="188" y="466"/>
                      </a:lnTo>
                      <a:lnTo>
                        <a:pt x="209" y="458"/>
                      </a:lnTo>
                      <a:lnTo>
                        <a:pt x="232" y="437"/>
                      </a:lnTo>
                      <a:lnTo>
                        <a:pt x="246" y="430"/>
                      </a:lnTo>
                      <a:lnTo>
                        <a:pt x="261" y="415"/>
                      </a:lnTo>
                      <a:lnTo>
                        <a:pt x="274" y="394"/>
                      </a:lnTo>
                      <a:lnTo>
                        <a:pt x="278" y="376"/>
                      </a:lnTo>
                      <a:lnTo>
                        <a:pt x="278" y="358"/>
                      </a:lnTo>
                      <a:lnTo>
                        <a:pt x="282" y="337"/>
                      </a:lnTo>
                      <a:lnTo>
                        <a:pt x="289" y="316"/>
                      </a:lnTo>
                      <a:lnTo>
                        <a:pt x="312" y="280"/>
                      </a:lnTo>
                      <a:lnTo>
                        <a:pt x="329" y="264"/>
                      </a:lnTo>
                      <a:lnTo>
                        <a:pt x="348" y="254"/>
                      </a:lnTo>
                      <a:lnTo>
                        <a:pt x="363" y="241"/>
                      </a:lnTo>
                      <a:lnTo>
                        <a:pt x="364" y="237"/>
                      </a:lnTo>
                      <a:lnTo>
                        <a:pt x="371" y="207"/>
                      </a:lnTo>
                      <a:lnTo>
                        <a:pt x="372" y="141"/>
                      </a:lnTo>
                      <a:lnTo>
                        <a:pt x="381" y="97"/>
                      </a:lnTo>
                      <a:lnTo>
                        <a:pt x="391" y="73"/>
                      </a:lnTo>
                      <a:lnTo>
                        <a:pt x="412" y="36"/>
                      </a:lnTo>
                      <a:lnTo>
                        <a:pt x="417" y="17"/>
                      </a:lnTo>
                      <a:lnTo>
                        <a:pt x="414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54" name="Freeform 42"/>
                <p:cNvSpPr>
                  <a:spLocks noChangeAspect="1"/>
                </p:cNvSpPr>
                <p:nvPr/>
              </p:nvSpPr>
              <p:spPr bwMode="gray">
                <a:xfrm>
                  <a:off x="4922043" y="3653184"/>
                  <a:ext cx="33338" cy="22225"/>
                </a:xfrm>
                <a:custGeom>
                  <a:avLst/>
                  <a:gdLst/>
                  <a:ahLst/>
                  <a:cxnLst>
                    <a:cxn ang="0">
                      <a:pos x="107" y="0"/>
                    </a:cxn>
                    <a:cxn ang="0">
                      <a:pos x="67" y="0"/>
                    </a:cxn>
                    <a:cxn ang="0">
                      <a:pos x="25" y="3"/>
                    </a:cxn>
                    <a:cxn ang="0">
                      <a:pos x="21" y="4"/>
                    </a:cxn>
                    <a:cxn ang="0">
                      <a:pos x="21" y="14"/>
                    </a:cxn>
                    <a:cxn ang="0">
                      <a:pos x="14" y="26"/>
                    </a:cxn>
                    <a:cxn ang="0">
                      <a:pos x="11" y="37"/>
                    </a:cxn>
                    <a:cxn ang="0">
                      <a:pos x="0" y="56"/>
                    </a:cxn>
                    <a:cxn ang="0">
                      <a:pos x="15" y="63"/>
                    </a:cxn>
                    <a:cxn ang="0">
                      <a:pos x="15" y="65"/>
                    </a:cxn>
                    <a:cxn ang="0">
                      <a:pos x="13" y="69"/>
                    </a:cxn>
                    <a:cxn ang="0">
                      <a:pos x="13" y="68"/>
                    </a:cxn>
                    <a:cxn ang="0">
                      <a:pos x="36" y="63"/>
                    </a:cxn>
                    <a:cxn ang="0">
                      <a:pos x="107" y="60"/>
                    </a:cxn>
                    <a:cxn ang="0">
                      <a:pos x="105" y="58"/>
                    </a:cxn>
                    <a:cxn ang="0">
                      <a:pos x="102" y="38"/>
                    </a:cxn>
                    <a:cxn ang="0">
                      <a:pos x="101" y="15"/>
                    </a:cxn>
                    <a:cxn ang="0">
                      <a:pos x="107" y="0"/>
                    </a:cxn>
                  </a:cxnLst>
                  <a:rect l="0" t="0" r="r" b="b"/>
                  <a:pathLst>
                    <a:path w="107" h="69">
                      <a:moveTo>
                        <a:pt x="107" y="0"/>
                      </a:moveTo>
                      <a:lnTo>
                        <a:pt x="67" y="0"/>
                      </a:lnTo>
                      <a:lnTo>
                        <a:pt x="25" y="3"/>
                      </a:lnTo>
                      <a:lnTo>
                        <a:pt x="21" y="4"/>
                      </a:lnTo>
                      <a:lnTo>
                        <a:pt x="21" y="14"/>
                      </a:lnTo>
                      <a:lnTo>
                        <a:pt x="14" y="26"/>
                      </a:lnTo>
                      <a:lnTo>
                        <a:pt x="11" y="37"/>
                      </a:lnTo>
                      <a:lnTo>
                        <a:pt x="0" y="56"/>
                      </a:lnTo>
                      <a:lnTo>
                        <a:pt x="15" y="63"/>
                      </a:lnTo>
                      <a:lnTo>
                        <a:pt x="15" y="65"/>
                      </a:lnTo>
                      <a:lnTo>
                        <a:pt x="13" y="69"/>
                      </a:lnTo>
                      <a:lnTo>
                        <a:pt x="13" y="68"/>
                      </a:lnTo>
                      <a:lnTo>
                        <a:pt x="36" y="63"/>
                      </a:lnTo>
                      <a:lnTo>
                        <a:pt x="107" y="60"/>
                      </a:lnTo>
                      <a:lnTo>
                        <a:pt x="105" y="58"/>
                      </a:lnTo>
                      <a:lnTo>
                        <a:pt x="102" y="38"/>
                      </a:lnTo>
                      <a:lnTo>
                        <a:pt x="101" y="15"/>
                      </a:lnTo>
                      <a:lnTo>
                        <a:pt x="107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55" name="Freeform 43"/>
                <p:cNvSpPr>
                  <a:spLocks noChangeAspect="1"/>
                </p:cNvSpPr>
                <p:nvPr/>
              </p:nvSpPr>
              <p:spPr bwMode="gray">
                <a:xfrm>
                  <a:off x="5268117" y="3732559"/>
                  <a:ext cx="28575" cy="34925"/>
                </a:xfrm>
                <a:custGeom>
                  <a:avLst/>
                  <a:gdLst/>
                  <a:ahLst/>
                  <a:cxnLst>
                    <a:cxn ang="0">
                      <a:pos x="83" y="5"/>
                    </a:cxn>
                    <a:cxn ang="0">
                      <a:pos x="81" y="1"/>
                    </a:cxn>
                    <a:cxn ang="0">
                      <a:pos x="76" y="1"/>
                    </a:cxn>
                    <a:cxn ang="0">
                      <a:pos x="76" y="0"/>
                    </a:cxn>
                    <a:cxn ang="0">
                      <a:pos x="71" y="0"/>
                    </a:cxn>
                    <a:cxn ang="0">
                      <a:pos x="59" y="4"/>
                    </a:cxn>
                    <a:cxn ang="0">
                      <a:pos x="49" y="4"/>
                    </a:cxn>
                    <a:cxn ang="0">
                      <a:pos x="46" y="6"/>
                    </a:cxn>
                    <a:cxn ang="0">
                      <a:pos x="45" y="9"/>
                    </a:cxn>
                    <a:cxn ang="0">
                      <a:pos x="45" y="17"/>
                    </a:cxn>
                    <a:cxn ang="0">
                      <a:pos x="41" y="22"/>
                    </a:cxn>
                    <a:cxn ang="0">
                      <a:pos x="33" y="22"/>
                    </a:cxn>
                    <a:cxn ang="0">
                      <a:pos x="28" y="25"/>
                    </a:cxn>
                    <a:cxn ang="0">
                      <a:pos x="22" y="26"/>
                    </a:cxn>
                    <a:cxn ang="0">
                      <a:pos x="19" y="25"/>
                    </a:cxn>
                    <a:cxn ang="0">
                      <a:pos x="16" y="16"/>
                    </a:cxn>
                    <a:cxn ang="0">
                      <a:pos x="13" y="11"/>
                    </a:cxn>
                    <a:cxn ang="0">
                      <a:pos x="11" y="10"/>
                    </a:cxn>
                    <a:cxn ang="0">
                      <a:pos x="6" y="10"/>
                    </a:cxn>
                    <a:cxn ang="0">
                      <a:pos x="1" y="13"/>
                    </a:cxn>
                    <a:cxn ang="0">
                      <a:pos x="1" y="22"/>
                    </a:cxn>
                    <a:cxn ang="0">
                      <a:pos x="0" y="22"/>
                    </a:cxn>
                    <a:cxn ang="0">
                      <a:pos x="6" y="28"/>
                    </a:cxn>
                    <a:cxn ang="0">
                      <a:pos x="8" y="34"/>
                    </a:cxn>
                    <a:cxn ang="0">
                      <a:pos x="11" y="58"/>
                    </a:cxn>
                    <a:cxn ang="0">
                      <a:pos x="13" y="61"/>
                    </a:cxn>
                    <a:cxn ang="0">
                      <a:pos x="16" y="69"/>
                    </a:cxn>
                    <a:cxn ang="0">
                      <a:pos x="17" y="79"/>
                    </a:cxn>
                    <a:cxn ang="0">
                      <a:pos x="17" y="91"/>
                    </a:cxn>
                    <a:cxn ang="0">
                      <a:pos x="18" y="101"/>
                    </a:cxn>
                    <a:cxn ang="0">
                      <a:pos x="23" y="108"/>
                    </a:cxn>
                    <a:cxn ang="0">
                      <a:pos x="29" y="114"/>
                    </a:cxn>
                    <a:cxn ang="0">
                      <a:pos x="32" y="113"/>
                    </a:cxn>
                    <a:cxn ang="0">
                      <a:pos x="43" y="110"/>
                    </a:cxn>
                    <a:cxn ang="0">
                      <a:pos x="57" y="106"/>
                    </a:cxn>
                    <a:cxn ang="0">
                      <a:pos x="68" y="86"/>
                    </a:cxn>
                    <a:cxn ang="0">
                      <a:pos x="73" y="80"/>
                    </a:cxn>
                    <a:cxn ang="0">
                      <a:pos x="79" y="66"/>
                    </a:cxn>
                    <a:cxn ang="0">
                      <a:pos x="89" y="54"/>
                    </a:cxn>
                    <a:cxn ang="0">
                      <a:pos x="93" y="48"/>
                    </a:cxn>
                    <a:cxn ang="0">
                      <a:pos x="93" y="40"/>
                    </a:cxn>
                    <a:cxn ang="0">
                      <a:pos x="91" y="34"/>
                    </a:cxn>
                    <a:cxn ang="0">
                      <a:pos x="87" y="31"/>
                    </a:cxn>
                    <a:cxn ang="0">
                      <a:pos x="81" y="29"/>
                    </a:cxn>
                    <a:cxn ang="0">
                      <a:pos x="77" y="26"/>
                    </a:cxn>
                    <a:cxn ang="0">
                      <a:pos x="77" y="22"/>
                    </a:cxn>
                    <a:cxn ang="0">
                      <a:pos x="77" y="16"/>
                    </a:cxn>
                    <a:cxn ang="0">
                      <a:pos x="78" y="10"/>
                    </a:cxn>
                    <a:cxn ang="0">
                      <a:pos x="83" y="5"/>
                    </a:cxn>
                  </a:cxnLst>
                  <a:rect l="0" t="0" r="r" b="b"/>
                  <a:pathLst>
                    <a:path w="93" h="114">
                      <a:moveTo>
                        <a:pt x="83" y="5"/>
                      </a:moveTo>
                      <a:lnTo>
                        <a:pt x="81" y="1"/>
                      </a:lnTo>
                      <a:lnTo>
                        <a:pt x="76" y="1"/>
                      </a:lnTo>
                      <a:lnTo>
                        <a:pt x="76" y="0"/>
                      </a:lnTo>
                      <a:lnTo>
                        <a:pt x="71" y="0"/>
                      </a:lnTo>
                      <a:lnTo>
                        <a:pt x="59" y="4"/>
                      </a:lnTo>
                      <a:lnTo>
                        <a:pt x="49" y="4"/>
                      </a:lnTo>
                      <a:lnTo>
                        <a:pt x="46" y="6"/>
                      </a:lnTo>
                      <a:lnTo>
                        <a:pt x="45" y="9"/>
                      </a:lnTo>
                      <a:lnTo>
                        <a:pt x="45" y="17"/>
                      </a:lnTo>
                      <a:lnTo>
                        <a:pt x="41" y="22"/>
                      </a:lnTo>
                      <a:lnTo>
                        <a:pt x="33" y="22"/>
                      </a:lnTo>
                      <a:lnTo>
                        <a:pt x="28" y="25"/>
                      </a:lnTo>
                      <a:lnTo>
                        <a:pt x="22" y="26"/>
                      </a:lnTo>
                      <a:lnTo>
                        <a:pt x="19" y="25"/>
                      </a:lnTo>
                      <a:lnTo>
                        <a:pt x="16" y="16"/>
                      </a:lnTo>
                      <a:lnTo>
                        <a:pt x="13" y="11"/>
                      </a:lnTo>
                      <a:lnTo>
                        <a:pt x="11" y="10"/>
                      </a:lnTo>
                      <a:lnTo>
                        <a:pt x="6" y="10"/>
                      </a:lnTo>
                      <a:lnTo>
                        <a:pt x="1" y="13"/>
                      </a:lnTo>
                      <a:lnTo>
                        <a:pt x="1" y="22"/>
                      </a:lnTo>
                      <a:lnTo>
                        <a:pt x="0" y="22"/>
                      </a:lnTo>
                      <a:lnTo>
                        <a:pt x="6" y="28"/>
                      </a:lnTo>
                      <a:lnTo>
                        <a:pt x="8" y="34"/>
                      </a:lnTo>
                      <a:lnTo>
                        <a:pt x="11" y="58"/>
                      </a:lnTo>
                      <a:lnTo>
                        <a:pt x="13" y="61"/>
                      </a:lnTo>
                      <a:lnTo>
                        <a:pt x="16" y="69"/>
                      </a:lnTo>
                      <a:lnTo>
                        <a:pt x="17" y="79"/>
                      </a:lnTo>
                      <a:lnTo>
                        <a:pt x="17" y="91"/>
                      </a:lnTo>
                      <a:lnTo>
                        <a:pt x="18" y="101"/>
                      </a:lnTo>
                      <a:lnTo>
                        <a:pt x="23" y="108"/>
                      </a:lnTo>
                      <a:lnTo>
                        <a:pt x="29" y="114"/>
                      </a:lnTo>
                      <a:lnTo>
                        <a:pt x="32" y="113"/>
                      </a:lnTo>
                      <a:lnTo>
                        <a:pt x="43" y="110"/>
                      </a:lnTo>
                      <a:lnTo>
                        <a:pt x="57" y="106"/>
                      </a:lnTo>
                      <a:lnTo>
                        <a:pt x="68" y="86"/>
                      </a:lnTo>
                      <a:lnTo>
                        <a:pt x="73" y="80"/>
                      </a:lnTo>
                      <a:lnTo>
                        <a:pt x="79" y="66"/>
                      </a:lnTo>
                      <a:lnTo>
                        <a:pt x="89" y="54"/>
                      </a:lnTo>
                      <a:lnTo>
                        <a:pt x="93" y="48"/>
                      </a:lnTo>
                      <a:lnTo>
                        <a:pt x="93" y="40"/>
                      </a:lnTo>
                      <a:lnTo>
                        <a:pt x="91" y="34"/>
                      </a:lnTo>
                      <a:lnTo>
                        <a:pt x="87" y="31"/>
                      </a:lnTo>
                      <a:lnTo>
                        <a:pt x="81" y="29"/>
                      </a:lnTo>
                      <a:lnTo>
                        <a:pt x="77" y="26"/>
                      </a:lnTo>
                      <a:lnTo>
                        <a:pt x="77" y="22"/>
                      </a:lnTo>
                      <a:lnTo>
                        <a:pt x="77" y="16"/>
                      </a:lnTo>
                      <a:lnTo>
                        <a:pt x="78" y="10"/>
                      </a:lnTo>
                      <a:lnTo>
                        <a:pt x="83" y="5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56" name="Freeform 44"/>
                <p:cNvSpPr>
                  <a:spLocks noChangeAspect="1"/>
                </p:cNvSpPr>
                <p:nvPr/>
              </p:nvSpPr>
              <p:spPr bwMode="gray">
                <a:xfrm>
                  <a:off x="5277642" y="3619847"/>
                  <a:ext cx="92075" cy="96838"/>
                </a:xfrm>
                <a:custGeom>
                  <a:avLst/>
                  <a:gdLst/>
                  <a:ahLst/>
                  <a:cxnLst>
                    <a:cxn ang="0">
                      <a:pos x="232" y="0"/>
                    </a:cxn>
                    <a:cxn ang="0">
                      <a:pos x="205" y="21"/>
                    </a:cxn>
                    <a:cxn ang="0">
                      <a:pos x="170" y="19"/>
                    </a:cxn>
                    <a:cxn ang="0">
                      <a:pos x="143" y="25"/>
                    </a:cxn>
                    <a:cxn ang="0">
                      <a:pos x="120" y="22"/>
                    </a:cxn>
                    <a:cxn ang="0">
                      <a:pos x="98" y="25"/>
                    </a:cxn>
                    <a:cxn ang="0">
                      <a:pos x="73" y="23"/>
                    </a:cxn>
                    <a:cxn ang="0">
                      <a:pos x="66" y="32"/>
                    </a:cxn>
                    <a:cxn ang="0">
                      <a:pos x="60" y="59"/>
                    </a:cxn>
                    <a:cxn ang="0">
                      <a:pos x="63" y="89"/>
                    </a:cxn>
                    <a:cxn ang="0">
                      <a:pos x="73" y="98"/>
                    </a:cxn>
                    <a:cxn ang="0">
                      <a:pos x="84" y="105"/>
                    </a:cxn>
                    <a:cxn ang="0">
                      <a:pos x="82" y="121"/>
                    </a:cxn>
                    <a:cxn ang="0">
                      <a:pos x="67" y="135"/>
                    </a:cxn>
                    <a:cxn ang="0">
                      <a:pos x="52" y="147"/>
                    </a:cxn>
                    <a:cxn ang="0">
                      <a:pos x="44" y="159"/>
                    </a:cxn>
                    <a:cxn ang="0">
                      <a:pos x="20" y="186"/>
                    </a:cxn>
                    <a:cxn ang="0">
                      <a:pos x="11" y="202"/>
                    </a:cxn>
                    <a:cxn ang="0">
                      <a:pos x="3" y="247"/>
                    </a:cxn>
                    <a:cxn ang="0">
                      <a:pos x="0" y="296"/>
                    </a:cxn>
                    <a:cxn ang="0">
                      <a:pos x="11" y="302"/>
                    </a:cxn>
                    <a:cxn ang="0">
                      <a:pos x="25" y="290"/>
                    </a:cxn>
                    <a:cxn ang="0">
                      <a:pos x="36" y="285"/>
                    </a:cxn>
                    <a:cxn ang="0">
                      <a:pos x="63" y="283"/>
                    </a:cxn>
                    <a:cxn ang="0">
                      <a:pos x="70" y="278"/>
                    </a:cxn>
                    <a:cxn ang="0">
                      <a:pos x="110" y="274"/>
                    </a:cxn>
                    <a:cxn ang="0">
                      <a:pos x="120" y="240"/>
                    </a:cxn>
                    <a:cxn ang="0">
                      <a:pos x="132" y="232"/>
                    </a:cxn>
                    <a:cxn ang="0">
                      <a:pos x="147" y="221"/>
                    </a:cxn>
                    <a:cxn ang="0">
                      <a:pos x="157" y="222"/>
                    </a:cxn>
                    <a:cxn ang="0">
                      <a:pos x="164" y="218"/>
                    </a:cxn>
                    <a:cxn ang="0">
                      <a:pos x="183" y="223"/>
                    </a:cxn>
                    <a:cxn ang="0">
                      <a:pos x="201" y="211"/>
                    </a:cxn>
                    <a:cxn ang="0">
                      <a:pos x="223" y="213"/>
                    </a:cxn>
                    <a:cxn ang="0">
                      <a:pos x="234" y="213"/>
                    </a:cxn>
                    <a:cxn ang="0">
                      <a:pos x="258" y="181"/>
                    </a:cxn>
                    <a:cxn ang="0">
                      <a:pos x="270" y="167"/>
                    </a:cxn>
                    <a:cxn ang="0">
                      <a:pos x="286" y="143"/>
                    </a:cxn>
                    <a:cxn ang="0">
                      <a:pos x="289" y="110"/>
                    </a:cxn>
                    <a:cxn ang="0">
                      <a:pos x="287" y="82"/>
                    </a:cxn>
                    <a:cxn ang="0">
                      <a:pos x="278" y="67"/>
                    </a:cxn>
                    <a:cxn ang="0">
                      <a:pos x="267" y="61"/>
                    </a:cxn>
                    <a:cxn ang="0">
                      <a:pos x="260" y="50"/>
                    </a:cxn>
                    <a:cxn ang="0">
                      <a:pos x="253" y="21"/>
                    </a:cxn>
                    <a:cxn ang="0">
                      <a:pos x="251" y="11"/>
                    </a:cxn>
                    <a:cxn ang="0">
                      <a:pos x="237" y="7"/>
                    </a:cxn>
                    <a:cxn ang="0">
                      <a:pos x="232" y="3"/>
                    </a:cxn>
                  </a:cxnLst>
                  <a:rect l="0" t="0" r="r" b="b"/>
                  <a:pathLst>
                    <a:path w="289" h="302">
                      <a:moveTo>
                        <a:pt x="232" y="3"/>
                      </a:moveTo>
                      <a:lnTo>
                        <a:pt x="232" y="0"/>
                      </a:lnTo>
                      <a:lnTo>
                        <a:pt x="232" y="3"/>
                      </a:lnTo>
                      <a:lnTo>
                        <a:pt x="205" y="21"/>
                      </a:lnTo>
                      <a:lnTo>
                        <a:pt x="186" y="21"/>
                      </a:lnTo>
                      <a:lnTo>
                        <a:pt x="170" y="19"/>
                      </a:lnTo>
                      <a:lnTo>
                        <a:pt x="157" y="24"/>
                      </a:lnTo>
                      <a:lnTo>
                        <a:pt x="143" y="25"/>
                      </a:lnTo>
                      <a:lnTo>
                        <a:pt x="126" y="29"/>
                      </a:lnTo>
                      <a:lnTo>
                        <a:pt x="120" y="22"/>
                      </a:lnTo>
                      <a:lnTo>
                        <a:pt x="108" y="23"/>
                      </a:lnTo>
                      <a:lnTo>
                        <a:pt x="98" y="25"/>
                      </a:lnTo>
                      <a:lnTo>
                        <a:pt x="87" y="22"/>
                      </a:lnTo>
                      <a:lnTo>
                        <a:pt x="73" y="23"/>
                      </a:lnTo>
                      <a:lnTo>
                        <a:pt x="66" y="28"/>
                      </a:lnTo>
                      <a:lnTo>
                        <a:pt x="66" y="32"/>
                      </a:lnTo>
                      <a:lnTo>
                        <a:pt x="63" y="41"/>
                      </a:lnTo>
                      <a:lnTo>
                        <a:pt x="60" y="59"/>
                      </a:lnTo>
                      <a:lnTo>
                        <a:pt x="61" y="81"/>
                      </a:lnTo>
                      <a:lnTo>
                        <a:pt x="63" y="89"/>
                      </a:lnTo>
                      <a:lnTo>
                        <a:pt x="68" y="94"/>
                      </a:lnTo>
                      <a:lnTo>
                        <a:pt x="73" y="98"/>
                      </a:lnTo>
                      <a:lnTo>
                        <a:pt x="82" y="100"/>
                      </a:lnTo>
                      <a:lnTo>
                        <a:pt x="84" y="105"/>
                      </a:lnTo>
                      <a:lnTo>
                        <a:pt x="86" y="113"/>
                      </a:lnTo>
                      <a:lnTo>
                        <a:pt x="82" y="121"/>
                      </a:lnTo>
                      <a:lnTo>
                        <a:pt x="73" y="130"/>
                      </a:lnTo>
                      <a:lnTo>
                        <a:pt x="67" y="135"/>
                      </a:lnTo>
                      <a:lnTo>
                        <a:pt x="56" y="140"/>
                      </a:lnTo>
                      <a:lnTo>
                        <a:pt x="52" y="147"/>
                      </a:lnTo>
                      <a:lnTo>
                        <a:pt x="50" y="153"/>
                      </a:lnTo>
                      <a:lnTo>
                        <a:pt x="44" y="159"/>
                      </a:lnTo>
                      <a:lnTo>
                        <a:pt x="33" y="172"/>
                      </a:lnTo>
                      <a:lnTo>
                        <a:pt x="20" y="186"/>
                      </a:lnTo>
                      <a:lnTo>
                        <a:pt x="17" y="191"/>
                      </a:lnTo>
                      <a:lnTo>
                        <a:pt x="11" y="202"/>
                      </a:lnTo>
                      <a:lnTo>
                        <a:pt x="3" y="233"/>
                      </a:lnTo>
                      <a:lnTo>
                        <a:pt x="3" y="247"/>
                      </a:lnTo>
                      <a:lnTo>
                        <a:pt x="1" y="275"/>
                      </a:lnTo>
                      <a:lnTo>
                        <a:pt x="0" y="296"/>
                      </a:lnTo>
                      <a:lnTo>
                        <a:pt x="4" y="299"/>
                      </a:lnTo>
                      <a:lnTo>
                        <a:pt x="11" y="302"/>
                      </a:lnTo>
                      <a:lnTo>
                        <a:pt x="19" y="301"/>
                      </a:lnTo>
                      <a:lnTo>
                        <a:pt x="25" y="290"/>
                      </a:lnTo>
                      <a:lnTo>
                        <a:pt x="29" y="286"/>
                      </a:lnTo>
                      <a:lnTo>
                        <a:pt x="36" y="285"/>
                      </a:lnTo>
                      <a:lnTo>
                        <a:pt x="41" y="281"/>
                      </a:lnTo>
                      <a:lnTo>
                        <a:pt x="63" y="283"/>
                      </a:lnTo>
                      <a:lnTo>
                        <a:pt x="70" y="280"/>
                      </a:lnTo>
                      <a:lnTo>
                        <a:pt x="70" y="278"/>
                      </a:lnTo>
                      <a:lnTo>
                        <a:pt x="115" y="278"/>
                      </a:lnTo>
                      <a:lnTo>
                        <a:pt x="110" y="274"/>
                      </a:lnTo>
                      <a:lnTo>
                        <a:pt x="122" y="247"/>
                      </a:lnTo>
                      <a:lnTo>
                        <a:pt x="120" y="240"/>
                      </a:lnTo>
                      <a:lnTo>
                        <a:pt x="121" y="234"/>
                      </a:lnTo>
                      <a:lnTo>
                        <a:pt x="132" y="232"/>
                      </a:lnTo>
                      <a:lnTo>
                        <a:pt x="142" y="228"/>
                      </a:lnTo>
                      <a:lnTo>
                        <a:pt x="147" y="221"/>
                      </a:lnTo>
                      <a:lnTo>
                        <a:pt x="153" y="223"/>
                      </a:lnTo>
                      <a:lnTo>
                        <a:pt x="157" y="222"/>
                      </a:lnTo>
                      <a:lnTo>
                        <a:pt x="159" y="216"/>
                      </a:lnTo>
                      <a:lnTo>
                        <a:pt x="164" y="218"/>
                      </a:lnTo>
                      <a:lnTo>
                        <a:pt x="175" y="220"/>
                      </a:lnTo>
                      <a:lnTo>
                        <a:pt x="183" y="223"/>
                      </a:lnTo>
                      <a:lnTo>
                        <a:pt x="195" y="207"/>
                      </a:lnTo>
                      <a:lnTo>
                        <a:pt x="201" y="211"/>
                      </a:lnTo>
                      <a:lnTo>
                        <a:pt x="215" y="216"/>
                      </a:lnTo>
                      <a:lnTo>
                        <a:pt x="223" y="213"/>
                      </a:lnTo>
                      <a:lnTo>
                        <a:pt x="232" y="216"/>
                      </a:lnTo>
                      <a:lnTo>
                        <a:pt x="234" y="213"/>
                      </a:lnTo>
                      <a:lnTo>
                        <a:pt x="240" y="208"/>
                      </a:lnTo>
                      <a:lnTo>
                        <a:pt x="258" y="181"/>
                      </a:lnTo>
                      <a:lnTo>
                        <a:pt x="267" y="170"/>
                      </a:lnTo>
                      <a:lnTo>
                        <a:pt x="270" y="167"/>
                      </a:lnTo>
                      <a:lnTo>
                        <a:pt x="278" y="156"/>
                      </a:lnTo>
                      <a:lnTo>
                        <a:pt x="286" y="143"/>
                      </a:lnTo>
                      <a:lnTo>
                        <a:pt x="288" y="130"/>
                      </a:lnTo>
                      <a:lnTo>
                        <a:pt x="289" y="110"/>
                      </a:lnTo>
                      <a:lnTo>
                        <a:pt x="287" y="100"/>
                      </a:lnTo>
                      <a:lnTo>
                        <a:pt x="287" y="82"/>
                      </a:lnTo>
                      <a:lnTo>
                        <a:pt x="286" y="76"/>
                      </a:lnTo>
                      <a:lnTo>
                        <a:pt x="278" y="67"/>
                      </a:lnTo>
                      <a:lnTo>
                        <a:pt x="274" y="65"/>
                      </a:lnTo>
                      <a:lnTo>
                        <a:pt x="267" y="61"/>
                      </a:lnTo>
                      <a:lnTo>
                        <a:pt x="262" y="56"/>
                      </a:lnTo>
                      <a:lnTo>
                        <a:pt x="260" y="50"/>
                      </a:lnTo>
                      <a:lnTo>
                        <a:pt x="255" y="23"/>
                      </a:lnTo>
                      <a:lnTo>
                        <a:pt x="253" y="21"/>
                      </a:lnTo>
                      <a:lnTo>
                        <a:pt x="251" y="18"/>
                      </a:lnTo>
                      <a:lnTo>
                        <a:pt x="251" y="11"/>
                      </a:lnTo>
                      <a:lnTo>
                        <a:pt x="249" y="9"/>
                      </a:lnTo>
                      <a:lnTo>
                        <a:pt x="237" y="7"/>
                      </a:lnTo>
                      <a:lnTo>
                        <a:pt x="234" y="5"/>
                      </a:lnTo>
                      <a:lnTo>
                        <a:pt x="232" y="3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57" name="Freeform 45"/>
                <p:cNvSpPr>
                  <a:spLocks noChangeAspect="1"/>
                </p:cNvSpPr>
                <p:nvPr/>
              </p:nvSpPr>
              <p:spPr bwMode="gray">
                <a:xfrm>
                  <a:off x="5264942" y="3710334"/>
                  <a:ext cx="33338" cy="30163"/>
                </a:xfrm>
                <a:custGeom>
                  <a:avLst/>
                  <a:gdLst/>
                  <a:ahLst/>
                  <a:cxnLst>
                    <a:cxn ang="0">
                      <a:pos x="7" y="92"/>
                    </a:cxn>
                    <a:cxn ang="0">
                      <a:pos x="8" y="92"/>
                    </a:cxn>
                    <a:cxn ang="0">
                      <a:pos x="8" y="83"/>
                    </a:cxn>
                    <a:cxn ang="0">
                      <a:pos x="13" y="80"/>
                    </a:cxn>
                    <a:cxn ang="0">
                      <a:pos x="18" y="80"/>
                    </a:cxn>
                    <a:cxn ang="0">
                      <a:pos x="20" y="81"/>
                    </a:cxn>
                    <a:cxn ang="0">
                      <a:pos x="23" y="86"/>
                    </a:cxn>
                    <a:cxn ang="0">
                      <a:pos x="26" y="95"/>
                    </a:cxn>
                    <a:cxn ang="0">
                      <a:pos x="29" y="96"/>
                    </a:cxn>
                    <a:cxn ang="0">
                      <a:pos x="35" y="95"/>
                    </a:cxn>
                    <a:cxn ang="0">
                      <a:pos x="40" y="92"/>
                    </a:cxn>
                    <a:cxn ang="0">
                      <a:pos x="48" y="92"/>
                    </a:cxn>
                    <a:cxn ang="0">
                      <a:pos x="52" y="87"/>
                    </a:cxn>
                    <a:cxn ang="0">
                      <a:pos x="52" y="79"/>
                    </a:cxn>
                    <a:cxn ang="0">
                      <a:pos x="53" y="76"/>
                    </a:cxn>
                    <a:cxn ang="0">
                      <a:pos x="56" y="74"/>
                    </a:cxn>
                    <a:cxn ang="0">
                      <a:pos x="66" y="74"/>
                    </a:cxn>
                    <a:cxn ang="0">
                      <a:pos x="78" y="70"/>
                    </a:cxn>
                    <a:cxn ang="0">
                      <a:pos x="83" y="70"/>
                    </a:cxn>
                    <a:cxn ang="0">
                      <a:pos x="83" y="71"/>
                    </a:cxn>
                    <a:cxn ang="0">
                      <a:pos x="88" y="71"/>
                    </a:cxn>
                    <a:cxn ang="0">
                      <a:pos x="90" y="75"/>
                    </a:cxn>
                    <a:cxn ang="0">
                      <a:pos x="101" y="60"/>
                    </a:cxn>
                    <a:cxn ang="0">
                      <a:pos x="104" y="50"/>
                    </a:cxn>
                    <a:cxn ang="0">
                      <a:pos x="102" y="43"/>
                    </a:cxn>
                    <a:cxn ang="0">
                      <a:pos x="98" y="28"/>
                    </a:cxn>
                    <a:cxn ang="0">
                      <a:pos x="85" y="7"/>
                    </a:cxn>
                    <a:cxn ang="0">
                      <a:pos x="80" y="0"/>
                    </a:cxn>
                    <a:cxn ang="0">
                      <a:pos x="75" y="4"/>
                    </a:cxn>
                    <a:cxn ang="0">
                      <a:pos x="68" y="5"/>
                    </a:cxn>
                    <a:cxn ang="0">
                      <a:pos x="64" y="9"/>
                    </a:cxn>
                    <a:cxn ang="0">
                      <a:pos x="58" y="20"/>
                    </a:cxn>
                    <a:cxn ang="0">
                      <a:pos x="50" y="21"/>
                    </a:cxn>
                    <a:cxn ang="0">
                      <a:pos x="43" y="18"/>
                    </a:cxn>
                    <a:cxn ang="0">
                      <a:pos x="39" y="15"/>
                    </a:cxn>
                    <a:cxn ang="0">
                      <a:pos x="36" y="17"/>
                    </a:cxn>
                    <a:cxn ang="0">
                      <a:pos x="29" y="24"/>
                    </a:cxn>
                    <a:cxn ang="0">
                      <a:pos x="21" y="36"/>
                    </a:cxn>
                    <a:cxn ang="0">
                      <a:pos x="14" y="49"/>
                    </a:cxn>
                    <a:cxn ang="0">
                      <a:pos x="10" y="60"/>
                    </a:cxn>
                    <a:cxn ang="0">
                      <a:pos x="0" y="74"/>
                    </a:cxn>
                    <a:cxn ang="0">
                      <a:pos x="0" y="81"/>
                    </a:cxn>
                    <a:cxn ang="0">
                      <a:pos x="2" y="85"/>
                    </a:cxn>
                    <a:cxn ang="0">
                      <a:pos x="7" y="92"/>
                    </a:cxn>
                  </a:cxnLst>
                  <a:rect l="0" t="0" r="r" b="b"/>
                  <a:pathLst>
                    <a:path w="104" h="96">
                      <a:moveTo>
                        <a:pt x="7" y="92"/>
                      </a:moveTo>
                      <a:lnTo>
                        <a:pt x="8" y="92"/>
                      </a:lnTo>
                      <a:lnTo>
                        <a:pt x="8" y="83"/>
                      </a:lnTo>
                      <a:lnTo>
                        <a:pt x="13" y="80"/>
                      </a:lnTo>
                      <a:lnTo>
                        <a:pt x="18" y="80"/>
                      </a:lnTo>
                      <a:lnTo>
                        <a:pt x="20" y="81"/>
                      </a:lnTo>
                      <a:lnTo>
                        <a:pt x="23" y="86"/>
                      </a:lnTo>
                      <a:lnTo>
                        <a:pt x="26" y="95"/>
                      </a:lnTo>
                      <a:lnTo>
                        <a:pt x="29" y="96"/>
                      </a:lnTo>
                      <a:lnTo>
                        <a:pt x="35" y="95"/>
                      </a:lnTo>
                      <a:lnTo>
                        <a:pt x="40" y="92"/>
                      </a:lnTo>
                      <a:lnTo>
                        <a:pt x="48" y="92"/>
                      </a:lnTo>
                      <a:lnTo>
                        <a:pt x="52" y="87"/>
                      </a:lnTo>
                      <a:lnTo>
                        <a:pt x="52" y="79"/>
                      </a:lnTo>
                      <a:lnTo>
                        <a:pt x="53" y="76"/>
                      </a:lnTo>
                      <a:lnTo>
                        <a:pt x="56" y="74"/>
                      </a:lnTo>
                      <a:lnTo>
                        <a:pt x="66" y="74"/>
                      </a:lnTo>
                      <a:lnTo>
                        <a:pt x="78" y="70"/>
                      </a:lnTo>
                      <a:lnTo>
                        <a:pt x="83" y="70"/>
                      </a:lnTo>
                      <a:lnTo>
                        <a:pt x="83" y="71"/>
                      </a:lnTo>
                      <a:lnTo>
                        <a:pt x="88" y="71"/>
                      </a:lnTo>
                      <a:lnTo>
                        <a:pt x="90" y="75"/>
                      </a:lnTo>
                      <a:lnTo>
                        <a:pt x="101" y="60"/>
                      </a:lnTo>
                      <a:lnTo>
                        <a:pt x="104" y="50"/>
                      </a:lnTo>
                      <a:lnTo>
                        <a:pt x="102" y="43"/>
                      </a:lnTo>
                      <a:lnTo>
                        <a:pt x="98" y="28"/>
                      </a:lnTo>
                      <a:lnTo>
                        <a:pt x="85" y="7"/>
                      </a:lnTo>
                      <a:lnTo>
                        <a:pt x="80" y="0"/>
                      </a:lnTo>
                      <a:lnTo>
                        <a:pt x="75" y="4"/>
                      </a:lnTo>
                      <a:lnTo>
                        <a:pt x="68" y="5"/>
                      </a:lnTo>
                      <a:lnTo>
                        <a:pt x="64" y="9"/>
                      </a:lnTo>
                      <a:lnTo>
                        <a:pt x="58" y="20"/>
                      </a:lnTo>
                      <a:lnTo>
                        <a:pt x="50" y="21"/>
                      </a:lnTo>
                      <a:lnTo>
                        <a:pt x="43" y="18"/>
                      </a:lnTo>
                      <a:lnTo>
                        <a:pt x="39" y="15"/>
                      </a:lnTo>
                      <a:lnTo>
                        <a:pt x="36" y="17"/>
                      </a:lnTo>
                      <a:lnTo>
                        <a:pt x="29" y="24"/>
                      </a:lnTo>
                      <a:lnTo>
                        <a:pt x="21" y="36"/>
                      </a:lnTo>
                      <a:lnTo>
                        <a:pt x="14" y="49"/>
                      </a:lnTo>
                      <a:lnTo>
                        <a:pt x="10" y="60"/>
                      </a:lnTo>
                      <a:lnTo>
                        <a:pt x="0" y="74"/>
                      </a:lnTo>
                      <a:lnTo>
                        <a:pt x="0" y="81"/>
                      </a:lnTo>
                      <a:lnTo>
                        <a:pt x="2" y="85"/>
                      </a:lnTo>
                      <a:lnTo>
                        <a:pt x="7" y="9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58" name="Freeform 46"/>
                <p:cNvSpPr>
                  <a:spLocks noChangeAspect="1"/>
                </p:cNvSpPr>
                <p:nvPr/>
              </p:nvSpPr>
              <p:spPr bwMode="gray">
                <a:xfrm>
                  <a:off x="5350667" y="3611909"/>
                  <a:ext cx="138113" cy="160338"/>
                </a:xfrm>
                <a:custGeom>
                  <a:avLst/>
                  <a:gdLst/>
                  <a:ahLst/>
                  <a:cxnLst>
                    <a:cxn ang="0">
                      <a:pos x="387" y="204"/>
                    </a:cxn>
                    <a:cxn ang="0">
                      <a:pos x="387" y="98"/>
                    </a:cxn>
                    <a:cxn ang="0">
                      <a:pos x="412" y="74"/>
                    </a:cxn>
                    <a:cxn ang="0">
                      <a:pos x="435" y="37"/>
                    </a:cxn>
                    <a:cxn ang="0">
                      <a:pos x="421" y="37"/>
                    </a:cxn>
                    <a:cxn ang="0">
                      <a:pos x="374" y="22"/>
                    </a:cxn>
                    <a:cxn ang="0">
                      <a:pos x="336" y="32"/>
                    </a:cxn>
                    <a:cxn ang="0">
                      <a:pos x="297" y="60"/>
                    </a:cxn>
                    <a:cxn ang="0">
                      <a:pos x="250" y="53"/>
                    </a:cxn>
                    <a:cxn ang="0">
                      <a:pos x="213" y="47"/>
                    </a:cxn>
                    <a:cxn ang="0">
                      <a:pos x="164" y="12"/>
                    </a:cxn>
                    <a:cxn ang="0">
                      <a:pos x="132" y="3"/>
                    </a:cxn>
                    <a:cxn ang="0">
                      <a:pos x="103" y="0"/>
                    </a:cxn>
                    <a:cxn ang="0">
                      <a:pos x="69" y="3"/>
                    </a:cxn>
                    <a:cxn ang="0">
                      <a:pos x="28" y="1"/>
                    </a:cxn>
                    <a:cxn ang="0">
                      <a:pos x="0" y="28"/>
                    </a:cxn>
                    <a:cxn ang="0">
                      <a:pos x="5" y="32"/>
                    </a:cxn>
                    <a:cxn ang="0">
                      <a:pos x="19" y="36"/>
                    </a:cxn>
                    <a:cxn ang="0">
                      <a:pos x="21" y="46"/>
                    </a:cxn>
                    <a:cxn ang="0">
                      <a:pos x="28" y="75"/>
                    </a:cxn>
                    <a:cxn ang="0">
                      <a:pos x="35" y="86"/>
                    </a:cxn>
                    <a:cxn ang="0">
                      <a:pos x="46" y="92"/>
                    </a:cxn>
                    <a:cxn ang="0">
                      <a:pos x="55" y="107"/>
                    </a:cxn>
                    <a:cxn ang="0">
                      <a:pos x="57" y="135"/>
                    </a:cxn>
                    <a:cxn ang="0">
                      <a:pos x="54" y="168"/>
                    </a:cxn>
                    <a:cxn ang="0">
                      <a:pos x="38" y="192"/>
                    </a:cxn>
                    <a:cxn ang="0">
                      <a:pos x="26" y="206"/>
                    </a:cxn>
                    <a:cxn ang="0">
                      <a:pos x="2" y="238"/>
                    </a:cxn>
                    <a:cxn ang="0">
                      <a:pos x="8" y="263"/>
                    </a:cxn>
                    <a:cxn ang="0">
                      <a:pos x="18" y="270"/>
                    </a:cxn>
                    <a:cxn ang="0">
                      <a:pos x="35" y="265"/>
                    </a:cxn>
                    <a:cxn ang="0">
                      <a:pos x="45" y="270"/>
                    </a:cxn>
                    <a:cxn ang="0">
                      <a:pos x="26" y="281"/>
                    </a:cxn>
                    <a:cxn ang="0">
                      <a:pos x="7" y="295"/>
                    </a:cxn>
                    <a:cxn ang="0">
                      <a:pos x="207" y="415"/>
                    </a:cxn>
                    <a:cxn ang="0">
                      <a:pos x="210" y="428"/>
                    </a:cxn>
                    <a:cxn ang="0">
                      <a:pos x="218" y="458"/>
                    </a:cxn>
                    <a:cxn ang="0">
                      <a:pos x="306" y="499"/>
                    </a:cxn>
                    <a:cxn ang="0">
                      <a:pos x="314" y="488"/>
                    </a:cxn>
                    <a:cxn ang="0">
                      <a:pos x="324" y="463"/>
                    </a:cxn>
                    <a:cxn ang="0">
                      <a:pos x="342" y="429"/>
                    </a:cxn>
                    <a:cxn ang="0">
                      <a:pos x="352" y="399"/>
                    </a:cxn>
                    <a:cxn ang="0">
                      <a:pos x="360" y="391"/>
                    </a:cxn>
                    <a:cxn ang="0">
                      <a:pos x="379" y="376"/>
                    </a:cxn>
                    <a:cxn ang="0">
                      <a:pos x="388" y="361"/>
                    </a:cxn>
                    <a:cxn ang="0">
                      <a:pos x="403" y="358"/>
                    </a:cxn>
                    <a:cxn ang="0">
                      <a:pos x="417" y="340"/>
                    </a:cxn>
                    <a:cxn ang="0">
                      <a:pos x="393" y="308"/>
                    </a:cxn>
                    <a:cxn ang="0">
                      <a:pos x="387" y="257"/>
                    </a:cxn>
                  </a:cxnLst>
                  <a:rect l="0" t="0" r="r" b="b"/>
                  <a:pathLst>
                    <a:path w="435" h="502">
                      <a:moveTo>
                        <a:pt x="387" y="257"/>
                      </a:moveTo>
                      <a:lnTo>
                        <a:pt x="387" y="204"/>
                      </a:lnTo>
                      <a:lnTo>
                        <a:pt x="387" y="151"/>
                      </a:lnTo>
                      <a:lnTo>
                        <a:pt x="387" y="98"/>
                      </a:lnTo>
                      <a:lnTo>
                        <a:pt x="390" y="96"/>
                      </a:lnTo>
                      <a:lnTo>
                        <a:pt x="412" y="74"/>
                      </a:lnTo>
                      <a:lnTo>
                        <a:pt x="433" y="42"/>
                      </a:lnTo>
                      <a:lnTo>
                        <a:pt x="435" y="37"/>
                      </a:lnTo>
                      <a:lnTo>
                        <a:pt x="430" y="38"/>
                      </a:lnTo>
                      <a:lnTo>
                        <a:pt x="421" y="37"/>
                      </a:lnTo>
                      <a:lnTo>
                        <a:pt x="408" y="38"/>
                      </a:lnTo>
                      <a:lnTo>
                        <a:pt x="374" y="22"/>
                      </a:lnTo>
                      <a:lnTo>
                        <a:pt x="355" y="26"/>
                      </a:lnTo>
                      <a:lnTo>
                        <a:pt x="336" y="32"/>
                      </a:lnTo>
                      <a:lnTo>
                        <a:pt x="320" y="48"/>
                      </a:lnTo>
                      <a:lnTo>
                        <a:pt x="297" y="60"/>
                      </a:lnTo>
                      <a:lnTo>
                        <a:pt x="272" y="59"/>
                      </a:lnTo>
                      <a:lnTo>
                        <a:pt x="250" y="53"/>
                      </a:lnTo>
                      <a:lnTo>
                        <a:pt x="233" y="53"/>
                      </a:lnTo>
                      <a:lnTo>
                        <a:pt x="213" y="47"/>
                      </a:lnTo>
                      <a:lnTo>
                        <a:pt x="202" y="34"/>
                      </a:lnTo>
                      <a:lnTo>
                        <a:pt x="164" y="12"/>
                      </a:lnTo>
                      <a:lnTo>
                        <a:pt x="147" y="4"/>
                      </a:lnTo>
                      <a:lnTo>
                        <a:pt x="132" y="3"/>
                      </a:lnTo>
                      <a:lnTo>
                        <a:pt x="116" y="5"/>
                      </a:lnTo>
                      <a:lnTo>
                        <a:pt x="103" y="0"/>
                      </a:lnTo>
                      <a:lnTo>
                        <a:pt x="82" y="3"/>
                      </a:lnTo>
                      <a:lnTo>
                        <a:pt x="69" y="3"/>
                      </a:lnTo>
                      <a:lnTo>
                        <a:pt x="39" y="0"/>
                      </a:lnTo>
                      <a:lnTo>
                        <a:pt x="28" y="1"/>
                      </a:lnTo>
                      <a:lnTo>
                        <a:pt x="16" y="9"/>
                      </a:lnTo>
                      <a:lnTo>
                        <a:pt x="0" y="28"/>
                      </a:lnTo>
                      <a:lnTo>
                        <a:pt x="2" y="30"/>
                      </a:lnTo>
                      <a:lnTo>
                        <a:pt x="5" y="32"/>
                      </a:lnTo>
                      <a:lnTo>
                        <a:pt x="17" y="34"/>
                      </a:lnTo>
                      <a:lnTo>
                        <a:pt x="19" y="36"/>
                      </a:lnTo>
                      <a:lnTo>
                        <a:pt x="19" y="43"/>
                      </a:lnTo>
                      <a:lnTo>
                        <a:pt x="21" y="46"/>
                      </a:lnTo>
                      <a:lnTo>
                        <a:pt x="23" y="48"/>
                      </a:lnTo>
                      <a:lnTo>
                        <a:pt x="28" y="75"/>
                      </a:lnTo>
                      <a:lnTo>
                        <a:pt x="30" y="81"/>
                      </a:lnTo>
                      <a:lnTo>
                        <a:pt x="35" y="86"/>
                      </a:lnTo>
                      <a:lnTo>
                        <a:pt x="42" y="90"/>
                      </a:lnTo>
                      <a:lnTo>
                        <a:pt x="46" y="92"/>
                      </a:lnTo>
                      <a:lnTo>
                        <a:pt x="54" y="101"/>
                      </a:lnTo>
                      <a:lnTo>
                        <a:pt x="55" y="107"/>
                      </a:lnTo>
                      <a:lnTo>
                        <a:pt x="55" y="125"/>
                      </a:lnTo>
                      <a:lnTo>
                        <a:pt x="57" y="135"/>
                      </a:lnTo>
                      <a:lnTo>
                        <a:pt x="56" y="155"/>
                      </a:lnTo>
                      <a:lnTo>
                        <a:pt x="54" y="168"/>
                      </a:lnTo>
                      <a:lnTo>
                        <a:pt x="46" y="181"/>
                      </a:lnTo>
                      <a:lnTo>
                        <a:pt x="38" y="192"/>
                      </a:lnTo>
                      <a:lnTo>
                        <a:pt x="35" y="195"/>
                      </a:lnTo>
                      <a:lnTo>
                        <a:pt x="26" y="206"/>
                      </a:lnTo>
                      <a:lnTo>
                        <a:pt x="8" y="233"/>
                      </a:lnTo>
                      <a:lnTo>
                        <a:pt x="2" y="238"/>
                      </a:lnTo>
                      <a:lnTo>
                        <a:pt x="1" y="253"/>
                      </a:lnTo>
                      <a:lnTo>
                        <a:pt x="8" y="263"/>
                      </a:lnTo>
                      <a:lnTo>
                        <a:pt x="12" y="272"/>
                      </a:lnTo>
                      <a:lnTo>
                        <a:pt x="18" y="270"/>
                      </a:lnTo>
                      <a:lnTo>
                        <a:pt x="26" y="267"/>
                      </a:lnTo>
                      <a:lnTo>
                        <a:pt x="35" y="265"/>
                      </a:lnTo>
                      <a:lnTo>
                        <a:pt x="45" y="265"/>
                      </a:lnTo>
                      <a:lnTo>
                        <a:pt x="45" y="270"/>
                      </a:lnTo>
                      <a:lnTo>
                        <a:pt x="34" y="274"/>
                      </a:lnTo>
                      <a:lnTo>
                        <a:pt x="26" y="281"/>
                      </a:lnTo>
                      <a:lnTo>
                        <a:pt x="14" y="281"/>
                      </a:lnTo>
                      <a:lnTo>
                        <a:pt x="7" y="295"/>
                      </a:lnTo>
                      <a:lnTo>
                        <a:pt x="16" y="303"/>
                      </a:lnTo>
                      <a:lnTo>
                        <a:pt x="207" y="415"/>
                      </a:lnTo>
                      <a:lnTo>
                        <a:pt x="210" y="420"/>
                      </a:lnTo>
                      <a:lnTo>
                        <a:pt x="210" y="428"/>
                      </a:lnTo>
                      <a:lnTo>
                        <a:pt x="215" y="447"/>
                      </a:lnTo>
                      <a:lnTo>
                        <a:pt x="218" y="458"/>
                      </a:lnTo>
                      <a:lnTo>
                        <a:pt x="296" y="504"/>
                      </a:lnTo>
                      <a:lnTo>
                        <a:pt x="306" y="499"/>
                      </a:lnTo>
                      <a:lnTo>
                        <a:pt x="309" y="495"/>
                      </a:lnTo>
                      <a:lnTo>
                        <a:pt x="314" y="488"/>
                      </a:lnTo>
                      <a:lnTo>
                        <a:pt x="318" y="479"/>
                      </a:lnTo>
                      <a:lnTo>
                        <a:pt x="324" y="463"/>
                      </a:lnTo>
                      <a:lnTo>
                        <a:pt x="333" y="450"/>
                      </a:lnTo>
                      <a:lnTo>
                        <a:pt x="342" y="429"/>
                      </a:lnTo>
                      <a:lnTo>
                        <a:pt x="346" y="413"/>
                      </a:lnTo>
                      <a:lnTo>
                        <a:pt x="352" y="399"/>
                      </a:lnTo>
                      <a:lnTo>
                        <a:pt x="357" y="392"/>
                      </a:lnTo>
                      <a:lnTo>
                        <a:pt x="360" y="391"/>
                      </a:lnTo>
                      <a:lnTo>
                        <a:pt x="378" y="382"/>
                      </a:lnTo>
                      <a:lnTo>
                        <a:pt x="379" y="376"/>
                      </a:lnTo>
                      <a:lnTo>
                        <a:pt x="382" y="370"/>
                      </a:lnTo>
                      <a:lnTo>
                        <a:pt x="388" y="361"/>
                      </a:lnTo>
                      <a:lnTo>
                        <a:pt x="394" y="358"/>
                      </a:lnTo>
                      <a:lnTo>
                        <a:pt x="403" y="358"/>
                      </a:lnTo>
                      <a:lnTo>
                        <a:pt x="414" y="346"/>
                      </a:lnTo>
                      <a:lnTo>
                        <a:pt x="417" y="340"/>
                      </a:lnTo>
                      <a:lnTo>
                        <a:pt x="416" y="337"/>
                      </a:lnTo>
                      <a:lnTo>
                        <a:pt x="393" y="308"/>
                      </a:lnTo>
                      <a:lnTo>
                        <a:pt x="387" y="300"/>
                      </a:lnTo>
                      <a:lnTo>
                        <a:pt x="387" y="25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59" name="Freeform 47"/>
                <p:cNvSpPr>
                  <a:spLocks noChangeAspect="1"/>
                </p:cNvSpPr>
                <p:nvPr/>
              </p:nvSpPr>
              <p:spPr bwMode="gray">
                <a:xfrm>
                  <a:off x="4455318" y="3399184"/>
                  <a:ext cx="107950" cy="77788"/>
                </a:xfrm>
                <a:custGeom>
                  <a:avLst/>
                  <a:gdLst/>
                  <a:ahLst/>
                  <a:cxnLst>
                    <a:cxn ang="0">
                      <a:pos x="43" y="160"/>
                    </a:cxn>
                    <a:cxn ang="0">
                      <a:pos x="28" y="129"/>
                    </a:cxn>
                    <a:cxn ang="0">
                      <a:pos x="7" y="113"/>
                    </a:cxn>
                    <a:cxn ang="0">
                      <a:pos x="1" y="107"/>
                    </a:cxn>
                    <a:cxn ang="0">
                      <a:pos x="35" y="86"/>
                    </a:cxn>
                    <a:cxn ang="0">
                      <a:pos x="56" y="33"/>
                    </a:cxn>
                    <a:cxn ang="0">
                      <a:pos x="70" y="9"/>
                    </a:cxn>
                    <a:cxn ang="0">
                      <a:pos x="92" y="9"/>
                    </a:cxn>
                    <a:cxn ang="0">
                      <a:pos x="122" y="5"/>
                    </a:cxn>
                    <a:cxn ang="0">
                      <a:pos x="135" y="1"/>
                    </a:cxn>
                    <a:cxn ang="0">
                      <a:pos x="168" y="2"/>
                    </a:cxn>
                    <a:cxn ang="0">
                      <a:pos x="183" y="9"/>
                    </a:cxn>
                    <a:cxn ang="0">
                      <a:pos x="206" y="29"/>
                    </a:cxn>
                    <a:cxn ang="0">
                      <a:pos x="221" y="29"/>
                    </a:cxn>
                    <a:cxn ang="0">
                      <a:pos x="238" y="58"/>
                    </a:cxn>
                    <a:cxn ang="0">
                      <a:pos x="248" y="68"/>
                    </a:cxn>
                    <a:cxn ang="0">
                      <a:pos x="258" y="75"/>
                    </a:cxn>
                    <a:cxn ang="0">
                      <a:pos x="261" y="82"/>
                    </a:cxn>
                    <a:cxn ang="0">
                      <a:pos x="277" y="91"/>
                    </a:cxn>
                    <a:cxn ang="0">
                      <a:pos x="289" y="103"/>
                    </a:cxn>
                    <a:cxn ang="0">
                      <a:pos x="297" y="123"/>
                    </a:cxn>
                    <a:cxn ang="0">
                      <a:pos x="302" y="133"/>
                    </a:cxn>
                    <a:cxn ang="0">
                      <a:pos x="309" y="156"/>
                    </a:cxn>
                    <a:cxn ang="0">
                      <a:pos x="313" y="181"/>
                    </a:cxn>
                    <a:cxn ang="0">
                      <a:pos x="323" y="185"/>
                    </a:cxn>
                    <a:cxn ang="0">
                      <a:pos x="332" y="197"/>
                    </a:cxn>
                    <a:cxn ang="0">
                      <a:pos x="342" y="212"/>
                    </a:cxn>
                    <a:cxn ang="0">
                      <a:pos x="342" y="221"/>
                    </a:cxn>
                    <a:cxn ang="0">
                      <a:pos x="344" y="238"/>
                    </a:cxn>
                    <a:cxn ang="0">
                      <a:pos x="321" y="242"/>
                    </a:cxn>
                    <a:cxn ang="0">
                      <a:pos x="293" y="244"/>
                    </a:cxn>
                    <a:cxn ang="0">
                      <a:pos x="271" y="239"/>
                    </a:cxn>
                    <a:cxn ang="0">
                      <a:pos x="255" y="238"/>
                    </a:cxn>
                    <a:cxn ang="0">
                      <a:pos x="237" y="227"/>
                    </a:cxn>
                    <a:cxn ang="0">
                      <a:pos x="162" y="224"/>
                    </a:cxn>
                    <a:cxn ang="0">
                      <a:pos x="111" y="236"/>
                    </a:cxn>
                    <a:cxn ang="0">
                      <a:pos x="57" y="244"/>
                    </a:cxn>
                    <a:cxn ang="0">
                      <a:pos x="43" y="242"/>
                    </a:cxn>
                    <a:cxn ang="0">
                      <a:pos x="47" y="199"/>
                    </a:cxn>
                    <a:cxn ang="0">
                      <a:pos x="98" y="188"/>
                    </a:cxn>
                    <a:cxn ang="0">
                      <a:pos x="127" y="183"/>
                    </a:cxn>
                    <a:cxn ang="0">
                      <a:pos x="143" y="182"/>
                    </a:cxn>
                    <a:cxn ang="0">
                      <a:pos x="175" y="194"/>
                    </a:cxn>
                    <a:cxn ang="0">
                      <a:pos x="203" y="189"/>
                    </a:cxn>
                    <a:cxn ang="0">
                      <a:pos x="206" y="177"/>
                    </a:cxn>
                    <a:cxn ang="0">
                      <a:pos x="191" y="177"/>
                    </a:cxn>
                    <a:cxn ang="0">
                      <a:pos x="165" y="172"/>
                    </a:cxn>
                    <a:cxn ang="0">
                      <a:pos x="140" y="162"/>
                    </a:cxn>
                    <a:cxn ang="0">
                      <a:pos x="120" y="163"/>
                    </a:cxn>
                  </a:cxnLst>
                  <a:rect l="0" t="0" r="r" b="b"/>
                  <a:pathLst>
                    <a:path w="344" h="244">
                      <a:moveTo>
                        <a:pt x="55" y="174"/>
                      </a:moveTo>
                      <a:lnTo>
                        <a:pt x="54" y="174"/>
                      </a:lnTo>
                      <a:lnTo>
                        <a:pt x="50" y="168"/>
                      </a:lnTo>
                      <a:lnTo>
                        <a:pt x="43" y="160"/>
                      </a:lnTo>
                      <a:lnTo>
                        <a:pt x="41" y="147"/>
                      </a:lnTo>
                      <a:lnTo>
                        <a:pt x="39" y="144"/>
                      </a:lnTo>
                      <a:lnTo>
                        <a:pt x="33" y="138"/>
                      </a:lnTo>
                      <a:lnTo>
                        <a:pt x="28" y="129"/>
                      </a:lnTo>
                      <a:lnTo>
                        <a:pt x="18" y="119"/>
                      </a:lnTo>
                      <a:lnTo>
                        <a:pt x="14" y="112"/>
                      </a:lnTo>
                      <a:lnTo>
                        <a:pt x="9" y="112"/>
                      </a:lnTo>
                      <a:lnTo>
                        <a:pt x="7" y="113"/>
                      </a:lnTo>
                      <a:lnTo>
                        <a:pt x="4" y="117"/>
                      </a:lnTo>
                      <a:lnTo>
                        <a:pt x="1" y="112"/>
                      </a:lnTo>
                      <a:lnTo>
                        <a:pt x="0" y="109"/>
                      </a:lnTo>
                      <a:lnTo>
                        <a:pt x="1" y="107"/>
                      </a:lnTo>
                      <a:lnTo>
                        <a:pt x="6" y="107"/>
                      </a:lnTo>
                      <a:lnTo>
                        <a:pt x="17" y="103"/>
                      </a:lnTo>
                      <a:lnTo>
                        <a:pt x="31" y="91"/>
                      </a:lnTo>
                      <a:lnTo>
                        <a:pt x="35" y="86"/>
                      </a:lnTo>
                      <a:lnTo>
                        <a:pt x="40" y="77"/>
                      </a:lnTo>
                      <a:lnTo>
                        <a:pt x="55" y="56"/>
                      </a:lnTo>
                      <a:lnTo>
                        <a:pt x="56" y="50"/>
                      </a:lnTo>
                      <a:lnTo>
                        <a:pt x="56" y="33"/>
                      </a:lnTo>
                      <a:lnTo>
                        <a:pt x="57" y="32"/>
                      </a:lnTo>
                      <a:lnTo>
                        <a:pt x="61" y="29"/>
                      </a:lnTo>
                      <a:lnTo>
                        <a:pt x="65" y="22"/>
                      </a:lnTo>
                      <a:lnTo>
                        <a:pt x="70" y="9"/>
                      </a:lnTo>
                      <a:lnTo>
                        <a:pt x="73" y="9"/>
                      </a:lnTo>
                      <a:lnTo>
                        <a:pt x="76" y="7"/>
                      </a:lnTo>
                      <a:lnTo>
                        <a:pt x="83" y="9"/>
                      </a:lnTo>
                      <a:lnTo>
                        <a:pt x="92" y="9"/>
                      </a:lnTo>
                      <a:lnTo>
                        <a:pt x="102" y="11"/>
                      </a:lnTo>
                      <a:lnTo>
                        <a:pt x="109" y="10"/>
                      </a:lnTo>
                      <a:lnTo>
                        <a:pt x="111" y="7"/>
                      </a:lnTo>
                      <a:lnTo>
                        <a:pt x="122" y="5"/>
                      </a:lnTo>
                      <a:lnTo>
                        <a:pt x="131" y="6"/>
                      </a:lnTo>
                      <a:lnTo>
                        <a:pt x="133" y="5"/>
                      </a:lnTo>
                      <a:lnTo>
                        <a:pt x="133" y="1"/>
                      </a:lnTo>
                      <a:lnTo>
                        <a:pt x="135" y="1"/>
                      </a:lnTo>
                      <a:lnTo>
                        <a:pt x="141" y="1"/>
                      </a:lnTo>
                      <a:lnTo>
                        <a:pt x="146" y="0"/>
                      </a:lnTo>
                      <a:lnTo>
                        <a:pt x="152" y="2"/>
                      </a:lnTo>
                      <a:lnTo>
                        <a:pt x="168" y="2"/>
                      </a:lnTo>
                      <a:lnTo>
                        <a:pt x="169" y="4"/>
                      </a:lnTo>
                      <a:lnTo>
                        <a:pt x="174" y="2"/>
                      </a:lnTo>
                      <a:lnTo>
                        <a:pt x="176" y="7"/>
                      </a:lnTo>
                      <a:lnTo>
                        <a:pt x="183" y="9"/>
                      </a:lnTo>
                      <a:lnTo>
                        <a:pt x="194" y="17"/>
                      </a:lnTo>
                      <a:lnTo>
                        <a:pt x="195" y="23"/>
                      </a:lnTo>
                      <a:lnTo>
                        <a:pt x="202" y="31"/>
                      </a:lnTo>
                      <a:lnTo>
                        <a:pt x="206" y="29"/>
                      </a:lnTo>
                      <a:lnTo>
                        <a:pt x="212" y="28"/>
                      </a:lnTo>
                      <a:lnTo>
                        <a:pt x="212" y="32"/>
                      </a:lnTo>
                      <a:lnTo>
                        <a:pt x="216" y="33"/>
                      </a:lnTo>
                      <a:lnTo>
                        <a:pt x="221" y="29"/>
                      </a:lnTo>
                      <a:lnTo>
                        <a:pt x="223" y="29"/>
                      </a:lnTo>
                      <a:lnTo>
                        <a:pt x="233" y="44"/>
                      </a:lnTo>
                      <a:lnTo>
                        <a:pt x="238" y="54"/>
                      </a:lnTo>
                      <a:lnTo>
                        <a:pt x="238" y="58"/>
                      </a:lnTo>
                      <a:lnTo>
                        <a:pt x="242" y="59"/>
                      </a:lnTo>
                      <a:lnTo>
                        <a:pt x="245" y="64"/>
                      </a:lnTo>
                      <a:lnTo>
                        <a:pt x="245" y="66"/>
                      </a:lnTo>
                      <a:lnTo>
                        <a:pt x="248" y="68"/>
                      </a:lnTo>
                      <a:lnTo>
                        <a:pt x="251" y="66"/>
                      </a:lnTo>
                      <a:lnTo>
                        <a:pt x="253" y="66"/>
                      </a:lnTo>
                      <a:lnTo>
                        <a:pt x="255" y="74"/>
                      </a:lnTo>
                      <a:lnTo>
                        <a:pt x="258" y="75"/>
                      </a:lnTo>
                      <a:lnTo>
                        <a:pt x="260" y="79"/>
                      </a:lnTo>
                      <a:lnTo>
                        <a:pt x="256" y="80"/>
                      </a:lnTo>
                      <a:lnTo>
                        <a:pt x="256" y="81"/>
                      </a:lnTo>
                      <a:lnTo>
                        <a:pt x="261" y="82"/>
                      </a:lnTo>
                      <a:lnTo>
                        <a:pt x="264" y="86"/>
                      </a:lnTo>
                      <a:lnTo>
                        <a:pt x="267" y="88"/>
                      </a:lnTo>
                      <a:lnTo>
                        <a:pt x="271" y="88"/>
                      </a:lnTo>
                      <a:lnTo>
                        <a:pt x="277" y="91"/>
                      </a:lnTo>
                      <a:lnTo>
                        <a:pt x="280" y="95"/>
                      </a:lnTo>
                      <a:lnTo>
                        <a:pt x="281" y="99"/>
                      </a:lnTo>
                      <a:lnTo>
                        <a:pt x="283" y="101"/>
                      </a:lnTo>
                      <a:lnTo>
                        <a:pt x="289" y="103"/>
                      </a:lnTo>
                      <a:lnTo>
                        <a:pt x="296" y="109"/>
                      </a:lnTo>
                      <a:lnTo>
                        <a:pt x="298" y="112"/>
                      </a:lnTo>
                      <a:lnTo>
                        <a:pt x="299" y="115"/>
                      </a:lnTo>
                      <a:lnTo>
                        <a:pt x="297" y="123"/>
                      </a:lnTo>
                      <a:lnTo>
                        <a:pt x="297" y="129"/>
                      </a:lnTo>
                      <a:lnTo>
                        <a:pt x="299" y="129"/>
                      </a:lnTo>
                      <a:lnTo>
                        <a:pt x="301" y="133"/>
                      </a:lnTo>
                      <a:lnTo>
                        <a:pt x="302" y="133"/>
                      </a:lnTo>
                      <a:lnTo>
                        <a:pt x="305" y="136"/>
                      </a:lnTo>
                      <a:lnTo>
                        <a:pt x="307" y="144"/>
                      </a:lnTo>
                      <a:lnTo>
                        <a:pt x="307" y="150"/>
                      </a:lnTo>
                      <a:lnTo>
                        <a:pt x="309" y="156"/>
                      </a:lnTo>
                      <a:lnTo>
                        <a:pt x="310" y="160"/>
                      </a:lnTo>
                      <a:lnTo>
                        <a:pt x="305" y="167"/>
                      </a:lnTo>
                      <a:lnTo>
                        <a:pt x="305" y="169"/>
                      </a:lnTo>
                      <a:lnTo>
                        <a:pt x="313" y="181"/>
                      </a:lnTo>
                      <a:lnTo>
                        <a:pt x="315" y="187"/>
                      </a:lnTo>
                      <a:lnTo>
                        <a:pt x="316" y="188"/>
                      </a:lnTo>
                      <a:lnTo>
                        <a:pt x="320" y="188"/>
                      </a:lnTo>
                      <a:lnTo>
                        <a:pt x="323" y="185"/>
                      </a:lnTo>
                      <a:lnTo>
                        <a:pt x="328" y="185"/>
                      </a:lnTo>
                      <a:lnTo>
                        <a:pt x="328" y="189"/>
                      </a:lnTo>
                      <a:lnTo>
                        <a:pt x="331" y="193"/>
                      </a:lnTo>
                      <a:lnTo>
                        <a:pt x="332" y="197"/>
                      </a:lnTo>
                      <a:lnTo>
                        <a:pt x="335" y="199"/>
                      </a:lnTo>
                      <a:lnTo>
                        <a:pt x="337" y="204"/>
                      </a:lnTo>
                      <a:lnTo>
                        <a:pt x="341" y="209"/>
                      </a:lnTo>
                      <a:lnTo>
                        <a:pt x="342" y="212"/>
                      </a:lnTo>
                      <a:lnTo>
                        <a:pt x="341" y="212"/>
                      </a:lnTo>
                      <a:lnTo>
                        <a:pt x="340" y="214"/>
                      </a:lnTo>
                      <a:lnTo>
                        <a:pt x="342" y="217"/>
                      </a:lnTo>
                      <a:lnTo>
                        <a:pt x="342" y="221"/>
                      </a:lnTo>
                      <a:lnTo>
                        <a:pt x="339" y="225"/>
                      </a:lnTo>
                      <a:lnTo>
                        <a:pt x="340" y="232"/>
                      </a:lnTo>
                      <a:lnTo>
                        <a:pt x="344" y="236"/>
                      </a:lnTo>
                      <a:lnTo>
                        <a:pt x="344" y="238"/>
                      </a:lnTo>
                      <a:lnTo>
                        <a:pt x="341" y="239"/>
                      </a:lnTo>
                      <a:lnTo>
                        <a:pt x="331" y="239"/>
                      </a:lnTo>
                      <a:lnTo>
                        <a:pt x="325" y="242"/>
                      </a:lnTo>
                      <a:lnTo>
                        <a:pt x="321" y="242"/>
                      </a:lnTo>
                      <a:lnTo>
                        <a:pt x="310" y="241"/>
                      </a:lnTo>
                      <a:lnTo>
                        <a:pt x="308" y="242"/>
                      </a:lnTo>
                      <a:lnTo>
                        <a:pt x="301" y="242"/>
                      </a:lnTo>
                      <a:lnTo>
                        <a:pt x="293" y="244"/>
                      </a:lnTo>
                      <a:lnTo>
                        <a:pt x="287" y="244"/>
                      </a:lnTo>
                      <a:lnTo>
                        <a:pt x="282" y="242"/>
                      </a:lnTo>
                      <a:lnTo>
                        <a:pt x="278" y="242"/>
                      </a:lnTo>
                      <a:lnTo>
                        <a:pt x="271" y="239"/>
                      </a:lnTo>
                      <a:lnTo>
                        <a:pt x="264" y="239"/>
                      </a:lnTo>
                      <a:lnTo>
                        <a:pt x="258" y="233"/>
                      </a:lnTo>
                      <a:lnTo>
                        <a:pt x="255" y="235"/>
                      </a:lnTo>
                      <a:lnTo>
                        <a:pt x="255" y="238"/>
                      </a:lnTo>
                      <a:lnTo>
                        <a:pt x="248" y="237"/>
                      </a:lnTo>
                      <a:lnTo>
                        <a:pt x="248" y="231"/>
                      </a:lnTo>
                      <a:lnTo>
                        <a:pt x="245" y="228"/>
                      </a:lnTo>
                      <a:lnTo>
                        <a:pt x="237" y="227"/>
                      </a:lnTo>
                      <a:lnTo>
                        <a:pt x="231" y="228"/>
                      </a:lnTo>
                      <a:lnTo>
                        <a:pt x="226" y="225"/>
                      </a:lnTo>
                      <a:lnTo>
                        <a:pt x="212" y="224"/>
                      </a:lnTo>
                      <a:lnTo>
                        <a:pt x="162" y="224"/>
                      </a:lnTo>
                      <a:lnTo>
                        <a:pt x="159" y="225"/>
                      </a:lnTo>
                      <a:lnTo>
                        <a:pt x="135" y="225"/>
                      </a:lnTo>
                      <a:lnTo>
                        <a:pt x="122" y="231"/>
                      </a:lnTo>
                      <a:lnTo>
                        <a:pt x="111" y="236"/>
                      </a:lnTo>
                      <a:lnTo>
                        <a:pt x="102" y="238"/>
                      </a:lnTo>
                      <a:lnTo>
                        <a:pt x="72" y="237"/>
                      </a:lnTo>
                      <a:lnTo>
                        <a:pt x="68" y="239"/>
                      </a:lnTo>
                      <a:lnTo>
                        <a:pt x="57" y="244"/>
                      </a:lnTo>
                      <a:lnTo>
                        <a:pt x="50" y="244"/>
                      </a:lnTo>
                      <a:lnTo>
                        <a:pt x="46" y="243"/>
                      </a:lnTo>
                      <a:lnTo>
                        <a:pt x="45" y="241"/>
                      </a:lnTo>
                      <a:lnTo>
                        <a:pt x="43" y="242"/>
                      </a:lnTo>
                      <a:lnTo>
                        <a:pt x="44" y="241"/>
                      </a:lnTo>
                      <a:lnTo>
                        <a:pt x="41" y="239"/>
                      </a:lnTo>
                      <a:lnTo>
                        <a:pt x="43" y="205"/>
                      </a:lnTo>
                      <a:lnTo>
                        <a:pt x="47" y="199"/>
                      </a:lnTo>
                      <a:lnTo>
                        <a:pt x="86" y="195"/>
                      </a:lnTo>
                      <a:lnTo>
                        <a:pt x="94" y="195"/>
                      </a:lnTo>
                      <a:lnTo>
                        <a:pt x="95" y="195"/>
                      </a:lnTo>
                      <a:lnTo>
                        <a:pt x="98" y="188"/>
                      </a:lnTo>
                      <a:lnTo>
                        <a:pt x="103" y="187"/>
                      </a:lnTo>
                      <a:lnTo>
                        <a:pt x="106" y="188"/>
                      </a:lnTo>
                      <a:lnTo>
                        <a:pt x="119" y="187"/>
                      </a:lnTo>
                      <a:lnTo>
                        <a:pt x="127" y="183"/>
                      </a:lnTo>
                      <a:lnTo>
                        <a:pt x="131" y="178"/>
                      </a:lnTo>
                      <a:lnTo>
                        <a:pt x="133" y="177"/>
                      </a:lnTo>
                      <a:lnTo>
                        <a:pt x="140" y="178"/>
                      </a:lnTo>
                      <a:lnTo>
                        <a:pt x="143" y="182"/>
                      </a:lnTo>
                      <a:lnTo>
                        <a:pt x="151" y="184"/>
                      </a:lnTo>
                      <a:lnTo>
                        <a:pt x="159" y="189"/>
                      </a:lnTo>
                      <a:lnTo>
                        <a:pt x="167" y="190"/>
                      </a:lnTo>
                      <a:lnTo>
                        <a:pt x="175" y="194"/>
                      </a:lnTo>
                      <a:lnTo>
                        <a:pt x="183" y="194"/>
                      </a:lnTo>
                      <a:lnTo>
                        <a:pt x="185" y="195"/>
                      </a:lnTo>
                      <a:lnTo>
                        <a:pt x="191" y="192"/>
                      </a:lnTo>
                      <a:lnTo>
                        <a:pt x="203" y="189"/>
                      </a:lnTo>
                      <a:lnTo>
                        <a:pt x="207" y="185"/>
                      </a:lnTo>
                      <a:lnTo>
                        <a:pt x="207" y="182"/>
                      </a:lnTo>
                      <a:lnTo>
                        <a:pt x="207" y="177"/>
                      </a:lnTo>
                      <a:lnTo>
                        <a:pt x="206" y="177"/>
                      </a:lnTo>
                      <a:lnTo>
                        <a:pt x="203" y="177"/>
                      </a:lnTo>
                      <a:lnTo>
                        <a:pt x="200" y="176"/>
                      </a:lnTo>
                      <a:lnTo>
                        <a:pt x="195" y="176"/>
                      </a:lnTo>
                      <a:lnTo>
                        <a:pt x="191" y="177"/>
                      </a:lnTo>
                      <a:lnTo>
                        <a:pt x="180" y="182"/>
                      </a:lnTo>
                      <a:lnTo>
                        <a:pt x="175" y="181"/>
                      </a:lnTo>
                      <a:lnTo>
                        <a:pt x="169" y="178"/>
                      </a:lnTo>
                      <a:lnTo>
                        <a:pt x="165" y="172"/>
                      </a:lnTo>
                      <a:lnTo>
                        <a:pt x="164" y="171"/>
                      </a:lnTo>
                      <a:lnTo>
                        <a:pt x="152" y="171"/>
                      </a:lnTo>
                      <a:lnTo>
                        <a:pt x="146" y="163"/>
                      </a:lnTo>
                      <a:lnTo>
                        <a:pt x="140" y="162"/>
                      </a:lnTo>
                      <a:lnTo>
                        <a:pt x="137" y="161"/>
                      </a:lnTo>
                      <a:lnTo>
                        <a:pt x="131" y="162"/>
                      </a:lnTo>
                      <a:lnTo>
                        <a:pt x="126" y="165"/>
                      </a:lnTo>
                      <a:lnTo>
                        <a:pt x="120" y="163"/>
                      </a:lnTo>
                      <a:lnTo>
                        <a:pt x="115" y="168"/>
                      </a:lnTo>
                      <a:lnTo>
                        <a:pt x="111" y="174"/>
                      </a:lnTo>
                      <a:lnTo>
                        <a:pt x="55" y="174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60" name="Freeform 48"/>
                <p:cNvSpPr>
                  <a:spLocks noChangeAspect="1"/>
                </p:cNvSpPr>
                <p:nvPr/>
              </p:nvSpPr>
              <p:spPr bwMode="gray">
                <a:xfrm>
                  <a:off x="5276055" y="3708747"/>
                  <a:ext cx="190500" cy="187325"/>
                </a:xfrm>
                <a:custGeom>
                  <a:avLst/>
                  <a:gdLst/>
                  <a:ahLst/>
                  <a:cxnLst>
                    <a:cxn ang="0">
                      <a:pos x="450" y="144"/>
                    </a:cxn>
                    <a:cxn ang="0">
                      <a:pos x="521" y="238"/>
                    </a:cxn>
                    <a:cxn ang="0">
                      <a:pos x="505" y="292"/>
                    </a:cxn>
                    <a:cxn ang="0">
                      <a:pos x="538" y="325"/>
                    </a:cxn>
                    <a:cxn ang="0">
                      <a:pos x="537" y="349"/>
                    </a:cxn>
                    <a:cxn ang="0">
                      <a:pos x="536" y="380"/>
                    </a:cxn>
                    <a:cxn ang="0">
                      <a:pos x="528" y="402"/>
                    </a:cxn>
                    <a:cxn ang="0">
                      <a:pos x="542" y="432"/>
                    </a:cxn>
                    <a:cxn ang="0">
                      <a:pos x="550" y="467"/>
                    </a:cxn>
                    <a:cxn ang="0">
                      <a:pos x="561" y="488"/>
                    </a:cxn>
                    <a:cxn ang="0">
                      <a:pos x="587" y="514"/>
                    </a:cxn>
                    <a:cxn ang="0">
                      <a:pos x="593" y="526"/>
                    </a:cxn>
                    <a:cxn ang="0">
                      <a:pos x="541" y="557"/>
                    </a:cxn>
                    <a:cxn ang="0">
                      <a:pos x="476" y="564"/>
                    </a:cxn>
                    <a:cxn ang="0">
                      <a:pos x="436" y="583"/>
                    </a:cxn>
                    <a:cxn ang="0">
                      <a:pos x="378" y="589"/>
                    </a:cxn>
                    <a:cxn ang="0">
                      <a:pos x="355" y="580"/>
                    </a:cxn>
                    <a:cxn ang="0">
                      <a:pos x="331" y="584"/>
                    </a:cxn>
                    <a:cxn ang="0">
                      <a:pos x="280" y="567"/>
                    </a:cxn>
                    <a:cxn ang="0">
                      <a:pos x="270" y="531"/>
                    </a:cxn>
                    <a:cxn ang="0">
                      <a:pos x="249" y="476"/>
                    </a:cxn>
                    <a:cxn ang="0">
                      <a:pos x="229" y="473"/>
                    </a:cxn>
                    <a:cxn ang="0">
                      <a:pos x="208" y="475"/>
                    </a:cxn>
                    <a:cxn ang="0">
                      <a:pos x="178" y="459"/>
                    </a:cxn>
                    <a:cxn ang="0">
                      <a:pos x="125" y="440"/>
                    </a:cxn>
                    <a:cxn ang="0">
                      <a:pos x="95" y="418"/>
                    </a:cxn>
                    <a:cxn ang="0">
                      <a:pos x="65" y="386"/>
                    </a:cxn>
                    <a:cxn ang="0">
                      <a:pos x="49" y="328"/>
                    </a:cxn>
                    <a:cxn ang="0">
                      <a:pos x="11" y="278"/>
                    </a:cxn>
                    <a:cxn ang="0">
                      <a:pos x="9" y="231"/>
                    </a:cxn>
                    <a:cxn ang="0">
                      <a:pos x="0" y="187"/>
                    </a:cxn>
                    <a:cxn ang="0">
                      <a:pos x="39" y="159"/>
                    </a:cxn>
                    <a:cxn ang="0">
                      <a:pos x="64" y="121"/>
                    </a:cxn>
                    <a:cxn ang="0">
                      <a:pos x="52" y="102"/>
                    </a:cxn>
                    <a:cxn ang="0">
                      <a:pos x="49" y="83"/>
                    </a:cxn>
                    <a:cxn ang="0">
                      <a:pos x="66" y="46"/>
                    </a:cxn>
                    <a:cxn ang="0">
                      <a:pos x="66" y="5"/>
                    </a:cxn>
                    <a:cxn ang="0">
                      <a:pos x="119" y="7"/>
                    </a:cxn>
                    <a:cxn ang="0">
                      <a:pos x="118" y="83"/>
                    </a:cxn>
                    <a:cxn ang="0">
                      <a:pos x="133" y="88"/>
                    </a:cxn>
                    <a:cxn ang="0">
                      <a:pos x="148" y="75"/>
                    </a:cxn>
                    <a:cxn ang="0">
                      <a:pos x="173" y="86"/>
                    </a:cxn>
                    <a:cxn ang="0">
                      <a:pos x="186" y="84"/>
                    </a:cxn>
                    <a:cxn ang="0">
                      <a:pos x="214" y="79"/>
                    </a:cxn>
                    <a:cxn ang="0">
                      <a:pos x="209" y="66"/>
                    </a:cxn>
                    <a:cxn ang="0">
                      <a:pos x="209" y="48"/>
                    </a:cxn>
                    <a:cxn ang="0">
                      <a:pos x="225" y="35"/>
                    </a:cxn>
                    <a:cxn ang="0">
                      <a:pos x="238" y="21"/>
                    </a:cxn>
                    <a:cxn ang="0">
                      <a:pos x="251" y="0"/>
                    </a:cxn>
                  </a:cxnLst>
                  <a:rect l="0" t="0" r="r" b="b"/>
                  <a:pathLst>
                    <a:path w="596" h="591">
                      <a:moveTo>
                        <a:pt x="442" y="112"/>
                      </a:moveTo>
                      <a:lnTo>
                        <a:pt x="445" y="117"/>
                      </a:lnTo>
                      <a:lnTo>
                        <a:pt x="445" y="125"/>
                      </a:lnTo>
                      <a:lnTo>
                        <a:pt x="450" y="144"/>
                      </a:lnTo>
                      <a:lnTo>
                        <a:pt x="453" y="155"/>
                      </a:lnTo>
                      <a:lnTo>
                        <a:pt x="531" y="201"/>
                      </a:lnTo>
                      <a:lnTo>
                        <a:pt x="528" y="207"/>
                      </a:lnTo>
                      <a:lnTo>
                        <a:pt x="521" y="238"/>
                      </a:lnTo>
                      <a:lnTo>
                        <a:pt x="517" y="244"/>
                      </a:lnTo>
                      <a:lnTo>
                        <a:pt x="514" y="256"/>
                      </a:lnTo>
                      <a:lnTo>
                        <a:pt x="504" y="281"/>
                      </a:lnTo>
                      <a:lnTo>
                        <a:pt x="505" y="292"/>
                      </a:lnTo>
                      <a:lnTo>
                        <a:pt x="507" y="298"/>
                      </a:lnTo>
                      <a:lnTo>
                        <a:pt x="523" y="309"/>
                      </a:lnTo>
                      <a:lnTo>
                        <a:pt x="530" y="317"/>
                      </a:lnTo>
                      <a:lnTo>
                        <a:pt x="538" y="325"/>
                      </a:lnTo>
                      <a:lnTo>
                        <a:pt x="544" y="336"/>
                      </a:lnTo>
                      <a:lnTo>
                        <a:pt x="544" y="341"/>
                      </a:lnTo>
                      <a:lnTo>
                        <a:pt x="542" y="342"/>
                      </a:lnTo>
                      <a:lnTo>
                        <a:pt x="537" y="349"/>
                      </a:lnTo>
                      <a:lnTo>
                        <a:pt x="536" y="362"/>
                      </a:lnTo>
                      <a:lnTo>
                        <a:pt x="533" y="368"/>
                      </a:lnTo>
                      <a:lnTo>
                        <a:pt x="537" y="374"/>
                      </a:lnTo>
                      <a:lnTo>
                        <a:pt x="536" y="380"/>
                      </a:lnTo>
                      <a:lnTo>
                        <a:pt x="538" y="385"/>
                      </a:lnTo>
                      <a:lnTo>
                        <a:pt x="537" y="395"/>
                      </a:lnTo>
                      <a:lnTo>
                        <a:pt x="531" y="395"/>
                      </a:lnTo>
                      <a:lnTo>
                        <a:pt x="528" y="402"/>
                      </a:lnTo>
                      <a:lnTo>
                        <a:pt x="531" y="412"/>
                      </a:lnTo>
                      <a:lnTo>
                        <a:pt x="537" y="425"/>
                      </a:lnTo>
                      <a:lnTo>
                        <a:pt x="542" y="429"/>
                      </a:lnTo>
                      <a:lnTo>
                        <a:pt x="542" y="432"/>
                      </a:lnTo>
                      <a:lnTo>
                        <a:pt x="538" y="435"/>
                      </a:lnTo>
                      <a:lnTo>
                        <a:pt x="550" y="455"/>
                      </a:lnTo>
                      <a:lnTo>
                        <a:pt x="552" y="460"/>
                      </a:lnTo>
                      <a:lnTo>
                        <a:pt x="550" y="467"/>
                      </a:lnTo>
                      <a:lnTo>
                        <a:pt x="555" y="472"/>
                      </a:lnTo>
                      <a:lnTo>
                        <a:pt x="558" y="478"/>
                      </a:lnTo>
                      <a:lnTo>
                        <a:pt x="558" y="484"/>
                      </a:lnTo>
                      <a:lnTo>
                        <a:pt x="561" y="488"/>
                      </a:lnTo>
                      <a:lnTo>
                        <a:pt x="561" y="497"/>
                      </a:lnTo>
                      <a:lnTo>
                        <a:pt x="573" y="503"/>
                      </a:lnTo>
                      <a:lnTo>
                        <a:pt x="577" y="513"/>
                      </a:lnTo>
                      <a:lnTo>
                        <a:pt x="587" y="514"/>
                      </a:lnTo>
                      <a:lnTo>
                        <a:pt x="592" y="518"/>
                      </a:lnTo>
                      <a:lnTo>
                        <a:pt x="595" y="519"/>
                      </a:lnTo>
                      <a:lnTo>
                        <a:pt x="596" y="525"/>
                      </a:lnTo>
                      <a:lnTo>
                        <a:pt x="593" y="526"/>
                      </a:lnTo>
                      <a:lnTo>
                        <a:pt x="579" y="536"/>
                      </a:lnTo>
                      <a:lnTo>
                        <a:pt x="564" y="550"/>
                      </a:lnTo>
                      <a:lnTo>
                        <a:pt x="560" y="552"/>
                      </a:lnTo>
                      <a:lnTo>
                        <a:pt x="541" y="557"/>
                      </a:lnTo>
                      <a:lnTo>
                        <a:pt x="507" y="569"/>
                      </a:lnTo>
                      <a:lnTo>
                        <a:pt x="499" y="570"/>
                      </a:lnTo>
                      <a:lnTo>
                        <a:pt x="489" y="570"/>
                      </a:lnTo>
                      <a:lnTo>
                        <a:pt x="476" y="564"/>
                      </a:lnTo>
                      <a:lnTo>
                        <a:pt x="467" y="567"/>
                      </a:lnTo>
                      <a:lnTo>
                        <a:pt x="453" y="568"/>
                      </a:lnTo>
                      <a:lnTo>
                        <a:pt x="440" y="581"/>
                      </a:lnTo>
                      <a:lnTo>
                        <a:pt x="436" y="583"/>
                      </a:lnTo>
                      <a:lnTo>
                        <a:pt x="429" y="583"/>
                      </a:lnTo>
                      <a:lnTo>
                        <a:pt x="398" y="581"/>
                      </a:lnTo>
                      <a:lnTo>
                        <a:pt x="387" y="589"/>
                      </a:lnTo>
                      <a:lnTo>
                        <a:pt x="378" y="589"/>
                      </a:lnTo>
                      <a:lnTo>
                        <a:pt x="371" y="591"/>
                      </a:lnTo>
                      <a:lnTo>
                        <a:pt x="366" y="590"/>
                      </a:lnTo>
                      <a:lnTo>
                        <a:pt x="361" y="588"/>
                      </a:lnTo>
                      <a:lnTo>
                        <a:pt x="355" y="580"/>
                      </a:lnTo>
                      <a:lnTo>
                        <a:pt x="348" y="578"/>
                      </a:lnTo>
                      <a:lnTo>
                        <a:pt x="340" y="578"/>
                      </a:lnTo>
                      <a:lnTo>
                        <a:pt x="334" y="583"/>
                      </a:lnTo>
                      <a:lnTo>
                        <a:pt x="331" y="584"/>
                      </a:lnTo>
                      <a:lnTo>
                        <a:pt x="290" y="583"/>
                      </a:lnTo>
                      <a:lnTo>
                        <a:pt x="290" y="579"/>
                      </a:lnTo>
                      <a:lnTo>
                        <a:pt x="285" y="570"/>
                      </a:lnTo>
                      <a:lnTo>
                        <a:pt x="280" y="567"/>
                      </a:lnTo>
                      <a:lnTo>
                        <a:pt x="275" y="559"/>
                      </a:lnTo>
                      <a:lnTo>
                        <a:pt x="274" y="557"/>
                      </a:lnTo>
                      <a:lnTo>
                        <a:pt x="275" y="538"/>
                      </a:lnTo>
                      <a:lnTo>
                        <a:pt x="270" y="531"/>
                      </a:lnTo>
                      <a:lnTo>
                        <a:pt x="269" y="513"/>
                      </a:lnTo>
                      <a:lnTo>
                        <a:pt x="264" y="494"/>
                      </a:lnTo>
                      <a:lnTo>
                        <a:pt x="261" y="487"/>
                      </a:lnTo>
                      <a:lnTo>
                        <a:pt x="249" y="476"/>
                      </a:lnTo>
                      <a:lnTo>
                        <a:pt x="237" y="472"/>
                      </a:lnTo>
                      <a:lnTo>
                        <a:pt x="232" y="480"/>
                      </a:lnTo>
                      <a:lnTo>
                        <a:pt x="230" y="476"/>
                      </a:lnTo>
                      <a:lnTo>
                        <a:pt x="229" y="473"/>
                      </a:lnTo>
                      <a:lnTo>
                        <a:pt x="226" y="472"/>
                      </a:lnTo>
                      <a:lnTo>
                        <a:pt x="221" y="472"/>
                      </a:lnTo>
                      <a:lnTo>
                        <a:pt x="210" y="476"/>
                      </a:lnTo>
                      <a:lnTo>
                        <a:pt x="208" y="475"/>
                      </a:lnTo>
                      <a:lnTo>
                        <a:pt x="203" y="468"/>
                      </a:lnTo>
                      <a:lnTo>
                        <a:pt x="193" y="470"/>
                      </a:lnTo>
                      <a:lnTo>
                        <a:pt x="182" y="462"/>
                      </a:lnTo>
                      <a:lnTo>
                        <a:pt x="178" y="459"/>
                      </a:lnTo>
                      <a:lnTo>
                        <a:pt x="176" y="456"/>
                      </a:lnTo>
                      <a:lnTo>
                        <a:pt x="165" y="456"/>
                      </a:lnTo>
                      <a:lnTo>
                        <a:pt x="154" y="452"/>
                      </a:lnTo>
                      <a:lnTo>
                        <a:pt x="125" y="440"/>
                      </a:lnTo>
                      <a:lnTo>
                        <a:pt x="117" y="438"/>
                      </a:lnTo>
                      <a:lnTo>
                        <a:pt x="109" y="434"/>
                      </a:lnTo>
                      <a:lnTo>
                        <a:pt x="105" y="427"/>
                      </a:lnTo>
                      <a:lnTo>
                        <a:pt x="95" y="418"/>
                      </a:lnTo>
                      <a:lnTo>
                        <a:pt x="87" y="416"/>
                      </a:lnTo>
                      <a:lnTo>
                        <a:pt x="81" y="417"/>
                      </a:lnTo>
                      <a:lnTo>
                        <a:pt x="70" y="398"/>
                      </a:lnTo>
                      <a:lnTo>
                        <a:pt x="65" y="386"/>
                      </a:lnTo>
                      <a:lnTo>
                        <a:pt x="58" y="374"/>
                      </a:lnTo>
                      <a:lnTo>
                        <a:pt x="49" y="352"/>
                      </a:lnTo>
                      <a:lnTo>
                        <a:pt x="50" y="338"/>
                      </a:lnTo>
                      <a:lnTo>
                        <a:pt x="49" y="328"/>
                      </a:lnTo>
                      <a:lnTo>
                        <a:pt x="31" y="310"/>
                      </a:lnTo>
                      <a:lnTo>
                        <a:pt x="9" y="298"/>
                      </a:lnTo>
                      <a:lnTo>
                        <a:pt x="6" y="284"/>
                      </a:lnTo>
                      <a:lnTo>
                        <a:pt x="11" y="278"/>
                      </a:lnTo>
                      <a:lnTo>
                        <a:pt x="15" y="272"/>
                      </a:lnTo>
                      <a:lnTo>
                        <a:pt x="11" y="258"/>
                      </a:lnTo>
                      <a:lnTo>
                        <a:pt x="9" y="246"/>
                      </a:lnTo>
                      <a:lnTo>
                        <a:pt x="9" y="231"/>
                      </a:lnTo>
                      <a:lnTo>
                        <a:pt x="5" y="225"/>
                      </a:lnTo>
                      <a:lnTo>
                        <a:pt x="1" y="222"/>
                      </a:lnTo>
                      <a:lnTo>
                        <a:pt x="0" y="206"/>
                      </a:lnTo>
                      <a:lnTo>
                        <a:pt x="0" y="187"/>
                      </a:lnTo>
                      <a:lnTo>
                        <a:pt x="3" y="186"/>
                      </a:lnTo>
                      <a:lnTo>
                        <a:pt x="14" y="183"/>
                      </a:lnTo>
                      <a:lnTo>
                        <a:pt x="28" y="179"/>
                      </a:lnTo>
                      <a:lnTo>
                        <a:pt x="39" y="159"/>
                      </a:lnTo>
                      <a:lnTo>
                        <a:pt x="44" y="153"/>
                      </a:lnTo>
                      <a:lnTo>
                        <a:pt x="50" y="139"/>
                      </a:lnTo>
                      <a:lnTo>
                        <a:pt x="60" y="127"/>
                      </a:lnTo>
                      <a:lnTo>
                        <a:pt x="64" y="121"/>
                      </a:lnTo>
                      <a:lnTo>
                        <a:pt x="64" y="113"/>
                      </a:lnTo>
                      <a:lnTo>
                        <a:pt x="62" y="107"/>
                      </a:lnTo>
                      <a:lnTo>
                        <a:pt x="58" y="104"/>
                      </a:lnTo>
                      <a:lnTo>
                        <a:pt x="52" y="102"/>
                      </a:lnTo>
                      <a:lnTo>
                        <a:pt x="48" y="99"/>
                      </a:lnTo>
                      <a:lnTo>
                        <a:pt x="48" y="95"/>
                      </a:lnTo>
                      <a:lnTo>
                        <a:pt x="48" y="89"/>
                      </a:lnTo>
                      <a:lnTo>
                        <a:pt x="49" y="83"/>
                      </a:lnTo>
                      <a:lnTo>
                        <a:pt x="54" y="78"/>
                      </a:lnTo>
                      <a:lnTo>
                        <a:pt x="65" y="63"/>
                      </a:lnTo>
                      <a:lnTo>
                        <a:pt x="68" y="53"/>
                      </a:lnTo>
                      <a:lnTo>
                        <a:pt x="66" y="46"/>
                      </a:lnTo>
                      <a:lnTo>
                        <a:pt x="62" y="31"/>
                      </a:lnTo>
                      <a:lnTo>
                        <a:pt x="49" y="10"/>
                      </a:lnTo>
                      <a:lnTo>
                        <a:pt x="44" y="3"/>
                      </a:lnTo>
                      <a:lnTo>
                        <a:pt x="66" y="5"/>
                      </a:lnTo>
                      <a:lnTo>
                        <a:pt x="73" y="2"/>
                      </a:lnTo>
                      <a:lnTo>
                        <a:pt x="73" y="0"/>
                      </a:lnTo>
                      <a:lnTo>
                        <a:pt x="118" y="0"/>
                      </a:lnTo>
                      <a:lnTo>
                        <a:pt x="119" y="7"/>
                      </a:lnTo>
                      <a:lnTo>
                        <a:pt x="118" y="26"/>
                      </a:lnTo>
                      <a:lnTo>
                        <a:pt x="114" y="40"/>
                      </a:lnTo>
                      <a:lnTo>
                        <a:pt x="113" y="61"/>
                      </a:lnTo>
                      <a:lnTo>
                        <a:pt x="118" y="83"/>
                      </a:lnTo>
                      <a:lnTo>
                        <a:pt x="117" y="90"/>
                      </a:lnTo>
                      <a:lnTo>
                        <a:pt x="122" y="99"/>
                      </a:lnTo>
                      <a:lnTo>
                        <a:pt x="129" y="95"/>
                      </a:lnTo>
                      <a:lnTo>
                        <a:pt x="133" y="88"/>
                      </a:lnTo>
                      <a:lnTo>
                        <a:pt x="139" y="86"/>
                      </a:lnTo>
                      <a:lnTo>
                        <a:pt x="138" y="78"/>
                      </a:lnTo>
                      <a:lnTo>
                        <a:pt x="143" y="72"/>
                      </a:lnTo>
                      <a:lnTo>
                        <a:pt x="148" y="75"/>
                      </a:lnTo>
                      <a:lnTo>
                        <a:pt x="157" y="85"/>
                      </a:lnTo>
                      <a:lnTo>
                        <a:pt x="163" y="90"/>
                      </a:lnTo>
                      <a:lnTo>
                        <a:pt x="170" y="86"/>
                      </a:lnTo>
                      <a:lnTo>
                        <a:pt x="173" y="86"/>
                      </a:lnTo>
                      <a:lnTo>
                        <a:pt x="176" y="107"/>
                      </a:lnTo>
                      <a:lnTo>
                        <a:pt x="183" y="101"/>
                      </a:lnTo>
                      <a:lnTo>
                        <a:pt x="182" y="94"/>
                      </a:lnTo>
                      <a:lnTo>
                        <a:pt x="186" y="84"/>
                      </a:lnTo>
                      <a:lnTo>
                        <a:pt x="189" y="83"/>
                      </a:lnTo>
                      <a:lnTo>
                        <a:pt x="200" y="83"/>
                      </a:lnTo>
                      <a:lnTo>
                        <a:pt x="205" y="83"/>
                      </a:lnTo>
                      <a:lnTo>
                        <a:pt x="214" y="79"/>
                      </a:lnTo>
                      <a:lnTo>
                        <a:pt x="225" y="72"/>
                      </a:lnTo>
                      <a:lnTo>
                        <a:pt x="226" y="69"/>
                      </a:lnTo>
                      <a:lnTo>
                        <a:pt x="224" y="64"/>
                      </a:lnTo>
                      <a:lnTo>
                        <a:pt x="209" y="66"/>
                      </a:lnTo>
                      <a:lnTo>
                        <a:pt x="200" y="62"/>
                      </a:lnTo>
                      <a:lnTo>
                        <a:pt x="202" y="58"/>
                      </a:lnTo>
                      <a:lnTo>
                        <a:pt x="211" y="52"/>
                      </a:lnTo>
                      <a:lnTo>
                        <a:pt x="209" y="48"/>
                      </a:lnTo>
                      <a:lnTo>
                        <a:pt x="211" y="46"/>
                      </a:lnTo>
                      <a:lnTo>
                        <a:pt x="219" y="46"/>
                      </a:lnTo>
                      <a:lnTo>
                        <a:pt x="220" y="42"/>
                      </a:lnTo>
                      <a:lnTo>
                        <a:pt x="225" y="35"/>
                      </a:lnTo>
                      <a:lnTo>
                        <a:pt x="226" y="30"/>
                      </a:lnTo>
                      <a:lnTo>
                        <a:pt x="231" y="29"/>
                      </a:lnTo>
                      <a:lnTo>
                        <a:pt x="234" y="20"/>
                      </a:lnTo>
                      <a:lnTo>
                        <a:pt x="238" y="21"/>
                      </a:lnTo>
                      <a:lnTo>
                        <a:pt x="240" y="18"/>
                      </a:lnTo>
                      <a:lnTo>
                        <a:pt x="236" y="12"/>
                      </a:lnTo>
                      <a:lnTo>
                        <a:pt x="240" y="5"/>
                      </a:lnTo>
                      <a:lnTo>
                        <a:pt x="251" y="0"/>
                      </a:lnTo>
                      <a:lnTo>
                        <a:pt x="442" y="11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61" name="Freeform 49"/>
                <p:cNvSpPr>
                  <a:spLocks noChangeAspect="1"/>
                </p:cNvSpPr>
                <p:nvPr/>
              </p:nvSpPr>
              <p:spPr bwMode="gray">
                <a:xfrm>
                  <a:off x="4528343" y="3518247"/>
                  <a:ext cx="52388" cy="52388"/>
                </a:xfrm>
                <a:custGeom>
                  <a:avLst/>
                  <a:gdLst/>
                  <a:ahLst/>
                  <a:cxnLst>
                    <a:cxn ang="0">
                      <a:pos x="8" y="51"/>
                    </a:cxn>
                    <a:cxn ang="0">
                      <a:pos x="17" y="50"/>
                    </a:cxn>
                    <a:cxn ang="0">
                      <a:pos x="23" y="39"/>
                    </a:cxn>
                    <a:cxn ang="0">
                      <a:pos x="32" y="37"/>
                    </a:cxn>
                    <a:cxn ang="0">
                      <a:pos x="37" y="31"/>
                    </a:cxn>
                    <a:cxn ang="0">
                      <a:pos x="46" y="16"/>
                    </a:cxn>
                    <a:cxn ang="0">
                      <a:pos x="49" y="6"/>
                    </a:cxn>
                    <a:cxn ang="0">
                      <a:pos x="61" y="7"/>
                    </a:cxn>
                    <a:cxn ang="0">
                      <a:pos x="70" y="5"/>
                    </a:cxn>
                    <a:cxn ang="0">
                      <a:pos x="76" y="0"/>
                    </a:cxn>
                    <a:cxn ang="0">
                      <a:pos x="115" y="1"/>
                    </a:cxn>
                    <a:cxn ang="0">
                      <a:pos x="125" y="12"/>
                    </a:cxn>
                    <a:cxn ang="0">
                      <a:pos x="134" y="21"/>
                    </a:cxn>
                    <a:cxn ang="0">
                      <a:pos x="136" y="27"/>
                    </a:cxn>
                    <a:cxn ang="0">
                      <a:pos x="135" y="32"/>
                    </a:cxn>
                    <a:cxn ang="0">
                      <a:pos x="145" y="35"/>
                    </a:cxn>
                    <a:cxn ang="0">
                      <a:pos x="143" y="40"/>
                    </a:cxn>
                    <a:cxn ang="0">
                      <a:pos x="143" y="45"/>
                    </a:cxn>
                    <a:cxn ang="0">
                      <a:pos x="146" y="53"/>
                    </a:cxn>
                    <a:cxn ang="0">
                      <a:pos x="152" y="60"/>
                    </a:cxn>
                    <a:cxn ang="0">
                      <a:pos x="153" y="71"/>
                    </a:cxn>
                    <a:cxn ang="0">
                      <a:pos x="146" y="85"/>
                    </a:cxn>
                    <a:cxn ang="0">
                      <a:pos x="143" y="92"/>
                    </a:cxn>
                    <a:cxn ang="0">
                      <a:pos x="162" y="82"/>
                    </a:cxn>
                    <a:cxn ang="0">
                      <a:pos x="164" y="85"/>
                    </a:cxn>
                    <a:cxn ang="0">
                      <a:pos x="163" y="93"/>
                    </a:cxn>
                    <a:cxn ang="0">
                      <a:pos x="167" y="98"/>
                    </a:cxn>
                    <a:cxn ang="0">
                      <a:pos x="152" y="105"/>
                    </a:cxn>
                    <a:cxn ang="0">
                      <a:pos x="150" y="123"/>
                    </a:cxn>
                    <a:cxn ang="0">
                      <a:pos x="143" y="129"/>
                    </a:cxn>
                    <a:cxn ang="0">
                      <a:pos x="136" y="136"/>
                    </a:cxn>
                    <a:cxn ang="0">
                      <a:pos x="121" y="146"/>
                    </a:cxn>
                    <a:cxn ang="0">
                      <a:pos x="113" y="148"/>
                    </a:cxn>
                    <a:cxn ang="0">
                      <a:pos x="112" y="156"/>
                    </a:cxn>
                    <a:cxn ang="0">
                      <a:pos x="108" y="163"/>
                    </a:cxn>
                    <a:cxn ang="0">
                      <a:pos x="102" y="166"/>
                    </a:cxn>
                    <a:cxn ang="0">
                      <a:pos x="61" y="147"/>
                    </a:cxn>
                    <a:cxn ang="0">
                      <a:pos x="51" y="140"/>
                    </a:cxn>
                    <a:cxn ang="0">
                      <a:pos x="32" y="124"/>
                    </a:cxn>
                    <a:cxn ang="0">
                      <a:pos x="23" y="118"/>
                    </a:cxn>
                    <a:cxn ang="0">
                      <a:pos x="22" y="110"/>
                    </a:cxn>
                    <a:cxn ang="0">
                      <a:pos x="16" y="102"/>
                    </a:cxn>
                    <a:cxn ang="0">
                      <a:pos x="5" y="93"/>
                    </a:cxn>
                    <a:cxn ang="0">
                      <a:pos x="8" y="86"/>
                    </a:cxn>
                    <a:cxn ang="0">
                      <a:pos x="13" y="87"/>
                    </a:cxn>
                    <a:cxn ang="0">
                      <a:pos x="11" y="82"/>
                    </a:cxn>
                    <a:cxn ang="0">
                      <a:pos x="5" y="78"/>
                    </a:cxn>
                    <a:cxn ang="0">
                      <a:pos x="5" y="65"/>
                    </a:cxn>
                    <a:cxn ang="0">
                      <a:pos x="0" y="60"/>
                    </a:cxn>
                    <a:cxn ang="0">
                      <a:pos x="2" y="49"/>
                    </a:cxn>
                  </a:cxnLst>
                  <a:rect l="0" t="0" r="r" b="b"/>
                  <a:pathLst>
                    <a:path w="167" h="166">
                      <a:moveTo>
                        <a:pt x="2" y="49"/>
                      </a:moveTo>
                      <a:lnTo>
                        <a:pt x="8" y="51"/>
                      </a:lnTo>
                      <a:lnTo>
                        <a:pt x="14" y="51"/>
                      </a:lnTo>
                      <a:lnTo>
                        <a:pt x="17" y="50"/>
                      </a:lnTo>
                      <a:lnTo>
                        <a:pt x="19" y="49"/>
                      </a:lnTo>
                      <a:lnTo>
                        <a:pt x="23" y="39"/>
                      </a:lnTo>
                      <a:lnTo>
                        <a:pt x="28" y="39"/>
                      </a:lnTo>
                      <a:lnTo>
                        <a:pt x="32" y="37"/>
                      </a:lnTo>
                      <a:lnTo>
                        <a:pt x="32" y="32"/>
                      </a:lnTo>
                      <a:lnTo>
                        <a:pt x="37" y="31"/>
                      </a:lnTo>
                      <a:lnTo>
                        <a:pt x="43" y="23"/>
                      </a:lnTo>
                      <a:lnTo>
                        <a:pt x="46" y="16"/>
                      </a:lnTo>
                      <a:lnTo>
                        <a:pt x="45" y="7"/>
                      </a:lnTo>
                      <a:lnTo>
                        <a:pt x="49" y="6"/>
                      </a:lnTo>
                      <a:lnTo>
                        <a:pt x="57" y="5"/>
                      </a:lnTo>
                      <a:lnTo>
                        <a:pt x="61" y="7"/>
                      </a:lnTo>
                      <a:lnTo>
                        <a:pt x="65" y="7"/>
                      </a:lnTo>
                      <a:lnTo>
                        <a:pt x="70" y="5"/>
                      </a:lnTo>
                      <a:lnTo>
                        <a:pt x="76" y="5"/>
                      </a:lnTo>
                      <a:lnTo>
                        <a:pt x="76" y="0"/>
                      </a:lnTo>
                      <a:lnTo>
                        <a:pt x="102" y="0"/>
                      </a:lnTo>
                      <a:lnTo>
                        <a:pt x="115" y="1"/>
                      </a:lnTo>
                      <a:lnTo>
                        <a:pt x="119" y="8"/>
                      </a:lnTo>
                      <a:lnTo>
                        <a:pt x="125" y="12"/>
                      </a:lnTo>
                      <a:lnTo>
                        <a:pt x="129" y="17"/>
                      </a:lnTo>
                      <a:lnTo>
                        <a:pt x="134" y="21"/>
                      </a:lnTo>
                      <a:lnTo>
                        <a:pt x="134" y="23"/>
                      </a:lnTo>
                      <a:lnTo>
                        <a:pt x="136" y="27"/>
                      </a:lnTo>
                      <a:lnTo>
                        <a:pt x="135" y="29"/>
                      </a:lnTo>
                      <a:lnTo>
                        <a:pt x="135" y="32"/>
                      </a:lnTo>
                      <a:lnTo>
                        <a:pt x="142" y="34"/>
                      </a:lnTo>
                      <a:lnTo>
                        <a:pt x="145" y="35"/>
                      </a:lnTo>
                      <a:lnTo>
                        <a:pt x="145" y="38"/>
                      </a:lnTo>
                      <a:lnTo>
                        <a:pt x="143" y="40"/>
                      </a:lnTo>
                      <a:lnTo>
                        <a:pt x="145" y="45"/>
                      </a:lnTo>
                      <a:lnTo>
                        <a:pt x="143" y="45"/>
                      </a:lnTo>
                      <a:lnTo>
                        <a:pt x="145" y="50"/>
                      </a:lnTo>
                      <a:lnTo>
                        <a:pt x="146" y="53"/>
                      </a:lnTo>
                      <a:lnTo>
                        <a:pt x="151" y="56"/>
                      </a:lnTo>
                      <a:lnTo>
                        <a:pt x="152" y="60"/>
                      </a:lnTo>
                      <a:lnTo>
                        <a:pt x="155" y="70"/>
                      </a:lnTo>
                      <a:lnTo>
                        <a:pt x="153" y="71"/>
                      </a:lnTo>
                      <a:lnTo>
                        <a:pt x="148" y="74"/>
                      </a:lnTo>
                      <a:lnTo>
                        <a:pt x="146" y="85"/>
                      </a:lnTo>
                      <a:lnTo>
                        <a:pt x="143" y="90"/>
                      </a:lnTo>
                      <a:lnTo>
                        <a:pt x="143" y="92"/>
                      </a:lnTo>
                      <a:lnTo>
                        <a:pt x="156" y="87"/>
                      </a:lnTo>
                      <a:lnTo>
                        <a:pt x="162" y="82"/>
                      </a:lnTo>
                      <a:lnTo>
                        <a:pt x="163" y="82"/>
                      </a:lnTo>
                      <a:lnTo>
                        <a:pt x="164" y="85"/>
                      </a:lnTo>
                      <a:lnTo>
                        <a:pt x="164" y="88"/>
                      </a:lnTo>
                      <a:lnTo>
                        <a:pt x="163" y="93"/>
                      </a:lnTo>
                      <a:lnTo>
                        <a:pt x="167" y="97"/>
                      </a:lnTo>
                      <a:lnTo>
                        <a:pt x="167" y="98"/>
                      </a:lnTo>
                      <a:lnTo>
                        <a:pt x="157" y="99"/>
                      </a:lnTo>
                      <a:lnTo>
                        <a:pt x="152" y="105"/>
                      </a:lnTo>
                      <a:lnTo>
                        <a:pt x="150" y="107"/>
                      </a:lnTo>
                      <a:lnTo>
                        <a:pt x="150" y="123"/>
                      </a:lnTo>
                      <a:lnTo>
                        <a:pt x="146" y="124"/>
                      </a:lnTo>
                      <a:lnTo>
                        <a:pt x="143" y="129"/>
                      </a:lnTo>
                      <a:lnTo>
                        <a:pt x="140" y="129"/>
                      </a:lnTo>
                      <a:lnTo>
                        <a:pt x="136" y="136"/>
                      </a:lnTo>
                      <a:lnTo>
                        <a:pt x="130" y="137"/>
                      </a:lnTo>
                      <a:lnTo>
                        <a:pt x="121" y="146"/>
                      </a:lnTo>
                      <a:lnTo>
                        <a:pt x="118" y="148"/>
                      </a:lnTo>
                      <a:lnTo>
                        <a:pt x="113" y="148"/>
                      </a:lnTo>
                      <a:lnTo>
                        <a:pt x="112" y="151"/>
                      </a:lnTo>
                      <a:lnTo>
                        <a:pt x="112" y="156"/>
                      </a:lnTo>
                      <a:lnTo>
                        <a:pt x="109" y="157"/>
                      </a:lnTo>
                      <a:lnTo>
                        <a:pt x="108" y="163"/>
                      </a:lnTo>
                      <a:lnTo>
                        <a:pt x="103" y="166"/>
                      </a:lnTo>
                      <a:lnTo>
                        <a:pt x="102" y="166"/>
                      </a:lnTo>
                      <a:lnTo>
                        <a:pt x="91" y="163"/>
                      </a:lnTo>
                      <a:lnTo>
                        <a:pt x="61" y="147"/>
                      </a:lnTo>
                      <a:lnTo>
                        <a:pt x="53" y="146"/>
                      </a:lnTo>
                      <a:lnTo>
                        <a:pt x="51" y="140"/>
                      </a:lnTo>
                      <a:lnTo>
                        <a:pt x="48" y="135"/>
                      </a:lnTo>
                      <a:lnTo>
                        <a:pt x="32" y="124"/>
                      </a:lnTo>
                      <a:lnTo>
                        <a:pt x="24" y="120"/>
                      </a:lnTo>
                      <a:lnTo>
                        <a:pt x="23" y="118"/>
                      </a:lnTo>
                      <a:lnTo>
                        <a:pt x="23" y="113"/>
                      </a:lnTo>
                      <a:lnTo>
                        <a:pt x="22" y="110"/>
                      </a:lnTo>
                      <a:lnTo>
                        <a:pt x="22" y="107"/>
                      </a:lnTo>
                      <a:lnTo>
                        <a:pt x="16" y="102"/>
                      </a:lnTo>
                      <a:lnTo>
                        <a:pt x="10" y="102"/>
                      </a:lnTo>
                      <a:lnTo>
                        <a:pt x="5" y="93"/>
                      </a:lnTo>
                      <a:lnTo>
                        <a:pt x="5" y="86"/>
                      </a:lnTo>
                      <a:lnTo>
                        <a:pt x="8" y="86"/>
                      </a:lnTo>
                      <a:lnTo>
                        <a:pt x="10" y="87"/>
                      </a:lnTo>
                      <a:lnTo>
                        <a:pt x="13" y="87"/>
                      </a:lnTo>
                      <a:lnTo>
                        <a:pt x="13" y="86"/>
                      </a:lnTo>
                      <a:lnTo>
                        <a:pt x="11" y="82"/>
                      </a:lnTo>
                      <a:lnTo>
                        <a:pt x="7" y="81"/>
                      </a:lnTo>
                      <a:lnTo>
                        <a:pt x="5" y="78"/>
                      </a:lnTo>
                      <a:lnTo>
                        <a:pt x="6" y="71"/>
                      </a:lnTo>
                      <a:lnTo>
                        <a:pt x="5" y="65"/>
                      </a:lnTo>
                      <a:lnTo>
                        <a:pt x="3" y="62"/>
                      </a:lnTo>
                      <a:lnTo>
                        <a:pt x="0" y="60"/>
                      </a:lnTo>
                      <a:lnTo>
                        <a:pt x="0" y="55"/>
                      </a:lnTo>
                      <a:lnTo>
                        <a:pt x="2" y="49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62" name="Freeform 50"/>
                <p:cNvSpPr>
                  <a:spLocks noChangeAspect="1"/>
                </p:cNvSpPr>
                <p:nvPr/>
              </p:nvSpPr>
              <p:spPr bwMode="gray">
                <a:xfrm>
                  <a:off x="4610893" y="3505547"/>
                  <a:ext cx="106363" cy="111125"/>
                </a:xfrm>
                <a:custGeom>
                  <a:avLst/>
                  <a:gdLst/>
                  <a:ahLst/>
                  <a:cxnLst>
                    <a:cxn ang="0">
                      <a:pos x="97" y="342"/>
                    </a:cxn>
                    <a:cxn ang="0">
                      <a:pos x="173" y="317"/>
                    </a:cxn>
                    <a:cxn ang="0">
                      <a:pos x="258" y="307"/>
                    </a:cxn>
                    <a:cxn ang="0">
                      <a:pos x="301" y="315"/>
                    </a:cxn>
                    <a:cxn ang="0">
                      <a:pos x="317" y="310"/>
                    </a:cxn>
                    <a:cxn ang="0">
                      <a:pos x="318" y="280"/>
                    </a:cxn>
                    <a:cxn ang="0">
                      <a:pos x="296" y="238"/>
                    </a:cxn>
                    <a:cxn ang="0">
                      <a:pos x="307" y="199"/>
                    </a:cxn>
                    <a:cxn ang="0">
                      <a:pos x="318" y="161"/>
                    </a:cxn>
                    <a:cxn ang="0">
                      <a:pos x="332" y="144"/>
                    </a:cxn>
                    <a:cxn ang="0">
                      <a:pos x="327" y="95"/>
                    </a:cxn>
                    <a:cxn ang="0">
                      <a:pos x="326" y="82"/>
                    </a:cxn>
                    <a:cxn ang="0">
                      <a:pos x="322" y="70"/>
                    </a:cxn>
                    <a:cxn ang="0">
                      <a:pos x="307" y="54"/>
                    </a:cxn>
                    <a:cxn ang="0">
                      <a:pos x="290" y="48"/>
                    </a:cxn>
                    <a:cxn ang="0">
                      <a:pos x="250" y="49"/>
                    </a:cxn>
                    <a:cxn ang="0">
                      <a:pos x="230" y="61"/>
                    </a:cxn>
                    <a:cxn ang="0">
                      <a:pos x="218" y="57"/>
                    </a:cxn>
                    <a:cxn ang="0">
                      <a:pos x="205" y="50"/>
                    </a:cxn>
                    <a:cxn ang="0">
                      <a:pos x="197" y="39"/>
                    </a:cxn>
                    <a:cxn ang="0">
                      <a:pos x="188" y="30"/>
                    </a:cxn>
                    <a:cxn ang="0">
                      <a:pos x="173" y="25"/>
                    </a:cxn>
                    <a:cxn ang="0">
                      <a:pos x="154" y="16"/>
                    </a:cxn>
                    <a:cxn ang="0">
                      <a:pos x="140" y="27"/>
                    </a:cxn>
                    <a:cxn ang="0">
                      <a:pos x="129" y="10"/>
                    </a:cxn>
                    <a:cxn ang="0">
                      <a:pos x="124" y="1"/>
                    </a:cxn>
                    <a:cxn ang="0">
                      <a:pos x="108" y="5"/>
                    </a:cxn>
                    <a:cxn ang="0">
                      <a:pos x="105" y="18"/>
                    </a:cxn>
                    <a:cxn ang="0">
                      <a:pos x="86" y="27"/>
                    </a:cxn>
                    <a:cxn ang="0">
                      <a:pos x="73" y="25"/>
                    </a:cxn>
                    <a:cxn ang="0">
                      <a:pos x="65" y="27"/>
                    </a:cxn>
                    <a:cxn ang="0">
                      <a:pos x="53" y="18"/>
                    </a:cxn>
                    <a:cxn ang="0">
                      <a:pos x="42" y="25"/>
                    </a:cxn>
                    <a:cxn ang="0">
                      <a:pos x="26" y="39"/>
                    </a:cxn>
                    <a:cxn ang="0">
                      <a:pos x="24" y="70"/>
                    </a:cxn>
                    <a:cxn ang="0">
                      <a:pos x="37" y="90"/>
                    </a:cxn>
                    <a:cxn ang="0">
                      <a:pos x="42" y="97"/>
                    </a:cxn>
                    <a:cxn ang="0">
                      <a:pos x="41" y="111"/>
                    </a:cxn>
                    <a:cxn ang="0">
                      <a:pos x="47" y="125"/>
                    </a:cxn>
                    <a:cxn ang="0">
                      <a:pos x="41" y="129"/>
                    </a:cxn>
                    <a:cxn ang="0">
                      <a:pos x="17" y="128"/>
                    </a:cxn>
                    <a:cxn ang="0">
                      <a:pos x="17" y="139"/>
                    </a:cxn>
                    <a:cxn ang="0">
                      <a:pos x="31" y="145"/>
                    </a:cxn>
                    <a:cxn ang="0">
                      <a:pos x="28" y="152"/>
                    </a:cxn>
                    <a:cxn ang="0">
                      <a:pos x="22" y="177"/>
                    </a:cxn>
                    <a:cxn ang="0">
                      <a:pos x="8" y="192"/>
                    </a:cxn>
                    <a:cxn ang="0">
                      <a:pos x="17" y="202"/>
                    </a:cxn>
                    <a:cxn ang="0">
                      <a:pos x="0" y="233"/>
                    </a:cxn>
                    <a:cxn ang="0">
                      <a:pos x="8" y="236"/>
                    </a:cxn>
                    <a:cxn ang="0">
                      <a:pos x="22" y="245"/>
                    </a:cxn>
                    <a:cxn ang="0">
                      <a:pos x="38" y="256"/>
                    </a:cxn>
                    <a:cxn ang="0">
                      <a:pos x="52" y="267"/>
                    </a:cxn>
                    <a:cxn ang="0">
                      <a:pos x="65" y="280"/>
                    </a:cxn>
                    <a:cxn ang="0">
                      <a:pos x="66" y="300"/>
                    </a:cxn>
                    <a:cxn ang="0">
                      <a:pos x="57" y="311"/>
                    </a:cxn>
                    <a:cxn ang="0">
                      <a:pos x="57" y="350"/>
                    </a:cxn>
                  </a:cxnLst>
                  <a:rect l="0" t="0" r="r" b="b"/>
                  <a:pathLst>
                    <a:path w="337" h="354">
                      <a:moveTo>
                        <a:pt x="57" y="350"/>
                      </a:moveTo>
                      <a:lnTo>
                        <a:pt x="58" y="353"/>
                      </a:lnTo>
                      <a:lnTo>
                        <a:pt x="74" y="354"/>
                      </a:lnTo>
                      <a:lnTo>
                        <a:pt x="97" y="342"/>
                      </a:lnTo>
                      <a:lnTo>
                        <a:pt x="121" y="332"/>
                      </a:lnTo>
                      <a:lnTo>
                        <a:pt x="135" y="326"/>
                      </a:lnTo>
                      <a:lnTo>
                        <a:pt x="160" y="318"/>
                      </a:lnTo>
                      <a:lnTo>
                        <a:pt x="173" y="317"/>
                      </a:lnTo>
                      <a:lnTo>
                        <a:pt x="208" y="311"/>
                      </a:lnTo>
                      <a:lnTo>
                        <a:pt x="219" y="310"/>
                      </a:lnTo>
                      <a:lnTo>
                        <a:pt x="240" y="307"/>
                      </a:lnTo>
                      <a:lnTo>
                        <a:pt x="258" y="307"/>
                      </a:lnTo>
                      <a:lnTo>
                        <a:pt x="274" y="312"/>
                      </a:lnTo>
                      <a:lnTo>
                        <a:pt x="295" y="316"/>
                      </a:lnTo>
                      <a:lnTo>
                        <a:pt x="299" y="316"/>
                      </a:lnTo>
                      <a:lnTo>
                        <a:pt x="301" y="315"/>
                      </a:lnTo>
                      <a:lnTo>
                        <a:pt x="305" y="308"/>
                      </a:lnTo>
                      <a:lnTo>
                        <a:pt x="307" y="307"/>
                      </a:lnTo>
                      <a:lnTo>
                        <a:pt x="313" y="307"/>
                      </a:lnTo>
                      <a:lnTo>
                        <a:pt x="317" y="310"/>
                      </a:lnTo>
                      <a:lnTo>
                        <a:pt x="323" y="308"/>
                      </a:lnTo>
                      <a:lnTo>
                        <a:pt x="323" y="294"/>
                      </a:lnTo>
                      <a:lnTo>
                        <a:pt x="321" y="281"/>
                      </a:lnTo>
                      <a:lnTo>
                        <a:pt x="318" y="280"/>
                      </a:lnTo>
                      <a:lnTo>
                        <a:pt x="311" y="279"/>
                      </a:lnTo>
                      <a:lnTo>
                        <a:pt x="307" y="274"/>
                      </a:lnTo>
                      <a:lnTo>
                        <a:pt x="304" y="258"/>
                      </a:lnTo>
                      <a:lnTo>
                        <a:pt x="296" y="238"/>
                      </a:lnTo>
                      <a:lnTo>
                        <a:pt x="296" y="230"/>
                      </a:lnTo>
                      <a:lnTo>
                        <a:pt x="297" y="213"/>
                      </a:lnTo>
                      <a:lnTo>
                        <a:pt x="301" y="206"/>
                      </a:lnTo>
                      <a:lnTo>
                        <a:pt x="307" y="199"/>
                      </a:lnTo>
                      <a:lnTo>
                        <a:pt x="310" y="194"/>
                      </a:lnTo>
                      <a:lnTo>
                        <a:pt x="310" y="183"/>
                      </a:lnTo>
                      <a:lnTo>
                        <a:pt x="312" y="174"/>
                      </a:lnTo>
                      <a:lnTo>
                        <a:pt x="318" y="161"/>
                      </a:lnTo>
                      <a:lnTo>
                        <a:pt x="322" y="152"/>
                      </a:lnTo>
                      <a:lnTo>
                        <a:pt x="324" y="150"/>
                      </a:lnTo>
                      <a:lnTo>
                        <a:pt x="328" y="145"/>
                      </a:lnTo>
                      <a:lnTo>
                        <a:pt x="332" y="144"/>
                      </a:lnTo>
                      <a:lnTo>
                        <a:pt x="332" y="139"/>
                      </a:lnTo>
                      <a:lnTo>
                        <a:pt x="337" y="138"/>
                      </a:lnTo>
                      <a:lnTo>
                        <a:pt x="334" y="122"/>
                      </a:lnTo>
                      <a:lnTo>
                        <a:pt x="327" y="95"/>
                      </a:lnTo>
                      <a:lnTo>
                        <a:pt x="324" y="91"/>
                      </a:lnTo>
                      <a:lnTo>
                        <a:pt x="321" y="90"/>
                      </a:lnTo>
                      <a:lnTo>
                        <a:pt x="321" y="87"/>
                      </a:lnTo>
                      <a:lnTo>
                        <a:pt x="326" y="82"/>
                      </a:lnTo>
                      <a:lnTo>
                        <a:pt x="323" y="77"/>
                      </a:lnTo>
                      <a:lnTo>
                        <a:pt x="324" y="74"/>
                      </a:lnTo>
                      <a:lnTo>
                        <a:pt x="324" y="68"/>
                      </a:lnTo>
                      <a:lnTo>
                        <a:pt x="322" y="70"/>
                      </a:lnTo>
                      <a:lnTo>
                        <a:pt x="316" y="70"/>
                      </a:lnTo>
                      <a:lnTo>
                        <a:pt x="313" y="69"/>
                      </a:lnTo>
                      <a:lnTo>
                        <a:pt x="308" y="59"/>
                      </a:lnTo>
                      <a:lnTo>
                        <a:pt x="307" y="54"/>
                      </a:lnTo>
                      <a:lnTo>
                        <a:pt x="302" y="53"/>
                      </a:lnTo>
                      <a:lnTo>
                        <a:pt x="296" y="43"/>
                      </a:lnTo>
                      <a:lnTo>
                        <a:pt x="295" y="43"/>
                      </a:lnTo>
                      <a:lnTo>
                        <a:pt x="290" y="48"/>
                      </a:lnTo>
                      <a:lnTo>
                        <a:pt x="279" y="43"/>
                      </a:lnTo>
                      <a:lnTo>
                        <a:pt x="272" y="43"/>
                      </a:lnTo>
                      <a:lnTo>
                        <a:pt x="262" y="46"/>
                      </a:lnTo>
                      <a:lnTo>
                        <a:pt x="250" y="49"/>
                      </a:lnTo>
                      <a:lnTo>
                        <a:pt x="242" y="52"/>
                      </a:lnTo>
                      <a:lnTo>
                        <a:pt x="236" y="53"/>
                      </a:lnTo>
                      <a:lnTo>
                        <a:pt x="234" y="59"/>
                      </a:lnTo>
                      <a:lnTo>
                        <a:pt x="230" y="61"/>
                      </a:lnTo>
                      <a:lnTo>
                        <a:pt x="223" y="58"/>
                      </a:lnTo>
                      <a:lnTo>
                        <a:pt x="221" y="54"/>
                      </a:lnTo>
                      <a:lnTo>
                        <a:pt x="220" y="54"/>
                      </a:lnTo>
                      <a:lnTo>
                        <a:pt x="218" y="57"/>
                      </a:lnTo>
                      <a:lnTo>
                        <a:pt x="214" y="57"/>
                      </a:lnTo>
                      <a:lnTo>
                        <a:pt x="214" y="58"/>
                      </a:lnTo>
                      <a:lnTo>
                        <a:pt x="207" y="54"/>
                      </a:lnTo>
                      <a:lnTo>
                        <a:pt x="205" y="50"/>
                      </a:lnTo>
                      <a:lnTo>
                        <a:pt x="202" y="47"/>
                      </a:lnTo>
                      <a:lnTo>
                        <a:pt x="198" y="47"/>
                      </a:lnTo>
                      <a:lnTo>
                        <a:pt x="198" y="42"/>
                      </a:lnTo>
                      <a:lnTo>
                        <a:pt x="197" y="39"/>
                      </a:lnTo>
                      <a:lnTo>
                        <a:pt x="194" y="38"/>
                      </a:lnTo>
                      <a:lnTo>
                        <a:pt x="191" y="32"/>
                      </a:lnTo>
                      <a:lnTo>
                        <a:pt x="189" y="31"/>
                      </a:lnTo>
                      <a:lnTo>
                        <a:pt x="188" y="30"/>
                      </a:lnTo>
                      <a:lnTo>
                        <a:pt x="187" y="25"/>
                      </a:lnTo>
                      <a:lnTo>
                        <a:pt x="187" y="23"/>
                      </a:lnTo>
                      <a:lnTo>
                        <a:pt x="184" y="22"/>
                      </a:lnTo>
                      <a:lnTo>
                        <a:pt x="173" y="25"/>
                      </a:lnTo>
                      <a:lnTo>
                        <a:pt x="171" y="23"/>
                      </a:lnTo>
                      <a:lnTo>
                        <a:pt x="167" y="17"/>
                      </a:lnTo>
                      <a:lnTo>
                        <a:pt x="165" y="16"/>
                      </a:lnTo>
                      <a:lnTo>
                        <a:pt x="154" y="16"/>
                      </a:lnTo>
                      <a:lnTo>
                        <a:pt x="150" y="16"/>
                      </a:lnTo>
                      <a:lnTo>
                        <a:pt x="148" y="23"/>
                      </a:lnTo>
                      <a:lnTo>
                        <a:pt x="144" y="23"/>
                      </a:lnTo>
                      <a:lnTo>
                        <a:pt x="140" y="27"/>
                      </a:lnTo>
                      <a:lnTo>
                        <a:pt x="130" y="27"/>
                      </a:lnTo>
                      <a:lnTo>
                        <a:pt x="132" y="25"/>
                      </a:lnTo>
                      <a:lnTo>
                        <a:pt x="130" y="14"/>
                      </a:lnTo>
                      <a:lnTo>
                        <a:pt x="129" y="10"/>
                      </a:lnTo>
                      <a:lnTo>
                        <a:pt x="129" y="9"/>
                      </a:lnTo>
                      <a:lnTo>
                        <a:pt x="129" y="4"/>
                      </a:lnTo>
                      <a:lnTo>
                        <a:pt x="127" y="0"/>
                      </a:lnTo>
                      <a:lnTo>
                        <a:pt x="124" y="1"/>
                      </a:lnTo>
                      <a:lnTo>
                        <a:pt x="118" y="1"/>
                      </a:lnTo>
                      <a:lnTo>
                        <a:pt x="116" y="9"/>
                      </a:lnTo>
                      <a:lnTo>
                        <a:pt x="114" y="9"/>
                      </a:lnTo>
                      <a:lnTo>
                        <a:pt x="108" y="5"/>
                      </a:lnTo>
                      <a:lnTo>
                        <a:pt x="106" y="5"/>
                      </a:lnTo>
                      <a:lnTo>
                        <a:pt x="103" y="9"/>
                      </a:lnTo>
                      <a:lnTo>
                        <a:pt x="103" y="12"/>
                      </a:lnTo>
                      <a:lnTo>
                        <a:pt x="105" y="18"/>
                      </a:lnTo>
                      <a:lnTo>
                        <a:pt x="103" y="21"/>
                      </a:lnTo>
                      <a:lnTo>
                        <a:pt x="92" y="21"/>
                      </a:lnTo>
                      <a:lnTo>
                        <a:pt x="86" y="23"/>
                      </a:lnTo>
                      <a:lnTo>
                        <a:pt x="86" y="27"/>
                      </a:lnTo>
                      <a:lnTo>
                        <a:pt x="84" y="32"/>
                      </a:lnTo>
                      <a:lnTo>
                        <a:pt x="80" y="32"/>
                      </a:lnTo>
                      <a:lnTo>
                        <a:pt x="76" y="30"/>
                      </a:lnTo>
                      <a:lnTo>
                        <a:pt x="73" y="25"/>
                      </a:lnTo>
                      <a:lnTo>
                        <a:pt x="70" y="25"/>
                      </a:lnTo>
                      <a:lnTo>
                        <a:pt x="68" y="26"/>
                      </a:lnTo>
                      <a:lnTo>
                        <a:pt x="66" y="27"/>
                      </a:lnTo>
                      <a:lnTo>
                        <a:pt x="65" y="27"/>
                      </a:lnTo>
                      <a:lnTo>
                        <a:pt x="64" y="21"/>
                      </a:lnTo>
                      <a:lnTo>
                        <a:pt x="60" y="16"/>
                      </a:lnTo>
                      <a:lnTo>
                        <a:pt x="57" y="15"/>
                      </a:lnTo>
                      <a:lnTo>
                        <a:pt x="53" y="18"/>
                      </a:lnTo>
                      <a:lnTo>
                        <a:pt x="48" y="17"/>
                      </a:lnTo>
                      <a:lnTo>
                        <a:pt x="46" y="18"/>
                      </a:lnTo>
                      <a:lnTo>
                        <a:pt x="43" y="21"/>
                      </a:lnTo>
                      <a:lnTo>
                        <a:pt x="42" y="25"/>
                      </a:lnTo>
                      <a:lnTo>
                        <a:pt x="39" y="28"/>
                      </a:lnTo>
                      <a:lnTo>
                        <a:pt x="33" y="30"/>
                      </a:lnTo>
                      <a:lnTo>
                        <a:pt x="32" y="32"/>
                      </a:lnTo>
                      <a:lnTo>
                        <a:pt x="26" y="39"/>
                      </a:lnTo>
                      <a:lnTo>
                        <a:pt x="25" y="42"/>
                      </a:lnTo>
                      <a:lnTo>
                        <a:pt x="22" y="44"/>
                      </a:lnTo>
                      <a:lnTo>
                        <a:pt x="24" y="53"/>
                      </a:lnTo>
                      <a:lnTo>
                        <a:pt x="24" y="70"/>
                      </a:lnTo>
                      <a:lnTo>
                        <a:pt x="24" y="73"/>
                      </a:lnTo>
                      <a:lnTo>
                        <a:pt x="31" y="76"/>
                      </a:lnTo>
                      <a:lnTo>
                        <a:pt x="38" y="76"/>
                      </a:lnTo>
                      <a:lnTo>
                        <a:pt x="37" y="90"/>
                      </a:lnTo>
                      <a:lnTo>
                        <a:pt x="41" y="89"/>
                      </a:lnTo>
                      <a:lnTo>
                        <a:pt x="44" y="93"/>
                      </a:lnTo>
                      <a:lnTo>
                        <a:pt x="44" y="96"/>
                      </a:lnTo>
                      <a:lnTo>
                        <a:pt x="42" y="97"/>
                      </a:lnTo>
                      <a:lnTo>
                        <a:pt x="38" y="101"/>
                      </a:lnTo>
                      <a:lnTo>
                        <a:pt x="35" y="109"/>
                      </a:lnTo>
                      <a:lnTo>
                        <a:pt x="37" y="109"/>
                      </a:lnTo>
                      <a:lnTo>
                        <a:pt x="41" y="111"/>
                      </a:lnTo>
                      <a:lnTo>
                        <a:pt x="44" y="111"/>
                      </a:lnTo>
                      <a:lnTo>
                        <a:pt x="44" y="117"/>
                      </a:lnTo>
                      <a:lnTo>
                        <a:pt x="47" y="120"/>
                      </a:lnTo>
                      <a:lnTo>
                        <a:pt x="47" y="125"/>
                      </a:lnTo>
                      <a:lnTo>
                        <a:pt x="48" y="134"/>
                      </a:lnTo>
                      <a:lnTo>
                        <a:pt x="47" y="134"/>
                      </a:lnTo>
                      <a:lnTo>
                        <a:pt x="44" y="128"/>
                      </a:lnTo>
                      <a:lnTo>
                        <a:pt x="41" y="129"/>
                      </a:lnTo>
                      <a:lnTo>
                        <a:pt x="38" y="129"/>
                      </a:lnTo>
                      <a:lnTo>
                        <a:pt x="35" y="125"/>
                      </a:lnTo>
                      <a:lnTo>
                        <a:pt x="26" y="124"/>
                      </a:lnTo>
                      <a:lnTo>
                        <a:pt x="17" y="128"/>
                      </a:lnTo>
                      <a:lnTo>
                        <a:pt x="17" y="129"/>
                      </a:lnTo>
                      <a:lnTo>
                        <a:pt x="19" y="129"/>
                      </a:lnTo>
                      <a:lnTo>
                        <a:pt x="20" y="134"/>
                      </a:lnTo>
                      <a:lnTo>
                        <a:pt x="17" y="139"/>
                      </a:lnTo>
                      <a:lnTo>
                        <a:pt x="20" y="141"/>
                      </a:lnTo>
                      <a:lnTo>
                        <a:pt x="26" y="141"/>
                      </a:lnTo>
                      <a:lnTo>
                        <a:pt x="30" y="141"/>
                      </a:lnTo>
                      <a:lnTo>
                        <a:pt x="31" y="145"/>
                      </a:lnTo>
                      <a:lnTo>
                        <a:pt x="30" y="147"/>
                      </a:lnTo>
                      <a:lnTo>
                        <a:pt x="32" y="147"/>
                      </a:lnTo>
                      <a:lnTo>
                        <a:pt x="33" y="150"/>
                      </a:lnTo>
                      <a:lnTo>
                        <a:pt x="28" y="152"/>
                      </a:lnTo>
                      <a:lnTo>
                        <a:pt x="27" y="157"/>
                      </a:lnTo>
                      <a:lnTo>
                        <a:pt x="27" y="166"/>
                      </a:lnTo>
                      <a:lnTo>
                        <a:pt x="22" y="172"/>
                      </a:lnTo>
                      <a:lnTo>
                        <a:pt x="22" y="177"/>
                      </a:lnTo>
                      <a:lnTo>
                        <a:pt x="9" y="176"/>
                      </a:lnTo>
                      <a:lnTo>
                        <a:pt x="5" y="178"/>
                      </a:lnTo>
                      <a:lnTo>
                        <a:pt x="6" y="183"/>
                      </a:lnTo>
                      <a:lnTo>
                        <a:pt x="8" y="192"/>
                      </a:lnTo>
                      <a:lnTo>
                        <a:pt x="10" y="193"/>
                      </a:lnTo>
                      <a:lnTo>
                        <a:pt x="12" y="197"/>
                      </a:lnTo>
                      <a:lnTo>
                        <a:pt x="12" y="198"/>
                      </a:lnTo>
                      <a:lnTo>
                        <a:pt x="17" y="202"/>
                      </a:lnTo>
                      <a:lnTo>
                        <a:pt x="14" y="217"/>
                      </a:lnTo>
                      <a:lnTo>
                        <a:pt x="12" y="220"/>
                      </a:lnTo>
                      <a:lnTo>
                        <a:pt x="4" y="227"/>
                      </a:lnTo>
                      <a:lnTo>
                        <a:pt x="0" y="233"/>
                      </a:lnTo>
                      <a:lnTo>
                        <a:pt x="0" y="235"/>
                      </a:lnTo>
                      <a:lnTo>
                        <a:pt x="3" y="235"/>
                      </a:lnTo>
                      <a:lnTo>
                        <a:pt x="4" y="237"/>
                      </a:lnTo>
                      <a:lnTo>
                        <a:pt x="8" y="236"/>
                      </a:lnTo>
                      <a:lnTo>
                        <a:pt x="9" y="238"/>
                      </a:lnTo>
                      <a:lnTo>
                        <a:pt x="11" y="240"/>
                      </a:lnTo>
                      <a:lnTo>
                        <a:pt x="15" y="240"/>
                      </a:lnTo>
                      <a:lnTo>
                        <a:pt x="22" y="245"/>
                      </a:lnTo>
                      <a:lnTo>
                        <a:pt x="32" y="245"/>
                      </a:lnTo>
                      <a:lnTo>
                        <a:pt x="35" y="245"/>
                      </a:lnTo>
                      <a:lnTo>
                        <a:pt x="38" y="252"/>
                      </a:lnTo>
                      <a:lnTo>
                        <a:pt x="38" y="256"/>
                      </a:lnTo>
                      <a:lnTo>
                        <a:pt x="41" y="257"/>
                      </a:lnTo>
                      <a:lnTo>
                        <a:pt x="44" y="262"/>
                      </a:lnTo>
                      <a:lnTo>
                        <a:pt x="46" y="265"/>
                      </a:lnTo>
                      <a:lnTo>
                        <a:pt x="52" y="267"/>
                      </a:lnTo>
                      <a:lnTo>
                        <a:pt x="57" y="272"/>
                      </a:lnTo>
                      <a:lnTo>
                        <a:pt x="63" y="270"/>
                      </a:lnTo>
                      <a:lnTo>
                        <a:pt x="63" y="275"/>
                      </a:lnTo>
                      <a:lnTo>
                        <a:pt x="65" y="280"/>
                      </a:lnTo>
                      <a:lnTo>
                        <a:pt x="66" y="286"/>
                      </a:lnTo>
                      <a:lnTo>
                        <a:pt x="64" y="294"/>
                      </a:lnTo>
                      <a:lnTo>
                        <a:pt x="66" y="299"/>
                      </a:lnTo>
                      <a:lnTo>
                        <a:pt x="66" y="300"/>
                      </a:lnTo>
                      <a:lnTo>
                        <a:pt x="62" y="300"/>
                      </a:lnTo>
                      <a:lnTo>
                        <a:pt x="60" y="303"/>
                      </a:lnTo>
                      <a:lnTo>
                        <a:pt x="60" y="311"/>
                      </a:lnTo>
                      <a:lnTo>
                        <a:pt x="57" y="311"/>
                      </a:lnTo>
                      <a:lnTo>
                        <a:pt x="57" y="313"/>
                      </a:lnTo>
                      <a:lnTo>
                        <a:pt x="57" y="318"/>
                      </a:lnTo>
                      <a:lnTo>
                        <a:pt x="55" y="323"/>
                      </a:lnTo>
                      <a:lnTo>
                        <a:pt x="57" y="35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63" name="Freeform 51"/>
                <p:cNvSpPr>
                  <a:spLocks noChangeAspect="1"/>
                </p:cNvSpPr>
                <p:nvPr/>
              </p:nvSpPr>
              <p:spPr bwMode="gray">
                <a:xfrm>
                  <a:off x="4756943" y="3497609"/>
                  <a:ext cx="38100" cy="90488"/>
                </a:xfrm>
                <a:custGeom>
                  <a:avLst/>
                  <a:gdLst/>
                  <a:ahLst/>
                  <a:cxnLst>
                    <a:cxn ang="0">
                      <a:pos x="80" y="281"/>
                    </a:cxn>
                    <a:cxn ang="0">
                      <a:pos x="77" y="279"/>
                    </a:cxn>
                    <a:cxn ang="0">
                      <a:pos x="61" y="262"/>
                    </a:cxn>
                    <a:cxn ang="0">
                      <a:pos x="53" y="252"/>
                    </a:cxn>
                    <a:cxn ang="0">
                      <a:pos x="48" y="241"/>
                    </a:cxn>
                    <a:cxn ang="0">
                      <a:pos x="47" y="231"/>
                    </a:cxn>
                    <a:cxn ang="0">
                      <a:pos x="46" y="209"/>
                    </a:cxn>
                    <a:cxn ang="0">
                      <a:pos x="47" y="188"/>
                    </a:cxn>
                    <a:cxn ang="0">
                      <a:pos x="43" y="148"/>
                    </a:cxn>
                    <a:cxn ang="0">
                      <a:pos x="42" y="114"/>
                    </a:cxn>
                    <a:cxn ang="0">
                      <a:pos x="41" y="101"/>
                    </a:cxn>
                    <a:cxn ang="0">
                      <a:pos x="38" y="95"/>
                    </a:cxn>
                    <a:cxn ang="0">
                      <a:pos x="34" y="89"/>
                    </a:cxn>
                    <a:cxn ang="0">
                      <a:pos x="32" y="68"/>
                    </a:cxn>
                    <a:cxn ang="0">
                      <a:pos x="29" y="53"/>
                    </a:cxn>
                    <a:cxn ang="0">
                      <a:pos x="25" y="48"/>
                    </a:cxn>
                    <a:cxn ang="0">
                      <a:pos x="18" y="41"/>
                    </a:cxn>
                    <a:cxn ang="0">
                      <a:pos x="14" y="33"/>
                    </a:cxn>
                    <a:cxn ang="0">
                      <a:pos x="5" y="27"/>
                    </a:cxn>
                    <a:cxn ang="0">
                      <a:pos x="4" y="21"/>
                    </a:cxn>
                    <a:cxn ang="0">
                      <a:pos x="8" y="16"/>
                    </a:cxn>
                    <a:cxn ang="0">
                      <a:pos x="8" y="11"/>
                    </a:cxn>
                    <a:cxn ang="0">
                      <a:pos x="11" y="6"/>
                    </a:cxn>
                    <a:cxn ang="0">
                      <a:pos x="10" y="5"/>
                    </a:cxn>
                    <a:cxn ang="0">
                      <a:pos x="2" y="4"/>
                    </a:cxn>
                    <a:cxn ang="0">
                      <a:pos x="0" y="3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5" y="6"/>
                    </a:cxn>
                    <a:cxn ang="0">
                      <a:pos x="38" y="11"/>
                    </a:cxn>
                    <a:cxn ang="0">
                      <a:pos x="42" y="11"/>
                    </a:cxn>
                    <a:cxn ang="0">
                      <a:pos x="45" y="8"/>
                    </a:cxn>
                    <a:cxn ang="0">
                      <a:pos x="59" y="9"/>
                    </a:cxn>
                    <a:cxn ang="0">
                      <a:pos x="61" y="8"/>
                    </a:cxn>
                    <a:cxn ang="0">
                      <a:pos x="58" y="10"/>
                    </a:cxn>
                    <a:cxn ang="0">
                      <a:pos x="57" y="17"/>
                    </a:cxn>
                    <a:cxn ang="0">
                      <a:pos x="53" y="25"/>
                    </a:cxn>
                    <a:cxn ang="0">
                      <a:pos x="52" y="35"/>
                    </a:cxn>
                    <a:cxn ang="0">
                      <a:pos x="52" y="43"/>
                    </a:cxn>
                    <a:cxn ang="0">
                      <a:pos x="57" y="47"/>
                    </a:cxn>
                    <a:cxn ang="0">
                      <a:pos x="63" y="51"/>
                    </a:cxn>
                    <a:cxn ang="0">
                      <a:pos x="67" y="51"/>
                    </a:cxn>
                    <a:cxn ang="0">
                      <a:pos x="72" y="53"/>
                    </a:cxn>
                    <a:cxn ang="0">
                      <a:pos x="84" y="69"/>
                    </a:cxn>
                    <a:cxn ang="0">
                      <a:pos x="93" y="89"/>
                    </a:cxn>
                    <a:cxn ang="0">
                      <a:pos x="99" y="110"/>
                    </a:cxn>
                    <a:cxn ang="0">
                      <a:pos x="102" y="119"/>
                    </a:cxn>
                    <a:cxn ang="0">
                      <a:pos x="104" y="125"/>
                    </a:cxn>
                    <a:cxn ang="0">
                      <a:pos x="106" y="134"/>
                    </a:cxn>
                    <a:cxn ang="0">
                      <a:pos x="108" y="145"/>
                    </a:cxn>
                    <a:cxn ang="0">
                      <a:pos x="110" y="164"/>
                    </a:cxn>
                    <a:cxn ang="0">
                      <a:pos x="110" y="215"/>
                    </a:cxn>
                    <a:cxn ang="0">
                      <a:pos x="106" y="238"/>
                    </a:cxn>
                    <a:cxn ang="0">
                      <a:pos x="106" y="248"/>
                    </a:cxn>
                    <a:cxn ang="0">
                      <a:pos x="110" y="261"/>
                    </a:cxn>
                    <a:cxn ang="0">
                      <a:pos x="112" y="268"/>
                    </a:cxn>
                    <a:cxn ang="0">
                      <a:pos x="113" y="269"/>
                    </a:cxn>
                    <a:cxn ang="0">
                      <a:pos x="120" y="270"/>
                    </a:cxn>
                    <a:cxn ang="0">
                      <a:pos x="99" y="275"/>
                    </a:cxn>
                    <a:cxn ang="0">
                      <a:pos x="80" y="281"/>
                    </a:cxn>
                  </a:cxnLst>
                  <a:rect l="0" t="0" r="r" b="b"/>
                  <a:pathLst>
                    <a:path w="120" h="281">
                      <a:moveTo>
                        <a:pt x="80" y="281"/>
                      </a:moveTo>
                      <a:lnTo>
                        <a:pt x="77" y="279"/>
                      </a:lnTo>
                      <a:lnTo>
                        <a:pt x="61" y="262"/>
                      </a:lnTo>
                      <a:lnTo>
                        <a:pt x="53" y="252"/>
                      </a:lnTo>
                      <a:lnTo>
                        <a:pt x="48" y="241"/>
                      </a:lnTo>
                      <a:lnTo>
                        <a:pt x="47" y="231"/>
                      </a:lnTo>
                      <a:lnTo>
                        <a:pt x="46" y="209"/>
                      </a:lnTo>
                      <a:lnTo>
                        <a:pt x="47" y="188"/>
                      </a:lnTo>
                      <a:lnTo>
                        <a:pt x="43" y="148"/>
                      </a:lnTo>
                      <a:lnTo>
                        <a:pt x="42" y="114"/>
                      </a:lnTo>
                      <a:lnTo>
                        <a:pt x="41" y="101"/>
                      </a:lnTo>
                      <a:lnTo>
                        <a:pt x="38" y="95"/>
                      </a:lnTo>
                      <a:lnTo>
                        <a:pt x="34" y="89"/>
                      </a:lnTo>
                      <a:lnTo>
                        <a:pt x="32" y="68"/>
                      </a:lnTo>
                      <a:lnTo>
                        <a:pt x="29" y="53"/>
                      </a:lnTo>
                      <a:lnTo>
                        <a:pt x="25" y="48"/>
                      </a:lnTo>
                      <a:lnTo>
                        <a:pt x="18" y="41"/>
                      </a:lnTo>
                      <a:lnTo>
                        <a:pt x="14" y="33"/>
                      </a:lnTo>
                      <a:lnTo>
                        <a:pt x="5" y="27"/>
                      </a:lnTo>
                      <a:lnTo>
                        <a:pt x="4" y="21"/>
                      </a:lnTo>
                      <a:lnTo>
                        <a:pt x="8" y="16"/>
                      </a:lnTo>
                      <a:lnTo>
                        <a:pt x="8" y="11"/>
                      </a:lnTo>
                      <a:lnTo>
                        <a:pt x="11" y="6"/>
                      </a:lnTo>
                      <a:lnTo>
                        <a:pt x="10" y="5"/>
                      </a:lnTo>
                      <a:lnTo>
                        <a:pt x="2" y="4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35" y="6"/>
                      </a:lnTo>
                      <a:lnTo>
                        <a:pt x="38" y="11"/>
                      </a:lnTo>
                      <a:lnTo>
                        <a:pt x="42" y="11"/>
                      </a:lnTo>
                      <a:lnTo>
                        <a:pt x="45" y="8"/>
                      </a:lnTo>
                      <a:lnTo>
                        <a:pt x="59" y="9"/>
                      </a:lnTo>
                      <a:lnTo>
                        <a:pt x="61" y="8"/>
                      </a:lnTo>
                      <a:lnTo>
                        <a:pt x="58" y="10"/>
                      </a:lnTo>
                      <a:lnTo>
                        <a:pt x="57" y="17"/>
                      </a:lnTo>
                      <a:lnTo>
                        <a:pt x="53" y="25"/>
                      </a:lnTo>
                      <a:lnTo>
                        <a:pt x="52" y="35"/>
                      </a:lnTo>
                      <a:lnTo>
                        <a:pt x="52" y="43"/>
                      </a:lnTo>
                      <a:lnTo>
                        <a:pt x="57" y="47"/>
                      </a:lnTo>
                      <a:lnTo>
                        <a:pt x="63" y="51"/>
                      </a:lnTo>
                      <a:lnTo>
                        <a:pt x="67" y="51"/>
                      </a:lnTo>
                      <a:lnTo>
                        <a:pt x="72" y="53"/>
                      </a:lnTo>
                      <a:lnTo>
                        <a:pt x="84" y="69"/>
                      </a:lnTo>
                      <a:lnTo>
                        <a:pt x="93" y="89"/>
                      </a:lnTo>
                      <a:lnTo>
                        <a:pt x="99" y="110"/>
                      </a:lnTo>
                      <a:lnTo>
                        <a:pt x="102" y="119"/>
                      </a:lnTo>
                      <a:lnTo>
                        <a:pt x="104" y="125"/>
                      </a:lnTo>
                      <a:lnTo>
                        <a:pt x="106" y="134"/>
                      </a:lnTo>
                      <a:lnTo>
                        <a:pt x="108" y="145"/>
                      </a:lnTo>
                      <a:lnTo>
                        <a:pt x="110" y="164"/>
                      </a:lnTo>
                      <a:lnTo>
                        <a:pt x="110" y="215"/>
                      </a:lnTo>
                      <a:lnTo>
                        <a:pt x="106" y="238"/>
                      </a:lnTo>
                      <a:lnTo>
                        <a:pt x="106" y="248"/>
                      </a:lnTo>
                      <a:lnTo>
                        <a:pt x="110" y="261"/>
                      </a:lnTo>
                      <a:lnTo>
                        <a:pt x="112" y="268"/>
                      </a:lnTo>
                      <a:lnTo>
                        <a:pt x="113" y="269"/>
                      </a:lnTo>
                      <a:lnTo>
                        <a:pt x="120" y="270"/>
                      </a:lnTo>
                      <a:lnTo>
                        <a:pt x="99" y="275"/>
                      </a:lnTo>
                      <a:lnTo>
                        <a:pt x="80" y="281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64" name="Freeform 52"/>
                <p:cNvSpPr>
                  <a:spLocks noChangeAspect="1"/>
                </p:cNvSpPr>
                <p:nvPr/>
              </p:nvSpPr>
              <p:spPr bwMode="gray">
                <a:xfrm>
                  <a:off x="4972842" y="3600797"/>
                  <a:ext cx="331788" cy="323850"/>
                </a:xfrm>
                <a:custGeom>
                  <a:avLst/>
                  <a:gdLst/>
                  <a:ahLst/>
                  <a:cxnLst>
                    <a:cxn ang="0">
                      <a:pos x="960" y="671"/>
                    </a:cxn>
                    <a:cxn ang="0">
                      <a:pos x="939" y="609"/>
                    </a:cxn>
                    <a:cxn ang="0">
                      <a:pos x="933" y="528"/>
                    </a:cxn>
                    <a:cxn ang="0">
                      <a:pos x="933" y="488"/>
                    </a:cxn>
                    <a:cxn ang="0">
                      <a:pos x="927" y="435"/>
                    </a:cxn>
                    <a:cxn ang="0">
                      <a:pos x="934" y="392"/>
                    </a:cxn>
                    <a:cxn ang="0">
                      <a:pos x="960" y="337"/>
                    </a:cxn>
                    <a:cxn ang="0">
                      <a:pos x="979" y="248"/>
                    </a:cxn>
                    <a:cxn ang="0">
                      <a:pos x="1015" y="202"/>
                    </a:cxn>
                    <a:cxn ang="0">
                      <a:pos x="1043" y="167"/>
                    </a:cxn>
                    <a:cxn ang="0">
                      <a:pos x="1020" y="143"/>
                    </a:cxn>
                    <a:cxn ang="0">
                      <a:pos x="1019" y="90"/>
                    </a:cxn>
                    <a:cxn ang="0">
                      <a:pos x="955" y="36"/>
                    </a:cxn>
                    <a:cxn ang="0">
                      <a:pos x="892" y="52"/>
                    </a:cxn>
                    <a:cxn ang="0">
                      <a:pos x="839" y="5"/>
                    </a:cxn>
                    <a:cxn ang="0">
                      <a:pos x="771" y="0"/>
                    </a:cxn>
                    <a:cxn ang="0">
                      <a:pos x="697" y="16"/>
                    </a:cxn>
                    <a:cxn ang="0">
                      <a:pos x="676" y="10"/>
                    </a:cxn>
                    <a:cxn ang="0">
                      <a:pos x="601" y="27"/>
                    </a:cxn>
                    <a:cxn ang="0">
                      <a:pos x="509" y="53"/>
                    </a:cxn>
                    <a:cxn ang="0">
                      <a:pos x="436" y="25"/>
                    </a:cxn>
                    <a:cxn ang="0">
                      <a:pos x="384" y="16"/>
                    </a:cxn>
                    <a:cxn ang="0">
                      <a:pos x="359" y="75"/>
                    </a:cxn>
                    <a:cxn ang="0">
                      <a:pos x="326" y="159"/>
                    </a:cxn>
                    <a:cxn ang="0">
                      <a:pos x="298" y="327"/>
                    </a:cxn>
                    <a:cxn ang="0">
                      <a:pos x="217" y="423"/>
                    </a:cxn>
                    <a:cxn ang="0">
                      <a:pos x="181" y="516"/>
                    </a:cxn>
                    <a:cxn ang="0">
                      <a:pos x="112" y="531"/>
                    </a:cxn>
                    <a:cxn ang="0">
                      <a:pos x="68" y="551"/>
                    </a:cxn>
                    <a:cxn ang="0">
                      <a:pos x="18" y="560"/>
                    </a:cxn>
                    <a:cxn ang="0">
                      <a:pos x="3" y="612"/>
                    </a:cxn>
                    <a:cxn ang="0">
                      <a:pos x="9" y="624"/>
                    </a:cxn>
                    <a:cxn ang="0">
                      <a:pos x="70" y="606"/>
                    </a:cxn>
                    <a:cxn ang="0">
                      <a:pos x="155" y="606"/>
                    </a:cxn>
                    <a:cxn ang="0">
                      <a:pos x="225" y="613"/>
                    </a:cxn>
                    <a:cxn ang="0">
                      <a:pos x="244" y="654"/>
                    </a:cxn>
                    <a:cxn ang="0">
                      <a:pos x="289" y="727"/>
                    </a:cxn>
                    <a:cxn ang="0">
                      <a:pos x="366" y="725"/>
                    </a:cxn>
                    <a:cxn ang="0">
                      <a:pos x="393" y="694"/>
                    </a:cxn>
                    <a:cxn ang="0">
                      <a:pos x="444" y="664"/>
                    </a:cxn>
                    <a:cxn ang="0">
                      <a:pos x="520" y="699"/>
                    </a:cxn>
                    <a:cxn ang="0">
                      <a:pos x="527" y="781"/>
                    </a:cxn>
                    <a:cxn ang="0">
                      <a:pos x="541" y="850"/>
                    </a:cxn>
                    <a:cxn ang="0">
                      <a:pos x="531" y="894"/>
                    </a:cxn>
                    <a:cxn ang="0">
                      <a:pos x="549" y="908"/>
                    </a:cxn>
                    <a:cxn ang="0">
                      <a:pos x="613" y="891"/>
                    </a:cxn>
                    <a:cxn ang="0">
                      <a:pos x="645" y="882"/>
                    </a:cxn>
                    <a:cxn ang="0">
                      <a:pos x="667" y="903"/>
                    </a:cxn>
                    <a:cxn ang="0">
                      <a:pos x="697" y="901"/>
                    </a:cxn>
                    <a:cxn ang="0">
                      <a:pos x="736" y="925"/>
                    </a:cxn>
                    <a:cxn ang="0">
                      <a:pos x="799" y="934"/>
                    </a:cxn>
                    <a:cxn ang="0">
                      <a:pos x="858" y="961"/>
                    </a:cxn>
                    <a:cxn ang="0">
                      <a:pos x="898" y="999"/>
                    </a:cxn>
                    <a:cxn ang="0">
                      <a:pos x="941" y="1010"/>
                    </a:cxn>
                    <a:cxn ang="0">
                      <a:pos x="959" y="1018"/>
                    </a:cxn>
                    <a:cxn ang="0">
                      <a:pos x="956" y="958"/>
                    </a:cxn>
                    <a:cxn ang="0">
                      <a:pos x="911" y="955"/>
                    </a:cxn>
                    <a:cxn ang="0">
                      <a:pos x="895" y="917"/>
                    </a:cxn>
                    <a:cxn ang="0">
                      <a:pos x="912" y="820"/>
                    </a:cxn>
                    <a:cxn ang="0">
                      <a:pos x="914" y="772"/>
                    </a:cxn>
                    <a:cxn ang="0">
                      <a:pos x="941" y="748"/>
                    </a:cxn>
                  </a:cxnLst>
                  <a:rect l="0" t="0" r="r" b="b"/>
                  <a:pathLst>
                    <a:path w="1045" h="1018">
                      <a:moveTo>
                        <a:pt x="1003" y="735"/>
                      </a:moveTo>
                      <a:lnTo>
                        <a:pt x="995" y="700"/>
                      </a:lnTo>
                      <a:lnTo>
                        <a:pt x="986" y="688"/>
                      </a:lnTo>
                      <a:lnTo>
                        <a:pt x="972" y="684"/>
                      </a:lnTo>
                      <a:lnTo>
                        <a:pt x="960" y="671"/>
                      </a:lnTo>
                      <a:lnTo>
                        <a:pt x="952" y="662"/>
                      </a:lnTo>
                      <a:lnTo>
                        <a:pt x="945" y="646"/>
                      </a:lnTo>
                      <a:lnTo>
                        <a:pt x="940" y="639"/>
                      </a:lnTo>
                      <a:lnTo>
                        <a:pt x="936" y="622"/>
                      </a:lnTo>
                      <a:lnTo>
                        <a:pt x="939" y="609"/>
                      </a:lnTo>
                      <a:lnTo>
                        <a:pt x="939" y="597"/>
                      </a:lnTo>
                      <a:lnTo>
                        <a:pt x="933" y="585"/>
                      </a:lnTo>
                      <a:lnTo>
                        <a:pt x="927" y="566"/>
                      </a:lnTo>
                      <a:lnTo>
                        <a:pt x="928" y="551"/>
                      </a:lnTo>
                      <a:lnTo>
                        <a:pt x="933" y="528"/>
                      </a:lnTo>
                      <a:lnTo>
                        <a:pt x="932" y="517"/>
                      </a:lnTo>
                      <a:lnTo>
                        <a:pt x="928" y="520"/>
                      </a:lnTo>
                      <a:lnTo>
                        <a:pt x="927" y="515"/>
                      </a:lnTo>
                      <a:lnTo>
                        <a:pt x="928" y="503"/>
                      </a:lnTo>
                      <a:lnTo>
                        <a:pt x="933" y="488"/>
                      </a:lnTo>
                      <a:lnTo>
                        <a:pt x="934" y="478"/>
                      </a:lnTo>
                      <a:lnTo>
                        <a:pt x="938" y="471"/>
                      </a:lnTo>
                      <a:lnTo>
                        <a:pt x="935" y="447"/>
                      </a:lnTo>
                      <a:lnTo>
                        <a:pt x="933" y="441"/>
                      </a:lnTo>
                      <a:lnTo>
                        <a:pt x="927" y="435"/>
                      </a:lnTo>
                      <a:lnTo>
                        <a:pt x="922" y="428"/>
                      </a:lnTo>
                      <a:lnTo>
                        <a:pt x="920" y="424"/>
                      </a:lnTo>
                      <a:lnTo>
                        <a:pt x="920" y="417"/>
                      </a:lnTo>
                      <a:lnTo>
                        <a:pt x="930" y="403"/>
                      </a:lnTo>
                      <a:lnTo>
                        <a:pt x="934" y="392"/>
                      </a:lnTo>
                      <a:lnTo>
                        <a:pt x="941" y="379"/>
                      </a:lnTo>
                      <a:lnTo>
                        <a:pt x="949" y="367"/>
                      </a:lnTo>
                      <a:lnTo>
                        <a:pt x="956" y="360"/>
                      </a:lnTo>
                      <a:lnTo>
                        <a:pt x="959" y="358"/>
                      </a:lnTo>
                      <a:lnTo>
                        <a:pt x="960" y="337"/>
                      </a:lnTo>
                      <a:lnTo>
                        <a:pt x="962" y="309"/>
                      </a:lnTo>
                      <a:lnTo>
                        <a:pt x="962" y="295"/>
                      </a:lnTo>
                      <a:lnTo>
                        <a:pt x="970" y="264"/>
                      </a:lnTo>
                      <a:lnTo>
                        <a:pt x="976" y="253"/>
                      </a:lnTo>
                      <a:lnTo>
                        <a:pt x="979" y="248"/>
                      </a:lnTo>
                      <a:lnTo>
                        <a:pt x="992" y="234"/>
                      </a:lnTo>
                      <a:lnTo>
                        <a:pt x="1003" y="221"/>
                      </a:lnTo>
                      <a:lnTo>
                        <a:pt x="1009" y="215"/>
                      </a:lnTo>
                      <a:lnTo>
                        <a:pt x="1011" y="209"/>
                      </a:lnTo>
                      <a:lnTo>
                        <a:pt x="1015" y="202"/>
                      </a:lnTo>
                      <a:lnTo>
                        <a:pt x="1026" y="197"/>
                      </a:lnTo>
                      <a:lnTo>
                        <a:pt x="1032" y="192"/>
                      </a:lnTo>
                      <a:lnTo>
                        <a:pt x="1041" y="183"/>
                      </a:lnTo>
                      <a:lnTo>
                        <a:pt x="1045" y="175"/>
                      </a:lnTo>
                      <a:lnTo>
                        <a:pt x="1043" y="167"/>
                      </a:lnTo>
                      <a:lnTo>
                        <a:pt x="1041" y="162"/>
                      </a:lnTo>
                      <a:lnTo>
                        <a:pt x="1032" y="160"/>
                      </a:lnTo>
                      <a:lnTo>
                        <a:pt x="1027" y="156"/>
                      </a:lnTo>
                      <a:lnTo>
                        <a:pt x="1022" y="151"/>
                      </a:lnTo>
                      <a:lnTo>
                        <a:pt x="1020" y="143"/>
                      </a:lnTo>
                      <a:lnTo>
                        <a:pt x="1019" y="121"/>
                      </a:lnTo>
                      <a:lnTo>
                        <a:pt x="1022" y="103"/>
                      </a:lnTo>
                      <a:lnTo>
                        <a:pt x="1025" y="94"/>
                      </a:lnTo>
                      <a:lnTo>
                        <a:pt x="1025" y="90"/>
                      </a:lnTo>
                      <a:lnTo>
                        <a:pt x="1019" y="90"/>
                      </a:lnTo>
                      <a:lnTo>
                        <a:pt x="1013" y="85"/>
                      </a:lnTo>
                      <a:lnTo>
                        <a:pt x="1004" y="76"/>
                      </a:lnTo>
                      <a:lnTo>
                        <a:pt x="990" y="68"/>
                      </a:lnTo>
                      <a:lnTo>
                        <a:pt x="966" y="42"/>
                      </a:lnTo>
                      <a:lnTo>
                        <a:pt x="955" y="36"/>
                      </a:lnTo>
                      <a:lnTo>
                        <a:pt x="943" y="46"/>
                      </a:lnTo>
                      <a:lnTo>
                        <a:pt x="932" y="47"/>
                      </a:lnTo>
                      <a:lnTo>
                        <a:pt x="905" y="41"/>
                      </a:lnTo>
                      <a:lnTo>
                        <a:pt x="898" y="49"/>
                      </a:lnTo>
                      <a:lnTo>
                        <a:pt x="892" y="52"/>
                      </a:lnTo>
                      <a:lnTo>
                        <a:pt x="869" y="43"/>
                      </a:lnTo>
                      <a:lnTo>
                        <a:pt x="864" y="33"/>
                      </a:lnTo>
                      <a:lnTo>
                        <a:pt x="858" y="25"/>
                      </a:lnTo>
                      <a:lnTo>
                        <a:pt x="846" y="16"/>
                      </a:lnTo>
                      <a:lnTo>
                        <a:pt x="839" y="5"/>
                      </a:lnTo>
                      <a:lnTo>
                        <a:pt x="811" y="5"/>
                      </a:lnTo>
                      <a:lnTo>
                        <a:pt x="803" y="16"/>
                      </a:lnTo>
                      <a:lnTo>
                        <a:pt x="791" y="9"/>
                      </a:lnTo>
                      <a:lnTo>
                        <a:pt x="784" y="16"/>
                      </a:lnTo>
                      <a:lnTo>
                        <a:pt x="771" y="0"/>
                      </a:lnTo>
                      <a:lnTo>
                        <a:pt x="756" y="5"/>
                      </a:lnTo>
                      <a:lnTo>
                        <a:pt x="733" y="9"/>
                      </a:lnTo>
                      <a:lnTo>
                        <a:pt x="713" y="4"/>
                      </a:lnTo>
                      <a:lnTo>
                        <a:pt x="709" y="16"/>
                      </a:lnTo>
                      <a:lnTo>
                        <a:pt x="697" y="16"/>
                      </a:lnTo>
                      <a:lnTo>
                        <a:pt x="690" y="19"/>
                      </a:lnTo>
                      <a:lnTo>
                        <a:pt x="682" y="16"/>
                      </a:lnTo>
                      <a:lnTo>
                        <a:pt x="683" y="16"/>
                      </a:lnTo>
                      <a:lnTo>
                        <a:pt x="682" y="10"/>
                      </a:lnTo>
                      <a:lnTo>
                        <a:pt x="676" y="10"/>
                      </a:lnTo>
                      <a:lnTo>
                        <a:pt x="665" y="16"/>
                      </a:lnTo>
                      <a:lnTo>
                        <a:pt x="639" y="21"/>
                      </a:lnTo>
                      <a:lnTo>
                        <a:pt x="628" y="27"/>
                      </a:lnTo>
                      <a:lnTo>
                        <a:pt x="610" y="32"/>
                      </a:lnTo>
                      <a:lnTo>
                        <a:pt x="601" y="27"/>
                      </a:lnTo>
                      <a:lnTo>
                        <a:pt x="583" y="24"/>
                      </a:lnTo>
                      <a:lnTo>
                        <a:pt x="569" y="32"/>
                      </a:lnTo>
                      <a:lnTo>
                        <a:pt x="567" y="49"/>
                      </a:lnTo>
                      <a:lnTo>
                        <a:pt x="559" y="53"/>
                      </a:lnTo>
                      <a:lnTo>
                        <a:pt x="509" y="53"/>
                      </a:lnTo>
                      <a:lnTo>
                        <a:pt x="486" y="47"/>
                      </a:lnTo>
                      <a:lnTo>
                        <a:pt x="472" y="37"/>
                      </a:lnTo>
                      <a:lnTo>
                        <a:pt x="465" y="46"/>
                      </a:lnTo>
                      <a:lnTo>
                        <a:pt x="457" y="43"/>
                      </a:lnTo>
                      <a:lnTo>
                        <a:pt x="436" y="25"/>
                      </a:lnTo>
                      <a:lnTo>
                        <a:pt x="434" y="16"/>
                      </a:lnTo>
                      <a:lnTo>
                        <a:pt x="427" y="6"/>
                      </a:lnTo>
                      <a:lnTo>
                        <a:pt x="411" y="5"/>
                      </a:lnTo>
                      <a:lnTo>
                        <a:pt x="397" y="5"/>
                      </a:lnTo>
                      <a:lnTo>
                        <a:pt x="384" y="16"/>
                      </a:lnTo>
                      <a:lnTo>
                        <a:pt x="378" y="22"/>
                      </a:lnTo>
                      <a:lnTo>
                        <a:pt x="371" y="37"/>
                      </a:lnTo>
                      <a:lnTo>
                        <a:pt x="363" y="42"/>
                      </a:lnTo>
                      <a:lnTo>
                        <a:pt x="360" y="56"/>
                      </a:lnTo>
                      <a:lnTo>
                        <a:pt x="359" y="75"/>
                      </a:lnTo>
                      <a:lnTo>
                        <a:pt x="362" y="84"/>
                      </a:lnTo>
                      <a:lnTo>
                        <a:pt x="349" y="86"/>
                      </a:lnTo>
                      <a:lnTo>
                        <a:pt x="352" y="103"/>
                      </a:lnTo>
                      <a:lnTo>
                        <a:pt x="347" y="122"/>
                      </a:lnTo>
                      <a:lnTo>
                        <a:pt x="326" y="159"/>
                      </a:lnTo>
                      <a:lnTo>
                        <a:pt x="316" y="183"/>
                      </a:lnTo>
                      <a:lnTo>
                        <a:pt x="307" y="227"/>
                      </a:lnTo>
                      <a:lnTo>
                        <a:pt x="306" y="293"/>
                      </a:lnTo>
                      <a:lnTo>
                        <a:pt x="299" y="323"/>
                      </a:lnTo>
                      <a:lnTo>
                        <a:pt x="298" y="327"/>
                      </a:lnTo>
                      <a:lnTo>
                        <a:pt x="283" y="340"/>
                      </a:lnTo>
                      <a:lnTo>
                        <a:pt x="264" y="350"/>
                      </a:lnTo>
                      <a:lnTo>
                        <a:pt x="247" y="366"/>
                      </a:lnTo>
                      <a:lnTo>
                        <a:pt x="224" y="402"/>
                      </a:lnTo>
                      <a:lnTo>
                        <a:pt x="217" y="423"/>
                      </a:lnTo>
                      <a:lnTo>
                        <a:pt x="213" y="444"/>
                      </a:lnTo>
                      <a:lnTo>
                        <a:pt x="213" y="462"/>
                      </a:lnTo>
                      <a:lnTo>
                        <a:pt x="209" y="480"/>
                      </a:lnTo>
                      <a:lnTo>
                        <a:pt x="196" y="501"/>
                      </a:lnTo>
                      <a:lnTo>
                        <a:pt x="181" y="516"/>
                      </a:lnTo>
                      <a:lnTo>
                        <a:pt x="167" y="523"/>
                      </a:lnTo>
                      <a:lnTo>
                        <a:pt x="144" y="544"/>
                      </a:lnTo>
                      <a:lnTo>
                        <a:pt x="123" y="552"/>
                      </a:lnTo>
                      <a:lnTo>
                        <a:pt x="113" y="549"/>
                      </a:lnTo>
                      <a:lnTo>
                        <a:pt x="112" y="531"/>
                      </a:lnTo>
                      <a:lnTo>
                        <a:pt x="110" y="526"/>
                      </a:lnTo>
                      <a:lnTo>
                        <a:pt x="96" y="530"/>
                      </a:lnTo>
                      <a:lnTo>
                        <a:pt x="83" y="532"/>
                      </a:lnTo>
                      <a:lnTo>
                        <a:pt x="75" y="538"/>
                      </a:lnTo>
                      <a:lnTo>
                        <a:pt x="68" y="551"/>
                      </a:lnTo>
                      <a:lnTo>
                        <a:pt x="56" y="554"/>
                      </a:lnTo>
                      <a:lnTo>
                        <a:pt x="40" y="544"/>
                      </a:lnTo>
                      <a:lnTo>
                        <a:pt x="36" y="546"/>
                      </a:lnTo>
                      <a:lnTo>
                        <a:pt x="27" y="552"/>
                      </a:lnTo>
                      <a:lnTo>
                        <a:pt x="18" y="560"/>
                      </a:lnTo>
                      <a:lnTo>
                        <a:pt x="14" y="576"/>
                      </a:lnTo>
                      <a:lnTo>
                        <a:pt x="11" y="591"/>
                      </a:lnTo>
                      <a:lnTo>
                        <a:pt x="10" y="603"/>
                      </a:lnTo>
                      <a:lnTo>
                        <a:pt x="2" y="608"/>
                      </a:lnTo>
                      <a:lnTo>
                        <a:pt x="3" y="612"/>
                      </a:lnTo>
                      <a:lnTo>
                        <a:pt x="3" y="619"/>
                      </a:lnTo>
                      <a:lnTo>
                        <a:pt x="0" y="625"/>
                      </a:lnTo>
                      <a:lnTo>
                        <a:pt x="2" y="629"/>
                      </a:lnTo>
                      <a:lnTo>
                        <a:pt x="3" y="627"/>
                      </a:lnTo>
                      <a:lnTo>
                        <a:pt x="9" y="624"/>
                      </a:lnTo>
                      <a:lnTo>
                        <a:pt x="27" y="619"/>
                      </a:lnTo>
                      <a:lnTo>
                        <a:pt x="41" y="612"/>
                      </a:lnTo>
                      <a:lnTo>
                        <a:pt x="54" y="607"/>
                      </a:lnTo>
                      <a:lnTo>
                        <a:pt x="63" y="607"/>
                      </a:lnTo>
                      <a:lnTo>
                        <a:pt x="70" y="606"/>
                      </a:lnTo>
                      <a:lnTo>
                        <a:pt x="94" y="607"/>
                      </a:lnTo>
                      <a:lnTo>
                        <a:pt x="116" y="605"/>
                      </a:lnTo>
                      <a:lnTo>
                        <a:pt x="123" y="607"/>
                      </a:lnTo>
                      <a:lnTo>
                        <a:pt x="142" y="608"/>
                      </a:lnTo>
                      <a:lnTo>
                        <a:pt x="155" y="606"/>
                      </a:lnTo>
                      <a:lnTo>
                        <a:pt x="169" y="606"/>
                      </a:lnTo>
                      <a:lnTo>
                        <a:pt x="202" y="603"/>
                      </a:lnTo>
                      <a:lnTo>
                        <a:pt x="218" y="605"/>
                      </a:lnTo>
                      <a:lnTo>
                        <a:pt x="220" y="606"/>
                      </a:lnTo>
                      <a:lnTo>
                        <a:pt x="225" y="613"/>
                      </a:lnTo>
                      <a:lnTo>
                        <a:pt x="229" y="614"/>
                      </a:lnTo>
                      <a:lnTo>
                        <a:pt x="233" y="613"/>
                      </a:lnTo>
                      <a:lnTo>
                        <a:pt x="237" y="622"/>
                      </a:lnTo>
                      <a:lnTo>
                        <a:pt x="242" y="640"/>
                      </a:lnTo>
                      <a:lnTo>
                        <a:pt x="244" y="654"/>
                      </a:lnTo>
                      <a:lnTo>
                        <a:pt x="245" y="659"/>
                      </a:lnTo>
                      <a:lnTo>
                        <a:pt x="252" y="671"/>
                      </a:lnTo>
                      <a:lnTo>
                        <a:pt x="256" y="687"/>
                      </a:lnTo>
                      <a:lnTo>
                        <a:pt x="268" y="700"/>
                      </a:lnTo>
                      <a:lnTo>
                        <a:pt x="289" y="727"/>
                      </a:lnTo>
                      <a:lnTo>
                        <a:pt x="301" y="732"/>
                      </a:lnTo>
                      <a:lnTo>
                        <a:pt x="315" y="732"/>
                      </a:lnTo>
                      <a:lnTo>
                        <a:pt x="336" y="725"/>
                      </a:lnTo>
                      <a:lnTo>
                        <a:pt x="349" y="722"/>
                      </a:lnTo>
                      <a:lnTo>
                        <a:pt x="366" y="725"/>
                      </a:lnTo>
                      <a:lnTo>
                        <a:pt x="386" y="725"/>
                      </a:lnTo>
                      <a:lnTo>
                        <a:pt x="389" y="710"/>
                      </a:lnTo>
                      <a:lnTo>
                        <a:pt x="390" y="703"/>
                      </a:lnTo>
                      <a:lnTo>
                        <a:pt x="392" y="698"/>
                      </a:lnTo>
                      <a:lnTo>
                        <a:pt x="393" y="694"/>
                      </a:lnTo>
                      <a:lnTo>
                        <a:pt x="395" y="689"/>
                      </a:lnTo>
                      <a:lnTo>
                        <a:pt x="396" y="678"/>
                      </a:lnTo>
                      <a:lnTo>
                        <a:pt x="398" y="670"/>
                      </a:lnTo>
                      <a:lnTo>
                        <a:pt x="441" y="670"/>
                      </a:lnTo>
                      <a:lnTo>
                        <a:pt x="444" y="664"/>
                      </a:lnTo>
                      <a:lnTo>
                        <a:pt x="467" y="664"/>
                      </a:lnTo>
                      <a:lnTo>
                        <a:pt x="466" y="686"/>
                      </a:lnTo>
                      <a:lnTo>
                        <a:pt x="514" y="687"/>
                      </a:lnTo>
                      <a:lnTo>
                        <a:pt x="518" y="691"/>
                      </a:lnTo>
                      <a:lnTo>
                        <a:pt x="520" y="699"/>
                      </a:lnTo>
                      <a:lnTo>
                        <a:pt x="522" y="731"/>
                      </a:lnTo>
                      <a:lnTo>
                        <a:pt x="525" y="743"/>
                      </a:lnTo>
                      <a:lnTo>
                        <a:pt x="525" y="759"/>
                      </a:lnTo>
                      <a:lnTo>
                        <a:pt x="527" y="775"/>
                      </a:lnTo>
                      <a:lnTo>
                        <a:pt x="527" y="781"/>
                      </a:lnTo>
                      <a:lnTo>
                        <a:pt x="524" y="792"/>
                      </a:lnTo>
                      <a:lnTo>
                        <a:pt x="524" y="806"/>
                      </a:lnTo>
                      <a:lnTo>
                        <a:pt x="526" y="815"/>
                      </a:lnTo>
                      <a:lnTo>
                        <a:pt x="535" y="829"/>
                      </a:lnTo>
                      <a:lnTo>
                        <a:pt x="541" y="850"/>
                      </a:lnTo>
                      <a:lnTo>
                        <a:pt x="547" y="866"/>
                      </a:lnTo>
                      <a:lnTo>
                        <a:pt x="547" y="874"/>
                      </a:lnTo>
                      <a:lnTo>
                        <a:pt x="542" y="881"/>
                      </a:lnTo>
                      <a:lnTo>
                        <a:pt x="531" y="892"/>
                      </a:lnTo>
                      <a:lnTo>
                        <a:pt x="531" y="894"/>
                      </a:lnTo>
                      <a:lnTo>
                        <a:pt x="532" y="897"/>
                      </a:lnTo>
                      <a:lnTo>
                        <a:pt x="534" y="898"/>
                      </a:lnTo>
                      <a:lnTo>
                        <a:pt x="537" y="899"/>
                      </a:lnTo>
                      <a:lnTo>
                        <a:pt x="543" y="907"/>
                      </a:lnTo>
                      <a:lnTo>
                        <a:pt x="549" y="908"/>
                      </a:lnTo>
                      <a:lnTo>
                        <a:pt x="552" y="907"/>
                      </a:lnTo>
                      <a:lnTo>
                        <a:pt x="554" y="901"/>
                      </a:lnTo>
                      <a:lnTo>
                        <a:pt x="557" y="893"/>
                      </a:lnTo>
                      <a:lnTo>
                        <a:pt x="562" y="891"/>
                      </a:lnTo>
                      <a:lnTo>
                        <a:pt x="613" y="891"/>
                      </a:lnTo>
                      <a:lnTo>
                        <a:pt x="623" y="887"/>
                      </a:lnTo>
                      <a:lnTo>
                        <a:pt x="632" y="890"/>
                      </a:lnTo>
                      <a:lnTo>
                        <a:pt x="634" y="890"/>
                      </a:lnTo>
                      <a:lnTo>
                        <a:pt x="644" y="882"/>
                      </a:lnTo>
                      <a:lnTo>
                        <a:pt x="645" y="882"/>
                      </a:lnTo>
                      <a:lnTo>
                        <a:pt x="655" y="880"/>
                      </a:lnTo>
                      <a:lnTo>
                        <a:pt x="659" y="880"/>
                      </a:lnTo>
                      <a:lnTo>
                        <a:pt x="661" y="881"/>
                      </a:lnTo>
                      <a:lnTo>
                        <a:pt x="667" y="891"/>
                      </a:lnTo>
                      <a:lnTo>
                        <a:pt x="667" y="903"/>
                      </a:lnTo>
                      <a:lnTo>
                        <a:pt x="669" y="908"/>
                      </a:lnTo>
                      <a:lnTo>
                        <a:pt x="672" y="908"/>
                      </a:lnTo>
                      <a:lnTo>
                        <a:pt x="686" y="902"/>
                      </a:lnTo>
                      <a:lnTo>
                        <a:pt x="691" y="901"/>
                      </a:lnTo>
                      <a:lnTo>
                        <a:pt x="697" y="901"/>
                      </a:lnTo>
                      <a:lnTo>
                        <a:pt x="708" y="896"/>
                      </a:lnTo>
                      <a:lnTo>
                        <a:pt x="714" y="904"/>
                      </a:lnTo>
                      <a:lnTo>
                        <a:pt x="718" y="913"/>
                      </a:lnTo>
                      <a:lnTo>
                        <a:pt x="723" y="919"/>
                      </a:lnTo>
                      <a:lnTo>
                        <a:pt x="736" y="925"/>
                      </a:lnTo>
                      <a:lnTo>
                        <a:pt x="748" y="933"/>
                      </a:lnTo>
                      <a:lnTo>
                        <a:pt x="766" y="940"/>
                      </a:lnTo>
                      <a:lnTo>
                        <a:pt x="778" y="941"/>
                      </a:lnTo>
                      <a:lnTo>
                        <a:pt x="787" y="939"/>
                      </a:lnTo>
                      <a:lnTo>
                        <a:pt x="799" y="934"/>
                      </a:lnTo>
                      <a:lnTo>
                        <a:pt x="809" y="931"/>
                      </a:lnTo>
                      <a:lnTo>
                        <a:pt x="814" y="933"/>
                      </a:lnTo>
                      <a:lnTo>
                        <a:pt x="833" y="951"/>
                      </a:lnTo>
                      <a:lnTo>
                        <a:pt x="847" y="957"/>
                      </a:lnTo>
                      <a:lnTo>
                        <a:pt x="858" y="961"/>
                      </a:lnTo>
                      <a:lnTo>
                        <a:pt x="869" y="962"/>
                      </a:lnTo>
                      <a:lnTo>
                        <a:pt x="876" y="968"/>
                      </a:lnTo>
                      <a:lnTo>
                        <a:pt x="881" y="980"/>
                      </a:lnTo>
                      <a:lnTo>
                        <a:pt x="885" y="987"/>
                      </a:lnTo>
                      <a:lnTo>
                        <a:pt x="898" y="999"/>
                      </a:lnTo>
                      <a:lnTo>
                        <a:pt x="912" y="1007"/>
                      </a:lnTo>
                      <a:lnTo>
                        <a:pt x="922" y="1011"/>
                      </a:lnTo>
                      <a:lnTo>
                        <a:pt x="932" y="1012"/>
                      </a:lnTo>
                      <a:lnTo>
                        <a:pt x="935" y="1012"/>
                      </a:lnTo>
                      <a:lnTo>
                        <a:pt x="941" y="1010"/>
                      </a:lnTo>
                      <a:lnTo>
                        <a:pt x="945" y="1009"/>
                      </a:lnTo>
                      <a:lnTo>
                        <a:pt x="946" y="1010"/>
                      </a:lnTo>
                      <a:lnTo>
                        <a:pt x="951" y="1017"/>
                      </a:lnTo>
                      <a:lnTo>
                        <a:pt x="955" y="1018"/>
                      </a:lnTo>
                      <a:lnTo>
                        <a:pt x="959" y="1018"/>
                      </a:lnTo>
                      <a:lnTo>
                        <a:pt x="961" y="1016"/>
                      </a:lnTo>
                      <a:lnTo>
                        <a:pt x="961" y="1009"/>
                      </a:lnTo>
                      <a:lnTo>
                        <a:pt x="960" y="1001"/>
                      </a:lnTo>
                      <a:lnTo>
                        <a:pt x="959" y="966"/>
                      </a:lnTo>
                      <a:lnTo>
                        <a:pt x="956" y="958"/>
                      </a:lnTo>
                      <a:lnTo>
                        <a:pt x="950" y="957"/>
                      </a:lnTo>
                      <a:lnTo>
                        <a:pt x="941" y="962"/>
                      </a:lnTo>
                      <a:lnTo>
                        <a:pt x="930" y="960"/>
                      </a:lnTo>
                      <a:lnTo>
                        <a:pt x="918" y="960"/>
                      </a:lnTo>
                      <a:lnTo>
                        <a:pt x="911" y="955"/>
                      </a:lnTo>
                      <a:lnTo>
                        <a:pt x="901" y="942"/>
                      </a:lnTo>
                      <a:lnTo>
                        <a:pt x="895" y="936"/>
                      </a:lnTo>
                      <a:lnTo>
                        <a:pt x="893" y="934"/>
                      </a:lnTo>
                      <a:lnTo>
                        <a:pt x="892" y="924"/>
                      </a:lnTo>
                      <a:lnTo>
                        <a:pt x="895" y="917"/>
                      </a:lnTo>
                      <a:lnTo>
                        <a:pt x="897" y="905"/>
                      </a:lnTo>
                      <a:lnTo>
                        <a:pt x="912" y="866"/>
                      </a:lnTo>
                      <a:lnTo>
                        <a:pt x="913" y="859"/>
                      </a:lnTo>
                      <a:lnTo>
                        <a:pt x="914" y="834"/>
                      </a:lnTo>
                      <a:lnTo>
                        <a:pt x="912" y="820"/>
                      </a:lnTo>
                      <a:lnTo>
                        <a:pt x="905" y="801"/>
                      </a:lnTo>
                      <a:lnTo>
                        <a:pt x="905" y="791"/>
                      </a:lnTo>
                      <a:lnTo>
                        <a:pt x="907" y="788"/>
                      </a:lnTo>
                      <a:lnTo>
                        <a:pt x="909" y="779"/>
                      </a:lnTo>
                      <a:lnTo>
                        <a:pt x="914" y="772"/>
                      </a:lnTo>
                      <a:lnTo>
                        <a:pt x="922" y="758"/>
                      </a:lnTo>
                      <a:lnTo>
                        <a:pt x="924" y="756"/>
                      </a:lnTo>
                      <a:lnTo>
                        <a:pt x="929" y="752"/>
                      </a:lnTo>
                      <a:lnTo>
                        <a:pt x="932" y="752"/>
                      </a:lnTo>
                      <a:lnTo>
                        <a:pt x="941" y="748"/>
                      </a:lnTo>
                      <a:lnTo>
                        <a:pt x="1003" y="735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sp>
              <p:nvSpPr>
                <p:cNvPr id="165" name="Freeform 134"/>
                <p:cNvSpPr>
                  <a:spLocks noChangeAspect="1"/>
                </p:cNvSpPr>
                <p:nvPr/>
              </p:nvSpPr>
              <p:spPr bwMode="gray">
                <a:xfrm>
                  <a:off x="5488780" y="3469034"/>
                  <a:ext cx="25400" cy="33338"/>
                </a:xfrm>
                <a:custGeom>
                  <a:avLst/>
                  <a:gdLst/>
                  <a:ahLst/>
                  <a:cxnLst>
                    <a:cxn ang="0">
                      <a:pos x="65" y="0"/>
                    </a:cxn>
                    <a:cxn ang="0">
                      <a:pos x="48" y="11"/>
                    </a:cxn>
                    <a:cxn ang="0">
                      <a:pos x="33" y="19"/>
                    </a:cxn>
                    <a:cxn ang="0">
                      <a:pos x="28" y="25"/>
                    </a:cxn>
                    <a:cxn ang="0">
                      <a:pos x="22" y="29"/>
                    </a:cxn>
                    <a:cxn ang="0">
                      <a:pos x="17" y="51"/>
                    </a:cxn>
                    <a:cxn ang="0">
                      <a:pos x="15" y="62"/>
                    </a:cxn>
                    <a:cxn ang="0">
                      <a:pos x="9" y="74"/>
                    </a:cxn>
                    <a:cxn ang="0">
                      <a:pos x="0" y="85"/>
                    </a:cxn>
                    <a:cxn ang="0">
                      <a:pos x="0" y="88"/>
                    </a:cxn>
                    <a:cxn ang="0">
                      <a:pos x="1" y="97"/>
                    </a:cxn>
                    <a:cxn ang="0">
                      <a:pos x="7" y="103"/>
                    </a:cxn>
                    <a:cxn ang="0">
                      <a:pos x="20" y="105"/>
                    </a:cxn>
                    <a:cxn ang="0">
                      <a:pos x="24" y="102"/>
                    </a:cxn>
                    <a:cxn ang="0">
                      <a:pos x="31" y="105"/>
                    </a:cxn>
                    <a:cxn ang="0">
                      <a:pos x="32" y="103"/>
                    </a:cxn>
                    <a:cxn ang="0">
                      <a:pos x="33" y="100"/>
                    </a:cxn>
                    <a:cxn ang="0">
                      <a:pos x="45" y="96"/>
                    </a:cxn>
                    <a:cxn ang="0">
                      <a:pos x="50" y="97"/>
                    </a:cxn>
                    <a:cxn ang="0">
                      <a:pos x="59" y="105"/>
                    </a:cxn>
                    <a:cxn ang="0">
                      <a:pos x="59" y="106"/>
                    </a:cxn>
                    <a:cxn ang="0">
                      <a:pos x="61" y="100"/>
                    </a:cxn>
                    <a:cxn ang="0">
                      <a:pos x="71" y="88"/>
                    </a:cxn>
                    <a:cxn ang="0">
                      <a:pos x="76" y="76"/>
                    </a:cxn>
                    <a:cxn ang="0">
                      <a:pos x="79" y="74"/>
                    </a:cxn>
                    <a:cxn ang="0">
                      <a:pos x="76" y="72"/>
                    </a:cxn>
                    <a:cxn ang="0">
                      <a:pos x="74" y="72"/>
                    </a:cxn>
                    <a:cxn ang="0">
                      <a:pos x="71" y="69"/>
                    </a:cxn>
                    <a:cxn ang="0">
                      <a:pos x="64" y="70"/>
                    </a:cxn>
                    <a:cxn ang="0">
                      <a:pos x="56" y="69"/>
                    </a:cxn>
                    <a:cxn ang="0">
                      <a:pos x="48" y="72"/>
                    </a:cxn>
                    <a:cxn ang="0">
                      <a:pos x="47" y="74"/>
                    </a:cxn>
                    <a:cxn ang="0">
                      <a:pos x="44" y="75"/>
                    </a:cxn>
                    <a:cxn ang="0">
                      <a:pos x="40" y="74"/>
                    </a:cxn>
                    <a:cxn ang="0">
                      <a:pos x="38" y="70"/>
                    </a:cxn>
                    <a:cxn ang="0">
                      <a:pos x="39" y="69"/>
                    </a:cxn>
                    <a:cxn ang="0">
                      <a:pos x="44" y="70"/>
                    </a:cxn>
                    <a:cxn ang="0">
                      <a:pos x="47" y="70"/>
                    </a:cxn>
                    <a:cxn ang="0">
                      <a:pos x="48" y="67"/>
                    </a:cxn>
                    <a:cxn ang="0">
                      <a:pos x="53" y="59"/>
                    </a:cxn>
                    <a:cxn ang="0">
                      <a:pos x="56" y="57"/>
                    </a:cxn>
                    <a:cxn ang="0">
                      <a:pos x="61" y="57"/>
                    </a:cxn>
                    <a:cxn ang="0">
                      <a:pos x="66" y="51"/>
                    </a:cxn>
                    <a:cxn ang="0">
                      <a:pos x="77" y="48"/>
                    </a:cxn>
                    <a:cxn ang="0">
                      <a:pos x="83" y="45"/>
                    </a:cxn>
                    <a:cxn ang="0">
                      <a:pos x="83" y="38"/>
                    </a:cxn>
                    <a:cxn ang="0">
                      <a:pos x="81" y="22"/>
                    </a:cxn>
                    <a:cxn ang="0">
                      <a:pos x="80" y="20"/>
                    </a:cxn>
                    <a:cxn ang="0">
                      <a:pos x="75" y="16"/>
                    </a:cxn>
                    <a:cxn ang="0">
                      <a:pos x="71" y="9"/>
                    </a:cxn>
                    <a:cxn ang="0">
                      <a:pos x="67" y="5"/>
                    </a:cxn>
                    <a:cxn ang="0">
                      <a:pos x="65" y="0"/>
                    </a:cxn>
                  </a:cxnLst>
                  <a:rect l="0" t="0" r="r" b="b"/>
                  <a:pathLst>
                    <a:path w="83" h="105">
                      <a:moveTo>
                        <a:pt x="65" y="0"/>
                      </a:moveTo>
                      <a:lnTo>
                        <a:pt x="48" y="11"/>
                      </a:lnTo>
                      <a:lnTo>
                        <a:pt x="33" y="19"/>
                      </a:lnTo>
                      <a:lnTo>
                        <a:pt x="28" y="25"/>
                      </a:lnTo>
                      <a:lnTo>
                        <a:pt x="22" y="29"/>
                      </a:lnTo>
                      <a:lnTo>
                        <a:pt x="17" y="51"/>
                      </a:lnTo>
                      <a:lnTo>
                        <a:pt x="15" y="62"/>
                      </a:lnTo>
                      <a:lnTo>
                        <a:pt x="9" y="74"/>
                      </a:lnTo>
                      <a:lnTo>
                        <a:pt x="0" y="85"/>
                      </a:lnTo>
                      <a:lnTo>
                        <a:pt x="0" y="88"/>
                      </a:lnTo>
                      <a:lnTo>
                        <a:pt x="1" y="97"/>
                      </a:lnTo>
                      <a:lnTo>
                        <a:pt x="7" y="103"/>
                      </a:lnTo>
                      <a:lnTo>
                        <a:pt x="20" y="105"/>
                      </a:lnTo>
                      <a:lnTo>
                        <a:pt x="24" y="102"/>
                      </a:lnTo>
                      <a:lnTo>
                        <a:pt x="31" y="105"/>
                      </a:lnTo>
                      <a:lnTo>
                        <a:pt x="32" y="103"/>
                      </a:lnTo>
                      <a:lnTo>
                        <a:pt x="33" y="100"/>
                      </a:lnTo>
                      <a:lnTo>
                        <a:pt x="45" y="96"/>
                      </a:lnTo>
                      <a:lnTo>
                        <a:pt x="50" y="97"/>
                      </a:lnTo>
                      <a:lnTo>
                        <a:pt x="59" y="105"/>
                      </a:lnTo>
                      <a:lnTo>
                        <a:pt x="59" y="106"/>
                      </a:lnTo>
                      <a:lnTo>
                        <a:pt x="61" y="100"/>
                      </a:lnTo>
                      <a:lnTo>
                        <a:pt x="71" y="88"/>
                      </a:lnTo>
                      <a:lnTo>
                        <a:pt x="76" y="76"/>
                      </a:lnTo>
                      <a:lnTo>
                        <a:pt x="79" y="74"/>
                      </a:lnTo>
                      <a:lnTo>
                        <a:pt x="76" y="72"/>
                      </a:lnTo>
                      <a:lnTo>
                        <a:pt x="74" y="72"/>
                      </a:lnTo>
                      <a:lnTo>
                        <a:pt x="71" y="69"/>
                      </a:lnTo>
                      <a:lnTo>
                        <a:pt x="64" y="70"/>
                      </a:lnTo>
                      <a:lnTo>
                        <a:pt x="56" y="69"/>
                      </a:lnTo>
                      <a:lnTo>
                        <a:pt x="48" y="72"/>
                      </a:lnTo>
                      <a:lnTo>
                        <a:pt x="47" y="74"/>
                      </a:lnTo>
                      <a:lnTo>
                        <a:pt x="44" y="75"/>
                      </a:lnTo>
                      <a:lnTo>
                        <a:pt x="40" y="74"/>
                      </a:lnTo>
                      <a:lnTo>
                        <a:pt x="38" y="70"/>
                      </a:lnTo>
                      <a:lnTo>
                        <a:pt x="39" y="69"/>
                      </a:lnTo>
                      <a:lnTo>
                        <a:pt x="44" y="70"/>
                      </a:lnTo>
                      <a:lnTo>
                        <a:pt x="47" y="70"/>
                      </a:lnTo>
                      <a:lnTo>
                        <a:pt x="48" y="67"/>
                      </a:lnTo>
                      <a:lnTo>
                        <a:pt x="53" y="59"/>
                      </a:lnTo>
                      <a:lnTo>
                        <a:pt x="56" y="57"/>
                      </a:lnTo>
                      <a:lnTo>
                        <a:pt x="61" y="57"/>
                      </a:lnTo>
                      <a:lnTo>
                        <a:pt x="66" y="51"/>
                      </a:lnTo>
                      <a:lnTo>
                        <a:pt x="77" y="48"/>
                      </a:lnTo>
                      <a:lnTo>
                        <a:pt x="83" y="45"/>
                      </a:lnTo>
                      <a:lnTo>
                        <a:pt x="83" y="38"/>
                      </a:lnTo>
                      <a:lnTo>
                        <a:pt x="81" y="22"/>
                      </a:lnTo>
                      <a:lnTo>
                        <a:pt x="80" y="20"/>
                      </a:lnTo>
                      <a:lnTo>
                        <a:pt x="75" y="16"/>
                      </a:lnTo>
                      <a:lnTo>
                        <a:pt x="71" y="9"/>
                      </a:lnTo>
                      <a:lnTo>
                        <a:pt x="67" y="5"/>
                      </a:lnTo>
                      <a:lnTo>
                        <a:pt x="65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dirty="0">
                    <a:latin typeface="方正综艺简体" panose="03000509000000000000" pitchFamily="65" charset="-122"/>
                    <a:ea typeface="方正综艺简体" panose="03000509000000000000" pitchFamily="65" charset="-122"/>
                    <a:cs typeface="思源黑体 CN Regular" panose="020B0500000000000000" charset="-122"/>
                  </a:endParaRPr>
                </a:p>
              </p:txBody>
            </p:sp>
            <p:grpSp>
              <p:nvGrpSpPr>
                <p:cNvPr id="166" name="Group 364"/>
                <p:cNvGrpSpPr>
                  <a:grpSpLocks noChangeAspect="1"/>
                </p:cNvGrpSpPr>
                <p:nvPr/>
              </p:nvGrpSpPr>
              <p:grpSpPr>
                <a:xfrm>
                  <a:off x="5141117" y="3280172"/>
                  <a:ext cx="289379" cy="349200"/>
                  <a:chOff x="3548063" y="12700"/>
                  <a:chExt cx="5667375" cy="6838950"/>
                </a:xfrm>
                <a:grpFill/>
              </p:grpSpPr>
              <p:sp>
                <p:nvSpPr>
                  <p:cNvPr id="167" name="Freeform 6"/>
                  <p:cNvSpPr/>
                  <p:nvPr/>
                </p:nvSpPr>
                <p:spPr bwMode="gray">
                  <a:xfrm>
                    <a:off x="4084638" y="3873500"/>
                    <a:ext cx="4257675" cy="2978150"/>
                  </a:xfrm>
                  <a:custGeom>
                    <a:avLst/>
                    <a:gdLst/>
                    <a:ahLst/>
                    <a:cxnLst>
                      <a:cxn ang="0">
                        <a:pos x="48" y="773"/>
                      </a:cxn>
                      <a:cxn ang="0">
                        <a:pos x="161" y="852"/>
                      </a:cxn>
                      <a:cxn ang="0">
                        <a:pos x="327" y="893"/>
                      </a:cxn>
                      <a:cxn ang="0">
                        <a:pos x="367" y="981"/>
                      </a:cxn>
                      <a:cxn ang="0">
                        <a:pos x="535" y="1117"/>
                      </a:cxn>
                      <a:cxn ang="0">
                        <a:pos x="626" y="1220"/>
                      </a:cxn>
                      <a:cxn ang="0">
                        <a:pos x="678" y="1341"/>
                      </a:cxn>
                      <a:cxn ang="0">
                        <a:pos x="854" y="1468"/>
                      </a:cxn>
                      <a:cxn ang="0">
                        <a:pos x="909" y="1581"/>
                      </a:cxn>
                      <a:cxn ang="0">
                        <a:pos x="1000" y="1688"/>
                      </a:cxn>
                      <a:cxn ang="0">
                        <a:pos x="1141" y="1680"/>
                      </a:cxn>
                      <a:cxn ang="0">
                        <a:pos x="1339" y="1660"/>
                      </a:cxn>
                      <a:cxn ang="0">
                        <a:pos x="1531" y="1816"/>
                      </a:cxn>
                      <a:cxn ang="0">
                        <a:pos x="1614" y="1872"/>
                      </a:cxn>
                      <a:cxn ang="0">
                        <a:pos x="1741" y="1860"/>
                      </a:cxn>
                      <a:cxn ang="0">
                        <a:pos x="1850" y="1876"/>
                      </a:cxn>
                      <a:cxn ang="0">
                        <a:pos x="2024" y="1836"/>
                      </a:cxn>
                      <a:cxn ang="0">
                        <a:pos x="2268" y="1775"/>
                      </a:cxn>
                      <a:cxn ang="0">
                        <a:pos x="2420" y="1664"/>
                      </a:cxn>
                      <a:cxn ang="0">
                        <a:pos x="2674" y="1664"/>
                      </a:cxn>
                      <a:cxn ang="0">
                        <a:pos x="2678" y="1511"/>
                      </a:cxn>
                      <a:cxn ang="0">
                        <a:pos x="2523" y="1448"/>
                      </a:cxn>
                      <a:cxn ang="0">
                        <a:pos x="2444" y="1260"/>
                      </a:cxn>
                      <a:cxn ang="0">
                        <a:pos x="2311" y="1137"/>
                      </a:cxn>
                      <a:cxn ang="0">
                        <a:pos x="2248" y="1028"/>
                      </a:cxn>
                      <a:cxn ang="0">
                        <a:pos x="2137" y="1000"/>
                      </a:cxn>
                      <a:cxn ang="0">
                        <a:pos x="2060" y="957"/>
                      </a:cxn>
                      <a:cxn ang="0">
                        <a:pos x="2101" y="852"/>
                      </a:cxn>
                      <a:cxn ang="0">
                        <a:pos x="2272" y="824"/>
                      </a:cxn>
                      <a:cxn ang="0">
                        <a:pos x="2307" y="608"/>
                      </a:cxn>
                      <a:cxn ang="0">
                        <a:pos x="2284" y="481"/>
                      </a:cxn>
                      <a:cxn ang="0">
                        <a:pos x="2115" y="123"/>
                      </a:cxn>
                      <a:cxn ang="0">
                        <a:pos x="2020" y="60"/>
                      </a:cxn>
                      <a:cxn ang="0">
                        <a:pos x="1947" y="254"/>
                      </a:cxn>
                      <a:cxn ang="0">
                        <a:pos x="1713" y="551"/>
                      </a:cxn>
                      <a:cxn ang="0">
                        <a:pos x="1412" y="428"/>
                      </a:cxn>
                      <a:cxn ang="0">
                        <a:pos x="1222" y="561"/>
                      </a:cxn>
                      <a:cxn ang="0">
                        <a:pos x="965" y="586"/>
                      </a:cxn>
                      <a:cxn ang="0">
                        <a:pos x="632" y="598"/>
                      </a:cxn>
                      <a:cxn ang="0">
                        <a:pos x="521" y="408"/>
                      </a:cxn>
                      <a:cxn ang="0">
                        <a:pos x="299" y="555"/>
                      </a:cxn>
                      <a:cxn ang="0">
                        <a:pos x="18" y="583"/>
                      </a:cxn>
                    </a:cxnLst>
                    <a:rect l="0" t="0" r="r" b="b"/>
                    <a:pathLst>
                      <a:path w="2682" h="1876">
                        <a:moveTo>
                          <a:pt x="0" y="682"/>
                        </a:moveTo>
                        <a:lnTo>
                          <a:pt x="8" y="733"/>
                        </a:lnTo>
                        <a:lnTo>
                          <a:pt x="48" y="773"/>
                        </a:lnTo>
                        <a:lnTo>
                          <a:pt x="92" y="777"/>
                        </a:lnTo>
                        <a:lnTo>
                          <a:pt x="143" y="792"/>
                        </a:lnTo>
                        <a:lnTo>
                          <a:pt x="161" y="852"/>
                        </a:lnTo>
                        <a:lnTo>
                          <a:pt x="204" y="866"/>
                        </a:lnTo>
                        <a:lnTo>
                          <a:pt x="296" y="866"/>
                        </a:lnTo>
                        <a:lnTo>
                          <a:pt x="327" y="893"/>
                        </a:lnTo>
                        <a:lnTo>
                          <a:pt x="367" y="921"/>
                        </a:lnTo>
                        <a:lnTo>
                          <a:pt x="371" y="941"/>
                        </a:lnTo>
                        <a:lnTo>
                          <a:pt x="367" y="981"/>
                        </a:lnTo>
                        <a:lnTo>
                          <a:pt x="391" y="1024"/>
                        </a:lnTo>
                        <a:lnTo>
                          <a:pt x="466" y="1072"/>
                        </a:lnTo>
                        <a:lnTo>
                          <a:pt x="535" y="1117"/>
                        </a:lnTo>
                        <a:lnTo>
                          <a:pt x="563" y="1157"/>
                        </a:lnTo>
                        <a:lnTo>
                          <a:pt x="606" y="1181"/>
                        </a:lnTo>
                        <a:lnTo>
                          <a:pt x="626" y="1220"/>
                        </a:lnTo>
                        <a:lnTo>
                          <a:pt x="642" y="1264"/>
                        </a:lnTo>
                        <a:lnTo>
                          <a:pt x="670" y="1300"/>
                        </a:lnTo>
                        <a:lnTo>
                          <a:pt x="678" y="1341"/>
                        </a:lnTo>
                        <a:lnTo>
                          <a:pt x="713" y="1353"/>
                        </a:lnTo>
                        <a:lnTo>
                          <a:pt x="830" y="1432"/>
                        </a:lnTo>
                        <a:lnTo>
                          <a:pt x="854" y="1468"/>
                        </a:lnTo>
                        <a:lnTo>
                          <a:pt x="858" y="1511"/>
                        </a:lnTo>
                        <a:lnTo>
                          <a:pt x="882" y="1539"/>
                        </a:lnTo>
                        <a:lnTo>
                          <a:pt x="909" y="1581"/>
                        </a:lnTo>
                        <a:lnTo>
                          <a:pt x="957" y="1616"/>
                        </a:lnTo>
                        <a:lnTo>
                          <a:pt x="981" y="1648"/>
                        </a:lnTo>
                        <a:lnTo>
                          <a:pt x="1000" y="1688"/>
                        </a:lnTo>
                        <a:lnTo>
                          <a:pt x="1092" y="1723"/>
                        </a:lnTo>
                        <a:lnTo>
                          <a:pt x="1115" y="1712"/>
                        </a:lnTo>
                        <a:lnTo>
                          <a:pt x="1141" y="1680"/>
                        </a:lnTo>
                        <a:lnTo>
                          <a:pt x="1248" y="1704"/>
                        </a:lnTo>
                        <a:lnTo>
                          <a:pt x="1292" y="1700"/>
                        </a:lnTo>
                        <a:lnTo>
                          <a:pt x="1339" y="1660"/>
                        </a:lnTo>
                        <a:lnTo>
                          <a:pt x="1383" y="1684"/>
                        </a:lnTo>
                        <a:lnTo>
                          <a:pt x="1476" y="1787"/>
                        </a:lnTo>
                        <a:lnTo>
                          <a:pt x="1531" y="1816"/>
                        </a:lnTo>
                        <a:lnTo>
                          <a:pt x="1567" y="1852"/>
                        </a:lnTo>
                        <a:lnTo>
                          <a:pt x="1591" y="1872"/>
                        </a:lnTo>
                        <a:lnTo>
                          <a:pt x="1614" y="1872"/>
                        </a:lnTo>
                        <a:lnTo>
                          <a:pt x="1642" y="1852"/>
                        </a:lnTo>
                        <a:lnTo>
                          <a:pt x="1697" y="1848"/>
                        </a:lnTo>
                        <a:lnTo>
                          <a:pt x="1741" y="1860"/>
                        </a:lnTo>
                        <a:lnTo>
                          <a:pt x="1779" y="1852"/>
                        </a:lnTo>
                        <a:lnTo>
                          <a:pt x="1826" y="1848"/>
                        </a:lnTo>
                        <a:lnTo>
                          <a:pt x="1850" y="1876"/>
                        </a:lnTo>
                        <a:lnTo>
                          <a:pt x="1917" y="1860"/>
                        </a:lnTo>
                        <a:lnTo>
                          <a:pt x="1973" y="1856"/>
                        </a:lnTo>
                        <a:lnTo>
                          <a:pt x="2024" y="1836"/>
                        </a:lnTo>
                        <a:lnTo>
                          <a:pt x="2086" y="1844"/>
                        </a:lnTo>
                        <a:lnTo>
                          <a:pt x="2161" y="1844"/>
                        </a:lnTo>
                        <a:lnTo>
                          <a:pt x="2268" y="1775"/>
                        </a:lnTo>
                        <a:lnTo>
                          <a:pt x="2331" y="1700"/>
                        </a:lnTo>
                        <a:lnTo>
                          <a:pt x="2379" y="1668"/>
                        </a:lnTo>
                        <a:lnTo>
                          <a:pt x="2420" y="1664"/>
                        </a:lnTo>
                        <a:lnTo>
                          <a:pt x="2539" y="1676"/>
                        </a:lnTo>
                        <a:lnTo>
                          <a:pt x="2591" y="1676"/>
                        </a:lnTo>
                        <a:lnTo>
                          <a:pt x="2674" y="1664"/>
                        </a:lnTo>
                        <a:lnTo>
                          <a:pt x="2678" y="1577"/>
                        </a:lnTo>
                        <a:lnTo>
                          <a:pt x="2682" y="1539"/>
                        </a:lnTo>
                        <a:lnTo>
                          <a:pt x="2678" y="1511"/>
                        </a:lnTo>
                        <a:lnTo>
                          <a:pt x="2650" y="1492"/>
                        </a:lnTo>
                        <a:lnTo>
                          <a:pt x="2555" y="1472"/>
                        </a:lnTo>
                        <a:lnTo>
                          <a:pt x="2523" y="1448"/>
                        </a:lnTo>
                        <a:lnTo>
                          <a:pt x="2503" y="1412"/>
                        </a:lnTo>
                        <a:lnTo>
                          <a:pt x="2464" y="1307"/>
                        </a:lnTo>
                        <a:lnTo>
                          <a:pt x="2444" y="1260"/>
                        </a:lnTo>
                        <a:lnTo>
                          <a:pt x="2424" y="1220"/>
                        </a:lnTo>
                        <a:lnTo>
                          <a:pt x="2339" y="1169"/>
                        </a:lnTo>
                        <a:lnTo>
                          <a:pt x="2311" y="1137"/>
                        </a:lnTo>
                        <a:lnTo>
                          <a:pt x="2288" y="1105"/>
                        </a:lnTo>
                        <a:lnTo>
                          <a:pt x="2280" y="1068"/>
                        </a:lnTo>
                        <a:lnTo>
                          <a:pt x="2248" y="1028"/>
                        </a:lnTo>
                        <a:lnTo>
                          <a:pt x="2212" y="1008"/>
                        </a:lnTo>
                        <a:lnTo>
                          <a:pt x="2169" y="993"/>
                        </a:lnTo>
                        <a:lnTo>
                          <a:pt x="2137" y="1000"/>
                        </a:lnTo>
                        <a:lnTo>
                          <a:pt x="2105" y="973"/>
                        </a:lnTo>
                        <a:lnTo>
                          <a:pt x="2082" y="973"/>
                        </a:lnTo>
                        <a:lnTo>
                          <a:pt x="2060" y="957"/>
                        </a:lnTo>
                        <a:lnTo>
                          <a:pt x="2078" y="925"/>
                        </a:lnTo>
                        <a:lnTo>
                          <a:pt x="2101" y="905"/>
                        </a:lnTo>
                        <a:lnTo>
                          <a:pt x="2101" y="852"/>
                        </a:lnTo>
                        <a:lnTo>
                          <a:pt x="2141" y="836"/>
                        </a:lnTo>
                        <a:lnTo>
                          <a:pt x="2228" y="844"/>
                        </a:lnTo>
                        <a:lnTo>
                          <a:pt x="2272" y="824"/>
                        </a:lnTo>
                        <a:lnTo>
                          <a:pt x="2299" y="800"/>
                        </a:lnTo>
                        <a:lnTo>
                          <a:pt x="2307" y="741"/>
                        </a:lnTo>
                        <a:lnTo>
                          <a:pt x="2307" y="608"/>
                        </a:lnTo>
                        <a:lnTo>
                          <a:pt x="2295" y="608"/>
                        </a:lnTo>
                        <a:lnTo>
                          <a:pt x="2264" y="608"/>
                        </a:lnTo>
                        <a:lnTo>
                          <a:pt x="2284" y="481"/>
                        </a:lnTo>
                        <a:lnTo>
                          <a:pt x="2204" y="371"/>
                        </a:lnTo>
                        <a:lnTo>
                          <a:pt x="2131" y="329"/>
                        </a:lnTo>
                        <a:lnTo>
                          <a:pt x="2115" y="123"/>
                        </a:lnTo>
                        <a:lnTo>
                          <a:pt x="2137" y="16"/>
                        </a:lnTo>
                        <a:lnTo>
                          <a:pt x="2026" y="0"/>
                        </a:lnTo>
                        <a:lnTo>
                          <a:pt x="2020" y="60"/>
                        </a:lnTo>
                        <a:lnTo>
                          <a:pt x="1899" y="79"/>
                        </a:lnTo>
                        <a:lnTo>
                          <a:pt x="1947" y="139"/>
                        </a:lnTo>
                        <a:lnTo>
                          <a:pt x="1947" y="254"/>
                        </a:lnTo>
                        <a:lnTo>
                          <a:pt x="1957" y="285"/>
                        </a:lnTo>
                        <a:lnTo>
                          <a:pt x="1862" y="345"/>
                        </a:lnTo>
                        <a:lnTo>
                          <a:pt x="1713" y="551"/>
                        </a:lnTo>
                        <a:lnTo>
                          <a:pt x="1630" y="571"/>
                        </a:lnTo>
                        <a:lnTo>
                          <a:pt x="1567" y="513"/>
                        </a:lnTo>
                        <a:lnTo>
                          <a:pt x="1412" y="428"/>
                        </a:lnTo>
                        <a:lnTo>
                          <a:pt x="1329" y="466"/>
                        </a:lnTo>
                        <a:lnTo>
                          <a:pt x="1333" y="555"/>
                        </a:lnTo>
                        <a:lnTo>
                          <a:pt x="1222" y="561"/>
                        </a:lnTo>
                        <a:lnTo>
                          <a:pt x="1159" y="630"/>
                        </a:lnTo>
                        <a:lnTo>
                          <a:pt x="1006" y="630"/>
                        </a:lnTo>
                        <a:lnTo>
                          <a:pt x="965" y="586"/>
                        </a:lnTo>
                        <a:lnTo>
                          <a:pt x="795" y="583"/>
                        </a:lnTo>
                        <a:lnTo>
                          <a:pt x="715" y="624"/>
                        </a:lnTo>
                        <a:lnTo>
                          <a:pt x="632" y="598"/>
                        </a:lnTo>
                        <a:lnTo>
                          <a:pt x="610" y="519"/>
                        </a:lnTo>
                        <a:lnTo>
                          <a:pt x="547" y="472"/>
                        </a:lnTo>
                        <a:lnTo>
                          <a:pt x="521" y="408"/>
                        </a:lnTo>
                        <a:lnTo>
                          <a:pt x="357" y="444"/>
                        </a:lnTo>
                        <a:lnTo>
                          <a:pt x="367" y="497"/>
                        </a:lnTo>
                        <a:lnTo>
                          <a:pt x="299" y="555"/>
                        </a:lnTo>
                        <a:lnTo>
                          <a:pt x="204" y="535"/>
                        </a:lnTo>
                        <a:lnTo>
                          <a:pt x="125" y="577"/>
                        </a:lnTo>
                        <a:lnTo>
                          <a:pt x="18" y="583"/>
                        </a:lnTo>
                        <a:lnTo>
                          <a:pt x="8" y="620"/>
                        </a:lnTo>
                        <a:lnTo>
                          <a:pt x="0" y="682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latin typeface="方正综艺简体" panose="03000509000000000000" pitchFamily="65" charset="-122"/>
                      <a:ea typeface="方正综艺简体" panose="03000509000000000000" pitchFamily="65" charset="-122"/>
                      <a:cs typeface="思源黑体 CN Regular" panose="020B0500000000000000" charset="-122"/>
                    </a:endParaRPr>
                  </a:p>
                </p:txBody>
              </p:sp>
              <p:sp>
                <p:nvSpPr>
                  <p:cNvPr id="168" name="Freeform 9"/>
                  <p:cNvSpPr/>
                  <p:nvPr/>
                </p:nvSpPr>
                <p:spPr bwMode="gray">
                  <a:xfrm>
                    <a:off x="3548063" y="12700"/>
                    <a:ext cx="5667375" cy="4860925"/>
                  </a:xfrm>
                  <a:custGeom>
                    <a:avLst/>
                    <a:gdLst/>
                    <a:ahLst/>
                    <a:cxnLst>
                      <a:cxn ang="0">
                        <a:pos x="158" y="2581"/>
                      </a:cxn>
                      <a:cxn ang="0">
                        <a:pos x="200" y="2618"/>
                      </a:cxn>
                      <a:cxn ang="0">
                        <a:pos x="178" y="2702"/>
                      </a:cxn>
                      <a:cxn ang="0">
                        <a:pos x="346" y="2917"/>
                      </a:cxn>
                      <a:cxn ang="0">
                        <a:pos x="463" y="3009"/>
                      </a:cxn>
                      <a:cxn ang="0">
                        <a:pos x="705" y="2929"/>
                      </a:cxn>
                      <a:cxn ang="0">
                        <a:pos x="885" y="2904"/>
                      </a:cxn>
                      <a:cxn ang="0">
                        <a:pos x="1053" y="3056"/>
                      </a:cxn>
                      <a:cxn ang="0">
                        <a:pos x="1344" y="3062"/>
                      </a:cxn>
                      <a:cxn ang="0">
                        <a:pos x="1671" y="2987"/>
                      </a:cxn>
                      <a:cxn ang="0">
                        <a:pos x="1905" y="2945"/>
                      </a:cxn>
                      <a:cxn ang="0">
                        <a:pos x="2200" y="2777"/>
                      </a:cxn>
                      <a:cxn ang="0">
                        <a:pos x="2285" y="2571"/>
                      </a:cxn>
                      <a:cxn ang="0">
                        <a:pos x="2364" y="2432"/>
                      </a:cxn>
                      <a:cxn ang="0">
                        <a:pos x="2469" y="2761"/>
                      </a:cxn>
                      <a:cxn ang="0">
                        <a:pos x="2602" y="3040"/>
                      </a:cxn>
                      <a:cxn ang="0">
                        <a:pos x="2645" y="2997"/>
                      </a:cxn>
                      <a:cxn ang="0">
                        <a:pos x="2661" y="2866"/>
                      </a:cxn>
                      <a:cxn ang="0">
                        <a:pos x="2689" y="2805"/>
                      </a:cxn>
                      <a:cxn ang="0">
                        <a:pos x="2786" y="2737"/>
                      </a:cxn>
                      <a:cxn ang="0">
                        <a:pos x="2845" y="2557"/>
                      </a:cxn>
                      <a:cxn ang="0">
                        <a:pos x="3053" y="2317"/>
                      </a:cxn>
                      <a:cxn ang="0">
                        <a:pos x="3152" y="1998"/>
                      </a:cxn>
                      <a:cxn ang="0">
                        <a:pos x="3156" y="1790"/>
                      </a:cxn>
                      <a:cxn ang="0">
                        <a:pos x="3231" y="1519"/>
                      </a:cxn>
                      <a:cxn ang="0">
                        <a:pos x="3263" y="1371"/>
                      </a:cxn>
                      <a:cxn ang="0">
                        <a:pos x="3368" y="1319"/>
                      </a:cxn>
                      <a:cxn ang="0">
                        <a:pos x="3534" y="1244"/>
                      </a:cxn>
                      <a:cxn ang="0">
                        <a:pos x="3558" y="1115"/>
                      </a:cxn>
                      <a:cxn ang="0">
                        <a:pos x="3507" y="1107"/>
                      </a:cxn>
                      <a:cxn ang="0">
                        <a:pos x="3435" y="1032"/>
                      </a:cxn>
                      <a:cxn ang="0">
                        <a:pos x="3334" y="960"/>
                      </a:cxn>
                      <a:cxn ang="0">
                        <a:pos x="3295" y="616"/>
                      </a:cxn>
                      <a:cxn ang="0">
                        <a:pos x="3291" y="436"/>
                      </a:cxn>
                      <a:cxn ang="0">
                        <a:pos x="3224" y="255"/>
                      </a:cxn>
                      <a:cxn ang="0">
                        <a:pos x="3097" y="121"/>
                      </a:cxn>
                      <a:cxn ang="0">
                        <a:pos x="2948" y="0"/>
                      </a:cxn>
                      <a:cxn ang="0">
                        <a:pos x="2758" y="180"/>
                      </a:cxn>
                      <a:cxn ang="0">
                        <a:pos x="2507" y="313"/>
                      </a:cxn>
                      <a:cxn ang="0">
                        <a:pos x="2075" y="212"/>
                      </a:cxn>
                      <a:cxn ang="0">
                        <a:pos x="2043" y="208"/>
                      </a:cxn>
                      <a:cxn ang="0">
                        <a:pos x="1697" y="255"/>
                      </a:cxn>
                      <a:cxn ang="0">
                        <a:pos x="1083" y="255"/>
                      </a:cxn>
                      <a:cxn ang="0">
                        <a:pos x="669" y="463"/>
                      </a:cxn>
                      <a:cxn ang="0">
                        <a:pos x="465" y="824"/>
                      </a:cxn>
                      <a:cxn ang="0">
                        <a:pos x="465" y="1472"/>
                      </a:cxn>
                      <a:cxn ang="0">
                        <a:pos x="319" y="1668"/>
                      </a:cxn>
                      <a:cxn ang="0">
                        <a:pos x="232" y="1683"/>
                      </a:cxn>
                      <a:cxn ang="0">
                        <a:pos x="200" y="1806"/>
                      </a:cxn>
                      <a:cxn ang="0">
                        <a:pos x="91" y="1994"/>
                      </a:cxn>
                      <a:cxn ang="0">
                        <a:pos x="87" y="2050"/>
                      </a:cxn>
                      <a:cxn ang="0">
                        <a:pos x="36" y="2125"/>
                      </a:cxn>
                      <a:cxn ang="0">
                        <a:pos x="4" y="2258"/>
                      </a:cxn>
                      <a:cxn ang="0">
                        <a:pos x="12" y="2341"/>
                      </a:cxn>
                      <a:cxn ang="0">
                        <a:pos x="91" y="2383"/>
                      </a:cxn>
                    </a:cxnLst>
                    <a:rect l="0" t="0" r="r" b="b"/>
                    <a:pathLst>
                      <a:path w="3570" h="3062">
                        <a:moveTo>
                          <a:pt x="91" y="2383"/>
                        </a:moveTo>
                        <a:lnTo>
                          <a:pt x="111" y="2446"/>
                        </a:lnTo>
                        <a:lnTo>
                          <a:pt x="158" y="2581"/>
                        </a:lnTo>
                        <a:lnTo>
                          <a:pt x="162" y="2589"/>
                        </a:lnTo>
                        <a:lnTo>
                          <a:pt x="188" y="2599"/>
                        </a:lnTo>
                        <a:lnTo>
                          <a:pt x="200" y="2618"/>
                        </a:lnTo>
                        <a:lnTo>
                          <a:pt x="212" y="2654"/>
                        </a:lnTo>
                        <a:lnTo>
                          <a:pt x="212" y="2686"/>
                        </a:lnTo>
                        <a:lnTo>
                          <a:pt x="178" y="2702"/>
                        </a:lnTo>
                        <a:lnTo>
                          <a:pt x="216" y="2761"/>
                        </a:lnTo>
                        <a:lnTo>
                          <a:pt x="283" y="2834"/>
                        </a:lnTo>
                        <a:lnTo>
                          <a:pt x="346" y="2917"/>
                        </a:lnTo>
                        <a:lnTo>
                          <a:pt x="366" y="2981"/>
                        </a:lnTo>
                        <a:lnTo>
                          <a:pt x="356" y="3015"/>
                        </a:lnTo>
                        <a:lnTo>
                          <a:pt x="463" y="3009"/>
                        </a:lnTo>
                        <a:lnTo>
                          <a:pt x="542" y="2967"/>
                        </a:lnTo>
                        <a:lnTo>
                          <a:pt x="637" y="2987"/>
                        </a:lnTo>
                        <a:lnTo>
                          <a:pt x="705" y="2929"/>
                        </a:lnTo>
                        <a:lnTo>
                          <a:pt x="695" y="2876"/>
                        </a:lnTo>
                        <a:lnTo>
                          <a:pt x="859" y="2840"/>
                        </a:lnTo>
                        <a:lnTo>
                          <a:pt x="885" y="2904"/>
                        </a:lnTo>
                        <a:lnTo>
                          <a:pt x="948" y="2951"/>
                        </a:lnTo>
                        <a:lnTo>
                          <a:pt x="970" y="3030"/>
                        </a:lnTo>
                        <a:lnTo>
                          <a:pt x="1053" y="3056"/>
                        </a:lnTo>
                        <a:lnTo>
                          <a:pt x="1133" y="3015"/>
                        </a:lnTo>
                        <a:lnTo>
                          <a:pt x="1303" y="3018"/>
                        </a:lnTo>
                        <a:lnTo>
                          <a:pt x="1344" y="3062"/>
                        </a:lnTo>
                        <a:lnTo>
                          <a:pt x="1497" y="3062"/>
                        </a:lnTo>
                        <a:lnTo>
                          <a:pt x="1560" y="2993"/>
                        </a:lnTo>
                        <a:lnTo>
                          <a:pt x="1671" y="2987"/>
                        </a:lnTo>
                        <a:lnTo>
                          <a:pt x="1667" y="2898"/>
                        </a:lnTo>
                        <a:lnTo>
                          <a:pt x="1750" y="2860"/>
                        </a:lnTo>
                        <a:lnTo>
                          <a:pt x="1905" y="2945"/>
                        </a:lnTo>
                        <a:lnTo>
                          <a:pt x="1968" y="3003"/>
                        </a:lnTo>
                        <a:lnTo>
                          <a:pt x="2051" y="2983"/>
                        </a:lnTo>
                        <a:lnTo>
                          <a:pt x="2200" y="2777"/>
                        </a:lnTo>
                        <a:lnTo>
                          <a:pt x="2295" y="2717"/>
                        </a:lnTo>
                        <a:lnTo>
                          <a:pt x="2285" y="2686"/>
                        </a:lnTo>
                        <a:lnTo>
                          <a:pt x="2285" y="2571"/>
                        </a:lnTo>
                        <a:lnTo>
                          <a:pt x="2237" y="2511"/>
                        </a:lnTo>
                        <a:lnTo>
                          <a:pt x="2358" y="2492"/>
                        </a:lnTo>
                        <a:lnTo>
                          <a:pt x="2364" y="2432"/>
                        </a:lnTo>
                        <a:lnTo>
                          <a:pt x="2475" y="2448"/>
                        </a:lnTo>
                        <a:lnTo>
                          <a:pt x="2453" y="2555"/>
                        </a:lnTo>
                        <a:lnTo>
                          <a:pt x="2469" y="2761"/>
                        </a:lnTo>
                        <a:lnTo>
                          <a:pt x="2542" y="2803"/>
                        </a:lnTo>
                        <a:lnTo>
                          <a:pt x="2622" y="2913"/>
                        </a:lnTo>
                        <a:lnTo>
                          <a:pt x="2602" y="3040"/>
                        </a:lnTo>
                        <a:lnTo>
                          <a:pt x="2633" y="3040"/>
                        </a:lnTo>
                        <a:lnTo>
                          <a:pt x="2645" y="3040"/>
                        </a:lnTo>
                        <a:lnTo>
                          <a:pt x="2645" y="2997"/>
                        </a:lnTo>
                        <a:lnTo>
                          <a:pt x="2661" y="2933"/>
                        </a:lnTo>
                        <a:lnTo>
                          <a:pt x="2669" y="2890"/>
                        </a:lnTo>
                        <a:lnTo>
                          <a:pt x="2661" y="2866"/>
                        </a:lnTo>
                        <a:lnTo>
                          <a:pt x="2661" y="2822"/>
                        </a:lnTo>
                        <a:lnTo>
                          <a:pt x="2677" y="2830"/>
                        </a:lnTo>
                        <a:lnTo>
                          <a:pt x="2689" y="2805"/>
                        </a:lnTo>
                        <a:lnTo>
                          <a:pt x="2717" y="2757"/>
                        </a:lnTo>
                        <a:lnTo>
                          <a:pt x="2742" y="2737"/>
                        </a:lnTo>
                        <a:lnTo>
                          <a:pt x="2786" y="2737"/>
                        </a:lnTo>
                        <a:lnTo>
                          <a:pt x="2806" y="2717"/>
                        </a:lnTo>
                        <a:lnTo>
                          <a:pt x="2826" y="2610"/>
                        </a:lnTo>
                        <a:lnTo>
                          <a:pt x="2845" y="2557"/>
                        </a:lnTo>
                        <a:lnTo>
                          <a:pt x="2984" y="2363"/>
                        </a:lnTo>
                        <a:lnTo>
                          <a:pt x="3020" y="2325"/>
                        </a:lnTo>
                        <a:lnTo>
                          <a:pt x="3053" y="2317"/>
                        </a:lnTo>
                        <a:lnTo>
                          <a:pt x="3081" y="2286"/>
                        </a:lnTo>
                        <a:lnTo>
                          <a:pt x="3152" y="2062"/>
                        </a:lnTo>
                        <a:lnTo>
                          <a:pt x="3152" y="1998"/>
                        </a:lnTo>
                        <a:lnTo>
                          <a:pt x="3140" y="1935"/>
                        </a:lnTo>
                        <a:lnTo>
                          <a:pt x="3140" y="1858"/>
                        </a:lnTo>
                        <a:lnTo>
                          <a:pt x="3156" y="1790"/>
                        </a:lnTo>
                        <a:lnTo>
                          <a:pt x="3184" y="1735"/>
                        </a:lnTo>
                        <a:lnTo>
                          <a:pt x="3220" y="1602"/>
                        </a:lnTo>
                        <a:lnTo>
                          <a:pt x="3231" y="1519"/>
                        </a:lnTo>
                        <a:lnTo>
                          <a:pt x="3231" y="1487"/>
                        </a:lnTo>
                        <a:lnTo>
                          <a:pt x="3247" y="1406"/>
                        </a:lnTo>
                        <a:lnTo>
                          <a:pt x="3263" y="1371"/>
                        </a:lnTo>
                        <a:lnTo>
                          <a:pt x="3315" y="1367"/>
                        </a:lnTo>
                        <a:lnTo>
                          <a:pt x="3350" y="1347"/>
                        </a:lnTo>
                        <a:lnTo>
                          <a:pt x="3368" y="1319"/>
                        </a:lnTo>
                        <a:lnTo>
                          <a:pt x="3451" y="1279"/>
                        </a:lnTo>
                        <a:lnTo>
                          <a:pt x="3483" y="1268"/>
                        </a:lnTo>
                        <a:lnTo>
                          <a:pt x="3534" y="1244"/>
                        </a:lnTo>
                        <a:lnTo>
                          <a:pt x="3562" y="1186"/>
                        </a:lnTo>
                        <a:lnTo>
                          <a:pt x="3570" y="1151"/>
                        </a:lnTo>
                        <a:lnTo>
                          <a:pt x="3558" y="1115"/>
                        </a:lnTo>
                        <a:lnTo>
                          <a:pt x="3538" y="1115"/>
                        </a:lnTo>
                        <a:lnTo>
                          <a:pt x="3527" y="1099"/>
                        </a:lnTo>
                        <a:lnTo>
                          <a:pt x="3507" y="1107"/>
                        </a:lnTo>
                        <a:lnTo>
                          <a:pt x="3491" y="1060"/>
                        </a:lnTo>
                        <a:lnTo>
                          <a:pt x="3463" y="1036"/>
                        </a:lnTo>
                        <a:lnTo>
                          <a:pt x="3435" y="1032"/>
                        </a:lnTo>
                        <a:lnTo>
                          <a:pt x="3376" y="1008"/>
                        </a:lnTo>
                        <a:lnTo>
                          <a:pt x="3354" y="988"/>
                        </a:lnTo>
                        <a:lnTo>
                          <a:pt x="3334" y="960"/>
                        </a:lnTo>
                        <a:lnTo>
                          <a:pt x="3307" y="840"/>
                        </a:lnTo>
                        <a:lnTo>
                          <a:pt x="3295" y="749"/>
                        </a:lnTo>
                        <a:lnTo>
                          <a:pt x="3295" y="616"/>
                        </a:lnTo>
                        <a:lnTo>
                          <a:pt x="3291" y="459"/>
                        </a:lnTo>
                        <a:lnTo>
                          <a:pt x="3303" y="463"/>
                        </a:lnTo>
                        <a:lnTo>
                          <a:pt x="3291" y="436"/>
                        </a:lnTo>
                        <a:lnTo>
                          <a:pt x="3231" y="368"/>
                        </a:lnTo>
                        <a:lnTo>
                          <a:pt x="3228" y="317"/>
                        </a:lnTo>
                        <a:lnTo>
                          <a:pt x="3224" y="255"/>
                        </a:lnTo>
                        <a:lnTo>
                          <a:pt x="3180" y="192"/>
                        </a:lnTo>
                        <a:lnTo>
                          <a:pt x="3140" y="172"/>
                        </a:lnTo>
                        <a:lnTo>
                          <a:pt x="3097" y="121"/>
                        </a:lnTo>
                        <a:lnTo>
                          <a:pt x="3053" y="97"/>
                        </a:lnTo>
                        <a:lnTo>
                          <a:pt x="2996" y="73"/>
                        </a:lnTo>
                        <a:lnTo>
                          <a:pt x="2948" y="0"/>
                        </a:lnTo>
                        <a:lnTo>
                          <a:pt x="2861" y="77"/>
                        </a:lnTo>
                        <a:lnTo>
                          <a:pt x="2806" y="57"/>
                        </a:lnTo>
                        <a:lnTo>
                          <a:pt x="2758" y="180"/>
                        </a:lnTo>
                        <a:lnTo>
                          <a:pt x="2645" y="208"/>
                        </a:lnTo>
                        <a:lnTo>
                          <a:pt x="2614" y="305"/>
                        </a:lnTo>
                        <a:lnTo>
                          <a:pt x="2507" y="313"/>
                        </a:lnTo>
                        <a:lnTo>
                          <a:pt x="2435" y="261"/>
                        </a:lnTo>
                        <a:lnTo>
                          <a:pt x="2055" y="255"/>
                        </a:lnTo>
                        <a:lnTo>
                          <a:pt x="2075" y="212"/>
                        </a:lnTo>
                        <a:lnTo>
                          <a:pt x="2063" y="212"/>
                        </a:lnTo>
                        <a:lnTo>
                          <a:pt x="2055" y="208"/>
                        </a:lnTo>
                        <a:lnTo>
                          <a:pt x="2043" y="208"/>
                        </a:lnTo>
                        <a:lnTo>
                          <a:pt x="2016" y="255"/>
                        </a:lnTo>
                        <a:lnTo>
                          <a:pt x="1905" y="255"/>
                        </a:lnTo>
                        <a:lnTo>
                          <a:pt x="1697" y="255"/>
                        </a:lnTo>
                        <a:lnTo>
                          <a:pt x="1491" y="255"/>
                        </a:lnTo>
                        <a:lnTo>
                          <a:pt x="1283" y="255"/>
                        </a:lnTo>
                        <a:lnTo>
                          <a:pt x="1083" y="255"/>
                        </a:lnTo>
                        <a:lnTo>
                          <a:pt x="877" y="255"/>
                        </a:lnTo>
                        <a:lnTo>
                          <a:pt x="669" y="255"/>
                        </a:lnTo>
                        <a:lnTo>
                          <a:pt x="669" y="463"/>
                        </a:lnTo>
                        <a:lnTo>
                          <a:pt x="669" y="695"/>
                        </a:lnTo>
                        <a:lnTo>
                          <a:pt x="465" y="695"/>
                        </a:lnTo>
                        <a:lnTo>
                          <a:pt x="465" y="824"/>
                        </a:lnTo>
                        <a:lnTo>
                          <a:pt x="465" y="1044"/>
                        </a:lnTo>
                        <a:lnTo>
                          <a:pt x="465" y="1256"/>
                        </a:lnTo>
                        <a:lnTo>
                          <a:pt x="465" y="1472"/>
                        </a:lnTo>
                        <a:lnTo>
                          <a:pt x="457" y="1664"/>
                        </a:lnTo>
                        <a:lnTo>
                          <a:pt x="434" y="1668"/>
                        </a:lnTo>
                        <a:lnTo>
                          <a:pt x="319" y="1668"/>
                        </a:lnTo>
                        <a:lnTo>
                          <a:pt x="283" y="1672"/>
                        </a:lnTo>
                        <a:lnTo>
                          <a:pt x="236" y="1679"/>
                        </a:lnTo>
                        <a:lnTo>
                          <a:pt x="232" y="1683"/>
                        </a:lnTo>
                        <a:lnTo>
                          <a:pt x="220" y="1719"/>
                        </a:lnTo>
                        <a:lnTo>
                          <a:pt x="216" y="1763"/>
                        </a:lnTo>
                        <a:lnTo>
                          <a:pt x="200" y="1806"/>
                        </a:lnTo>
                        <a:lnTo>
                          <a:pt x="154" y="1874"/>
                        </a:lnTo>
                        <a:lnTo>
                          <a:pt x="91" y="1943"/>
                        </a:lnTo>
                        <a:lnTo>
                          <a:pt x="91" y="1994"/>
                        </a:lnTo>
                        <a:lnTo>
                          <a:pt x="95" y="2026"/>
                        </a:lnTo>
                        <a:lnTo>
                          <a:pt x="91" y="2046"/>
                        </a:lnTo>
                        <a:lnTo>
                          <a:pt x="87" y="2050"/>
                        </a:lnTo>
                        <a:lnTo>
                          <a:pt x="55" y="2070"/>
                        </a:lnTo>
                        <a:lnTo>
                          <a:pt x="43" y="2086"/>
                        </a:lnTo>
                        <a:lnTo>
                          <a:pt x="36" y="2125"/>
                        </a:lnTo>
                        <a:lnTo>
                          <a:pt x="36" y="2179"/>
                        </a:lnTo>
                        <a:lnTo>
                          <a:pt x="28" y="2214"/>
                        </a:lnTo>
                        <a:lnTo>
                          <a:pt x="4" y="2258"/>
                        </a:lnTo>
                        <a:lnTo>
                          <a:pt x="0" y="2278"/>
                        </a:lnTo>
                        <a:lnTo>
                          <a:pt x="0" y="2341"/>
                        </a:lnTo>
                        <a:lnTo>
                          <a:pt x="12" y="2341"/>
                        </a:lnTo>
                        <a:lnTo>
                          <a:pt x="32" y="2337"/>
                        </a:lnTo>
                        <a:lnTo>
                          <a:pt x="95" y="2321"/>
                        </a:lnTo>
                        <a:lnTo>
                          <a:pt x="91" y="2383"/>
                        </a:lnTo>
                        <a:close/>
                      </a:path>
                    </a:pathLst>
                  </a:custGeom>
                  <a:grpFill/>
                  <a:ln w="635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latin typeface="方正综艺简体" panose="03000509000000000000" pitchFamily="65" charset="-122"/>
                      <a:ea typeface="方正综艺简体" panose="03000509000000000000" pitchFamily="65" charset="-122"/>
                      <a:cs typeface="思源黑体 CN Regular" panose="020B0500000000000000" charset="-122"/>
                    </a:endParaRPr>
                  </a:p>
                </p:txBody>
              </p:sp>
            </p:grpSp>
          </p:grpSp>
        </p:grpSp>
      </p:grpSp>
      <p:grpSp>
        <p:nvGrpSpPr>
          <p:cNvPr id="364" name="Group 36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5442999" y="3004089"/>
            <a:ext cx="1172116" cy="433104"/>
            <a:chOff x="5442999" y="3004089"/>
            <a:chExt cx="1172116" cy="433104"/>
          </a:xfrm>
        </p:grpSpPr>
        <p:sp>
          <p:nvSpPr>
            <p:cNvPr id="365" name="TextBox 364"/>
            <p:cNvSpPr txBox="1"/>
            <p:nvPr/>
          </p:nvSpPr>
          <p:spPr>
            <a:xfrm>
              <a:off x="5442999" y="3004089"/>
              <a:ext cx="1172116" cy="23083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none" rtlCol="0">
              <a:spAutoFit/>
            </a:bodyPr>
            <a:lstStyle/>
            <a:p>
              <a:r>
                <a:rPr lang="en-US" sz="900" dirty="0">
                  <a:solidFill>
                    <a:schemeClr val="bg1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rPr>
                <a:t>TEXT GOES HERE</a:t>
              </a:r>
            </a:p>
          </p:txBody>
        </p:sp>
        <p:sp>
          <p:nvSpPr>
            <p:cNvPr id="366" name="Right Triangle 365"/>
            <p:cNvSpPr/>
            <p:nvPr/>
          </p:nvSpPr>
          <p:spPr>
            <a:xfrm flipV="1">
              <a:off x="5442999" y="3231521"/>
              <a:ext cx="152090" cy="205672"/>
            </a:xfrm>
            <a:prstGeom prst="rt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</p:grpSp>
      <p:sp>
        <p:nvSpPr>
          <p:cNvPr id="367" name="TextBox 36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5442999" y="2701221"/>
            <a:ext cx="545342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USA</a:t>
            </a:r>
          </a:p>
        </p:txBody>
      </p:sp>
      <p:sp>
        <p:nvSpPr>
          <p:cNvPr id="368" name="Freeform 36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445649" y="3526899"/>
            <a:ext cx="214160" cy="368087"/>
          </a:xfrm>
          <a:custGeom>
            <a:avLst/>
            <a:gdLst/>
            <a:ahLst/>
            <a:cxnLst/>
            <a:rect l="l" t="t" r="r" b="b"/>
            <a:pathLst>
              <a:path w="130625" h="224517">
                <a:moveTo>
                  <a:pt x="24492" y="61232"/>
                </a:moveTo>
                <a:lnTo>
                  <a:pt x="106135" y="61232"/>
                </a:lnTo>
                <a:cubicBezTo>
                  <a:pt x="112939" y="61232"/>
                  <a:pt x="118722" y="63613"/>
                  <a:pt x="123485" y="68375"/>
                </a:cubicBezTo>
                <a:cubicBezTo>
                  <a:pt x="128247" y="73138"/>
                  <a:pt x="130628" y="78921"/>
                  <a:pt x="130628" y="85725"/>
                </a:cubicBezTo>
                <a:lnTo>
                  <a:pt x="130628" y="138792"/>
                </a:lnTo>
                <a:cubicBezTo>
                  <a:pt x="130628" y="142194"/>
                  <a:pt x="129438" y="145086"/>
                  <a:pt x="127056" y="147467"/>
                </a:cubicBezTo>
                <a:cubicBezTo>
                  <a:pt x="124675" y="149848"/>
                  <a:pt x="121784" y="151039"/>
                  <a:pt x="118382" y="151039"/>
                </a:cubicBezTo>
                <a:cubicBezTo>
                  <a:pt x="114980" y="151039"/>
                  <a:pt x="112089" y="149848"/>
                  <a:pt x="109707" y="147467"/>
                </a:cubicBezTo>
                <a:cubicBezTo>
                  <a:pt x="107326" y="145086"/>
                  <a:pt x="106135" y="142194"/>
                  <a:pt x="106135" y="138792"/>
                </a:cubicBezTo>
                <a:lnTo>
                  <a:pt x="106135" y="93889"/>
                </a:lnTo>
                <a:lnTo>
                  <a:pt x="97971" y="93889"/>
                </a:lnTo>
                <a:lnTo>
                  <a:pt x="97971" y="210230"/>
                </a:lnTo>
                <a:cubicBezTo>
                  <a:pt x="97971" y="214142"/>
                  <a:pt x="96568" y="217501"/>
                  <a:pt x="93761" y="220308"/>
                </a:cubicBezTo>
                <a:cubicBezTo>
                  <a:pt x="90955" y="223114"/>
                  <a:pt x="87596" y="224517"/>
                  <a:pt x="83684" y="224517"/>
                </a:cubicBezTo>
                <a:cubicBezTo>
                  <a:pt x="79772" y="224517"/>
                  <a:pt x="76412" y="223114"/>
                  <a:pt x="73606" y="220308"/>
                </a:cubicBezTo>
                <a:cubicBezTo>
                  <a:pt x="70799" y="217501"/>
                  <a:pt x="69396" y="214142"/>
                  <a:pt x="69396" y="210230"/>
                </a:cubicBezTo>
                <a:lnTo>
                  <a:pt x="69396" y="151039"/>
                </a:lnTo>
                <a:lnTo>
                  <a:pt x="61232" y="151039"/>
                </a:lnTo>
                <a:lnTo>
                  <a:pt x="61232" y="210230"/>
                </a:lnTo>
                <a:cubicBezTo>
                  <a:pt x="61232" y="214142"/>
                  <a:pt x="59829" y="217501"/>
                  <a:pt x="57022" y="220308"/>
                </a:cubicBezTo>
                <a:cubicBezTo>
                  <a:pt x="54216" y="223114"/>
                  <a:pt x="50856" y="224517"/>
                  <a:pt x="46944" y="224517"/>
                </a:cubicBezTo>
                <a:cubicBezTo>
                  <a:pt x="43032" y="224517"/>
                  <a:pt x="39673" y="223114"/>
                  <a:pt x="36866" y="220308"/>
                </a:cubicBezTo>
                <a:cubicBezTo>
                  <a:pt x="34060" y="217501"/>
                  <a:pt x="32657" y="214142"/>
                  <a:pt x="32657" y="210230"/>
                </a:cubicBezTo>
                <a:lnTo>
                  <a:pt x="32657" y="93889"/>
                </a:lnTo>
                <a:lnTo>
                  <a:pt x="24492" y="93889"/>
                </a:lnTo>
                <a:lnTo>
                  <a:pt x="24492" y="138792"/>
                </a:lnTo>
                <a:cubicBezTo>
                  <a:pt x="24492" y="142194"/>
                  <a:pt x="23302" y="145086"/>
                  <a:pt x="20921" y="147467"/>
                </a:cubicBezTo>
                <a:cubicBezTo>
                  <a:pt x="18539" y="149848"/>
                  <a:pt x="15648" y="151039"/>
                  <a:pt x="12246" y="151039"/>
                </a:cubicBezTo>
                <a:cubicBezTo>
                  <a:pt x="8844" y="151039"/>
                  <a:pt x="5953" y="149848"/>
                  <a:pt x="3572" y="147467"/>
                </a:cubicBezTo>
                <a:cubicBezTo>
                  <a:pt x="1190" y="145086"/>
                  <a:pt x="0" y="142194"/>
                  <a:pt x="0" y="138792"/>
                </a:cubicBezTo>
                <a:lnTo>
                  <a:pt x="0" y="85725"/>
                </a:lnTo>
                <a:cubicBezTo>
                  <a:pt x="0" y="78921"/>
                  <a:pt x="2381" y="73138"/>
                  <a:pt x="7143" y="68375"/>
                </a:cubicBezTo>
                <a:cubicBezTo>
                  <a:pt x="11906" y="63613"/>
                  <a:pt x="17689" y="61232"/>
                  <a:pt x="24492" y="61232"/>
                </a:cubicBezTo>
                <a:close/>
                <a:moveTo>
                  <a:pt x="65314" y="0"/>
                </a:moveTo>
                <a:cubicBezTo>
                  <a:pt x="73223" y="0"/>
                  <a:pt x="79963" y="2785"/>
                  <a:pt x="85533" y="8355"/>
                </a:cubicBezTo>
                <a:cubicBezTo>
                  <a:pt x="91104" y="13926"/>
                  <a:pt x="93889" y="20665"/>
                  <a:pt x="93889" y="28575"/>
                </a:cubicBezTo>
                <a:cubicBezTo>
                  <a:pt x="93889" y="36484"/>
                  <a:pt x="91104" y="43223"/>
                  <a:pt x="85533" y="48794"/>
                </a:cubicBezTo>
                <a:cubicBezTo>
                  <a:pt x="79963" y="54364"/>
                  <a:pt x="73223" y="57150"/>
                  <a:pt x="65314" y="57150"/>
                </a:cubicBezTo>
                <a:cubicBezTo>
                  <a:pt x="57405" y="57150"/>
                  <a:pt x="50665" y="54364"/>
                  <a:pt x="45095" y="48794"/>
                </a:cubicBezTo>
                <a:cubicBezTo>
                  <a:pt x="39524" y="43223"/>
                  <a:pt x="36739" y="36484"/>
                  <a:pt x="36739" y="28575"/>
                </a:cubicBezTo>
                <a:cubicBezTo>
                  <a:pt x="36739" y="20665"/>
                  <a:pt x="39524" y="13926"/>
                  <a:pt x="45095" y="8355"/>
                </a:cubicBezTo>
                <a:cubicBezTo>
                  <a:pt x="50665" y="2785"/>
                  <a:pt x="57405" y="0"/>
                  <a:pt x="6531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ctr"/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69" name="Rectangle 36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711790" y="3480174"/>
            <a:ext cx="1583414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b="1" dirty="0">
                <a:solidFill>
                  <a:schemeClr val="accent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1885,25k</a:t>
            </a:r>
            <a:endParaRPr lang="en-US" sz="900" dirty="0">
              <a:solidFill>
                <a:schemeClr val="bg1">
                  <a:lumMod val="65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Conveniently iterate top-line alignments for</a:t>
            </a:r>
          </a:p>
        </p:txBody>
      </p:sp>
      <p:grpSp>
        <p:nvGrpSpPr>
          <p:cNvPr id="370" name="Group 36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6718252" y="4939568"/>
            <a:ext cx="1172116" cy="433104"/>
            <a:chOff x="6718252" y="4939568"/>
            <a:chExt cx="1172116" cy="433104"/>
          </a:xfrm>
        </p:grpSpPr>
        <p:sp>
          <p:nvSpPr>
            <p:cNvPr id="371" name="TextBox 370"/>
            <p:cNvSpPr txBox="1"/>
            <p:nvPr/>
          </p:nvSpPr>
          <p:spPr>
            <a:xfrm>
              <a:off x="6718252" y="4939568"/>
              <a:ext cx="1172116" cy="230832"/>
            </a:xfrm>
            <a:prstGeom prst="rect">
              <a:avLst/>
            </a:prstGeom>
            <a:solidFill>
              <a:schemeClr val="accent6"/>
            </a:solidFill>
          </p:spPr>
          <p:txBody>
            <a:bodyPr wrap="none" rtlCol="0">
              <a:spAutoFit/>
            </a:bodyPr>
            <a:lstStyle/>
            <a:p>
              <a:r>
                <a:rPr lang="en-US" sz="900" dirty="0">
                  <a:solidFill>
                    <a:schemeClr val="bg1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rPr>
                <a:t>TEXT GOES HERE</a:t>
              </a:r>
            </a:p>
          </p:txBody>
        </p:sp>
        <p:sp>
          <p:nvSpPr>
            <p:cNvPr id="372" name="Right Triangle 371"/>
            <p:cNvSpPr/>
            <p:nvPr/>
          </p:nvSpPr>
          <p:spPr>
            <a:xfrm flipV="1">
              <a:off x="6718252" y="5167000"/>
              <a:ext cx="152090" cy="205672"/>
            </a:xfrm>
            <a:prstGeom prst="rt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</p:grpSp>
      <p:sp>
        <p:nvSpPr>
          <p:cNvPr id="373" name="TextBox 37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6718252" y="4636700"/>
            <a:ext cx="766172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BRAZIL</a:t>
            </a:r>
          </a:p>
        </p:txBody>
      </p:sp>
      <p:sp>
        <p:nvSpPr>
          <p:cNvPr id="374" name="Freeform 37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720902" y="5462378"/>
            <a:ext cx="214160" cy="368087"/>
          </a:xfrm>
          <a:custGeom>
            <a:avLst/>
            <a:gdLst/>
            <a:ahLst/>
            <a:cxnLst/>
            <a:rect l="l" t="t" r="r" b="b"/>
            <a:pathLst>
              <a:path w="130625" h="224517">
                <a:moveTo>
                  <a:pt x="24492" y="61232"/>
                </a:moveTo>
                <a:lnTo>
                  <a:pt x="106135" y="61232"/>
                </a:lnTo>
                <a:cubicBezTo>
                  <a:pt x="112939" y="61232"/>
                  <a:pt x="118722" y="63613"/>
                  <a:pt x="123485" y="68375"/>
                </a:cubicBezTo>
                <a:cubicBezTo>
                  <a:pt x="128247" y="73138"/>
                  <a:pt x="130628" y="78921"/>
                  <a:pt x="130628" y="85725"/>
                </a:cubicBezTo>
                <a:lnTo>
                  <a:pt x="130628" y="138792"/>
                </a:lnTo>
                <a:cubicBezTo>
                  <a:pt x="130628" y="142194"/>
                  <a:pt x="129438" y="145086"/>
                  <a:pt x="127056" y="147467"/>
                </a:cubicBezTo>
                <a:cubicBezTo>
                  <a:pt x="124675" y="149848"/>
                  <a:pt x="121784" y="151039"/>
                  <a:pt x="118382" y="151039"/>
                </a:cubicBezTo>
                <a:cubicBezTo>
                  <a:pt x="114980" y="151039"/>
                  <a:pt x="112089" y="149848"/>
                  <a:pt x="109707" y="147467"/>
                </a:cubicBezTo>
                <a:cubicBezTo>
                  <a:pt x="107326" y="145086"/>
                  <a:pt x="106135" y="142194"/>
                  <a:pt x="106135" y="138792"/>
                </a:cubicBezTo>
                <a:lnTo>
                  <a:pt x="106135" y="93889"/>
                </a:lnTo>
                <a:lnTo>
                  <a:pt x="97971" y="93889"/>
                </a:lnTo>
                <a:lnTo>
                  <a:pt x="97971" y="210230"/>
                </a:lnTo>
                <a:cubicBezTo>
                  <a:pt x="97971" y="214142"/>
                  <a:pt x="96568" y="217501"/>
                  <a:pt x="93761" y="220308"/>
                </a:cubicBezTo>
                <a:cubicBezTo>
                  <a:pt x="90955" y="223114"/>
                  <a:pt x="87596" y="224517"/>
                  <a:pt x="83684" y="224517"/>
                </a:cubicBezTo>
                <a:cubicBezTo>
                  <a:pt x="79772" y="224517"/>
                  <a:pt x="76412" y="223114"/>
                  <a:pt x="73606" y="220308"/>
                </a:cubicBezTo>
                <a:cubicBezTo>
                  <a:pt x="70799" y="217501"/>
                  <a:pt x="69396" y="214142"/>
                  <a:pt x="69396" y="210230"/>
                </a:cubicBezTo>
                <a:lnTo>
                  <a:pt x="69396" y="151039"/>
                </a:lnTo>
                <a:lnTo>
                  <a:pt x="61232" y="151039"/>
                </a:lnTo>
                <a:lnTo>
                  <a:pt x="61232" y="210230"/>
                </a:lnTo>
                <a:cubicBezTo>
                  <a:pt x="61232" y="214142"/>
                  <a:pt x="59829" y="217501"/>
                  <a:pt x="57022" y="220308"/>
                </a:cubicBezTo>
                <a:cubicBezTo>
                  <a:pt x="54216" y="223114"/>
                  <a:pt x="50856" y="224517"/>
                  <a:pt x="46944" y="224517"/>
                </a:cubicBezTo>
                <a:cubicBezTo>
                  <a:pt x="43032" y="224517"/>
                  <a:pt x="39673" y="223114"/>
                  <a:pt x="36866" y="220308"/>
                </a:cubicBezTo>
                <a:cubicBezTo>
                  <a:pt x="34060" y="217501"/>
                  <a:pt x="32657" y="214142"/>
                  <a:pt x="32657" y="210230"/>
                </a:cubicBezTo>
                <a:lnTo>
                  <a:pt x="32657" y="93889"/>
                </a:lnTo>
                <a:lnTo>
                  <a:pt x="24492" y="93889"/>
                </a:lnTo>
                <a:lnTo>
                  <a:pt x="24492" y="138792"/>
                </a:lnTo>
                <a:cubicBezTo>
                  <a:pt x="24492" y="142194"/>
                  <a:pt x="23302" y="145086"/>
                  <a:pt x="20921" y="147467"/>
                </a:cubicBezTo>
                <a:cubicBezTo>
                  <a:pt x="18539" y="149848"/>
                  <a:pt x="15648" y="151039"/>
                  <a:pt x="12246" y="151039"/>
                </a:cubicBezTo>
                <a:cubicBezTo>
                  <a:pt x="8844" y="151039"/>
                  <a:pt x="5953" y="149848"/>
                  <a:pt x="3572" y="147467"/>
                </a:cubicBezTo>
                <a:cubicBezTo>
                  <a:pt x="1190" y="145086"/>
                  <a:pt x="0" y="142194"/>
                  <a:pt x="0" y="138792"/>
                </a:cubicBezTo>
                <a:lnTo>
                  <a:pt x="0" y="85725"/>
                </a:lnTo>
                <a:cubicBezTo>
                  <a:pt x="0" y="78921"/>
                  <a:pt x="2381" y="73138"/>
                  <a:pt x="7143" y="68375"/>
                </a:cubicBezTo>
                <a:cubicBezTo>
                  <a:pt x="11906" y="63613"/>
                  <a:pt x="17689" y="61232"/>
                  <a:pt x="24492" y="61232"/>
                </a:cubicBezTo>
                <a:close/>
                <a:moveTo>
                  <a:pt x="65314" y="0"/>
                </a:moveTo>
                <a:cubicBezTo>
                  <a:pt x="73223" y="0"/>
                  <a:pt x="79963" y="2785"/>
                  <a:pt x="85533" y="8355"/>
                </a:cubicBezTo>
                <a:cubicBezTo>
                  <a:pt x="91104" y="13926"/>
                  <a:pt x="93889" y="20665"/>
                  <a:pt x="93889" y="28575"/>
                </a:cubicBezTo>
                <a:cubicBezTo>
                  <a:pt x="93889" y="36484"/>
                  <a:pt x="91104" y="43223"/>
                  <a:pt x="85533" y="48794"/>
                </a:cubicBezTo>
                <a:cubicBezTo>
                  <a:pt x="79963" y="54364"/>
                  <a:pt x="73223" y="57150"/>
                  <a:pt x="65314" y="57150"/>
                </a:cubicBezTo>
                <a:cubicBezTo>
                  <a:pt x="57405" y="57150"/>
                  <a:pt x="50665" y="54364"/>
                  <a:pt x="45095" y="48794"/>
                </a:cubicBezTo>
                <a:cubicBezTo>
                  <a:pt x="39524" y="43223"/>
                  <a:pt x="36739" y="36484"/>
                  <a:pt x="36739" y="28575"/>
                </a:cubicBezTo>
                <a:cubicBezTo>
                  <a:pt x="36739" y="20665"/>
                  <a:pt x="39524" y="13926"/>
                  <a:pt x="45095" y="8355"/>
                </a:cubicBezTo>
                <a:cubicBezTo>
                  <a:pt x="50665" y="2785"/>
                  <a:pt x="57405" y="0"/>
                  <a:pt x="65314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ctr"/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75" name="Rectangle 37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987043" y="5415653"/>
            <a:ext cx="1583414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b="1" dirty="0">
                <a:solidFill>
                  <a:schemeClr val="accent6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5890,45k</a:t>
            </a:r>
            <a:endParaRPr lang="en-US" sz="900" dirty="0">
              <a:solidFill>
                <a:schemeClr val="accent6"/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Conveniently iterate top-line alignments for</a:t>
            </a:r>
          </a:p>
        </p:txBody>
      </p:sp>
      <p:grpSp>
        <p:nvGrpSpPr>
          <p:cNvPr id="376" name="Group 37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10451201" y="3068964"/>
            <a:ext cx="1172116" cy="433104"/>
            <a:chOff x="9474094" y="3271822"/>
            <a:chExt cx="1172116" cy="433104"/>
          </a:xfrm>
        </p:grpSpPr>
        <p:sp>
          <p:nvSpPr>
            <p:cNvPr id="377" name="TextBox 376"/>
            <p:cNvSpPr txBox="1"/>
            <p:nvPr/>
          </p:nvSpPr>
          <p:spPr>
            <a:xfrm>
              <a:off x="9474094" y="3271822"/>
              <a:ext cx="1172116" cy="230832"/>
            </a:xfrm>
            <a:prstGeom prst="rect">
              <a:avLst/>
            </a:prstGeom>
            <a:solidFill>
              <a:schemeClr val="accent3"/>
            </a:solidFill>
          </p:spPr>
          <p:txBody>
            <a:bodyPr wrap="none" rtlCol="0">
              <a:spAutoFit/>
            </a:bodyPr>
            <a:lstStyle/>
            <a:p>
              <a:r>
                <a:rPr lang="en-US" sz="900" dirty="0">
                  <a:solidFill>
                    <a:schemeClr val="bg1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rPr>
                <a:t>TEXT GOES HERE</a:t>
              </a:r>
            </a:p>
          </p:txBody>
        </p:sp>
        <p:sp>
          <p:nvSpPr>
            <p:cNvPr id="378" name="Right Triangle 377"/>
            <p:cNvSpPr/>
            <p:nvPr/>
          </p:nvSpPr>
          <p:spPr>
            <a:xfrm flipV="1">
              <a:off x="9474094" y="3499254"/>
              <a:ext cx="152090" cy="205672"/>
            </a:xfrm>
            <a:prstGeom prst="rt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</p:grpSp>
      <p:sp>
        <p:nvSpPr>
          <p:cNvPr id="379" name="TextBox 37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10451201" y="2766096"/>
            <a:ext cx="1120820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MONGOLIA</a:t>
            </a:r>
          </a:p>
        </p:txBody>
      </p:sp>
      <p:sp>
        <p:nvSpPr>
          <p:cNvPr id="380" name="Freeform 37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0453851" y="3591774"/>
            <a:ext cx="214160" cy="368087"/>
          </a:xfrm>
          <a:custGeom>
            <a:avLst/>
            <a:gdLst/>
            <a:ahLst/>
            <a:cxnLst/>
            <a:rect l="l" t="t" r="r" b="b"/>
            <a:pathLst>
              <a:path w="130625" h="224517">
                <a:moveTo>
                  <a:pt x="24492" y="61232"/>
                </a:moveTo>
                <a:lnTo>
                  <a:pt x="106135" y="61232"/>
                </a:lnTo>
                <a:cubicBezTo>
                  <a:pt x="112939" y="61232"/>
                  <a:pt x="118722" y="63613"/>
                  <a:pt x="123485" y="68375"/>
                </a:cubicBezTo>
                <a:cubicBezTo>
                  <a:pt x="128247" y="73138"/>
                  <a:pt x="130628" y="78921"/>
                  <a:pt x="130628" y="85725"/>
                </a:cubicBezTo>
                <a:lnTo>
                  <a:pt x="130628" y="138792"/>
                </a:lnTo>
                <a:cubicBezTo>
                  <a:pt x="130628" y="142194"/>
                  <a:pt x="129438" y="145086"/>
                  <a:pt x="127056" y="147467"/>
                </a:cubicBezTo>
                <a:cubicBezTo>
                  <a:pt x="124675" y="149848"/>
                  <a:pt x="121784" y="151039"/>
                  <a:pt x="118382" y="151039"/>
                </a:cubicBezTo>
                <a:cubicBezTo>
                  <a:pt x="114980" y="151039"/>
                  <a:pt x="112089" y="149848"/>
                  <a:pt x="109707" y="147467"/>
                </a:cubicBezTo>
                <a:cubicBezTo>
                  <a:pt x="107326" y="145086"/>
                  <a:pt x="106135" y="142194"/>
                  <a:pt x="106135" y="138792"/>
                </a:cubicBezTo>
                <a:lnTo>
                  <a:pt x="106135" y="93889"/>
                </a:lnTo>
                <a:lnTo>
                  <a:pt x="97971" y="93889"/>
                </a:lnTo>
                <a:lnTo>
                  <a:pt x="97971" y="210230"/>
                </a:lnTo>
                <a:cubicBezTo>
                  <a:pt x="97971" y="214142"/>
                  <a:pt x="96568" y="217501"/>
                  <a:pt x="93761" y="220308"/>
                </a:cubicBezTo>
                <a:cubicBezTo>
                  <a:pt x="90955" y="223114"/>
                  <a:pt x="87596" y="224517"/>
                  <a:pt x="83684" y="224517"/>
                </a:cubicBezTo>
                <a:cubicBezTo>
                  <a:pt x="79772" y="224517"/>
                  <a:pt x="76412" y="223114"/>
                  <a:pt x="73606" y="220308"/>
                </a:cubicBezTo>
                <a:cubicBezTo>
                  <a:pt x="70799" y="217501"/>
                  <a:pt x="69396" y="214142"/>
                  <a:pt x="69396" y="210230"/>
                </a:cubicBezTo>
                <a:lnTo>
                  <a:pt x="69396" y="151039"/>
                </a:lnTo>
                <a:lnTo>
                  <a:pt x="61232" y="151039"/>
                </a:lnTo>
                <a:lnTo>
                  <a:pt x="61232" y="210230"/>
                </a:lnTo>
                <a:cubicBezTo>
                  <a:pt x="61232" y="214142"/>
                  <a:pt x="59829" y="217501"/>
                  <a:pt x="57022" y="220308"/>
                </a:cubicBezTo>
                <a:cubicBezTo>
                  <a:pt x="54216" y="223114"/>
                  <a:pt x="50856" y="224517"/>
                  <a:pt x="46944" y="224517"/>
                </a:cubicBezTo>
                <a:cubicBezTo>
                  <a:pt x="43032" y="224517"/>
                  <a:pt x="39673" y="223114"/>
                  <a:pt x="36866" y="220308"/>
                </a:cubicBezTo>
                <a:cubicBezTo>
                  <a:pt x="34060" y="217501"/>
                  <a:pt x="32657" y="214142"/>
                  <a:pt x="32657" y="210230"/>
                </a:cubicBezTo>
                <a:lnTo>
                  <a:pt x="32657" y="93889"/>
                </a:lnTo>
                <a:lnTo>
                  <a:pt x="24492" y="93889"/>
                </a:lnTo>
                <a:lnTo>
                  <a:pt x="24492" y="138792"/>
                </a:lnTo>
                <a:cubicBezTo>
                  <a:pt x="24492" y="142194"/>
                  <a:pt x="23302" y="145086"/>
                  <a:pt x="20921" y="147467"/>
                </a:cubicBezTo>
                <a:cubicBezTo>
                  <a:pt x="18539" y="149848"/>
                  <a:pt x="15648" y="151039"/>
                  <a:pt x="12246" y="151039"/>
                </a:cubicBezTo>
                <a:cubicBezTo>
                  <a:pt x="8844" y="151039"/>
                  <a:pt x="5953" y="149848"/>
                  <a:pt x="3572" y="147467"/>
                </a:cubicBezTo>
                <a:cubicBezTo>
                  <a:pt x="1190" y="145086"/>
                  <a:pt x="0" y="142194"/>
                  <a:pt x="0" y="138792"/>
                </a:cubicBezTo>
                <a:lnTo>
                  <a:pt x="0" y="85725"/>
                </a:lnTo>
                <a:cubicBezTo>
                  <a:pt x="0" y="78921"/>
                  <a:pt x="2381" y="73138"/>
                  <a:pt x="7143" y="68375"/>
                </a:cubicBezTo>
                <a:cubicBezTo>
                  <a:pt x="11906" y="63613"/>
                  <a:pt x="17689" y="61232"/>
                  <a:pt x="24492" y="61232"/>
                </a:cubicBezTo>
                <a:close/>
                <a:moveTo>
                  <a:pt x="65314" y="0"/>
                </a:moveTo>
                <a:cubicBezTo>
                  <a:pt x="73223" y="0"/>
                  <a:pt x="79963" y="2785"/>
                  <a:pt x="85533" y="8355"/>
                </a:cubicBezTo>
                <a:cubicBezTo>
                  <a:pt x="91104" y="13926"/>
                  <a:pt x="93889" y="20665"/>
                  <a:pt x="93889" y="28575"/>
                </a:cubicBezTo>
                <a:cubicBezTo>
                  <a:pt x="93889" y="36484"/>
                  <a:pt x="91104" y="43223"/>
                  <a:pt x="85533" y="48794"/>
                </a:cubicBezTo>
                <a:cubicBezTo>
                  <a:pt x="79963" y="54364"/>
                  <a:pt x="73223" y="57150"/>
                  <a:pt x="65314" y="57150"/>
                </a:cubicBezTo>
                <a:cubicBezTo>
                  <a:pt x="57405" y="57150"/>
                  <a:pt x="50665" y="54364"/>
                  <a:pt x="45095" y="48794"/>
                </a:cubicBezTo>
                <a:cubicBezTo>
                  <a:pt x="39524" y="43223"/>
                  <a:pt x="36739" y="36484"/>
                  <a:pt x="36739" y="28575"/>
                </a:cubicBezTo>
                <a:cubicBezTo>
                  <a:pt x="36739" y="20665"/>
                  <a:pt x="39524" y="13926"/>
                  <a:pt x="45095" y="8355"/>
                </a:cubicBezTo>
                <a:cubicBezTo>
                  <a:pt x="50665" y="2785"/>
                  <a:pt x="57405" y="0"/>
                  <a:pt x="6531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ctr"/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81" name="Rectangle 38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0719992" y="3545049"/>
            <a:ext cx="1583414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b="1" dirty="0">
                <a:solidFill>
                  <a:schemeClr val="accent3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1502,05k</a:t>
            </a:r>
            <a:endParaRPr lang="en-US" sz="900" dirty="0">
              <a:solidFill>
                <a:schemeClr val="accent3"/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Conveniently iterate top-line alignments for</a:t>
            </a:r>
          </a:p>
        </p:txBody>
      </p:sp>
      <p:grpSp>
        <p:nvGrpSpPr>
          <p:cNvPr id="382" name="Group 38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9572508" y="5184867"/>
            <a:ext cx="1172116" cy="433104"/>
            <a:chOff x="9572508" y="5184867"/>
            <a:chExt cx="1172116" cy="433104"/>
          </a:xfrm>
        </p:grpSpPr>
        <p:sp>
          <p:nvSpPr>
            <p:cNvPr id="383" name="TextBox 382"/>
            <p:cNvSpPr txBox="1"/>
            <p:nvPr/>
          </p:nvSpPr>
          <p:spPr>
            <a:xfrm>
              <a:off x="9572508" y="5184867"/>
              <a:ext cx="1172116" cy="230832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rtlCol="0">
              <a:spAutoFit/>
            </a:bodyPr>
            <a:lstStyle/>
            <a:p>
              <a:r>
                <a:rPr lang="en-US" sz="900" dirty="0">
                  <a:solidFill>
                    <a:schemeClr val="bg1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rPr>
                <a:t>TEXT GOES HERE</a:t>
              </a:r>
            </a:p>
          </p:txBody>
        </p:sp>
        <p:sp>
          <p:nvSpPr>
            <p:cNvPr id="384" name="Right Triangle 383"/>
            <p:cNvSpPr/>
            <p:nvPr/>
          </p:nvSpPr>
          <p:spPr>
            <a:xfrm flipV="1">
              <a:off x="9572508" y="5412299"/>
              <a:ext cx="152090" cy="205672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</p:grpSp>
      <p:sp>
        <p:nvSpPr>
          <p:cNvPr id="385" name="TextBox 38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9572508" y="4881999"/>
            <a:ext cx="1138453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AUSTRALIA</a:t>
            </a:r>
          </a:p>
        </p:txBody>
      </p:sp>
      <p:sp>
        <p:nvSpPr>
          <p:cNvPr id="386" name="Freeform 38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575158" y="5707677"/>
            <a:ext cx="214160" cy="368087"/>
          </a:xfrm>
          <a:custGeom>
            <a:avLst/>
            <a:gdLst/>
            <a:ahLst/>
            <a:cxnLst/>
            <a:rect l="l" t="t" r="r" b="b"/>
            <a:pathLst>
              <a:path w="130625" h="224517">
                <a:moveTo>
                  <a:pt x="24492" y="61232"/>
                </a:moveTo>
                <a:lnTo>
                  <a:pt x="106135" y="61232"/>
                </a:lnTo>
                <a:cubicBezTo>
                  <a:pt x="112939" y="61232"/>
                  <a:pt x="118722" y="63613"/>
                  <a:pt x="123485" y="68375"/>
                </a:cubicBezTo>
                <a:cubicBezTo>
                  <a:pt x="128247" y="73138"/>
                  <a:pt x="130628" y="78921"/>
                  <a:pt x="130628" y="85725"/>
                </a:cubicBezTo>
                <a:lnTo>
                  <a:pt x="130628" y="138792"/>
                </a:lnTo>
                <a:cubicBezTo>
                  <a:pt x="130628" y="142194"/>
                  <a:pt x="129438" y="145086"/>
                  <a:pt x="127056" y="147467"/>
                </a:cubicBezTo>
                <a:cubicBezTo>
                  <a:pt x="124675" y="149848"/>
                  <a:pt x="121784" y="151039"/>
                  <a:pt x="118382" y="151039"/>
                </a:cubicBezTo>
                <a:cubicBezTo>
                  <a:pt x="114980" y="151039"/>
                  <a:pt x="112089" y="149848"/>
                  <a:pt x="109707" y="147467"/>
                </a:cubicBezTo>
                <a:cubicBezTo>
                  <a:pt x="107326" y="145086"/>
                  <a:pt x="106135" y="142194"/>
                  <a:pt x="106135" y="138792"/>
                </a:cubicBezTo>
                <a:lnTo>
                  <a:pt x="106135" y="93889"/>
                </a:lnTo>
                <a:lnTo>
                  <a:pt x="97971" y="93889"/>
                </a:lnTo>
                <a:lnTo>
                  <a:pt x="97971" y="210230"/>
                </a:lnTo>
                <a:cubicBezTo>
                  <a:pt x="97971" y="214142"/>
                  <a:pt x="96568" y="217501"/>
                  <a:pt x="93761" y="220308"/>
                </a:cubicBezTo>
                <a:cubicBezTo>
                  <a:pt x="90955" y="223114"/>
                  <a:pt x="87596" y="224517"/>
                  <a:pt x="83684" y="224517"/>
                </a:cubicBezTo>
                <a:cubicBezTo>
                  <a:pt x="79772" y="224517"/>
                  <a:pt x="76412" y="223114"/>
                  <a:pt x="73606" y="220308"/>
                </a:cubicBezTo>
                <a:cubicBezTo>
                  <a:pt x="70799" y="217501"/>
                  <a:pt x="69396" y="214142"/>
                  <a:pt x="69396" y="210230"/>
                </a:cubicBezTo>
                <a:lnTo>
                  <a:pt x="69396" y="151039"/>
                </a:lnTo>
                <a:lnTo>
                  <a:pt x="61232" y="151039"/>
                </a:lnTo>
                <a:lnTo>
                  <a:pt x="61232" y="210230"/>
                </a:lnTo>
                <a:cubicBezTo>
                  <a:pt x="61232" y="214142"/>
                  <a:pt x="59829" y="217501"/>
                  <a:pt x="57022" y="220308"/>
                </a:cubicBezTo>
                <a:cubicBezTo>
                  <a:pt x="54216" y="223114"/>
                  <a:pt x="50856" y="224517"/>
                  <a:pt x="46944" y="224517"/>
                </a:cubicBezTo>
                <a:cubicBezTo>
                  <a:pt x="43032" y="224517"/>
                  <a:pt x="39673" y="223114"/>
                  <a:pt x="36866" y="220308"/>
                </a:cubicBezTo>
                <a:cubicBezTo>
                  <a:pt x="34060" y="217501"/>
                  <a:pt x="32657" y="214142"/>
                  <a:pt x="32657" y="210230"/>
                </a:cubicBezTo>
                <a:lnTo>
                  <a:pt x="32657" y="93889"/>
                </a:lnTo>
                <a:lnTo>
                  <a:pt x="24492" y="93889"/>
                </a:lnTo>
                <a:lnTo>
                  <a:pt x="24492" y="138792"/>
                </a:lnTo>
                <a:cubicBezTo>
                  <a:pt x="24492" y="142194"/>
                  <a:pt x="23302" y="145086"/>
                  <a:pt x="20921" y="147467"/>
                </a:cubicBezTo>
                <a:cubicBezTo>
                  <a:pt x="18539" y="149848"/>
                  <a:pt x="15648" y="151039"/>
                  <a:pt x="12246" y="151039"/>
                </a:cubicBezTo>
                <a:cubicBezTo>
                  <a:pt x="8844" y="151039"/>
                  <a:pt x="5953" y="149848"/>
                  <a:pt x="3572" y="147467"/>
                </a:cubicBezTo>
                <a:cubicBezTo>
                  <a:pt x="1190" y="145086"/>
                  <a:pt x="0" y="142194"/>
                  <a:pt x="0" y="138792"/>
                </a:cubicBezTo>
                <a:lnTo>
                  <a:pt x="0" y="85725"/>
                </a:lnTo>
                <a:cubicBezTo>
                  <a:pt x="0" y="78921"/>
                  <a:pt x="2381" y="73138"/>
                  <a:pt x="7143" y="68375"/>
                </a:cubicBezTo>
                <a:cubicBezTo>
                  <a:pt x="11906" y="63613"/>
                  <a:pt x="17689" y="61232"/>
                  <a:pt x="24492" y="61232"/>
                </a:cubicBezTo>
                <a:close/>
                <a:moveTo>
                  <a:pt x="65314" y="0"/>
                </a:moveTo>
                <a:cubicBezTo>
                  <a:pt x="73223" y="0"/>
                  <a:pt x="79963" y="2785"/>
                  <a:pt x="85533" y="8355"/>
                </a:cubicBezTo>
                <a:cubicBezTo>
                  <a:pt x="91104" y="13926"/>
                  <a:pt x="93889" y="20665"/>
                  <a:pt x="93889" y="28575"/>
                </a:cubicBezTo>
                <a:cubicBezTo>
                  <a:pt x="93889" y="36484"/>
                  <a:pt x="91104" y="43223"/>
                  <a:pt x="85533" y="48794"/>
                </a:cubicBezTo>
                <a:cubicBezTo>
                  <a:pt x="79963" y="54364"/>
                  <a:pt x="73223" y="57150"/>
                  <a:pt x="65314" y="57150"/>
                </a:cubicBezTo>
                <a:cubicBezTo>
                  <a:pt x="57405" y="57150"/>
                  <a:pt x="50665" y="54364"/>
                  <a:pt x="45095" y="48794"/>
                </a:cubicBezTo>
                <a:cubicBezTo>
                  <a:pt x="39524" y="43223"/>
                  <a:pt x="36739" y="36484"/>
                  <a:pt x="36739" y="28575"/>
                </a:cubicBezTo>
                <a:cubicBezTo>
                  <a:pt x="36739" y="20665"/>
                  <a:pt x="39524" y="13926"/>
                  <a:pt x="45095" y="8355"/>
                </a:cubicBezTo>
                <a:cubicBezTo>
                  <a:pt x="50665" y="2785"/>
                  <a:pt x="57405" y="0"/>
                  <a:pt x="6531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ctr"/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87" name="Rectangle 38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841299" y="5660952"/>
            <a:ext cx="1583414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b="1" dirty="0">
                <a:solidFill>
                  <a:schemeClr val="accent2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6987,25k</a:t>
            </a:r>
            <a:endParaRPr lang="en-US" sz="900" dirty="0">
              <a:solidFill>
                <a:schemeClr val="accent2"/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Conveniently iterate top-line alignments for</a:t>
            </a:r>
          </a:p>
        </p:txBody>
      </p:sp>
      <p:sp>
        <p:nvSpPr>
          <p:cNvPr id="388" name="TextBox 38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523668" y="1596616"/>
            <a:ext cx="3777849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World amp: </a:t>
            </a: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infographic</a:t>
            </a:r>
          </a:p>
          <a:p>
            <a:pPr algn="just"/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Analysis</a:t>
            </a:r>
          </a:p>
          <a:p>
            <a:pPr algn="just"/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  <a:p>
            <a:pPr algn="just"/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| MARKETING TEAM</a:t>
            </a:r>
          </a:p>
          <a:p>
            <a:pPr algn="just"/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89" name="Rectangle 38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2384" y="4359574"/>
            <a:ext cx="4572000" cy="7442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90" name="Rectangle 38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5623" y="4359574"/>
            <a:ext cx="3566160" cy="7442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91" name="TextBox 39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527790" y="4128742"/>
            <a:ext cx="131318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Design &amp; Illustration</a:t>
            </a:r>
          </a:p>
        </p:txBody>
      </p:sp>
      <p:sp>
        <p:nvSpPr>
          <p:cNvPr id="392" name="TextBox 39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4813417" y="4128742"/>
            <a:ext cx="41870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80%</a:t>
            </a:r>
          </a:p>
        </p:txBody>
      </p:sp>
      <p:sp>
        <p:nvSpPr>
          <p:cNvPr id="393" name="Rectangle 39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2384" y="4828288"/>
            <a:ext cx="4572000" cy="7442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94" name="Rectangle 39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5623" y="4828288"/>
            <a:ext cx="2286000" cy="7442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95" name="TextBox 39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527790" y="4597456"/>
            <a:ext cx="149912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Marketing &amp; Consulting</a:t>
            </a:r>
          </a:p>
        </p:txBody>
      </p:sp>
      <p:sp>
        <p:nvSpPr>
          <p:cNvPr id="396" name="TextBox 39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4813417" y="4597456"/>
            <a:ext cx="41870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45%</a:t>
            </a:r>
          </a:p>
        </p:txBody>
      </p:sp>
      <p:sp>
        <p:nvSpPr>
          <p:cNvPr id="397" name="Rectangle 39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2384" y="5297002"/>
            <a:ext cx="4572000" cy="7442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98" name="Rectangle 39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05623" y="5297002"/>
            <a:ext cx="4206240" cy="7442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99" name="TextBox 39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527790" y="5066170"/>
            <a:ext cx="122982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Web Site &amp; Coding</a:t>
            </a:r>
          </a:p>
        </p:txBody>
      </p:sp>
      <p:sp>
        <p:nvSpPr>
          <p:cNvPr id="400" name="TextBox 39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4813417" y="5066170"/>
            <a:ext cx="41870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95%</a:t>
            </a:r>
          </a:p>
        </p:txBody>
      </p:sp>
      <p:sp>
        <p:nvSpPr>
          <p:cNvPr id="403" name="TextBox 40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527790" y="5534883"/>
            <a:ext cx="142218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Business &amp; Consulting</a:t>
            </a:r>
          </a:p>
        </p:txBody>
      </p:sp>
      <p:sp>
        <p:nvSpPr>
          <p:cNvPr id="404" name="TextBox 40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4813417" y="5534883"/>
            <a:ext cx="41870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80%</a:t>
            </a:r>
          </a:p>
        </p:txBody>
      </p:sp>
      <p:sp>
        <p:nvSpPr>
          <p:cNvPr id="405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560359" y="2703766"/>
            <a:ext cx="4296453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>
                <a:solidFill>
                  <a:schemeClr val="tx2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. This is a sample text. insert your desired text here. Again. this is a dummy text. enter your own text here.”</a:t>
            </a:r>
          </a:p>
        </p:txBody>
      </p:sp>
    </p:spTree>
  </p:cSld>
  <p:clrMapOvr>
    <a:masterClrMapping/>
  </p:clrMapOvr>
  <p:transition spd="slow">
    <p:push dir="u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2907" y="749745"/>
            <a:ext cx="7644384" cy="5431536"/>
          </a:xfrm>
          <a:prstGeom prst="rect">
            <a:avLst/>
          </a:prstGeom>
        </p:spPr>
      </p:pic>
      <p:sp>
        <p:nvSpPr>
          <p:cNvPr id="3" name="文本框 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725251" y="3387436"/>
            <a:ext cx="4109145" cy="3819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lnSpc>
                <a:spcPct val="150000"/>
              </a:lnSpc>
            </a:pPr>
            <a:r>
              <a:rPr lang="en-US" altLang="zh-CN" sz="1400" spc="-300" dirty="0">
                <a:gradFill flip="none" rotWithShape="1">
                  <a:gsLst>
                    <a:gs pos="0">
                      <a:schemeClr val="accent5">
                        <a:lumMod val="75000"/>
                      </a:schemeClr>
                    </a:gs>
                    <a:gs pos="96403">
                      <a:schemeClr val="accent2"/>
                    </a:gs>
                    <a:gs pos="75000">
                      <a:schemeClr val="accent4"/>
                    </a:gs>
                  </a:gsLst>
                  <a:lin ang="10800000" scaled="1"/>
                </a:gradFill>
                <a:latin typeface="方正综艺简体" panose="03000509000000000000" pitchFamily="65" charset="-122"/>
                <a:ea typeface="思源黑体 CN Medium" panose="020B0600000000000000" pitchFamily="34" charset="-122"/>
                <a:cs typeface="思源黑体 CN Regular" panose="020B0500000000000000" charset="-122"/>
              </a:rPr>
              <a:t>CREATIVE  POWERPOINT  TEMPLATE</a:t>
            </a:r>
          </a:p>
        </p:txBody>
      </p:sp>
      <p:sp>
        <p:nvSpPr>
          <p:cNvPr id="4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725251" y="3766913"/>
            <a:ext cx="4030691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>
                <a:solidFill>
                  <a:schemeClr val="tx2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. This is a sample text. insert your desired text here. Again. this is a dummy text. enter your own text here.”</a:t>
            </a:r>
          </a:p>
        </p:txBody>
      </p:sp>
      <p:sp>
        <p:nvSpPr>
          <p:cNvPr id="5" name="文本框 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594447" y="2540271"/>
            <a:ext cx="609210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600" b="1" dirty="0">
                <a:solidFill>
                  <a:schemeClr val="accent4"/>
                </a:solidFill>
                <a:effectLst>
                  <a:innerShdw blurRad="63500" dist="50800" dir="15600000">
                    <a:schemeClr val="accent5">
                      <a:alpha val="23000"/>
                    </a:schemeClr>
                  </a:innerShdw>
                </a:effectLst>
                <a:latin typeface="方正综艺简体" panose="03000509000000000000" pitchFamily="65" charset="-122"/>
                <a:cs typeface="思源黑体 CN Regular" panose="020B0500000000000000" charset="-122"/>
              </a:rPr>
              <a:t>PART SIX</a:t>
            </a:r>
            <a:endParaRPr lang="zh-CN" altLang="en-US" sz="6600" b="1" dirty="0">
              <a:solidFill>
                <a:schemeClr val="accent4"/>
              </a:solidFill>
              <a:effectLst>
                <a:innerShdw blurRad="63500" dist="50800" dir="15600000">
                  <a:schemeClr val="accent5">
                    <a:alpha val="23000"/>
                  </a:schemeClr>
                </a:innerShdw>
              </a:effectLst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6" name="Rectangle: Rounded Corners 2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79039" y="5209697"/>
            <a:ext cx="1402161" cy="38237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5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  <a:effectLst>
            <a:outerShdw blurRad="787400" dist="101600" dir="5400000" sx="80000" sy="80000" algn="t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200" dirty="0">
                <a:latin typeface="方正综艺简体" panose="03000509000000000000" pitchFamily="65" charset="-122"/>
                <a:cs typeface="思源黑体 CN Regular" panose="020B0500000000000000" charset="-122"/>
              </a:rPr>
              <a:t>Read Here</a:t>
            </a:r>
          </a:p>
        </p:txBody>
      </p:sp>
      <p:pic>
        <p:nvPicPr>
          <p:cNvPr id="7" name="图片 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91" y="1430726"/>
            <a:ext cx="888459" cy="1006768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直角三角形 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flipH="1">
            <a:off x="3580598" y="3859731"/>
            <a:ext cx="8633980" cy="2998268"/>
          </a:xfrm>
          <a:prstGeom prst="rtTriangle">
            <a:avLst/>
          </a:prstGeom>
          <a:solidFill>
            <a:schemeClr val="bg1">
              <a:lumMod val="75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 Light" panose="020B0502040204020203" pitchFamily="34" charset="-122"/>
              <a:ea typeface="微软雅黑 Light" panose="020B0502040204020203" pitchFamily="34" charset="-122"/>
              <a:cs typeface="思源黑体 CN Regular" panose="020B0500000000000000" charset="-122"/>
              <a:sym typeface="微软雅黑 Light" panose="020B0502040204020203" pitchFamily="34" charset="-122"/>
            </a:endParaRPr>
          </a:p>
        </p:txBody>
      </p:sp>
      <p:sp>
        <p:nvSpPr>
          <p:cNvPr id="5" name="直角三角形 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0" y="5016367"/>
            <a:ext cx="5901890" cy="1841633"/>
          </a:xfrm>
          <a:prstGeom prst="rtTriangle">
            <a:avLst/>
          </a:prstGeom>
          <a:solidFill>
            <a:schemeClr val="bg1">
              <a:lumMod val="75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 Light" panose="020B0502040204020203" pitchFamily="34" charset="-122"/>
              <a:ea typeface="微软雅黑 Light" panose="020B0502040204020203" pitchFamily="34" charset="-122"/>
              <a:cs typeface="思源黑体 CN Regular" panose="020B0500000000000000" charset="-122"/>
              <a:sym typeface="微软雅黑 Light" panose="020B0502040204020203" pitchFamily="34" charset="-122"/>
            </a:endParaRPr>
          </a:p>
        </p:txBody>
      </p:sp>
      <p:sp>
        <p:nvSpPr>
          <p:cNvPr id="6" name="TextBox 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2326182" y="1119738"/>
            <a:ext cx="76126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ysClr val="windowText" lastClr="000000"/>
                </a:solidFill>
                <a:latin typeface="方正综艺简体" panose="03000509000000000000" pitchFamily="65" charset="-122"/>
                <a:ea typeface="微软雅黑 Light" panose="020B0502040204020203" pitchFamily="34" charset="-122"/>
                <a:cs typeface="等线" panose="02010600030101010101" charset="-122"/>
                <a:sym typeface="微软雅黑 Light" panose="020B0502040204020203" pitchFamily="34" charset="-122"/>
              </a:rPr>
              <a:t>Business Creative  Team And Solutions.</a:t>
            </a:r>
          </a:p>
        </p:txBody>
      </p:sp>
      <p:sp>
        <p:nvSpPr>
          <p:cNvPr id="7" name="TextBox 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4417989" y="466390"/>
            <a:ext cx="300274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zh-CN" sz="4000" dirty="0">
                <a:solidFill>
                  <a:schemeClr val="tx2">
                    <a:lumMod val="75000"/>
                  </a:schemeClr>
                </a:solidFill>
                <a:latin typeface="方正综艺简体" panose="03000509000000000000" pitchFamily="65" charset="-122"/>
                <a:ea typeface="微软雅黑 Light" panose="020B0502040204020203" pitchFamily="34" charset="-122"/>
                <a:cs typeface="思源黑体 CN Regular" panose="020B0500000000000000" charset="-122"/>
                <a:sym typeface="微软雅黑 Light" panose="020B0502040204020203" pitchFamily="34" charset="-122"/>
              </a:rPr>
              <a:t>CONTENTS</a:t>
            </a:r>
            <a:endParaRPr lang="en-US" sz="4000" dirty="0">
              <a:solidFill>
                <a:schemeClr val="tx2">
                  <a:lumMod val="75000"/>
                </a:schemeClr>
              </a:solidFill>
              <a:latin typeface="方正综艺简体" panose="03000509000000000000" pitchFamily="65" charset="-122"/>
              <a:ea typeface="微软雅黑 Light" panose="020B0502040204020203" pitchFamily="34" charset="-122"/>
              <a:cs typeface="思源黑体 CN Regular" panose="020B0500000000000000" charset="-122"/>
              <a:sym typeface="微软雅黑 Light" panose="020B0502040204020203" pitchFamily="34" charset="-122"/>
            </a:endParaRPr>
          </a:p>
        </p:txBody>
      </p:sp>
      <p:sp>
        <p:nvSpPr>
          <p:cNvPr id="8" name="Oval 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520380" y="2338298"/>
            <a:ext cx="894021" cy="894021"/>
          </a:xfrm>
          <a:prstGeom prst="ellipse">
            <a:avLst/>
          </a:prstGeom>
          <a:ln w="76200">
            <a:solidFill>
              <a:schemeClr val="accent1">
                <a:alpha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9" name="Rectangle 1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520380" y="3572562"/>
            <a:ext cx="1394227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1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Home Page</a:t>
            </a:r>
            <a:endParaRPr lang="en-US" sz="900" dirty="0">
              <a:solidFill>
                <a:schemeClr val="tx2">
                  <a:lumMod val="50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  <a:p>
            <a:r>
              <a:rPr lang="en-US" sz="900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WEB SITE</a:t>
            </a:r>
          </a:p>
        </p:txBody>
      </p:sp>
      <p:sp>
        <p:nvSpPr>
          <p:cNvPr id="10" name="Rectangle 3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520380" y="4535965"/>
            <a:ext cx="1545265" cy="10618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01</a:t>
            </a:r>
          </a:p>
          <a:p>
            <a:r>
              <a:rPr lang="en-US" sz="900" b="1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CLICK ON: APP</a:t>
            </a:r>
          </a:p>
          <a:p>
            <a:endParaRPr lang="en-US" sz="900" dirty="0">
              <a:solidFill>
                <a:schemeClr val="tx2">
                  <a:lumMod val="50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  <a:p>
            <a:r>
              <a:rPr lang="en-US" sz="900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Conveniently iterate top-line alignments for wireless metrics. </a:t>
            </a:r>
          </a:p>
        </p:txBody>
      </p:sp>
      <p:sp>
        <p:nvSpPr>
          <p:cNvPr id="11" name="Oval 1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3502435" y="2338298"/>
            <a:ext cx="894021" cy="894021"/>
          </a:xfrm>
          <a:prstGeom prst="ellipse">
            <a:avLst/>
          </a:prstGeom>
          <a:solidFill>
            <a:schemeClr val="accent2"/>
          </a:solidFill>
          <a:ln w="76200">
            <a:solidFill>
              <a:schemeClr val="accent2">
                <a:alpha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12" name="Rectangle 1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3502435" y="3572562"/>
            <a:ext cx="1394227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1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Portfolio Page</a:t>
            </a:r>
            <a:endParaRPr lang="en-US" sz="900" dirty="0">
              <a:solidFill>
                <a:schemeClr val="tx2">
                  <a:lumMod val="50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  <a:p>
            <a:r>
              <a:rPr lang="en-US" sz="900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WEB SITE</a:t>
            </a:r>
          </a:p>
        </p:txBody>
      </p:sp>
      <p:sp>
        <p:nvSpPr>
          <p:cNvPr id="13" name="Rectangle 3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3502435" y="4535965"/>
            <a:ext cx="1545265" cy="10618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02</a:t>
            </a:r>
          </a:p>
          <a:p>
            <a:r>
              <a:rPr lang="en-US" sz="900" b="1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MARKETING: WEB SITE</a:t>
            </a:r>
          </a:p>
          <a:p>
            <a:endParaRPr lang="en-US" sz="900" dirty="0">
              <a:solidFill>
                <a:schemeClr val="tx2">
                  <a:lumMod val="50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  <a:p>
            <a:r>
              <a:rPr lang="en-US" sz="900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Conveniently iterate top-line alignments for wireless metrics. </a:t>
            </a:r>
          </a:p>
        </p:txBody>
      </p:sp>
      <p:sp>
        <p:nvSpPr>
          <p:cNvPr id="14" name="Oval 1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484490" y="2338298"/>
            <a:ext cx="894021" cy="894021"/>
          </a:xfrm>
          <a:prstGeom prst="ellipse">
            <a:avLst/>
          </a:prstGeom>
          <a:solidFill>
            <a:schemeClr val="accent3"/>
          </a:solidFill>
          <a:ln w="76200">
            <a:solidFill>
              <a:schemeClr val="accent3">
                <a:alpha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15" name="Rectangle 1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484490" y="3572562"/>
            <a:ext cx="1394227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1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Business Consulting</a:t>
            </a:r>
            <a:endParaRPr lang="en-US" sz="900" dirty="0">
              <a:solidFill>
                <a:schemeClr val="tx2">
                  <a:lumMod val="50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  <a:p>
            <a:r>
              <a:rPr lang="en-US" sz="900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WEB SITE</a:t>
            </a:r>
          </a:p>
        </p:txBody>
      </p:sp>
      <p:sp>
        <p:nvSpPr>
          <p:cNvPr id="16" name="Rectangle 3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484490" y="4535965"/>
            <a:ext cx="1545265" cy="10618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03</a:t>
            </a:r>
          </a:p>
          <a:p>
            <a:r>
              <a:rPr lang="en-US" sz="900" b="1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MARKETING: WEB SITE</a:t>
            </a:r>
          </a:p>
          <a:p>
            <a:endParaRPr lang="en-US" sz="900" dirty="0">
              <a:solidFill>
                <a:schemeClr val="tx2">
                  <a:lumMod val="50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  <a:p>
            <a:r>
              <a:rPr lang="en-US" sz="900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Conveniently iterate top-line alignments for wireless metrics. </a:t>
            </a:r>
          </a:p>
        </p:txBody>
      </p:sp>
      <p:sp>
        <p:nvSpPr>
          <p:cNvPr id="17" name="Oval 1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466545" y="2338298"/>
            <a:ext cx="894021" cy="894021"/>
          </a:xfrm>
          <a:prstGeom prst="ellipse">
            <a:avLst/>
          </a:prstGeom>
          <a:solidFill>
            <a:schemeClr val="accent4"/>
          </a:solidFill>
          <a:ln w="76200">
            <a:solidFill>
              <a:schemeClr val="accent4">
                <a:alpha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18" name="Rectangle 1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466545" y="3572562"/>
            <a:ext cx="1394227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1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Download</a:t>
            </a:r>
            <a:endParaRPr lang="en-US" sz="900" dirty="0">
              <a:solidFill>
                <a:schemeClr val="tx2">
                  <a:lumMod val="50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  <a:p>
            <a:r>
              <a:rPr lang="en-US" sz="900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WEB SITE</a:t>
            </a:r>
          </a:p>
        </p:txBody>
      </p:sp>
      <p:sp>
        <p:nvSpPr>
          <p:cNvPr id="19" name="Rectangle 3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466545" y="4535965"/>
            <a:ext cx="1545265" cy="10618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04</a:t>
            </a:r>
          </a:p>
          <a:p>
            <a:r>
              <a:rPr lang="en-US" sz="900" b="1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MARKETING: WEB SITE</a:t>
            </a:r>
          </a:p>
          <a:p>
            <a:endParaRPr lang="en-US" sz="900" dirty="0">
              <a:solidFill>
                <a:schemeClr val="tx2">
                  <a:lumMod val="50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  <a:p>
            <a:r>
              <a:rPr lang="en-US" sz="900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Conveniently iterate top-line alignments for wireless metrics. </a:t>
            </a:r>
          </a:p>
        </p:txBody>
      </p:sp>
      <p:sp>
        <p:nvSpPr>
          <p:cNvPr id="20" name="Oval 2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448603" y="2338298"/>
            <a:ext cx="894021" cy="894021"/>
          </a:xfrm>
          <a:prstGeom prst="ellipse">
            <a:avLst/>
          </a:prstGeom>
          <a:solidFill>
            <a:schemeClr val="accent6"/>
          </a:solidFill>
          <a:ln w="76200">
            <a:solidFill>
              <a:schemeClr val="accent6">
                <a:alpha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400" dirty="0">
              <a:solidFill>
                <a:schemeClr val="tx2">
                  <a:lumMod val="50000"/>
                </a:schemeClr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21" name="Rectangle 2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448603" y="3572562"/>
            <a:ext cx="1394227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1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Wallpapers</a:t>
            </a:r>
            <a:endParaRPr lang="en-US" sz="900" dirty="0">
              <a:solidFill>
                <a:schemeClr val="tx2">
                  <a:lumMod val="50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  <a:p>
            <a:r>
              <a:rPr lang="en-US" sz="900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WEB SITE</a:t>
            </a:r>
          </a:p>
        </p:txBody>
      </p:sp>
      <p:sp>
        <p:nvSpPr>
          <p:cNvPr id="22" name="Rectangle 3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448603" y="4535965"/>
            <a:ext cx="1545265" cy="10618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05</a:t>
            </a:r>
          </a:p>
          <a:p>
            <a:r>
              <a:rPr lang="en-US" sz="900" b="1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MARKETING: WEB SITE</a:t>
            </a:r>
          </a:p>
          <a:p>
            <a:endParaRPr lang="en-US" sz="900" dirty="0">
              <a:solidFill>
                <a:schemeClr val="tx2">
                  <a:lumMod val="50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  <a:p>
            <a:r>
              <a:rPr lang="en-US" sz="900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Conveniently iterate top-line alignments for wireless metrics. </a:t>
            </a:r>
          </a:p>
        </p:txBody>
      </p:sp>
      <p:sp>
        <p:nvSpPr>
          <p:cNvPr id="23" name="Freeform 25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EditPoints="1"/>
          </p:cNvSpPr>
          <p:nvPr/>
        </p:nvSpPr>
        <p:spPr bwMode="auto">
          <a:xfrm>
            <a:off x="3645612" y="2497280"/>
            <a:ext cx="578338" cy="538046"/>
          </a:xfrm>
          <a:custGeom>
            <a:avLst/>
            <a:gdLst>
              <a:gd name="T0" fmla="*/ 494 w 933"/>
              <a:gd name="T1" fmla="*/ 8 h 868"/>
              <a:gd name="T2" fmla="*/ 466 w 933"/>
              <a:gd name="T3" fmla="*/ 0 h 868"/>
              <a:gd name="T4" fmla="*/ 439 w 933"/>
              <a:gd name="T5" fmla="*/ 8 h 868"/>
              <a:gd name="T6" fmla="*/ 14 w 933"/>
              <a:gd name="T7" fmla="*/ 431 h 868"/>
              <a:gd name="T8" fmla="*/ 1 w 933"/>
              <a:gd name="T9" fmla="*/ 456 h 868"/>
              <a:gd name="T10" fmla="*/ 4 w 933"/>
              <a:gd name="T11" fmla="*/ 485 h 868"/>
              <a:gd name="T12" fmla="*/ 14 w 933"/>
              <a:gd name="T13" fmla="*/ 501 h 868"/>
              <a:gd name="T14" fmla="*/ 40 w 933"/>
              <a:gd name="T15" fmla="*/ 514 h 868"/>
              <a:gd name="T16" fmla="*/ 68 w 933"/>
              <a:gd name="T17" fmla="*/ 511 h 868"/>
              <a:gd name="T18" fmla="*/ 107 w 933"/>
              <a:gd name="T19" fmla="*/ 478 h 868"/>
              <a:gd name="T20" fmla="*/ 108 w 933"/>
              <a:gd name="T21" fmla="*/ 750 h 868"/>
              <a:gd name="T22" fmla="*/ 118 w 933"/>
              <a:gd name="T23" fmla="*/ 788 h 868"/>
              <a:gd name="T24" fmla="*/ 137 w 933"/>
              <a:gd name="T25" fmla="*/ 820 h 868"/>
              <a:gd name="T26" fmla="*/ 165 w 933"/>
              <a:gd name="T27" fmla="*/ 845 h 868"/>
              <a:gd name="T28" fmla="*/ 199 w 933"/>
              <a:gd name="T29" fmla="*/ 862 h 868"/>
              <a:gd name="T30" fmla="*/ 238 w 933"/>
              <a:gd name="T31" fmla="*/ 868 h 868"/>
              <a:gd name="T32" fmla="*/ 708 w 933"/>
              <a:gd name="T33" fmla="*/ 868 h 868"/>
              <a:gd name="T34" fmla="*/ 746 w 933"/>
              <a:gd name="T35" fmla="*/ 857 h 868"/>
              <a:gd name="T36" fmla="*/ 778 w 933"/>
              <a:gd name="T37" fmla="*/ 838 h 868"/>
              <a:gd name="T38" fmla="*/ 803 w 933"/>
              <a:gd name="T39" fmla="*/ 810 h 868"/>
              <a:gd name="T40" fmla="*/ 820 w 933"/>
              <a:gd name="T41" fmla="*/ 776 h 868"/>
              <a:gd name="T42" fmla="*/ 826 w 933"/>
              <a:gd name="T43" fmla="*/ 737 h 868"/>
              <a:gd name="T44" fmla="*/ 849 w 933"/>
              <a:gd name="T45" fmla="*/ 501 h 868"/>
              <a:gd name="T46" fmla="*/ 874 w 933"/>
              <a:gd name="T47" fmla="*/ 514 h 868"/>
              <a:gd name="T48" fmla="*/ 893 w 933"/>
              <a:gd name="T49" fmla="*/ 514 h 868"/>
              <a:gd name="T50" fmla="*/ 919 w 933"/>
              <a:gd name="T51" fmla="*/ 501 h 868"/>
              <a:gd name="T52" fmla="*/ 929 w 933"/>
              <a:gd name="T53" fmla="*/ 485 h 868"/>
              <a:gd name="T54" fmla="*/ 932 w 933"/>
              <a:gd name="T55" fmla="*/ 456 h 868"/>
              <a:gd name="T56" fmla="*/ 919 w 933"/>
              <a:gd name="T57" fmla="*/ 431 h 868"/>
              <a:gd name="T58" fmla="*/ 760 w 933"/>
              <a:gd name="T59" fmla="*/ 737 h 868"/>
              <a:gd name="T60" fmla="*/ 749 w 933"/>
              <a:gd name="T61" fmla="*/ 773 h 868"/>
              <a:gd name="T62" fmla="*/ 720 w 933"/>
              <a:gd name="T63" fmla="*/ 797 h 868"/>
              <a:gd name="T64" fmla="*/ 238 w 933"/>
              <a:gd name="T65" fmla="*/ 803 h 868"/>
              <a:gd name="T66" fmla="*/ 213 w 933"/>
              <a:gd name="T67" fmla="*/ 797 h 868"/>
              <a:gd name="T68" fmla="*/ 184 w 933"/>
              <a:gd name="T69" fmla="*/ 773 h 868"/>
              <a:gd name="T70" fmla="*/ 173 w 933"/>
              <a:gd name="T71" fmla="*/ 737 h 868"/>
              <a:gd name="T72" fmla="*/ 760 w 933"/>
              <a:gd name="T73" fmla="*/ 413 h 868"/>
              <a:gd name="T74" fmla="*/ 313 w 933"/>
              <a:gd name="T75" fmla="*/ 712 h 868"/>
              <a:gd name="T76" fmla="*/ 318 w 933"/>
              <a:gd name="T77" fmla="*/ 724 h 868"/>
              <a:gd name="T78" fmla="*/ 604 w 933"/>
              <a:gd name="T79" fmla="*/ 729 h 868"/>
              <a:gd name="T80" fmla="*/ 615 w 933"/>
              <a:gd name="T81" fmla="*/ 724 h 868"/>
              <a:gd name="T82" fmla="*/ 620 w 933"/>
              <a:gd name="T83" fmla="*/ 438 h 868"/>
              <a:gd name="T84" fmla="*/ 615 w 933"/>
              <a:gd name="T85" fmla="*/ 426 h 868"/>
              <a:gd name="T86" fmla="*/ 329 w 933"/>
              <a:gd name="T87" fmla="*/ 421 h 868"/>
              <a:gd name="T88" fmla="*/ 318 w 933"/>
              <a:gd name="T89" fmla="*/ 426 h 868"/>
              <a:gd name="T90" fmla="*/ 313 w 933"/>
              <a:gd name="T91" fmla="*/ 438 h 868"/>
              <a:gd name="T92" fmla="*/ 587 w 933"/>
              <a:gd name="T93" fmla="*/ 696 h 8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933" h="865">
                <a:moveTo>
                  <a:pt x="501" y="14"/>
                </a:moveTo>
                <a:lnTo>
                  <a:pt x="501" y="14"/>
                </a:lnTo>
                <a:lnTo>
                  <a:pt x="494" y="8"/>
                </a:lnTo>
                <a:lnTo>
                  <a:pt x="485" y="4"/>
                </a:lnTo>
                <a:lnTo>
                  <a:pt x="476" y="1"/>
                </a:lnTo>
                <a:lnTo>
                  <a:pt x="466" y="0"/>
                </a:lnTo>
                <a:lnTo>
                  <a:pt x="457" y="1"/>
                </a:lnTo>
                <a:lnTo>
                  <a:pt x="448" y="4"/>
                </a:lnTo>
                <a:lnTo>
                  <a:pt x="439" y="8"/>
                </a:lnTo>
                <a:lnTo>
                  <a:pt x="432" y="14"/>
                </a:lnTo>
                <a:lnTo>
                  <a:pt x="14" y="431"/>
                </a:lnTo>
                <a:lnTo>
                  <a:pt x="14" y="431"/>
                </a:lnTo>
                <a:lnTo>
                  <a:pt x="8" y="439"/>
                </a:lnTo>
                <a:lnTo>
                  <a:pt x="4" y="448"/>
                </a:lnTo>
                <a:lnTo>
                  <a:pt x="1" y="456"/>
                </a:lnTo>
                <a:lnTo>
                  <a:pt x="0" y="466"/>
                </a:lnTo>
                <a:lnTo>
                  <a:pt x="1" y="475"/>
                </a:lnTo>
                <a:lnTo>
                  <a:pt x="4" y="485"/>
                </a:lnTo>
                <a:lnTo>
                  <a:pt x="8" y="493"/>
                </a:lnTo>
                <a:lnTo>
                  <a:pt x="14" y="501"/>
                </a:lnTo>
                <a:lnTo>
                  <a:pt x="14" y="501"/>
                </a:lnTo>
                <a:lnTo>
                  <a:pt x="23" y="507"/>
                </a:lnTo>
                <a:lnTo>
                  <a:pt x="31" y="511"/>
                </a:lnTo>
                <a:lnTo>
                  <a:pt x="40" y="514"/>
                </a:lnTo>
                <a:lnTo>
                  <a:pt x="49" y="515"/>
                </a:lnTo>
                <a:lnTo>
                  <a:pt x="59" y="514"/>
                </a:lnTo>
                <a:lnTo>
                  <a:pt x="68" y="511"/>
                </a:lnTo>
                <a:lnTo>
                  <a:pt x="77" y="507"/>
                </a:lnTo>
                <a:lnTo>
                  <a:pt x="84" y="501"/>
                </a:lnTo>
                <a:lnTo>
                  <a:pt x="107" y="478"/>
                </a:lnTo>
                <a:lnTo>
                  <a:pt x="107" y="737"/>
                </a:lnTo>
                <a:lnTo>
                  <a:pt x="107" y="737"/>
                </a:lnTo>
                <a:lnTo>
                  <a:pt x="108" y="750"/>
                </a:lnTo>
                <a:lnTo>
                  <a:pt x="109" y="764"/>
                </a:lnTo>
                <a:lnTo>
                  <a:pt x="113" y="776"/>
                </a:lnTo>
                <a:lnTo>
                  <a:pt x="118" y="788"/>
                </a:lnTo>
                <a:lnTo>
                  <a:pt x="122" y="800"/>
                </a:lnTo>
                <a:lnTo>
                  <a:pt x="130" y="810"/>
                </a:lnTo>
                <a:lnTo>
                  <a:pt x="137" y="820"/>
                </a:lnTo>
                <a:lnTo>
                  <a:pt x="145" y="830"/>
                </a:lnTo>
                <a:lnTo>
                  <a:pt x="155" y="838"/>
                </a:lnTo>
                <a:lnTo>
                  <a:pt x="165" y="845"/>
                </a:lnTo>
                <a:lnTo>
                  <a:pt x="175" y="852"/>
                </a:lnTo>
                <a:lnTo>
                  <a:pt x="187" y="857"/>
                </a:lnTo>
                <a:lnTo>
                  <a:pt x="199" y="862"/>
                </a:lnTo>
                <a:lnTo>
                  <a:pt x="211" y="866"/>
                </a:lnTo>
                <a:lnTo>
                  <a:pt x="225" y="868"/>
                </a:lnTo>
                <a:lnTo>
                  <a:pt x="238" y="868"/>
                </a:lnTo>
                <a:lnTo>
                  <a:pt x="695" y="868"/>
                </a:lnTo>
                <a:lnTo>
                  <a:pt x="695" y="868"/>
                </a:lnTo>
                <a:lnTo>
                  <a:pt x="708" y="868"/>
                </a:lnTo>
                <a:lnTo>
                  <a:pt x="722" y="866"/>
                </a:lnTo>
                <a:lnTo>
                  <a:pt x="734" y="862"/>
                </a:lnTo>
                <a:lnTo>
                  <a:pt x="746" y="857"/>
                </a:lnTo>
                <a:lnTo>
                  <a:pt x="758" y="852"/>
                </a:lnTo>
                <a:lnTo>
                  <a:pt x="768" y="845"/>
                </a:lnTo>
                <a:lnTo>
                  <a:pt x="778" y="838"/>
                </a:lnTo>
                <a:lnTo>
                  <a:pt x="788" y="830"/>
                </a:lnTo>
                <a:lnTo>
                  <a:pt x="796" y="820"/>
                </a:lnTo>
                <a:lnTo>
                  <a:pt x="803" y="810"/>
                </a:lnTo>
                <a:lnTo>
                  <a:pt x="811" y="800"/>
                </a:lnTo>
                <a:lnTo>
                  <a:pt x="815" y="788"/>
                </a:lnTo>
                <a:lnTo>
                  <a:pt x="820" y="776"/>
                </a:lnTo>
                <a:lnTo>
                  <a:pt x="824" y="764"/>
                </a:lnTo>
                <a:lnTo>
                  <a:pt x="825" y="750"/>
                </a:lnTo>
                <a:lnTo>
                  <a:pt x="826" y="737"/>
                </a:lnTo>
                <a:lnTo>
                  <a:pt x="826" y="478"/>
                </a:lnTo>
                <a:lnTo>
                  <a:pt x="849" y="501"/>
                </a:lnTo>
                <a:lnTo>
                  <a:pt x="849" y="501"/>
                </a:lnTo>
                <a:lnTo>
                  <a:pt x="856" y="507"/>
                </a:lnTo>
                <a:lnTo>
                  <a:pt x="865" y="511"/>
                </a:lnTo>
                <a:lnTo>
                  <a:pt x="874" y="514"/>
                </a:lnTo>
                <a:lnTo>
                  <a:pt x="884" y="515"/>
                </a:lnTo>
                <a:lnTo>
                  <a:pt x="884" y="515"/>
                </a:lnTo>
                <a:lnTo>
                  <a:pt x="893" y="514"/>
                </a:lnTo>
                <a:lnTo>
                  <a:pt x="902" y="511"/>
                </a:lnTo>
                <a:lnTo>
                  <a:pt x="910" y="507"/>
                </a:lnTo>
                <a:lnTo>
                  <a:pt x="919" y="501"/>
                </a:lnTo>
                <a:lnTo>
                  <a:pt x="919" y="501"/>
                </a:lnTo>
                <a:lnTo>
                  <a:pt x="925" y="493"/>
                </a:lnTo>
                <a:lnTo>
                  <a:pt x="929" y="485"/>
                </a:lnTo>
                <a:lnTo>
                  <a:pt x="932" y="475"/>
                </a:lnTo>
                <a:lnTo>
                  <a:pt x="933" y="466"/>
                </a:lnTo>
                <a:lnTo>
                  <a:pt x="932" y="456"/>
                </a:lnTo>
                <a:lnTo>
                  <a:pt x="929" y="448"/>
                </a:lnTo>
                <a:lnTo>
                  <a:pt x="925" y="439"/>
                </a:lnTo>
                <a:lnTo>
                  <a:pt x="919" y="431"/>
                </a:lnTo>
                <a:lnTo>
                  <a:pt x="501" y="14"/>
                </a:lnTo>
                <a:close/>
                <a:moveTo>
                  <a:pt x="760" y="737"/>
                </a:moveTo>
                <a:lnTo>
                  <a:pt x="760" y="737"/>
                </a:lnTo>
                <a:lnTo>
                  <a:pt x="759" y="750"/>
                </a:lnTo>
                <a:lnTo>
                  <a:pt x="755" y="762"/>
                </a:lnTo>
                <a:lnTo>
                  <a:pt x="749" y="773"/>
                </a:lnTo>
                <a:lnTo>
                  <a:pt x="741" y="784"/>
                </a:lnTo>
                <a:lnTo>
                  <a:pt x="731" y="791"/>
                </a:lnTo>
                <a:lnTo>
                  <a:pt x="720" y="797"/>
                </a:lnTo>
                <a:lnTo>
                  <a:pt x="708" y="801"/>
                </a:lnTo>
                <a:lnTo>
                  <a:pt x="695" y="803"/>
                </a:lnTo>
                <a:lnTo>
                  <a:pt x="238" y="803"/>
                </a:lnTo>
                <a:lnTo>
                  <a:pt x="238" y="803"/>
                </a:lnTo>
                <a:lnTo>
                  <a:pt x="225" y="801"/>
                </a:lnTo>
                <a:lnTo>
                  <a:pt x="213" y="797"/>
                </a:lnTo>
                <a:lnTo>
                  <a:pt x="202" y="791"/>
                </a:lnTo>
                <a:lnTo>
                  <a:pt x="192" y="784"/>
                </a:lnTo>
                <a:lnTo>
                  <a:pt x="184" y="773"/>
                </a:lnTo>
                <a:lnTo>
                  <a:pt x="178" y="762"/>
                </a:lnTo>
                <a:lnTo>
                  <a:pt x="174" y="750"/>
                </a:lnTo>
                <a:lnTo>
                  <a:pt x="173" y="737"/>
                </a:lnTo>
                <a:lnTo>
                  <a:pt x="173" y="413"/>
                </a:lnTo>
                <a:lnTo>
                  <a:pt x="466" y="119"/>
                </a:lnTo>
                <a:lnTo>
                  <a:pt x="760" y="413"/>
                </a:lnTo>
                <a:lnTo>
                  <a:pt x="760" y="737"/>
                </a:lnTo>
                <a:close/>
                <a:moveTo>
                  <a:pt x="313" y="438"/>
                </a:moveTo>
                <a:lnTo>
                  <a:pt x="313" y="712"/>
                </a:lnTo>
                <a:lnTo>
                  <a:pt x="313" y="712"/>
                </a:lnTo>
                <a:lnTo>
                  <a:pt x="315" y="719"/>
                </a:lnTo>
                <a:lnTo>
                  <a:pt x="318" y="724"/>
                </a:lnTo>
                <a:lnTo>
                  <a:pt x="323" y="728"/>
                </a:lnTo>
                <a:lnTo>
                  <a:pt x="329" y="729"/>
                </a:lnTo>
                <a:lnTo>
                  <a:pt x="604" y="729"/>
                </a:lnTo>
                <a:lnTo>
                  <a:pt x="604" y="729"/>
                </a:lnTo>
                <a:lnTo>
                  <a:pt x="610" y="728"/>
                </a:lnTo>
                <a:lnTo>
                  <a:pt x="615" y="724"/>
                </a:lnTo>
                <a:lnTo>
                  <a:pt x="618" y="719"/>
                </a:lnTo>
                <a:lnTo>
                  <a:pt x="620" y="712"/>
                </a:lnTo>
                <a:lnTo>
                  <a:pt x="620" y="438"/>
                </a:lnTo>
                <a:lnTo>
                  <a:pt x="620" y="438"/>
                </a:lnTo>
                <a:lnTo>
                  <a:pt x="618" y="432"/>
                </a:lnTo>
                <a:lnTo>
                  <a:pt x="615" y="426"/>
                </a:lnTo>
                <a:lnTo>
                  <a:pt x="610" y="423"/>
                </a:lnTo>
                <a:lnTo>
                  <a:pt x="604" y="421"/>
                </a:lnTo>
                <a:lnTo>
                  <a:pt x="329" y="421"/>
                </a:lnTo>
                <a:lnTo>
                  <a:pt x="329" y="421"/>
                </a:lnTo>
                <a:lnTo>
                  <a:pt x="323" y="423"/>
                </a:lnTo>
                <a:lnTo>
                  <a:pt x="318" y="426"/>
                </a:lnTo>
                <a:lnTo>
                  <a:pt x="315" y="432"/>
                </a:lnTo>
                <a:lnTo>
                  <a:pt x="313" y="438"/>
                </a:lnTo>
                <a:lnTo>
                  <a:pt x="313" y="438"/>
                </a:lnTo>
                <a:close/>
                <a:moveTo>
                  <a:pt x="346" y="455"/>
                </a:moveTo>
                <a:lnTo>
                  <a:pt x="587" y="455"/>
                </a:lnTo>
                <a:lnTo>
                  <a:pt x="587" y="696"/>
                </a:lnTo>
                <a:lnTo>
                  <a:pt x="346" y="696"/>
                </a:lnTo>
                <a:lnTo>
                  <a:pt x="346" y="45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id-ID" dirty="0">
              <a:solidFill>
                <a:schemeClr val="tx2">
                  <a:lumMod val="50000"/>
                </a:schemeClr>
              </a:solidFill>
              <a:latin typeface="方正综艺简体" panose="03000509000000000000" pitchFamily="65" charset="-122"/>
              <a:ea typeface="微软雅黑 Light" panose="020B0502040204020203" pitchFamily="34" charset="-122"/>
              <a:cs typeface="思源黑体 CN Regular" panose="020B0500000000000000" charset="-122"/>
              <a:sym typeface="微软雅黑 Light" panose="020B0502040204020203" pitchFamily="34" charset="-122"/>
            </a:endParaRPr>
          </a:p>
        </p:txBody>
      </p:sp>
      <p:grpSp>
        <p:nvGrpSpPr>
          <p:cNvPr id="24" name="Group 3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5636514" y="2558566"/>
            <a:ext cx="603806" cy="466860"/>
            <a:chOff x="10126663" y="4848225"/>
            <a:chExt cx="615950" cy="476250"/>
          </a:xfrm>
          <a:solidFill>
            <a:schemeClr val="bg1"/>
          </a:solidFill>
        </p:grpSpPr>
        <p:sp>
          <p:nvSpPr>
            <p:cNvPr id="25" name="Freeform 50"/>
            <p:cNvSpPr>
              <a:spLocks noEditPoints="1"/>
            </p:cNvSpPr>
            <p:nvPr/>
          </p:nvSpPr>
          <p:spPr bwMode="auto">
            <a:xfrm>
              <a:off x="10196513" y="4848225"/>
              <a:ext cx="476250" cy="298450"/>
            </a:xfrm>
            <a:custGeom>
              <a:avLst/>
              <a:gdLst>
                <a:gd name="T0" fmla="*/ 278 w 300"/>
                <a:gd name="T1" fmla="*/ 0 h 188"/>
                <a:gd name="T2" fmla="*/ 22 w 300"/>
                <a:gd name="T3" fmla="*/ 0 h 188"/>
                <a:gd name="T4" fmla="*/ 22 w 300"/>
                <a:gd name="T5" fmla="*/ 0 h 188"/>
                <a:gd name="T6" fmla="*/ 14 w 300"/>
                <a:gd name="T7" fmla="*/ 2 h 188"/>
                <a:gd name="T8" fmla="*/ 6 w 300"/>
                <a:gd name="T9" fmla="*/ 6 h 188"/>
                <a:gd name="T10" fmla="*/ 2 w 300"/>
                <a:gd name="T11" fmla="*/ 14 h 188"/>
                <a:gd name="T12" fmla="*/ 0 w 300"/>
                <a:gd name="T13" fmla="*/ 22 h 188"/>
                <a:gd name="T14" fmla="*/ 0 w 300"/>
                <a:gd name="T15" fmla="*/ 166 h 188"/>
                <a:gd name="T16" fmla="*/ 0 w 300"/>
                <a:gd name="T17" fmla="*/ 166 h 188"/>
                <a:gd name="T18" fmla="*/ 2 w 300"/>
                <a:gd name="T19" fmla="*/ 174 h 188"/>
                <a:gd name="T20" fmla="*/ 6 w 300"/>
                <a:gd name="T21" fmla="*/ 180 h 188"/>
                <a:gd name="T22" fmla="*/ 14 w 300"/>
                <a:gd name="T23" fmla="*/ 186 h 188"/>
                <a:gd name="T24" fmla="*/ 22 w 300"/>
                <a:gd name="T25" fmla="*/ 188 h 188"/>
                <a:gd name="T26" fmla="*/ 278 w 300"/>
                <a:gd name="T27" fmla="*/ 188 h 188"/>
                <a:gd name="T28" fmla="*/ 278 w 300"/>
                <a:gd name="T29" fmla="*/ 188 h 188"/>
                <a:gd name="T30" fmla="*/ 286 w 300"/>
                <a:gd name="T31" fmla="*/ 186 h 188"/>
                <a:gd name="T32" fmla="*/ 294 w 300"/>
                <a:gd name="T33" fmla="*/ 180 h 188"/>
                <a:gd name="T34" fmla="*/ 298 w 300"/>
                <a:gd name="T35" fmla="*/ 174 h 188"/>
                <a:gd name="T36" fmla="*/ 300 w 300"/>
                <a:gd name="T37" fmla="*/ 166 h 188"/>
                <a:gd name="T38" fmla="*/ 300 w 300"/>
                <a:gd name="T39" fmla="*/ 22 h 188"/>
                <a:gd name="T40" fmla="*/ 300 w 300"/>
                <a:gd name="T41" fmla="*/ 22 h 188"/>
                <a:gd name="T42" fmla="*/ 298 w 300"/>
                <a:gd name="T43" fmla="*/ 14 h 188"/>
                <a:gd name="T44" fmla="*/ 294 w 300"/>
                <a:gd name="T45" fmla="*/ 6 h 188"/>
                <a:gd name="T46" fmla="*/ 286 w 300"/>
                <a:gd name="T47" fmla="*/ 2 h 188"/>
                <a:gd name="T48" fmla="*/ 278 w 300"/>
                <a:gd name="T49" fmla="*/ 0 h 188"/>
                <a:gd name="T50" fmla="*/ 278 w 300"/>
                <a:gd name="T51" fmla="*/ 0 h 188"/>
                <a:gd name="T52" fmla="*/ 266 w 300"/>
                <a:gd name="T53" fmla="*/ 146 h 188"/>
                <a:gd name="T54" fmla="*/ 266 w 300"/>
                <a:gd name="T55" fmla="*/ 146 h 188"/>
                <a:gd name="T56" fmla="*/ 264 w 300"/>
                <a:gd name="T57" fmla="*/ 152 h 188"/>
                <a:gd name="T58" fmla="*/ 262 w 300"/>
                <a:gd name="T59" fmla="*/ 156 h 188"/>
                <a:gd name="T60" fmla="*/ 256 w 300"/>
                <a:gd name="T61" fmla="*/ 160 h 188"/>
                <a:gd name="T62" fmla="*/ 250 w 300"/>
                <a:gd name="T63" fmla="*/ 162 h 188"/>
                <a:gd name="T64" fmla="*/ 50 w 300"/>
                <a:gd name="T65" fmla="*/ 162 h 188"/>
                <a:gd name="T66" fmla="*/ 50 w 300"/>
                <a:gd name="T67" fmla="*/ 162 h 188"/>
                <a:gd name="T68" fmla="*/ 44 w 300"/>
                <a:gd name="T69" fmla="*/ 160 h 188"/>
                <a:gd name="T70" fmla="*/ 38 w 300"/>
                <a:gd name="T71" fmla="*/ 156 h 188"/>
                <a:gd name="T72" fmla="*/ 36 w 300"/>
                <a:gd name="T73" fmla="*/ 152 h 188"/>
                <a:gd name="T74" fmla="*/ 34 w 300"/>
                <a:gd name="T75" fmla="*/ 146 h 188"/>
                <a:gd name="T76" fmla="*/ 34 w 300"/>
                <a:gd name="T77" fmla="*/ 42 h 188"/>
                <a:gd name="T78" fmla="*/ 34 w 300"/>
                <a:gd name="T79" fmla="*/ 42 h 188"/>
                <a:gd name="T80" fmla="*/ 36 w 300"/>
                <a:gd name="T81" fmla="*/ 36 h 188"/>
                <a:gd name="T82" fmla="*/ 38 w 300"/>
                <a:gd name="T83" fmla="*/ 32 h 188"/>
                <a:gd name="T84" fmla="*/ 44 w 300"/>
                <a:gd name="T85" fmla="*/ 28 h 188"/>
                <a:gd name="T86" fmla="*/ 50 w 300"/>
                <a:gd name="T87" fmla="*/ 26 h 188"/>
                <a:gd name="T88" fmla="*/ 250 w 300"/>
                <a:gd name="T89" fmla="*/ 26 h 188"/>
                <a:gd name="T90" fmla="*/ 250 w 300"/>
                <a:gd name="T91" fmla="*/ 26 h 188"/>
                <a:gd name="T92" fmla="*/ 256 w 300"/>
                <a:gd name="T93" fmla="*/ 28 h 188"/>
                <a:gd name="T94" fmla="*/ 262 w 300"/>
                <a:gd name="T95" fmla="*/ 32 h 188"/>
                <a:gd name="T96" fmla="*/ 264 w 300"/>
                <a:gd name="T97" fmla="*/ 36 h 188"/>
                <a:gd name="T98" fmla="*/ 266 w 300"/>
                <a:gd name="T99" fmla="*/ 42 h 188"/>
                <a:gd name="T100" fmla="*/ 266 w 300"/>
                <a:gd name="T101" fmla="*/ 146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00" h="188">
                  <a:moveTo>
                    <a:pt x="278" y="0"/>
                  </a:moveTo>
                  <a:lnTo>
                    <a:pt x="22" y="0"/>
                  </a:lnTo>
                  <a:lnTo>
                    <a:pt x="22" y="0"/>
                  </a:lnTo>
                  <a:lnTo>
                    <a:pt x="14" y="2"/>
                  </a:lnTo>
                  <a:lnTo>
                    <a:pt x="6" y="6"/>
                  </a:lnTo>
                  <a:lnTo>
                    <a:pt x="2" y="14"/>
                  </a:lnTo>
                  <a:lnTo>
                    <a:pt x="0" y="22"/>
                  </a:lnTo>
                  <a:lnTo>
                    <a:pt x="0" y="166"/>
                  </a:lnTo>
                  <a:lnTo>
                    <a:pt x="0" y="166"/>
                  </a:lnTo>
                  <a:lnTo>
                    <a:pt x="2" y="174"/>
                  </a:lnTo>
                  <a:lnTo>
                    <a:pt x="6" y="180"/>
                  </a:lnTo>
                  <a:lnTo>
                    <a:pt x="14" y="186"/>
                  </a:lnTo>
                  <a:lnTo>
                    <a:pt x="22" y="188"/>
                  </a:lnTo>
                  <a:lnTo>
                    <a:pt x="278" y="188"/>
                  </a:lnTo>
                  <a:lnTo>
                    <a:pt x="278" y="188"/>
                  </a:lnTo>
                  <a:lnTo>
                    <a:pt x="286" y="186"/>
                  </a:lnTo>
                  <a:lnTo>
                    <a:pt x="294" y="180"/>
                  </a:lnTo>
                  <a:lnTo>
                    <a:pt x="298" y="174"/>
                  </a:lnTo>
                  <a:lnTo>
                    <a:pt x="300" y="166"/>
                  </a:lnTo>
                  <a:lnTo>
                    <a:pt x="300" y="22"/>
                  </a:lnTo>
                  <a:lnTo>
                    <a:pt x="300" y="22"/>
                  </a:lnTo>
                  <a:lnTo>
                    <a:pt x="298" y="14"/>
                  </a:lnTo>
                  <a:lnTo>
                    <a:pt x="294" y="6"/>
                  </a:lnTo>
                  <a:lnTo>
                    <a:pt x="286" y="2"/>
                  </a:lnTo>
                  <a:lnTo>
                    <a:pt x="278" y="0"/>
                  </a:lnTo>
                  <a:lnTo>
                    <a:pt x="278" y="0"/>
                  </a:lnTo>
                  <a:close/>
                  <a:moveTo>
                    <a:pt x="266" y="146"/>
                  </a:moveTo>
                  <a:lnTo>
                    <a:pt x="266" y="146"/>
                  </a:lnTo>
                  <a:lnTo>
                    <a:pt x="264" y="152"/>
                  </a:lnTo>
                  <a:lnTo>
                    <a:pt x="262" y="156"/>
                  </a:lnTo>
                  <a:lnTo>
                    <a:pt x="256" y="160"/>
                  </a:lnTo>
                  <a:lnTo>
                    <a:pt x="250" y="162"/>
                  </a:lnTo>
                  <a:lnTo>
                    <a:pt x="50" y="162"/>
                  </a:lnTo>
                  <a:lnTo>
                    <a:pt x="50" y="162"/>
                  </a:lnTo>
                  <a:lnTo>
                    <a:pt x="44" y="160"/>
                  </a:lnTo>
                  <a:lnTo>
                    <a:pt x="38" y="156"/>
                  </a:lnTo>
                  <a:lnTo>
                    <a:pt x="36" y="152"/>
                  </a:lnTo>
                  <a:lnTo>
                    <a:pt x="34" y="146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6" y="36"/>
                  </a:lnTo>
                  <a:lnTo>
                    <a:pt x="38" y="32"/>
                  </a:lnTo>
                  <a:lnTo>
                    <a:pt x="44" y="28"/>
                  </a:lnTo>
                  <a:lnTo>
                    <a:pt x="50" y="26"/>
                  </a:lnTo>
                  <a:lnTo>
                    <a:pt x="250" y="26"/>
                  </a:lnTo>
                  <a:lnTo>
                    <a:pt x="250" y="26"/>
                  </a:lnTo>
                  <a:lnTo>
                    <a:pt x="256" y="28"/>
                  </a:lnTo>
                  <a:lnTo>
                    <a:pt x="262" y="32"/>
                  </a:lnTo>
                  <a:lnTo>
                    <a:pt x="264" y="36"/>
                  </a:lnTo>
                  <a:lnTo>
                    <a:pt x="266" y="42"/>
                  </a:lnTo>
                  <a:lnTo>
                    <a:pt x="266" y="1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微软雅黑 Light" panose="020B0502040204020203" pitchFamily="34" charset="-122"/>
                <a:cs typeface="思源黑体 CN Regular" panose="020B0500000000000000" charset="-122"/>
                <a:sym typeface="微软雅黑 Light" panose="020B0502040204020203" pitchFamily="34" charset="-122"/>
              </a:endParaRPr>
            </a:p>
          </p:txBody>
        </p:sp>
        <p:sp>
          <p:nvSpPr>
            <p:cNvPr id="26" name="Freeform 51"/>
            <p:cNvSpPr>
              <a:spLocks noEditPoints="1"/>
            </p:cNvSpPr>
            <p:nvPr/>
          </p:nvSpPr>
          <p:spPr bwMode="auto">
            <a:xfrm>
              <a:off x="10126663" y="5162550"/>
              <a:ext cx="615950" cy="161925"/>
            </a:xfrm>
            <a:custGeom>
              <a:avLst/>
              <a:gdLst>
                <a:gd name="T0" fmla="*/ 354 w 388"/>
                <a:gd name="T1" fmla="*/ 14 h 102"/>
                <a:gd name="T2" fmla="*/ 354 w 388"/>
                <a:gd name="T3" fmla="*/ 14 h 102"/>
                <a:gd name="T4" fmla="*/ 346 w 388"/>
                <a:gd name="T5" fmla="*/ 4 h 102"/>
                <a:gd name="T6" fmla="*/ 342 w 388"/>
                <a:gd name="T7" fmla="*/ 0 h 102"/>
                <a:gd name="T8" fmla="*/ 336 w 388"/>
                <a:gd name="T9" fmla="*/ 0 h 102"/>
                <a:gd name="T10" fmla="*/ 52 w 388"/>
                <a:gd name="T11" fmla="*/ 0 h 102"/>
                <a:gd name="T12" fmla="*/ 52 w 388"/>
                <a:gd name="T13" fmla="*/ 0 h 102"/>
                <a:gd name="T14" fmla="*/ 46 w 388"/>
                <a:gd name="T15" fmla="*/ 2 h 102"/>
                <a:gd name="T16" fmla="*/ 40 w 388"/>
                <a:gd name="T17" fmla="*/ 6 h 102"/>
                <a:gd name="T18" fmla="*/ 32 w 388"/>
                <a:gd name="T19" fmla="*/ 18 h 102"/>
                <a:gd name="T20" fmla="*/ 2 w 388"/>
                <a:gd name="T21" fmla="*/ 70 h 102"/>
                <a:gd name="T22" fmla="*/ 386 w 388"/>
                <a:gd name="T23" fmla="*/ 70 h 102"/>
                <a:gd name="T24" fmla="*/ 354 w 388"/>
                <a:gd name="T25" fmla="*/ 14 h 102"/>
                <a:gd name="T26" fmla="*/ 134 w 388"/>
                <a:gd name="T27" fmla="*/ 64 h 102"/>
                <a:gd name="T28" fmla="*/ 140 w 388"/>
                <a:gd name="T29" fmla="*/ 48 h 102"/>
                <a:gd name="T30" fmla="*/ 246 w 388"/>
                <a:gd name="T31" fmla="*/ 48 h 102"/>
                <a:gd name="T32" fmla="*/ 254 w 388"/>
                <a:gd name="T33" fmla="*/ 64 h 102"/>
                <a:gd name="T34" fmla="*/ 134 w 388"/>
                <a:gd name="T35" fmla="*/ 64 h 102"/>
                <a:gd name="T36" fmla="*/ 330 w 388"/>
                <a:gd name="T37" fmla="*/ 36 h 102"/>
                <a:gd name="T38" fmla="*/ 60 w 388"/>
                <a:gd name="T39" fmla="*/ 36 h 102"/>
                <a:gd name="T40" fmla="*/ 60 w 388"/>
                <a:gd name="T41" fmla="*/ 36 h 102"/>
                <a:gd name="T42" fmla="*/ 52 w 388"/>
                <a:gd name="T43" fmla="*/ 36 h 102"/>
                <a:gd name="T44" fmla="*/ 48 w 388"/>
                <a:gd name="T45" fmla="*/ 34 h 102"/>
                <a:gd name="T46" fmla="*/ 46 w 388"/>
                <a:gd name="T47" fmla="*/ 32 h 102"/>
                <a:gd name="T48" fmla="*/ 46 w 388"/>
                <a:gd name="T49" fmla="*/ 30 h 102"/>
                <a:gd name="T50" fmla="*/ 52 w 388"/>
                <a:gd name="T51" fmla="*/ 16 h 102"/>
                <a:gd name="T52" fmla="*/ 52 w 388"/>
                <a:gd name="T53" fmla="*/ 16 h 102"/>
                <a:gd name="T54" fmla="*/ 58 w 388"/>
                <a:gd name="T55" fmla="*/ 12 h 102"/>
                <a:gd name="T56" fmla="*/ 66 w 388"/>
                <a:gd name="T57" fmla="*/ 10 h 102"/>
                <a:gd name="T58" fmla="*/ 322 w 388"/>
                <a:gd name="T59" fmla="*/ 10 h 102"/>
                <a:gd name="T60" fmla="*/ 322 w 388"/>
                <a:gd name="T61" fmla="*/ 10 h 102"/>
                <a:gd name="T62" fmla="*/ 330 w 388"/>
                <a:gd name="T63" fmla="*/ 12 h 102"/>
                <a:gd name="T64" fmla="*/ 336 w 388"/>
                <a:gd name="T65" fmla="*/ 16 h 102"/>
                <a:gd name="T66" fmla="*/ 342 w 388"/>
                <a:gd name="T67" fmla="*/ 30 h 102"/>
                <a:gd name="T68" fmla="*/ 342 w 388"/>
                <a:gd name="T69" fmla="*/ 30 h 102"/>
                <a:gd name="T70" fmla="*/ 344 w 388"/>
                <a:gd name="T71" fmla="*/ 32 h 102"/>
                <a:gd name="T72" fmla="*/ 342 w 388"/>
                <a:gd name="T73" fmla="*/ 34 h 102"/>
                <a:gd name="T74" fmla="*/ 338 w 388"/>
                <a:gd name="T75" fmla="*/ 36 h 102"/>
                <a:gd name="T76" fmla="*/ 330 w 388"/>
                <a:gd name="T77" fmla="*/ 36 h 102"/>
                <a:gd name="T78" fmla="*/ 330 w 388"/>
                <a:gd name="T79" fmla="*/ 36 h 102"/>
                <a:gd name="T80" fmla="*/ 0 w 388"/>
                <a:gd name="T81" fmla="*/ 82 h 102"/>
                <a:gd name="T82" fmla="*/ 0 w 388"/>
                <a:gd name="T83" fmla="*/ 82 h 102"/>
                <a:gd name="T84" fmla="*/ 4 w 388"/>
                <a:gd name="T85" fmla="*/ 88 h 102"/>
                <a:gd name="T86" fmla="*/ 14 w 388"/>
                <a:gd name="T87" fmla="*/ 102 h 102"/>
                <a:gd name="T88" fmla="*/ 374 w 388"/>
                <a:gd name="T89" fmla="*/ 102 h 102"/>
                <a:gd name="T90" fmla="*/ 374 w 388"/>
                <a:gd name="T91" fmla="*/ 102 h 102"/>
                <a:gd name="T92" fmla="*/ 384 w 388"/>
                <a:gd name="T93" fmla="*/ 88 h 102"/>
                <a:gd name="T94" fmla="*/ 388 w 388"/>
                <a:gd name="T95" fmla="*/ 82 h 102"/>
                <a:gd name="T96" fmla="*/ 0 w 388"/>
                <a:gd name="T97" fmla="*/ 8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88" h="102">
                  <a:moveTo>
                    <a:pt x="354" y="14"/>
                  </a:moveTo>
                  <a:lnTo>
                    <a:pt x="354" y="14"/>
                  </a:lnTo>
                  <a:lnTo>
                    <a:pt x="346" y="4"/>
                  </a:lnTo>
                  <a:lnTo>
                    <a:pt x="342" y="0"/>
                  </a:lnTo>
                  <a:lnTo>
                    <a:pt x="336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46" y="2"/>
                  </a:lnTo>
                  <a:lnTo>
                    <a:pt x="40" y="6"/>
                  </a:lnTo>
                  <a:lnTo>
                    <a:pt x="32" y="18"/>
                  </a:lnTo>
                  <a:lnTo>
                    <a:pt x="2" y="70"/>
                  </a:lnTo>
                  <a:lnTo>
                    <a:pt x="386" y="70"/>
                  </a:lnTo>
                  <a:lnTo>
                    <a:pt x="354" y="14"/>
                  </a:lnTo>
                  <a:close/>
                  <a:moveTo>
                    <a:pt x="134" y="64"/>
                  </a:moveTo>
                  <a:lnTo>
                    <a:pt x="140" y="48"/>
                  </a:lnTo>
                  <a:lnTo>
                    <a:pt x="246" y="48"/>
                  </a:lnTo>
                  <a:lnTo>
                    <a:pt x="254" y="64"/>
                  </a:lnTo>
                  <a:lnTo>
                    <a:pt x="134" y="64"/>
                  </a:lnTo>
                  <a:close/>
                  <a:moveTo>
                    <a:pt x="330" y="36"/>
                  </a:moveTo>
                  <a:lnTo>
                    <a:pt x="60" y="36"/>
                  </a:lnTo>
                  <a:lnTo>
                    <a:pt x="60" y="36"/>
                  </a:lnTo>
                  <a:lnTo>
                    <a:pt x="52" y="36"/>
                  </a:lnTo>
                  <a:lnTo>
                    <a:pt x="48" y="34"/>
                  </a:lnTo>
                  <a:lnTo>
                    <a:pt x="46" y="32"/>
                  </a:lnTo>
                  <a:lnTo>
                    <a:pt x="46" y="30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8" y="12"/>
                  </a:lnTo>
                  <a:lnTo>
                    <a:pt x="66" y="10"/>
                  </a:lnTo>
                  <a:lnTo>
                    <a:pt x="322" y="10"/>
                  </a:lnTo>
                  <a:lnTo>
                    <a:pt x="322" y="10"/>
                  </a:lnTo>
                  <a:lnTo>
                    <a:pt x="330" y="12"/>
                  </a:lnTo>
                  <a:lnTo>
                    <a:pt x="336" y="16"/>
                  </a:lnTo>
                  <a:lnTo>
                    <a:pt x="342" y="30"/>
                  </a:lnTo>
                  <a:lnTo>
                    <a:pt x="342" y="30"/>
                  </a:lnTo>
                  <a:lnTo>
                    <a:pt x="344" y="32"/>
                  </a:lnTo>
                  <a:lnTo>
                    <a:pt x="342" y="34"/>
                  </a:lnTo>
                  <a:lnTo>
                    <a:pt x="338" y="36"/>
                  </a:lnTo>
                  <a:lnTo>
                    <a:pt x="330" y="36"/>
                  </a:lnTo>
                  <a:lnTo>
                    <a:pt x="330" y="36"/>
                  </a:lnTo>
                  <a:close/>
                  <a:moveTo>
                    <a:pt x="0" y="82"/>
                  </a:moveTo>
                  <a:lnTo>
                    <a:pt x="0" y="82"/>
                  </a:lnTo>
                  <a:lnTo>
                    <a:pt x="4" y="88"/>
                  </a:lnTo>
                  <a:lnTo>
                    <a:pt x="14" y="102"/>
                  </a:lnTo>
                  <a:lnTo>
                    <a:pt x="374" y="102"/>
                  </a:lnTo>
                  <a:lnTo>
                    <a:pt x="374" y="102"/>
                  </a:lnTo>
                  <a:lnTo>
                    <a:pt x="384" y="88"/>
                  </a:lnTo>
                  <a:lnTo>
                    <a:pt x="388" y="82"/>
                  </a:lnTo>
                  <a:lnTo>
                    <a:pt x="0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微软雅黑 Light" panose="020B0502040204020203" pitchFamily="34" charset="-122"/>
                <a:cs typeface="思源黑体 CN Regular" panose="020B0500000000000000" charset="-122"/>
                <a:sym typeface="微软雅黑 Light" panose="020B0502040204020203" pitchFamily="34" charset="-122"/>
              </a:endParaRPr>
            </a:p>
          </p:txBody>
        </p:sp>
      </p:grpSp>
      <p:sp>
        <p:nvSpPr>
          <p:cNvPr id="27" name="Freeform 5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EditPoints="1"/>
          </p:cNvSpPr>
          <p:nvPr/>
        </p:nvSpPr>
        <p:spPr bwMode="auto">
          <a:xfrm>
            <a:off x="1680573" y="2539622"/>
            <a:ext cx="573634" cy="509522"/>
          </a:xfrm>
          <a:custGeom>
            <a:avLst/>
            <a:gdLst>
              <a:gd name="T0" fmla="*/ 128 w 340"/>
              <a:gd name="T1" fmla="*/ 46 h 302"/>
              <a:gd name="T2" fmla="*/ 116 w 340"/>
              <a:gd name="T3" fmla="*/ 48 h 302"/>
              <a:gd name="T4" fmla="*/ 106 w 340"/>
              <a:gd name="T5" fmla="*/ 56 h 302"/>
              <a:gd name="T6" fmla="*/ 98 w 340"/>
              <a:gd name="T7" fmla="*/ 66 h 302"/>
              <a:gd name="T8" fmla="*/ 96 w 340"/>
              <a:gd name="T9" fmla="*/ 78 h 302"/>
              <a:gd name="T10" fmla="*/ 96 w 340"/>
              <a:gd name="T11" fmla="*/ 86 h 302"/>
              <a:gd name="T12" fmla="*/ 102 w 340"/>
              <a:gd name="T13" fmla="*/ 96 h 302"/>
              <a:gd name="T14" fmla="*/ 110 w 340"/>
              <a:gd name="T15" fmla="*/ 106 h 302"/>
              <a:gd name="T16" fmla="*/ 122 w 340"/>
              <a:gd name="T17" fmla="*/ 110 h 302"/>
              <a:gd name="T18" fmla="*/ 128 w 340"/>
              <a:gd name="T19" fmla="*/ 110 h 302"/>
              <a:gd name="T20" fmla="*/ 142 w 340"/>
              <a:gd name="T21" fmla="*/ 108 h 302"/>
              <a:gd name="T22" fmla="*/ 152 w 340"/>
              <a:gd name="T23" fmla="*/ 102 h 302"/>
              <a:gd name="T24" fmla="*/ 158 w 340"/>
              <a:gd name="T25" fmla="*/ 92 h 302"/>
              <a:gd name="T26" fmla="*/ 160 w 340"/>
              <a:gd name="T27" fmla="*/ 78 h 302"/>
              <a:gd name="T28" fmla="*/ 160 w 340"/>
              <a:gd name="T29" fmla="*/ 72 h 302"/>
              <a:gd name="T30" fmla="*/ 156 w 340"/>
              <a:gd name="T31" fmla="*/ 60 h 302"/>
              <a:gd name="T32" fmla="*/ 146 w 340"/>
              <a:gd name="T33" fmla="*/ 52 h 302"/>
              <a:gd name="T34" fmla="*/ 134 w 340"/>
              <a:gd name="T35" fmla="*/ 48 h 302"/>
              <a:gd name="T36" fmla="*/ 128 w 340"/>
              <a:gd name="T37" fmla="*/ 46 h 302"/>
              <a:gd name="T38" fmla="*/ 48 w 340"/>
              <a:gd name="T39" fmla="*/ 0 h 302"/>
              <a:gd name="T40" fmla="*/ 38 w 340"/>
              <a:gd name="T41" fmla="*/ 2 h 302"/>
              <a:gd name="T42" fmla="*/ 20 w 340"/>
              <a:gd name="T43" fmla="*/ 8 h 302"/>
              <a:gd name="T44" fmla="*/ 8 w 340"/>
              <a:gd name="T45" fmla="*/ 22 h 302"/>
              <a:gd name="T46" fmla="*/ 0 w 340"/>
              <a:gd name="T47" fmla="*/ 38 h 302"/>
              <a:gd name="T48" fmla="*/ 0 w 340"/>
              <a:gd name="T49" fmla="*/ 210 h 302"/>
              <a:gd name="T50" fmla="*/ 0 w 340"/>
              <a:gd name="T51" fmla="*/ 220 h 302"/>
              <a:gd name="T52" fmla="*/ 8 w 340"/>
              <a:gd name="T53" fmla="*/ 238 h 302"/>
              <a:gd name="T54" fmla="*/ 20 w 340"/>
              <a:gd name="T55" fmla="*/ 250 h 302"/>
              <a:gd name="T56" fmla="*/ 38 w 340"/>
              <a:gd name="T57" fmla="*/ 258 h 302"/>
              <a:gd name="T58" fmla="*/ 130 w 340"/>
              <a:gd name="T59" fmla="*/ 258 h 302"/>
              <a:gd name="T60" fmla="*/ 210 w 340"/>
              <a:gd name="T61" fmla="*/ 284 h 302"/>
              <a:gd name="T62" fmla="*/ 292 w 340"/>
              <a:gd name="T63" fmla="*/ 258 h 302"/>
              <a:gd name="T64" fmla="*/ 302 w 340"/>
              <a:gd name="T65" fmla="*/ 258 h 302"/>
              <a:gd name="T66" fmla="*/ 320 w 340"/>
              <a:gd name="T67" fmla="*/ 250 h 302"/>
              <a:gd name="T68" fmla="*/ 332 w 340"/>
              <a:gd name="T69" fmla="*/ 238 h 302"/>
              <a:gd name="T70" fmla="*/ 340 w 340"/>
              <a:gd name="T71" fmla="*/ 220 h 302"/>
              <a:gd name="T72" fmla="*/ 340 w 340"/>
              <a:gd name="T73" fmla="*/ 48 h 302"/>
              <a:gd name="T74" fmla="*/ 340 w 340"/>
              <a:gd name="T75" fmla="*/ 38 h 302"/>
              <a:gd name="T76" fmla="*/ 332 w 340"/>
              <a:gd name="T77" fmla="*/ 22 h 302"/>
              <a:gd name="T78" fmla="*/ 320 w 340"/>
              <a:gd name="T79" fmla="*/ 8 h 302"/>
              <a:gd name="T80" fmla="*/ 302 w 340"/>
              <a:gd name="T81" fmla="*/ 2 h 302"/>
              <a:gd name="T82" fmla="*/ 292 w 340"/>
              <a:gd name="T83" fmla="*/ 0 h 302"/>
              <a:gd name="T84" fmla="*/ 240 w 340"/>
              <a:gd name="T85" fmla="*/ 102 h 302"/>
              <a:gd name="T86" fmla="*/ 94 w 340"/>
              <a:gd name="T87" fmla="*/ 152 h 302"/>
              <a:gd name="T88" fmla="*/ 24 w 340"/>
              <a:gd name="T89" fmla="*/ 222 h 302"/>
              <a:gd name="T90" fmla="*/ 22 w 340"/>
              <a:gd name="T91" fmla="*/ 210 h 302"/>
              <a:gd name="T92" fmla="*/ 22 w 340"/>
              <a:gd name="T93" fmla="*/ 48 h 302"/>
              <a:gd name="T94" fmla="*/ 30 w 340"/>
              <a:gd name="T95" fmla="*/ 30 h 302"/>
              <a:gd name="T96" fmla="*/ 48 w 340"/>
              <a:gd name="T97" fmla="*/ 22 h 302"/>
              <a:gd name="T98" fmla="*/ 292 w 340"/>
              <a:gd name="T99" fmla="*/ 22 h 302"/>
              <a:gd name="T100" fmla="*/ 312 w 340"/>
              <a:gd name="T101" fmla="*/ 30 h 302"/>
              <a:gd name="T102" fmla="*/ 318 w 340"/>
              <a:gd name="T103" fmla="*/ 48 h 302"/>
              <a:gd name="T104" fmla="*/ 96 w 340"/>
              <a:gd name="T105" fmla="*/ 302 h 302"/>
              <a:gd name="T106" fmla="*/ 244 w 340"/>
              <a:gd name="T107" fmla="*/ 294 h 302"/>
              <a:gd name="T108" fmla="*/ 96 w 340"/>
              <a:gd name="T109" fmla="*/ 302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40" h="302">
                <a:moveTo>
                  <a:pt x="128" y="46"/>
                </a:moveTo>
                <a:lnTo>
                  <a:pt x="128" y="46"/>
                </a:lnTo>
                <a:lnTo>
                  <a:pt x="122" y="48"/>
                </a:lnTo>
                <a:lnTo>
                  <a:pt x="116" y="48"/>
                </a:lnTo>
                <a:lnTo>
                  <a:pt x="110" y="52"/>
                </a:lnTo>
                <a:lnTo>
                  <a:pt x="106" y="56"/>
                </a:lnTo>
                <a:lnTo>
                  <a:pt x="102" y="60"/>
                </a:lnTo>
                <a:lnTo>
                  <a:pt x="98" y="66"/>
                </a:lnTo>
                <a:lnTo>
                  <a:pt x="96" y="72"/>
                </a:lnTo>
                <a:lnTo>
                  <a:pt x="96" y="78"/>
                </a:lnTo>
                <a:lnTo>
                  <a:pt x="96" y="78"/>
                </a:lnTo>
                <a:lnTo>
                  <a:pt x="96" y="86"/>
                </a:lnTo>
                <a:lnTo>
                  <a:pt x="98" y="92"/>
                </a:lnTo>
                <a:lnTo>
                  <a:pt x="102" y="96"/>
                </a:lnTo>
                <a:lnTo>
                  <a:pt x="106" y="102"/>
                </a:lnTo>
                <a:lnTo>
                  <a:pt x="110" y="106"/>
                </a:lnTo>
                <a:lnTo>
                  <a:pt x="116" y="108"/>
                </a:lnTo>
                <a:lnTo>
                  <a:pt x="122" y="110"/>
                </a:lnTo>
                <a:lnTo>
                  <a:pt x="128" y="110"/>
                </a:lnTo>
                <a:lnTo>
                  <a:pt x="128" y="110"/>
                </a:lnTo>
                <a:lnTo>
                  <a:pt x="134" y="110"/>
                </a:lnTo>
                <a:lnTo>
                  <a:pt x="142" y="108"/>
                </a:lnTo>
                <a:lnTo>
                  <a:pt x="146" y="106"/>
                </a:lnTo>
                <a:lnTo>
                  <a:pt x="152" y="102"/>
                </a:lnTo>
                <a:lnTo>
                  <a:pt x="156" y="96"/>
                </a:lnTo>
                <a:lnTo>
                  <a:pt x="158" y="92"/>
                </a:lnTo>
                <a:lnTo>
                  <a:pt x="160" y="86"/>
                </a:lnTo>
                <a:lnTo>
                  <a:pt x="160" y="78"/>
                </a:lnTo>
                <a:lnTo>
                  <a:pt x="160" y="78"/>
                </a:lnTo>
                <a:lnTo>
                  <a:pt x="160" y="72"/>
                </a:lnTo>
                <a:lnTo>
                  <a:pt x="158" y="66"/>
                </a:lnTo>
                <a:lnTo>
                  <a:pt x="156" y="60"/>
                </a:lnTo>
                <a:lnTo>
                  <a:pt x="152" y="56"/>
                </a:lnTo>
                <a:lnTo>
                  <a:pt x="146" y="52"/>
                </a:lnTo>
                <a:lnTo>
                  <a:pt x="142" y="48"/>
                </a:lnTo>
                <a:lnTo>
                  <a:pt x="134" y="48"/>
                </a:lnTo>
                <a:lnTo>
                  <a:pt x="128" y="46"/>
                </a:lnTo>
                <a:lnTo>
                  <a:pt x="128" y="46"/>
                </a:lnTo>
                <a:close/>
                <a:moveTo>
                  <a:pt x="292" y="0"/>
                </a:moveTo>
                <a:lnTo>
                  <a:pt x="48" y="0"/>
                </a:lnTo>
                <a:lnTo>
                  <a:pt x="48" y="0"/>
                </a:lnTo>
                <a:lnTo>
                  <a:pt x="38" y="2"/>
                </a:lnTo>
                <a:lnTo>
                  <a:pt x="28" y="4"/>
                </a:lnTo>
                <a:lnTo>
                  <a:pt x="20" y="8"/>
                </a:lnTo>
                <a:lnTo>
                  <a:pt x="14" y="14"/>
                </a:lnTo>
                <a:lnTo>
                  <a:pt x="8" y="22"/>
                </a:lnTo>
                <a:lnTo>
                  <a:pt x="4" y="30"/>
                </a:lnTo>
                <a:lnTo>
                  <a:pt x="0" y="38"/>
                </a:lnTo>
                <a:lnTo>
                  <a:pt x="0" y="48"/>
                </a:lnTo>
                <a:lnTo>
                  <a:pt x="0" y="210"/>
                </a:lnTo>
                <a:lnTo>
                  <a:pt x="0" y="210"/>
                </a:lnTo>
                <a:lnTo>
                  <a:pt x="0" y="220"/>
                </a:lnTo>
                <a:lnTo>
                  <a:pt x="4" y="230"/>
                </a:lnTo>
                <a:lnTo>
                  <a:pt x="8" y="238"/>
                </a:lnTo>
                <a:lnTo>
                  <a:pt x="14" y="244"/>
                </a:lnTo>
                <a:lnTo>
                  <a:pt x="20" y="250"/>
                </a:lnTo>
                <a:lnTo>
                  <a:pt x="28" y="256"/>
                </a:lnTo>
                <a:lnTo>
                  <a:pt x="38" y="258"/>
                </a:lnTo>
                <a:lnTo>
                  <a:pt x="48" y="258"/>
                </a:lnTo>
                <a:lnTo>
                  <a:pt x="130" y="258"/>
                </a:lnTo>
                <a:lnTo>
                  <a:pt x="130" y="284"/>
                </a:lnTo>
                <a:lnTo>
                  <a:pt x="210" y="284"/>
                </a:lnTo>
                <a:lnTo>
                  <a:pt x="210" y="258"/>
                </a:lnTo>
                <a:lnTo>
                  <a:pt x="292" y="258"/>
                </a:lnTo>
                <a:lnTo>
                  <a:pt x="292" y="258"/>
                </a:lnTo>
                <a:lnTo>
                  <a:pt x="302" y="258"/>
                </a:lnTo>
                <a:lnTo>
                  <a:pt x="312" y="256"/>
                </a:lnTo>
                <a:lnTo>
                  <a:pt x="320" y="250"/>
                </a:lnTo>
                <a:lnTo>
                  <a:pt x="326" y="244"/>
                </a:lnTo>
                <a:lnTo>
                  <a:pt x="332" y="238"/>
                </a:lnTo>
                <a:lnTo>
                  <a:pt x="336" y="230"/>
                </a:lnTo>
                <a:lnTo>
                  <a:pt x="340" y="220"/>
                </a:lnTo>
                <a:lnTo>
                  <a:pt x="340" y="210"/>
                </a:lnTo>
                <a:lnTo>
                  <a:pt x="340" y="48"/>
                </a:lnTo>
                <a:lnTo>
                  <a:pt x="340" y="48"/>
                </a:lnTo>
                <a:lnTo>
                  <a:pt x="340" y="38"/>
                </a:lnTo>
                <a:lnTo>
                  <a:pt x="336" y="30"/>
                </a:lnTo>
                <a:lnTo>
                  <a:pt x="332" y="22"/>
                </a:lnTo>
                <a:lnTo>
                  <a:pt x="326" y="14"/>
                </a:lnTo>
                <a:lnTo>
                  <a:pt x="320" y="8"/>
                </a:lnTo>
                <a:lnTo>
                  <a:pt x="312" y="4"/>
                </a:lnTo>
                <a:lnTo>
                  <a:pt x="302" y="2"/>
                </a:lnTo>
                <a:lnTo>
                  <a:pt x="292" y="0"/>
                </a:lnTo>
                <a:lnTo>
                  <a:pt x="292" y="0"/>
                </a:lnTo>
                <a:close/>
                <a:moveTo>
                  <a:pt x="318" y="182"/>
                </a:moveTo>
                <a:lnTo>
                  <a:pt x="240" y="102"/>
                </a:lnTo>
                <a:lnTo>
                  <a:pt x="142" y="200"/>
                </a:lnTo>
                <a:lnTo>
                  <a:pt x="94" y="152"/>
                </a:lnTo>
                <a:lnTo>
                  <a:pt x="24" y="222"/>
                </a:lnTo>
                <a:lnTo>
                  <a:pt x="24" y="222"/>
                </a:lnTo>
                <a:lnTo>
                  <a:pt x="22" y="216"/>
                </a:lnTo>
                <a:lnTo>
                  <a:pt x="22" y="210"/>
                </a:lnTo>
                <a:lnTo>
                  <a:pt x="22" y="48"/>
                </a:lnTo>
                <a:lnTo>
                  <a:pt x="22" y="48"/>
                </a:lnTo>
                <a:lnTo>
                  <a:pt x="24" y="38"/>
                </a:lnTo>
                <a:lnTo>
                  <a:pt x="30" y="30"/>
                </a:lnTo>
                <a:lnTo>
                  <a:pt x="38" y="24"/>
                </a:lnTo>
                <a:lnTo>
                  <a:pt x="48" y="22"/>
                </a:lnTo>
                <a:lnTo>
                  <a:pt x="292" y="22"/>
                </a:lnTo>
                <a:lnTo>
                  <a:pt x="292" y="22"/>
                </a:lnTo>
                <a:lnTo>
                  <a:pt x="302" y="24"/>
                </a:lnTo>
                <a:lnTo>
                  <a:pt x="312" y="30"/>
                </a:lnTo>
                <a:lnTo>
                  <a:pt x="316" y="38"/>
                </a:lnTo>
                <a:lnTo>
                  <a:pt x="318" y="48"/>
                </a:lnTo>
                <a:lnTo>
                  <a:pt x="318" y="182"/>
                </a:lnTo>
                <a:close/>
                <a:moveTo>
                  <a:pt x="96" y="302"/>
                </a:moveTo>
                <a:lnTo>
                  <a:pt x="244" y="302"/>
                </a:lnTo>
                <a:lnTo>
                  <a:pt x="244" y="294"/>
                </a:lnTo>
                <a:lnTo>
                  <a:pt x="96" y="294"/>
                </a:lnTo>
                <a:lnTo>
                  <a:pt x="96" y="3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id-ID" dirty="0">
              <a:solidFill>
                <a:schemeClr val="tx2">
                  <a:lumMod val="50000"/>
                </a:schemeClr>
              </a:solidFill>
              <a:latin typeface="方正综艺简体" panose="03000509000000000000" pitchFamily="65" charset="-122"/>
              <a:ea typeface="微软雅黑 Light" panose="020B0502040204020203" pitchFamily="34" charset="-122"/>
              <a:cs typeface="思源黑体 CN Regular" panose="020B0500000000000000" charset="-122"/>
              <a:sym typeface="微软雅黑 Light" panose="020B0502040204020203" pitchFamily="34" charset="-122"/>
            </a:endParaRPr>
          </a:p>
        </p:txBody>
      </p:sp>
      <p:grpSp>
        <p:nvGrpSpPr>
          <p:cNvPr id="28" name="Group 4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9610108" y="2539622"/>
            <a:ext cx="574488" cy="567462"/>
            <a:chOff x="5826734" y="3292170"/>
            <a:chExt cx="316282" cy="312413"/>
          </a:xfrm>
          <a:solidFill>
            <a:schemeClr val="bg1"/>
          </a:solidFill>
        </p:grpSpPr>
        <p:sp>
          <p:nvSpPr>
            <p:cNvPr id="29" name="Freeform 14"/>
            <p:cNvSpPr/>
            <p:nvPr/>
          </p:nvSpPr>
          <p:spPr bwMode="auto">
            <a:xfrm>
              <a:off x="5941056" y="3551869"/>
              <a:ext cx="52714" cy="52714"/>
            </a:xfrm>
            <a:custGeom>
              <a:avLst/>
              <a:gdLst>
                <a:gd name="T0" fmla="*/ 0 w 46"/>
                <a:gd name="T1" fmla="*/ 22 h 46"/>
                <a:gd name="T2" fmla="*/ 0 w 46"/>
                <a:gd name="T3" fmla="*/ 22 h 46"/>
                <a:gd name="T4" fmla="*/ 2 w 46"/>
                <a:gd name="T5" fmla="*/ 14 h 46"/>
                <a:gd name="T6" fmla="*/ 6 w 46"/>
                <a:gd name="T7" fmla="*/ 6 h 46"/>
                <a:gd name="T8" fmla="*/ 14 w 46"/>
                <a:gd name="T9" fmla="*/ 0 h 46"/>
                <a:gd name="T10" fmla="*/ 22 w 46"/>
                <a:gd name="T11" fmla="*/ 0 h 46"/>
                <a:gd name="T12" fmla="*/ 22 w 46"/>
                <a:gd name="T13" fmla="*/ 0 h 46"/>
                <a:gd name="T14" fmla="*/ 32 w 46"/>
                <a:gd name="T15" fmla="*/ 0 h 46"/>
                <a:gd name="T16" fmla="*/ 38 w 46"/>
                <a:gd name="T17" fmla="*/ 6 h 46"/>
                <a:gd name="T18" fmla="*/ 44 w 46"/>
                <a:gd name="T19" fmla="*/ 14 h 46"/>
                <a:gd name="T20" fmla="*/ 46 w 46"/>
                <a:gd name="T21" fmla="*/ 22 h 46"/>
                <a:gd name="T22" fmla="*/ 46 w 46"/>
                <a:gd name="T23" fmla="*/ 22 h 46"/>
                <a:gd name="T24" fmla="*/ 44 w 46"/>
                <a:gd name="T25" fmla="*/ 32 h 46"/>
                <a:gd name="T26" fmla="*/ 38 w 46"/>
                <a:gd name="T27" fmla="*/ 40 h 46"/>
                <a:gd name="T28" fmla="*/ 32 w 46"/>
                <a:gd name="T29" fmla="*/ 44 h 46"/>
                <a:gd name="T30" fmla="*/ 22 w 46"/>
                <a:gd name="T31" fmla="*/ 46 h 46"/>
                <a:gd name="T32" fmla="*/ 22 w 46"/>
                <a:gd name="T33" fmla="*/ 46 h 46"/>
                <a:gd name="T34" fmla="*/ 14 w 46"/>
                <a:gd name="T35" fmla="*/ 44 h 46"/>
                <a:gd name="T36" fmla="*/ 6 w 46"/>
                <a:gd name="T37" fmla="*/ 40 h 46"/>
                <a:gd name="T38" fmla="*/ 2 w 46"/>
                <a:gd name="T39" fmla="*/ 32 h 46"/>
                <a:gd name="T40" fmla="*/ 0 w 46"/>
                <a:gd name="T41" fmla="*/ 22 h 46"/>
                <a:gd name="T42" fmla="*/ 0 w 46"/>
                <a:gd name="T43" fmla="*/ 2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46">
                  <a:moveTo>
                    <a:pt x="0" y="22"/>
                  </a:moveTo>
                  <a:lnTo>
                    <a:pt x="0" y="22"/>
                  </a:lnTo>
                  <a:lnTo>
                    <a:pt x="2" y="14"/>
                  </a:lnTo>
                  <a:lnTo>
                    <a:pt x="6" y="6"/>
                  </a:lnTo>
                  <a:lnTo>
                    <a:pt x="14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32" y="0"/>
                  </a:lnTo>
                  <a:lnTo>
                    <a:pt x="38" y="6"/>
                  </a:lnTo>
                  <a:lnTo>
                    <a:pt x="44" y="14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4" y="32"/>
                  </a:lnTo>
                  <a:lnTo>
                    <a:pt x="38" y="40"/>
                  </a:lnTo>
                  <a:lnTo>
                    <a:pt x="32" y="44"/>
                  </a:lnTo>
                  <a:lnTo>
                    <a:pt x="22" y="46"/>
                  </a:lnTo>
                  <a:lnTo>
                    <a:pt x="22" y="46"/>
                  </a:lnTo>
                  <a:lnTo>
                    <a:pt x="14" y="44"/>
                  </a:lnTo>
                  <a:lnTo>
                    <a:pt x="6" y="40"/>
                  </a:lnTo>
                  <a:lnTo>
                    <a:pt x="2" y="32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微软雅黑 Light" panose="020B0502040204020203" pitchFamily="34" charset="-122"/>
                <a:cs typeface="思源黑体 CN Regular" panose="020B0500000000000000" charset="-122"/>
                <a:sym typeface="微软雅黑 Light" panose="020B0502040204020203" pitchFamily="34" charset="-122"/>
              </a:endParaRPr>
            </a:p>
          </p:txBody>
        </p:sp>
        <p:sp>
          <p:nvSpPr>
            <p:cNvPr id="30" name="Freeform 15"/>
            <p:cNvSpPr/>
            <p:nvPr/>
          </p:nvSpPr>
          <p:spPr bwMode="auto">
            <a:xfrm>
              <a:off x="6073964" y="3551869"/>
              <a:ext cx="50422" cy="52714"/>
            </a:xfrm>
            <a:custGeom>
              <a:avLst/>
              <a:gdLst>
                <a:gd name="T0" fmla="*/ 0 w 44"/>
                <a:gd name="T1" fmla="*/ 22 h 46"/>
                <a:gd name="T2" fmla="*/ 0 w 44"/>
                <a:gd name="T3" fmla="*/ 22 h 46"/>
                <a:gd name="T4" fmla="*/ 0 w 44"/>
                <a:gd name="T5" fmla="*/ 14 h 46"/>
                <a:gd name="T6" fmla="*/ 6 w 44"/>
                <a:gd name="T7" fmla="*/ 6 h 46"/>
                <a:gd name="T8" fmla="*/ 14 w 44"/>
                <a:gd name="T9" fmla="*/ 0 h 46"/>
                <a:gd name="T10" fmla="*/ 22 w 44"/>
                <a:gd name="T11" fmla="*/ 0 h 46"/>
                <a:gd name="T12" fmla="*/ 22 w 44"/>
                <a:gd name="T13" fmla="*/ 0 h 46"/>
                <a:gd name="T14" fmla="*/ 30 w 44"/>
                <a:gd name="T15" fmla="*/ 0 h 46"/>
                <a:gd name="T16" fmla="*/ 38 w 44"/>
                <a:gd name="T17" fmla="*/ 6 h 46"/>
                <a:gd name="T18" fmla="*/ 44 w 44"/>
                <a:gd name="T19" fmla="*/ 14 h 46"/>
                <a:gd name="T20" fmla="*/ 44 w 44"/>
                <a:gd name="T21" fmla="*/ 22 h 46"/>
                <a:gd name="T22" fmla="*/ 44 w 44"/>
                <a:gd name="T23" fmla="*/ 22 h 46"/>
                <a:gd name="T24" fmla="*/ 44 w 44"/>
                <a:gd name="T25" fmla="*/ 32 h 46"/>
                <a:gd name="T26" fmla="*/ 38 w 44"/>
                <a:gd name="T27" fmla="*/ 40 h 46"/>
                <a:gd name="T28" fmla="*/ 30 w 44"/>
                <a:gd name="T29" fmla="*/ 44 h 46"/>
                <a:gd name="T30" fmla="*/ 22 w 44"/>
                <a:gd name="T31" fmla="*/ 46 h 46"/>
                <a:gd name="T32" fmla="*/ 22 w 44"/>
                <a:gd name="T33" fmla="*/ 46 h 46"/>
                <a:gd name="T34" fmla="*/ 14 w 44"/>
                <a:gd name="T35" fmla="*/ 44 h 46"/>
                <a:gd name="T36" fmla="*/ 6 w 44"/>
                <a:gd name="T37" fmla="*/ 40 h 46"/>
                <a:gd name="T38" fmla="*/ 0 w 44"/>
                <a:gd name="T39" fmla="*/ 32 h 46"/>
                <a:gd name="T40" fmla="*/ 0 w 44"/>
                <a:gd name="T41" fmla="*/ 22 h 46"/>
                <a:gd name="T42" fmla="*/ 0 w 44"/>
                <a:gd name="T43" fmla="*/ 2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4" h="46">
                  <a:moveTo>
                    <a:pt x="0" y="22"/>
                  </a:moveTo>
                  <a:lnTo>
                    <a:pt x="0" y="22"/>
                  </a:lnTo>
                  <a:lnTo>
                    <a:pt x="0" y="14"/>
                  </a:lnTo>
                  <a:lnTo>
                    <a:pt x="6" y="6"/>
                  </a:lnTo>
                  <a:lnTo>
                    <a:pt x="14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30" y="0"/>
                  </a:lnTo>
                  <a:lnTo>
                    <a:pt x="38" y="6"/>
                  </a:lnTo>
                  <a:lnTo>
                    <a:pt x="44" y="14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32"/>
                  </a:lnTo>
                  <a:lnTo>
                    <a:pt x="38" y="40"/>
                  </a:lnTo>
                  <a:lnTo>
                    <a:pt x="30" y="44"/>
                  </a:lnTo>
                  <a:lnTo>
                    <a:pt x="22" y="46"/>
                  </a:lnTo>
                  <a:lnTo>
                    <a:pt x="22" y="46"/>
                  </a:lnTo>
                  <a:lnTo>
                    <a:pt x="14" y="44"/>
                  </a:lnTo>
                  <a:lnTo>
                    <a:pt x="6" y="40"/>
                  </a:lnTo>
                  <a:lnTo>
                    <a:pt x="0" y="32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微软雅黑 Light" panose="020B0502040204020203" pitchFamily="34" charset="-122"/>
                <a:cs typeface="思源黑体 CN Regular" panose="020B0500000000000000" charset="-122"/>
                <a:sym typeface="微软雅黑 Light" panose="020B0502040204020203" pitchFamily="34" charset="-122"/>
              </a:endParaRPr>
            </a:p>
          </p:txBody>
        </p:sp>
        <p:sp>
          <p:nvSpPr>
            <p:cNvPr id="31" name="Freeform 16"/>
            <p:cNvSpPr>
              <a:spLocks noEditPoints="1"/>
            </p:cNvSpPr>
            <p:nvPr/>
          </p:nvSpPr>
          <p:spPr bwMode="auto">
            <a:xfrm>
              <a:off x="5826734" y="3292170"/>
              <a:ext cx="316282" cy="187936"/>
            </a:xfrm>
            <a:custGeom>
              <a:avLst/>
              <a:gdLst>
                <a:gd name="T0" fmla="*/ 266 w 276"/>
                <a:gd name="T1" fmla="*/ 52 h 164"/>
                <a:gd name="T2" fmla="*/ 106 w 276"/>
                <a:gd name="T3" fmla="*/ 52 h 164"/>
                <a:gd name="T4" fmla="*/ 106 w 276"/>
                <a:gd name="T5" fmla="*/ 52 h 164"/>
                <a:gd name="T6" fmla="*/ 100 w 276"/>
                <a:gd name="T7" fmla="*/ 50 h 164"/>
                <a:gd name="T8" fmla="*/ 94 w 276"/>
                <a:gd name="T9" fmla="*/ 46 h 164"/>
                <a:gd name="T10" fmla="*/ 90 w 276"/>
                <a:gd name="T11" fmla="*/ 42 h 164"/>
                <a:gd name="T12" fmla="*/ 88 w 276"/>
                <a:gd name="T13" fmla="*/ 34 h 164"/>
                <a:gd name="T14" fmla="*/ 88 w 276"/>
                <a:gd name="T15" fmla="*/ 16 h 164"/>
                <a:gd name="T16" fmla="*/ 88 w 276"/>
                <a:gd name="T17" fmla="*/ 16 h 164"/>
                <a:gd name="T18" fmla="*/ 86 w 276"/>
                <a:gd name="T19" fmla="*/ 10 h 164"/>
                <a:gd name="T20" fmla="*/ 82 w 276"/>
                <a:gd name="T21" fmla="*/ 4 h 164"/>
                <a:gd name="T22" fmla="*/ 76 w 276"/>
                <a:gd name="T23" fmla="*/ 0 h 164"/>
                <a:gd name="T24" fmla="*/ 70 w 276"/>
                <a:gd name="T25" fmla="*/ 0 h 164"/>
                <a:gd name="T26" fmla="*/ 18 w 276"/>
                <a:gd name="T27" fmla="*/ 0 h 164"/>
                <a:gd name="T28" fmla="*/ 18 w 276"/>
                <a:gd name="T29" fmla="*/ 0 h 164"/>
                <a:gd name="T30" fmla="*/ 12 w 276"/>
                <a:gd name="T31" fmla="*/ 0 h 164"/>
                <a:gd name="T32" fmla="*/ 6 w 276"/>
                <a:gd name="T33" fmla="*/ 4 h 164"/>
                <a:gd name="T34" fmla="*/ 2 w 276"/>
                <a:gd name="T35" fmla="*/ 8 h 164"/>
                <a:gd name="T36" fmla="*/ 0 w 276"/>
                <a:gd name="T37" fmla="*/ 14 h 164"/>
                <a:gd name="T38" fmla="*/ 0 w 276"/>
                <a:gd name="T39" fmla="*/ 14 h 164"/>
                <a:gd name="T40" fmla="*/ 2 w 276"/>
                <a:gd name="T41" fmla="*/ 20 h 164"/>
                <a:gd name="T42" fmla="*/ 4 w 276"/>
                <a:gd name="T43" fmla="*/ 26 h 164"/>
                <a:gd name="T44" fmla="*/ 10 w 276"/>
                <a:gd name="T45" fmla="*/ 28 h 164"/>
                <a:gd name="T46" fmla="*/ 16 w 276"/>
                <a:gd name="T47" fmla="*/ 30 h 164"/>
                <a:gd name="T48" fmla="*/ 36 w 276"/>
                <a:gd name="T49" fmla="*/ 30 h 164"/>
                <a:gd name="T50" fmla="*/ 36 w 276"/>
                <a:gd name="T51" fmla="*/ 30 h 164"/>
                <a:gd name="T52" fmla="*/ 42 w 276"/>
                <a:gd name="T53" fmla="*/ 30 h 164"/>
                <a:gd name="T54" fmla="*/ 50 w 276"/>
                <a:gd name="T55" fmla="*/ 34 h 164"/>
                <a:gd name="T56" fmla="*/ 54 w 276"/>
                <a:gd name="T57" fmla="*/ 40 h 164"/>
                <a:gd name="T58" fmla="*/ 58 w 276"/>
                <a:gd name="T59" fmla="*/ 46 h 164"/>
                <a:gd name="T60" fmla="*/ 98 w 276"/>
                <a:gd name="T61" fmla="*/ 150 h 164"/>
                <a:gd name="T62" fmla="*/ 98 w 276"/>
                <a:gd name="T63" fmla="*/ 150 h 164"/>
                <a:gd name="T64" fmla="*/ 100 w 276"/>
                <a:gd name="T65" fmla="*/ 156 h 164"/>
                <a:gd name="T66" fmla="*/ 106 w 276"/>
                <a:gd name="T67" fmla="*/ 160 h 164"/>
                <a:gd name="T68" fmla="*/ 112 w 276"/>
                <a:gd name="T69" fmla="*/ 164 h 164"/>
                <a:gd name="T70" fmla="*/ 120 w 276"/>
                <a:gd name="T71" fmla="*/ 164 h 164"/>
                <a:gd name="T72" fmla="*/ 218 w 276"/>
                <a:gd name="T73" fmla="*/ 164 h 164"/>
                <a:gd name="T74" fmla="*/ 218 w 276"/>
                <a:gd name="T75" fmla="*/ 164 h 164"/>
                <a:gd name="T76" fmla="*/ 226 w 276"/>
                <a:gd name="T77" fmla="*/ 164 h 164"/>
                <a:gd name="T78" fmla="*/ 232 w 276"/>
                <a:gd name="T79" fmla="*/ 160 h 164"/>
                <a:gd name="T80" fmla="*/ 238 w 276"/>
                <a:gd name="T81" fmla="*/ 156 h 164"/>
                <a:gd name="T82" fmla="*/ 242 w 276"/>
                <a:gd name="T83" fmla="*/ 150 h 164"/>
                <a:gd name="T84" fmla="*/ 276 w 276"/>
                <a:gd name="T85" fmla="*/ 68 h 164"/>
                <a:gd name="T86" fmla="*/ 276 w 276"/>
                <a:gd name="T87" fmla="*/ 68 h 164"/>
                <a:gd name="T88" fmla="*/ 276 w 276"/>
                <a:gd name="T89" fmla="*/ 62 h 164"/>
                <a:gd name="T90" fmla="*/ 276 w 276"/>
                <a:gd name="T91" fmla="*/ 56 h 164"/>
                <a:gd name="T92" fmla="*/ 272 w 276"/>
                <a:gd name="T93" fmla="*/ 52 h 164"/>
                <a:gd name="T94" fmla="*/ 266 w 276"/>
                <a:gd name="T95" fmla="*/ 52 h 164"/>
                <a:gd name="T96" fmla="*/ 266 w 276"/>
                <a:gd name="T97" fmla="*/ 52 h 164"/>
                <a:gd name="T98" fmla="*/ 212 w 276"/>
                <a:gd name="T99" fmla="*/ 142 h 164"/>
                <a:gd name="T100" fmla="*/ 128 w 276"/>
                <a:gd name="T101" fmla="*/ 142 h 164"/>
                <a:gd name="T102" fmla="*/ 106 w 276"/>
                <a:gd name="T103" fmla="*/ 76 h 164"/>
                <a:gd name="T104" fmla="*/ 238 w 276"/>
                <a:gd name="T105" fmla="*/ 76 h 164"/>
                <a:gd name="T106" fmla="*/ 212 w 276"/>
                <a:gd name="T107" fmla="*/ 142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76" h="164">
                  <a:moveTo>
                    <a:pt x="266" y="52"/>
                  </a:moveTo>
                  <a:lnTo>
                    <a:pt x="106" y="52"/>
                  </a:lnTo>
                  <a:lnTo>
                    <a:pt x="106" y="52"/>
                  </a:lnTo>
                  <a:lnTo>
                    <a:pt x="100" y="50"/>
                  </a:lnTo>
                  <a:lnTo>
                    <a:pt x="94" y="46"/>
                  </a:lnTo>
                  <a:lnTo>
                    <a:pt x="90" y="42"/>
                  </a:lnTo>
                  <a:lnTo>
                    <a:pt x="88" y="34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6" y="10"/>
                  </a:lnTo>
                  <a:lnTo>
                    <a:pt x="82" y="4"/>
                  </a:lnTo>
                  <a:lnTo>
                    <a:pt x="76" y="0"/>
                  </a:lnTo>
                  <a:lnTo>
                    <a:pt x="70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6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20"/>
                  </a:lnTo>
                  <a:lnTo>
                    <a:pt x="4" y="26"/>
                  </a:lnTo>
                  <a:lnTo>
                    <a:pt x="10" y="28"/>
                  </a:lnTo>
                  <a:lnTo>
                    <a:pt x="16" y="30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42" y="30"/>
                  </a:lnTo>
                  <a:lnTo>
                    <a:pt x="50" y="34"/>
                  </a:lnTo>
                  <a:lnTo>
                    <a:pt x="54" y="40"/>
                  </a:lnTo>
                  <a:lnTo>
                    <a:pt x="58" y="46"/>
                  </a:lnTo>
                  <a:lnTo>
                    <a:pt x="98" y="150"/>
                  </a:lnTo>
                  <a:lnTo>
                    <a:pt x="98" y="150"/>
                  </a:lnTo>
                  <a:lnTo>
                    <a:pt x="100" y="156"/>
                  </a:lnTo>
                  <a:lnTo>
                    <a:pt x="106" y="160"/>
                  </a:lnTo>
                  <a:lnTo>
                    <a:pt x="112" y="164"/>
                  </a:lnTo>
                  <a:lnTo>
                    <a:pt x="120" y="164"/>
                  </a:lnTo>
                  <a:lnTo>
                    <a:pt x="218" y="164"/>
                  </a:lnTo>
                  <a:lnTo>
                    <a:pt x="218" y="164"/>
                  </a:lnTo>
                  <a:lnTo>
                    <a:pt x="226" y="164"/>
                  </a:lnTo>
                  <a:lnTo>
                    <a:pt x="232" y="160"/>
                  </a:lnTo>
                  <a:lnTo>
                    <a:pt x="238" y="156"/>
                  </a:lnTo>
                  <a:lnTo>
                    <a:pt x="242" y="150"/>
                  </a:lnTo>
                  <a:lnTo>
                    <a:pt x="276" y="68"/>
                  </a:lnTo>
                  <a:lnTo>
                    <a:pt x="276" y="68"/>
                  </a:lnTo>
                  <a:lnTo>
                    <a:pt x="276" y="62"/>
                  </a:lnTo>
                  <a:lnTo>
                    <a:pt x="276" y="56"/>
                  </a:lnTo>
                  <a:lnTo>
                    <a:pt x="272" y="52"/>
                  </a:lnTo>
                  <a:lnTo>
                    <a:pt x="266" y="52"/>
                  </a:lnTo>
                  <a:lnTo>
                    <a:pt x="266" y="52"/>
                  </a:lnTo>
                  <a:close/>
                  <a:moveTo>
                    <a:pt x="212" y="142"/>
                  </a:moveTo>
                  <a:lnTo>
                    <a:pt x="128" y="142"/>
                  </a:lnTo>
                  <a:lnTo>
                    <a:pt x="106" y="76"/>
                  </a:lnTo>
                  <a:lnTo>
                    <a:pt x="238" y="76"/>
                  </a:lnTo>
                  <a:lnTo>
                    <a:pt x="212" y="1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微软雅黑 Light" panose="020B0502040204020203" pitchFamily="34" charset="-122"/>
                <a:cs typeface="思源黑体 CN Regular" panose="020B0500000000000000" charset="-122"/>
                <a:sym typeface="微软雅黑 Light" panose="020B0502040204020203" pitchFamily="34" charset="-122"/>
              </a:endParaRPr>
            </a:p>
          </p:txBody>
        </p:sp>
      </p:grpSp>
      <p:grpSp>
        <p:nvGrpSpPr>
          <p:cNvPr id="32" name="Group 4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7642639" y="2477550"/>
            <a:ext cx="547876" cy="547876"/>
            <a:chOff x="4543425" y="1855788"/>
            <a:chExt cx="244475" cy="244475"/>
          </a:xfrm>
          <a:solidFill>
            <a:schemeClr val="bg1"/>
          </a:solidFill>
        </p:grpSpPr>
        <p:sp>
          <p:nvSpPr>
            <p:cNvPr id="33" name="Freeform 132"/>
            <p:cNvSpPr>
              <a:spLocks noEditPoints="1"/>
            </p:cNvSpPr>
            <p:nvPr/>
          </p:nvSpPr>
          <p:spPr bwMode="auto">
            <a:xfrm>
              <a:off x="4559300" y="1995488"/>
              <a:ext cx="212725" cy="104775"/>
            </a:xfrm>
            <a:custGeom>
              <a:avLst/>
              <a:gdLst>
                <a:gd name="T0" fmla="*/ 14 w 134"/>
                <a:gd name="T1" fmla="*/ 66 h 66"/>
                <a:gd name="T2" fmla="*/ 4 w 134"/>
                <a:gd name="T3" fmla="*/ 60 h 66"/>
                <a:gd name="T4" fmla="*/ 134 w 134"/>
                <a:gd name="T5" fmla="*/ 0 h 66"/>
                <a:gd name="T6" fmla="*/ 130 w 134"/>
                <a:gd name="T7" fmla="*/ 56 h 66"/>
                <a:gd name="T8" fmla="*/ 122 w 134"/>
                <a:gd name="T9" fmla="*/ 66 h 66"/>
                <a:gd name="T10" fmla="*/ 4 w 134"/>
                <a:gd name="T11" fmla="*/ 4 h 66"/>
                <a:gd name="T12" fmla="*/ 10 w 134"/>
                <a:gd name="T13" fmla="*/ 60 h 66"/>
                <a:gd name="T14" fmla="*/ 118 w 134"/>
                <a:gd name="T15" fmla="*/ 62 h 66"/>
                <a:gd name="T16" fmla="*/ 130 w 134"/>
                <a:gd name="T17" fmla="*/ 4 h 66"/>
                <a:gd name="T18" fmla="*/ 104 w 134"/>
                <a:gd name="T19" fmla="*/ 56 h 66"/>
                <a:gd name="T20" fmla="*/ 98 w 134"/>
                <a:gd name="T21" fmla="*/ 20 h 66"/>
                <a:gd name="T22" fmla="*/ 104 w 134"/>
                <a:gd name="T23" fmla="*/ 14 h 66"/>
                <a:gd name="T24" fmla="*/ 110 w 134"/>
                <a:gd name="T25" fmla="*/ 20 h 66"/>
                <a:gd name="T26" fmla="*/ 108 w 134"/>
                <a:gd name="T27" fmla="*/ 54 h 66"/>
                <a:gd name="T28" fmla="*/ 104 w 134"/>
                <a:gd name="T29" fmla="*/ 18 h 66"/>
                <a:gd name="T30" fmla="*/ 102 w 134"/>
                <a:gd name="T31" fmla="*/ 20 h 66"/>
                <a:gd name="T32" fmla="*/ 104 w 134"/>
                <a:gd name="T33" fmla="*/ 50 h 66"/>
                <a:gd name="T34" fmla="*/ 106 w 134"/>
                <a:gd name="T35" fmla="*/ 50 h 66"/>
                <a:gd name="T36" fmla="*/ 106 w 134"/>
                <a:gd name="T37" fmla="*/ 20 h 66"/>
                <a:gd name="T38" fmla="*/ 104 w 134"/>
                <a:gd name="T39" fmla="*/ 18 h 66"/>
                <a:gd name="T40" fmla="*/ 76 w 134"/>
                <a:gd name="T41" fmla="*/ 54 h 66"/>
                <a:gd name="T42" fmla="*/ 74 w 134"/>
                <a:gd name="T43" fmla="*/ 20 h 66"/>
                <a:gd name="T44" fmla="*/ 80 w 134"/>
                <a:gd name="T45" fmla="*/ 14 h 66"/>
                <a:gd name="T46" fmla="*/ 84 w 134"/>
                <a:gd name="T47" fmla="*/ 48 h 66"/>
                <a:gd name="T48" fmla="*/ 80 w 134"/>
                <a:gd name="T49" fmla="*/ 56 h 66"/>
                <a:gd name="T50" fmla="*/ 80 w 134"/>
                <a:gd name="T51" fmla="*/ 18 h 66"/>
                <a:gd name="T52" fmla="*/ 78 w 134"/>
                <a:gd name="T53" fmla="*/ 48 h 66"/>
                <a:gd name="T54" fmla="*/ 80 w 134"/>
                <a:gd name="T55" fmla="*/ 52 h 66"/>
                <a:gd name="T56" fmla="*/ 80 w 134"/>
                <a:gd name="T57" fmla="*/ 48 h 66"/>
                <a:gd name="T58" fmla="*/ 80 w 134"/>
                <a:gd name="T59" fmla="*/ 18 h 66"/>
                <a:gd name="T60" fmla="*/ 54 w 134"/>
                <a:gd name="T61" fmla="*/ 56 h 66"/>
                <a:gd name="T62" fmla="*/ 48 w 134"/>
                <a:gd name="T63" fmla="*/ 48 h 66"/>
                <a:gd name="T64" fmla="*/ 50 w 134"/>
                <a:gd name="T65" fmla="*/ 16 h 66"/>
                <a:gd name="T66" fmla="*/ 58 w 134"/>
                <a:gd name="T67" fmla="*/ 16 h 66"/>
                <a:gd name="T68" fmla="*/ 60 w 134"/>
                <a:gd name="T69" fmla="*/ 48 h 66"/>
                <a:gd name="T70" fmla="*/ 54 w 134"/>
                <a:gd name="T71" fmla="*/ 56 h 66"/>
                <a:gd name="T72" fmla="*/ 52 w 134"/>
                <a:gd name="T73" fmla="*/ 18 h 66"/>
                <a:gd name="T74" fmla="*/ 52 w 134"/>
                <a:gd name="T75" fmla="*/ 48 h 66"/>
                <a:gd name="T76" fmla="*/ 54 w 134"/>
                <a:gd name="T77" fmla="*/ 52 h 66"/>
                <a:gd name="T78" fmla="*/ 56 w 134"/>
                <a:gd name="T79" fmla="*/ 20 h 66"/>
                <a:gd name="T80" fmla="*/ 54 w 134"/>
                <a:gd name="T81" fmla="*/ 18 h 66"/>
                <a:gd name="T82" fmla="*/ 28 w 134"/>
                <a:gd name="T83" fmla="*/ 56 h 66"/>
                <a:gd name="T84" fmla="*/ 24 w 134"/>
                <a:gd name="T85" fmla="*/ 20 h 66"/>
                <a:gd name="T86" fmla="*/ 28 w 134"/>
                <a:gd name="T87" fmla="*/ 14 h 66"/>
                <a:gd name="T88" fmla="*/ 34 w 134"/>
                <a:gd name="T89" fmla="*/ 20 h 66"/>
                <a:gd name="T90" fmla="*/ 32 w 134"/>
                <a:gd name="T91" fmla="*/ 54 h 66"/>
                <a:gd name="T92" fmla="*/ 28 w 134"/>
                <a:gd name="T93" fmla="*/ 18 h 66"/>
                <a:gd name="T94" fmla="*/ 28 w 134"/>
                <a:gd name="T95" fmla="*/ 20 h 66"/>
                <a:gd name="T96" fmla="*/ 28 w 134"/>
                <a:gd name="T97" fmla="*/ 50 h 66"/>
                <a:gd name="T98" fmla="*/ 30 w 134"/>
                <a:gd name="T99" fmla="*/ 50 h 66"/>
                <a:gd name="T100" fmla="*/ 30 w 134"/>
                <a:gd name="T101" fmla="*/ 20 h 66"/>
                <a:gd name="T102" fmla="*/ 28 w 134"/>
                <a:gd name="T103" fmla="*/ 1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4" h="66">
                  <a:moveTo>
                    <a:pt x="118" y="66"/>
                  </a:moveTo>
                  <a:lnTo>
                    <a:pt x="14" y="66"/>
                  </a:lnTo>
                  <a:lnTo>
                    <a:pt x="14" y="66"/>
                  </a:lnTo>
                  <a:lnTo>
                    <a:pt x="10" y="66"/>
                  </a:lnTo>
                  <a:lnTo>
                    <a:pt x="6" y="62"/>
                  </a:lnTo>
                  <a:lnTo>
                    <a:pt x="4" y="60"/>
                  </a:lnTo>
                  <a:lnTo>
                    <a:pt x="2" y="56"/>
                  </a:lnTo>
                  <a:lnTo>
                    <a:pt x="0" y="0"/>
                  </a:lnTo>
                  <a:lnTo>
                    <a:pt x="134" y="0"/>
                  </a:lnTo>
                  <a:lnTo>
                    <a:pt x="134" y="2"/>
                  </a:lnTo>
                  <a:lnTo>
                    <a:pt x="130" y="56"/>
                  </a:lnTo>
                  <a:lnTo>
                    <a:pt x="130" y="56"/>
                  </a:lnTo>
                  <a:lnTo>
                    <a:pt x="130" y="60"/>
                  </a:lnTo>
                  <a:lnTo>
                    <a:pt x="126" y="62"/>
                  </a:lnTo>
                  <a:lnTo>
                    <a:pt x="122" y="66"/>
                  </a:lnTo>
                  <a:lnTo>
                    <a:pt x="118" y="66"/>
                  </a:lnTo>
                  <a:lnTo>
                    <a:pt x="118" y="66"/>
                  </a:lnTo>
                  <a:close/>
                  <a:moveTo>
                    <a:pt x="4" y="4"/>
                  </a:moveTo>
                  <a:lnTo>
                    <a:pt x="6" y="54"/>
                  </a:lnTo>
                  <a:lnTo>
                    <a:pt x="6" y="54"/>
                  </a:lnTo>
                  <a:lnTo>
                    <a:pt x="10" y="60"/>
                  </a:lnTo>
                  <a:lnTo>
                    <a:pt x="14" y="62"/>
                  </a:lnTo>
                  <a:lnTo>
                    <a:pt x="118" y="62"/>
                  </a:lnTo>
                  <a:lnTo>
                    <a:pt x="118" y="62"/>
                  </a:lnTo>
                  <a:lnTo>
                    <a:pt x="124" y="60"/>
                  </a:lnTo>
                  <a:lnTo>
                    <a:pt x="126" y="54"/>
                  </a:lnTo>
                  <a:lnTo>
                    <a:pt x="130" y="4"/>
                  </a:lnTo>
                  <a:lnTo>
                    <a:pt x="4" y="4"/>
                  </a:lnTo>
                  <a:close/>
                  <a:moveTo>
                    <a:pt x="104" y="56"/>
                  </a:moveTo>
                  <a:lnTo>
                    <a:pt x="104" y="56"/>
                  </a:lnTo>
                  <a:lnTo>
                    <a:pt x="100" y="54"/>
                  </a:lnTo>
                  <a:lnTo>
                    <a:pt x="98" y="48"/>
                  </a:lnTo>
                  <a:lnTo>
                    <a:pt x="98" y="20"/>
                  </a:lnTo>
                  <a:lnTo>
                    <a:pt x="98" y="20"/>
                  </a:lnTo>
                  <a:lnTo>
                    <a:pt x="100" y="16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8" y="16"/>
                  </a:lnTo>
                  <a:lnTo>
                    <a:pt x="110" y="20"/>
                  </a:lnTo>
                  <a:lnTo>
                    <a:pt x="110" y="48"/>
                  </a:lnTo>
                  <a:lnTo>
                    <a:pt x="110" y="48"/>
                  </a:lnTo>
                  <a:lnTo>
                    <a:pt x="108" y="54"/>
                  </a:lnTo>
                  <a:lnTo>
                    <a:pt x="104" y="56"/>
                  </a:lnTo>
                  <a:lnTo>
                    <a:pt x="104" y="56"/>
                  </a:lnTo>
                  <a:close/>
                  <a:moveTo>
                    <a:pt x="104" y="18"/>
                  </a:moveTo>
                  <a:lnTo>
                    <a:pt x="104" y="18"/>
                  </a:lnTo>
                  <a:lnTo>
                    <a:pt x="104" y="18"/>
                  </a:lnTo>
                  <a:lnTo>
                    <a:pt x="102" y="20"/>
                  </a:lnTo>
                  <a:lnTo>
                    <a:pt x="102" y="48"/>
                  </a:lnTo>
                  <a:lnTo>
                    <a:pt x="102" y="48"/>
                  </a:lnTo>
                  <a:lnTo>
                    <a:pt x="104" y="50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6" y="50"/>
                  </a:lnTo>
                  <a:lnTo>
                    <a:pt x="106" y="48"/>
                  </a:lnTo>
                  <a:lnTo>
                    <a:pt x="106" y="20"/>
                  </a:lnTo>
                  <a:lnTo>
                    <a:pt x="106" y="20"/>
                  </a:lnTo>
                  <a:lnTo>
                    <a:pt x="106" y="18"/>
                  </a:lnTo>
                  <a:lnTo>
                    <a:pt x="104" y="18"/>
                  </a:lnTo>
                  <a:lnTo>
                    <a:pt x="104" y="18"/>
                  </a:lnTo>
                  <a:close/>
                  <a:moveTo>
                    <a:pt x="80" y="56"/>
                  </a:moveTo>
                  <a:lnTo>
                    <a:pt x="80" y="56"/>
                  </a:lnTo>
                  <a:lnTo>
                    <a:pt x="76" y="54"/>
                  </a:lnTo>
                  <a:lnTo>
                    <a:pt x="74" y="48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6" y="16"/>
                  </a:lnTo>
                  <a:lnTo>
                    <a:pt x="80" y="14"/>
                  </a:lnTo>
                  <a:lnTo>
                    <a:pt x="80" y="14"/>
                  </a:lnTo>
                  <a:lnTo>
                    <a:pt x="82" y="16"/>
                  </a:lnTo>
                  <a:lnTo>
                    <a:pt x="84" y="20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2" y="54"/>
                  </a:lnTo>
                  <a:lnTo>
                    <a:pt x="80" y="56"/>
                  </a:lnTo>
                  <a:lnTo>
                    <a:pt x="80" y="56"/>
                  </a:lnTo>
                  <a:close/>
                  <a:moveTo>
                    <a:pt x="80" y="18"/>
                  </a:moveTo>
                  <a:lnTo>
                    <a:pt x="80" y="18"/>
                  </a:lnTo>
                  <a:lnTo>
                    <a:pt x="78" y="18"/>
                  </a:lnTo>
                  <a:lnTo>
                    <a:pt x="78" y="20"/>
                  </a:lnTo>
                  <a:lnTo>
                    <a:pt x="78" y="48"/>
                  </a:lnTo>
                  <a:lnTo>
                    <a:pt x="78" y="48"/>
                  </a:lnTo>
                  <a:lnTo>
                    <a:pt x="78" y="50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0"/>
                  </a:lnTo>
                  <a:lnTo>
                    <a:pt x="80" y="48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close/>
                  <a:moveTo>
                    <a:pt x="54" y="56"/>
                  </a:moveTo>
                  <a:lnTo>
                    <a:pt x="54" y="56"/>
                  </a:lnTo>
                  <a:lnTo>
                    <a:pt x="50" y="54"/>
                  </a:lnTo>
                  <a:lnTo>
                    <a:pt x="48" y="48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0" y="16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8" y="16"/>
                  </a:lnTo>
                  <a:lnTo>
                    <a:pt x="60" y="20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8" y="54"/>
                  </a:lnTo>
                  <a:lnTo>
                    <a:pt x="54" y="56"/>
                  </a:lnTo>
                  <a:lnTo>
                    <a:pt x="54" y="56"/>
                  </a:lnTo>
                  <a:close/>
                  <a:moveTo>
                    <a:pt x="54" y="18"/>
                  </a:moveTo>
                  <a:lnTo>
                    <a:pt x="54" y="18"/>
                  </a:lnTo>
                  <a:lnTo>
                    <a:pt x="52" y="18"/>
                  </a:lnTo>
                  <a:lnTo>
                    <a:pt x="52" y="20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50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6" y="50"/>
                  </a:lnTo>
                  <a:lnTo>
                    <a:pt x="56" y="48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18"/>
                  </a:lnTo>
                  <a:lnTo>
                    <a:pt x="54" y="18"/>
                  </a:lnTo>
                  <a:lnTo>
                    <a:pt x="54" y="18"/>
                  </a:lnTo>
                  <a:close/>
                  <a:moveTo>
                    <a:pt x="28" y="56"/>
                  </a:moveTo>
                  <a:lnTo>
                    <a:pt x="28" y="56"/>
                  </a:lnTo>
                  <a:lnTo>
                    <a:pt x="26" y="54"/>
                  </a:lnTo>
                  <a:lnTo>
                    <a:pt x="24" y="48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6" y="16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32" y="16"/>
                  </a:lnTo>
                  <a:lnTo>
                    <a:pt x="34" y="20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2" y="54"/>
                  </a:lnTo>
                  <a:lnTo>
                    <a:pt x="28" y="56"/>
                  </a:lnTo>
                  <a:lnTo>
                    <a:pt x="28" y="56"/>
                  </a:lnTo>
                  <a:close/>
                  <a:moveTo>
                    <a:pt x="28" y="18"/>
                  </a:moveTo>
                  <a:lnTo>
                    <a:pt x="28" y="18"/>
                  </a:lnTo>
                  <a:lnTo>
                    <a:pt x="28" y="18"/>
                  </a:lnTo>
                  <a:lnTo>
                    <a:pt x="28" y="20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50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30" y="50"/>
                  </a:lnTo>
                  <a:lnTo>
                    <a:pt x="30" y="48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18"/>
                  </a:lnTo>
                  <a:lnTo>
                    <a:pt x="28" y="18"/>
                  </a:lnTo>
                  <a:lnTo>
                    <a:pt x="28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微软雅黑 Light" panose="020B0502040204020203" pitchFamily="34" charset="-122"/>
                <a:cs typeface="思源黑体 CN Regular" panose="020B0500000000000000" charset="-122"/>
                <a:sym typeface="微软雅黑 Light" panose="020B0502040204020203" pitchFamily="34" charset="-122"/>
              </a:endParaRPr>
            </a:p>
          </p:txBody>
        </p:sp>
        <p:sp>
          <p:nvSpPr>
            <p:cNvPr id="34" name="Freeform 133"/>
            <p:cNvSpPr>
              <a:spLocks noEditPoints="1"/>
            </p:cNvSpPr>
            <p:nvPr/>
          </p:nvSpPr>
          <p:spPr bwMode="auto">
            <a:xfrm>
              <a:off x="4543425" y="1944688"/>
              <a:ext cx="123825" cy="50800"/>
            </a:xfrm>
            <a:custGeom>
              <a:avLst/>
              <a:gdLst>
                <a:gd name="T0" fmla="*/ 78 w 78"/>
                <a:gd name="T1" fmla="*/ 32 h 32"/>
                <a:gd name="T2" fmla="*/ 6 w 78"/>
                <a:gd name="T3" fmla="*/ 32 h 32"/>
                <a:gd name="T4" fmla="*/ 6 w 78"/>
                <a:gd name="T5" fmla="*/ 32 h 32"/>
                <a:gd name="T6" fmla="*/ 2 w 78"/>
                <a:gd name="T7" fmla="*/ 30 h 32"/>
                <a:gd name="T8" fmla="*/ 0 w 78"/>
                <a:gd name="T9" fmla="*/ 24 h 32"/>
                <a:gd name="T10" fmla="*/ 0 w 78"/>
                <a:gd name="T11" fmla="*/ 6 h 32"/>
                <a:gd name="T12" fmla="*/ 0 w 78"/>
                <a:gd name="T13" fmla="*/ 6 h 32"/>
                <a:gd name="T14" fmla="*/ 2 w 78"/>
                <a:gd name="T15" fmla="*/ 2 h 32"/>
                <a:gd name="T16" fmla="*/ 6 w 78"/>
                <a:gd name="T17" fmla="*/ 0 h 32"/>
                <a:gd name="T18" fmla="*/ 64 w 78"/>
                <a:gd name="T19" fmla="*/ 0 h 32"/>
                <a:gd name="T20" fmla="*/ 56 w 78"/>
                <a:gd name="T21" fmla="*/ 6 h 32"/>
                <a:gd name="T22" fmla="*/ 56 w 78"/>
                <a:gd name="T23" fmla="*/ 6 h 32"/>
                <a:gd name="T24" fmla="*/ 56 w 78"/>
                <a:gd name="T25" fmla="*/ 8 h 32"/>
                <a:gd name="T26" fmla="*/ 54 w 78"/>
                <a:gd name="T27" fmla="*/ 10 h 32"/>
                <a:gd name="T28" fmla="*/ 54 w 78"/>
                <a:gd name="T29" fmla="*/ 10 h 32"/>
                <a:gd name="T30" fmla="*/ 56 w 78"/>
                <a:gd name="T31" fmla="*/ 14 h 32"/>
                <a:gd name="T32" fmla="*/ 56 w 78"/>
                <a:gd name="T33" fmla="*/ 16 h 32"/>
                <a:gd name="T34" fmla="*/ 66 w 78"/>
                <a:gd name="T35" fmla="*/ 26 h 32"/>
                <a:gd name="T36" fmla="*/ 66 w 78"/>
                <a:gd name="T37" fmla="*/ 26 h 32"/>
                <a:gd name="T38" fmla="*/ 70 w 78"/>
                <a:gd name="T39" fmla="*/ 28 h 32"/>
                <a:gd name="T40" fmla="*/ 78 w 78"/>
                <a:gd name="T41" fmla="*/ 32 h 32"/>
                <a:gd name="T42" fmla="*/ 6 w 78"/>
                <a:gd name="T43" fmla="*/ 4 h 32"/>
                <a:gd name="T44" fmla="*/ 6 w 78"/>
                <a:gd name="T45" fmla="*/ 4 h 32"/>
                <a:gd name="T46" fmla="*/ 4 w 78"/>
                <a:gd name="T47" fmla="*/ 4 h 32"/>
                <a:gd name="T48" fmla="*/ 4 w 78"/>
                <a:gd name="T49" fmla="*/ 6 h 32"/>
                <a:gd name="T50" fmla="*/ 4 w 78"/>
                <a:gd name="T51" fmla="*/ 24 h 32"/>
                <a:gd name="T52" fmla="*/ 4 w 78"/>
                <a:gd name="T53" fmla="*/ 24 h 32"/>
                <a:gd name="T54" fmla="*/ 4 w 78"/>
                <a:gd name="T55" fmla="*/ 26 h 32"/>
                <a:gd name="T56" fmla="*/ 6 w 78"/>
                <a:gd name="T57" fmla="*/ 28 h 32"/>
                <a:gd name="T58" fmla="*/ 64 w 78"/>
                <a:gd name="T59" fmla="*/ 28 h 32"/>
                <a:gd name="T60" fmla="*/ 54 w 78"/>
                <a:gd name="T61" fmla="*/ 18 h 32"/>
                <a:gd name="T62" fmla="*/ 54 w 78"/>
                <a:gd name="T63" fmla="*/ 18 h 32"/>
                <a:gd name="T64" fmla="*/ 52 w 78"/>
                <a:gd name="T65" fmla="*/ 16 h 32"/>
                <a:gd name="T66" fmla="*/ 52 w 78"/>
                <a:gd name="T67" fmla="*/ 10 h 32"/>
                <a:gd name="T68" fmla="*/ 52 w 78"/>
                <a:gd name="T69" fmla="*/ 10 h 32"/>
                <a:gd name="T70" fmla="*/ 52 w 78"/>
                <a:gd name="T71" fmla="*/ 6 h 32"/>
                <a:gd name="T72" fmla="*/ 54 w 78"/>
                <a:gd name="T73" fmla="*/ 4 h 32"/>
                <a:gd name="T74" fmla="*/ 6 w 78"/>
                <a:gd name="T75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8" h="32">
                  <a:moveTo>
                    <a:pt x="78" y="32"/>
                  </a:moveTo>
                  <a:lnTo>
                    <a:pt x="6" y="32"/>
                  </a:lnTo>
                  <a:lnTo>
                    <a:pt x="6" y="32"/>
                  </a:lnTo>
                  <a:lnTo>
                    <a:pt x="2" y="30"/>
                  </a:lnTo>
                  <a:lnTo>
                    <a:pt x="0" y="24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64" y="0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8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6" y="14"/>
                  </a:lnTo>
                  <a:lnTo>
                    <a:pt x="56" y="1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70" y="28"/>
                  </a:lnTo>
                  <a:lnTo>
                    <a:pt x="78" y="32"/>
                  </a:lnTo>
                  <a:close/>
                  <a:moveTo>
                    <a:pt x="6" y="4"/>
                  </a:moveTo>
                  <a:lnTo>
                    <a:pt x="6" y="4"/>
                  </a:lnTo>
                  <a:lnTo>
                    <a:pt x="4" y="4"/>
                  </a:lnTo>
                  <a:lnTo>
                    <a:pt x="4" y="6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64" y="2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2" y="16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6"/>
                  </a:lnTo>
                  <a:lnTo>
                    <a:pt x="54" y="4"/>
                  </a:lnTo>
                  <a:lnTo>
                    <a:pt x="6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微软雅黑 Light" panose="020B0502040204020203" pitchFamily="34" charset="-122"/>
                <a:cs typeface="思源黑体 CN Regular" panose="020B0500000000000000" charset="-122"/>
                <a:sym typeface="微软雅黑 Light" panose="020B0502040204020203" pitchFamily="34" charset="-122"/>
              </a:endParaRPr>
            </a:p>
          </p:txBody>
        </p:sp>
        <p:sp>
          <p:nvSpPr>
            <p:cNvPr id="35" name="Freeform 134"/>
            <p:cNvSpPr>
              <a:spLocks noEditPoints="1"/>
            </p:cNvSpPr>
            <p:nvPr/>
          </p:nvSpPr>
          <p:spPr bwMode="auto">
            <a:xfrm>
              <a:off x="4648200" y="1944688"/>
              <a:ext cx="139700" cy="50800"/>
            </a:xfrm>
            <a:custGeom>
              <a:avLst/>
              <a:gdLst>
                <a:gd name="T0" fmla="*/ 82 w 88"/>
                <a:gd name="T1" fmla="*/ 32 h 32"/>
                <a:gd name="T2" fmla="*/ 0 w 88"/>
                <a:gd name="T3" fmla="*/ 32 h 32"/>
                <a:gd name="T4" fmla="*/ 10 w 88"/>
                <a:gd name="T5" fmla="*/ 28 h 32"/>
                <a:gd name="T6" fmla="*/ 10 w 88"/>
                <a:gd name="T7" fmla="*/ 28 h 32"/>
                <a:gd name="T8" fmla="*/ 12 w 88"/>
                <a:gd name="T9" fmla="*/ 26 h 32"/>
                <a:gd name="T10" fmla="*/ 38 w 88"/>
                <a:gd name="T11" fmla="*/ 0 h 32"/>
                <a:gd name="T12" fmla="*/ 82 w 88"/>
                <a:gd name="T13" fmla="*/ 0 h 32"/>
                <a:gd name="T14" fmla="*/ 82 w 88"/>
                <a:gd name="T15" fmla="*/ 0 h 32"/>
                <a:gd name="T16" fmla="*/ 86 w 88"/>
                <a:gd name="T17" fmla="*/ 2 h 32"/>
                <a:gd name="T18" fmla="*/ 88 w 88"/>
                <a:gd name="T19" fmla="*/ 6 h 32"/>
                <a:gd name="T20" fmla="*/ 88 w 88"/>
                <a:gd name="T21" fmla="*/ 24 h 32"/>
                <a:gd name="T22" fmla="*/ 88 w 88"/>
                <a:gd name="T23" fmla="*/ 24 h 32"/>
                <a:gd name="T24" fmla="*/ 86 w 88"/>
                <a:gd name="T25" fmla="*/ 30 h 32"/>
                <a:gd name="T26" fmla="*/ 82 w 88"/>
                <a:gd name="T27" fmla="*/ 32 h 32"/>
                <a:gd name="T28" fmla="*/ 82 w 88"/>
                <a:gd name="T29" fmla="*/ 32 h 32"/>
                <a:gd name="T30" fmla="*/ 16 w 88"/>
                <a:gd name="T31" fmla="*/ 28 h 32"/>
                <a:gd name="T32" fmla="*/ 82 w 88"/>
                <a:gd name="T33" fmla="*/ 28 h 32"/>
                <a:gd name="T34" fmla="*/ 82 w 88"/>
                <a:gd name="T35" fmla="*/ 28 h 32"/>
                <a:gd name="T36" fmla="*/ 84 w 88"/>
                <a:gd name="T37" fmla="*/ 26 h 32"/>
                <a:gd name="T38" fmla="*/ 84 w 88"/>
                <a:gd name="T39" fmla="*/ 24 h 32"/>
                <a:gd name="T40" fmla="*/ 84 w 88"/>
                <a:gd name="T41" fmla="*/ 6 h 32"/>
                <a:gd name="T42" fmla="*/ 84 w 88"/>
                <a:gd name="T43" fmla="*/ 6 h 32"/>
                <a:gd name="T44" fmla="*/ 84 w 88"/>
                <a:gd name="T45" fmla="*/ 4 h 32"/>
                <a:gd name="T46" fmla="*/ 82 w 88"/>
                <a:gd name="T47" fmla="*/ 4 h 32"/>
                <a:gd name="T48" fmla="*/ 40 w 88"/>
                <a:gd name="T49" fmla="*/ 4 h 32"/>
                <a:gd name="T50" fmla="*/ 16 w 88"/>
                <a:gd name="T51" fmla="*/ 2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8" h="32">
                  <a:moveTo>
                    <a:pt x="82" y="32"/>
                  </a:moveTo>
                  <a:lnTo>
                    <a:pt x="0" y="32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2" y="26"/>
                  </a:lnTo>
                  <a:lnTo>
                    <a:pt x="38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6" y="2"/>
                  </a:lnTo>
                  <a:lnTo>
                    <a:pt x="88" y="6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6" y="30"/>
                  </a:lnTo>
                  <a:lnTo>
                    <a:pt x="82" y="32"/>
                  </a:lnTo>
                  <a:lnTo>
                    <a:pt x="82" y="32"/>
                  </a:lnTo>
                  <a:close/>
                  <a:moveTo>
                    <a:pt x="16" y="28"/>
                  </a:moveTo>
                  <a:lnTo>
                    <a:pt x="82" y="28"/>
                  </a:lnTo>
                  <a:lnTo>
                    <a:pt x="82" y="28"/>
                  </a:lnTo>
                  <a:lnTo>
                    <a:pt x="84" y="26"/>
                  </a:lnTo>
                  <a:lnTo>
                    <a:pt x="84" y="24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4" y="4"/>
                  </a:lnTo>
                  <a:lnTo>
                    <a:pt x="82" y="4"/>
                  </a:lnTo>
                  <a:lnTo>
                    <a:pt x="40" y="4"/>
                  </a:lnTo>
                  <a:lnTo>
                    <a:pt x="1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微软雅黑 Light" panose="020B0502040204020203" pitchFamily="34" charset="-122"/>
                <a:cs typeface="思源黑体 CN Regular" panose="020B0500000000000000" charset="-122"/>
                <a:sym typeface="微软雅黑 Light" panose="020B0502040204020203" pitchFamily="34" charset="-122"/>
              </a:endParaRPr>
            </a:p>
          </p:txBody>
        </p:sp>
        <p:sp>
          <p:nvSpPr>
            <p:cNvPr id="36" name="Freeform 135"/>
            <p:cNvSpPr>
              <a:spLocks noEditPoints="1"/>
            </p:cNvSpPr>
            <p:nvPr/>
          </p:nvSpPr>
          <p:spPr bwMode="auto">
            <a:xfrm>
              <a:off x="4632325" y="1855788"/>
              <a:ext cx="130175" cy="133350"/>
            </a:xfrm>
            <a:custGeom>
              <a:avLst/>
              <a:gdLst>
                <a:gd name="T0" fmla="*/ 16 w 82"/>
                <a:gd name="T1" fmla="*/ 84 h 84"/>
                <a:gd name="T2" fmla="*/ 16 w 82"/>
                <a:gd name="T3" fmla="*/ 84 h 84"/>
                <a:gd name="T4" fmla="*/ 12 w 82"/>
                <a:gd name="T5" fmla="*/ 82 h 84"/>
                <a:gd name="T6" fmla="*/ 2 w 82"/>
                <a:gd name="T7" fmla="*/ 72 h 84"/>
                <a:gd name="T8" fmla="*/ 2 w 82"/>
                <a:gd name="T9" fmla="*/ 72 h 84"/>
                <a:gd name="T10" fmla="*/ 0 w 82"/>
                <a:gd name="T11" fmla="*/ 66 h 84"/>
                <a:gd name="T12" fmla="*/ 0 w 82"/>
                <a:gd name="T13" fmla="*/ 66 h 84"/>
                <a:gd name="T14" fmla="*/ 2 w 82"/>
                <a:gd name="T15" fmla="*/ 62 h 84"/>
                <a:gd name="T16" fmla="*/ 62 w 82"/>
                <a:gd name="T17" fmla="*/ 2 h 84"/>
                <a:gd name="T18" fmla="*/ 62 w 82"/>
                <a:gd name="T19" fmla="*/ 2 h 84"/>
                <a:gd name="T20" fmla="*/ 66 w 82"/>
                <a:gd name="T21" fmla="*/ 0 h 84"/>
                <a:gd name="T22" fmla="*/ 70 w 82"/>
                <a:gd name="T23" fmla="*/ 2 h 84"/>
                <a:gd name="T24" fmla="*/ 80 w 82"/>
                <a:gd name="T25" fmla="*/ 12 h 84"/>
                <a:gd name="T26" fmla="*/ 80 w 82"/>
                <a:gd name="T27" fmla="*/ 12 h 84"/>
                <a:gd name="T28" fmla="*/ 82 w 82"/>
                <a:gd name="T29" fmla="*/ 18 h 84"/>
                <a:gd name="T30" fmla="*/ 82 w 82"/>
                <a:gd name="T31" fmla="*/ 18 h 84"/>
                <a:gd name="T32" fmla="*/ 80 w 82"/>
                <a:gd name="T33" fmla="*/ 22 h 84"/>
                <a:gd name="T34" fmla="*/ 20 w 82"/>
                <a:gd name="T35" fmla="*/ 82 h 84"/>
                <a:gd name="T36" fmla="*/ 20 w 82"/>
                <a:gd name="T37" fmla="*/ 82 h 84"/>
                <a:gd name="T38" fmla="*/ 16 w 82"/>
                <a:gd name="T39" fmla="*/ 84 h 84"/>
                <a:gd name="T40" fmla="*/ 16 w 82"/>
                <a:gd name="T41" fmla="*/ 84 h 84"/>
                <a:gd name="T42" fmla="*/ 66 w 82"/>
                <a:gd name="T43" fmla="*/ 4 h 84"/>
                <a:gd name="T44" fmla="*/ 66 w 82"/>
                <a:gd name="T45" fmla="*/ 4 h 84"/>
                <a:gd name="T46" fmla="*/ 64 w 82"/>
                <a:gd name="T47" fmla="*/ 6 h 84"/>
                <a:gd name="T48" fmla="*/ 4 w 82"/>
                <a:gd name="T49" fmla="*/ 64 h 84"/>
                <a:gd name="T50" fmla="*/ 4 w 82"/>
                <a:gd name="T51" fmla="*/ 66 h 84"/>
                <a:gd name="T52" fmla="*/ 4 w 82"/>
                <a:gd name="T53" fmla="*/ 66 h 84"/>
                <a:gd name="T54" fmla="*/ 4 w 82"/>
                <a:gd name="T55" fmla="*/ 68 h 84"/>
                <a:gd name="T56" fmla="*/ 14 w 82"/>
                <a:gd name="T57" fmla="*/ 78 h 84"/>
                <a:gd name="T58" fmla="*/ 14 w 82"/>
                <a:gd name="T59" fmla="*/ 78 h 84"/>
                <a:gd name="T60" fmla="*/ 16 w 82"/>
                <a:gd name="T61" fmla="*/ 80 h 84"/>
                <a:gd name="T62" fmla="*/ 18 w 82"/>
                <a:gd name="T63" fmla="*/ 78 h 84"/>
                <a:gd name="T64" fmla="*/ 78 w 82"/>
                <a:gd name="T65" fmla="*/ 20 h 84"/>
                <a:gd name="T66" fmla="*/ 78 w 82"/>
                <a:gd name="T67" fmla="*/ 20 h 84"/>
                <a:gd name="T68" fmla="*/ 78 w 82"/>
                <a:gd name="T69" fmla="*/ 18 h 84"/>
                <a:gd name="T70" fmla="*/ 78 w 82"/>
                <a:gd name="T71" fmla="*/ 18 h 84"/>
                <a:gd name="T72" fmla="*/ 78 w 82"/>
                <a:gd name="T73" fmla="*/ 16 h 84"/>
                <a:gd name="T74" fmla="*/ 68 w 82"/>
                <a:gd name="T75" fmla="*/ 6 h 84"/>
                <a:gd name="T76" fmla="*/ 68 w 82"/>
                <a:gd name="T77" fmla="*/ 6 h 84"/>
                <a:gd name="T78" fmla="*/ 66 w 82"/>
                <a:gd name="T79" fmla="*/ 4 h 84"/>
                <a:gd name="T80" fmla="*/ 66 w 82"/>
                <a:gd name="T81" fmla="*/ 4 h 84"/>
                <a:gd name="T82" fmla="*/ 16 w 82"/>
                <a:gd name="T83" fmla="*/ 74 h 84"/>
                <a:gd name="T84" fmla="*/ 16 w 82"/>
                <a:gd name="T85" fmla="*/ 74 h 84"/>
                <a:gd name="T86" fmla="*/ 10 w 82"/>
                <a:gd name="T87" fmla="*/ 72 h 84"/>
                <a:gd name="T88" fmla="*/ 8 w 82"/>
                <a:gd name="T89" fmla="*/ 68 h 84"/>
                <a:gd name="T90" fmla="*/ 8 w 82"/>
                <a:gd name="T91" fmla="*/ 68 h 84"/>
                <a:gd name="T92" fmla="*/ 10 w 82"/>
                <a:gd name="T93" fmla="*/ 62 h 84"/>
                <a:gd name="T94" fmla="*/ 16 w 82"/>
                <a:gd name="T95" fmla="*/ 60 h 84"/>
                <a:gd name="T96" fmla="*/ 16 w 82"/>
                <a:gd name="T97" fmla="*/ 60 h 84"/>
                <a:gd name="T98" fmla="*/ 20 w 82"/>
                <a:gd name="T99" fmla="*/ 62 h 84"/>
                <a:gd name="T100" fmla="*/ 22 w 82"/>
                <a:gd name="T101" fmla="*/ 68 h 84"/>
                <a:gd name="T102" fmla="*/ 22 w 82"/>
                <a:gd name="T103" fmla="*/ 68 h 84"/>
                <a:gd name="T104" fmla="*/ 20 w 82"/>
                <a:gd name="T105" fmla="*/ 72 h 84"/>
                <a:gd name="T106" fmla="*/ 16 w 82"/>
                <a:gd name="T107" fmla="*/ 74 h 84"/>
                <a:gd name="T108" fmla="*/ 16 w 82"/>
                <a:gd name="T109" fmla="*/ 7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2" h="84">
                  <a:moveTo>
                    <a:pt x="16" y="84"/>
                  </a:moveTo>
                  <a:lnTo>
                    <a:pt x="16" y="84"/>
                  </a:lnTo>
                  <a:lnTo>
                    <a:pt x="12" y="8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2" y="6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6" y="0"/>
                  </a:lnTo>
                  <a:lnTo>
                    <a:pt x="70" y="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2" y="18"/>
                  </a:lnTo>
                  <a:lnTo>
                    <a:pt x="82" y="18"/>
                  </a:lnTo>
                  <a:lnTo>
                    <a:pt x="80" y="2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16" y="84"/>
                  </a:lnTo>
                  <a:lnTo>
                    <a:pt x="16" y="84"/>
                  </a:lnTo>
                  <a:close/>
                  <a:moveTo>
                    <a:pt x="66" y="4"/>
                  </a:moveTo>
                  <a:lnTo>
                    <a:pt x="66" y="4"/>
                  </a:lnTo>
                  <a:lnTo>
                    <a:pt x="64" y="6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4" y="68"/>
                  </a:lnTo>
                  <a:lnTo>
                    <a:pt x="14" y="78"/>
                  </a:lnTo>
                  <a:lnTo>
                    <a:pt x="14" y="78"/>
                  </a:lnTo>
                  <a:lnTo>
                    <a:pt x="16" y="80"/>
                  </a:lnTo>
                  <a:lnTo>
                    <a:pt x="18" y="78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8" y="16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6" y="4"/>
                  </a:lnTo>
                  <a:lnTo>
                    <a:pt x="66" y="4"/>
                  </a:lnTo>
                  <a:close/>
                  <a:moveTo>
                    <a:pt x="16" y="74"/>
                  </a:moveTo>
                  <a:lnTo>
                    <a:pt x="16" y="74"/>
                  </a:lnTo>
                  <a:lnTo>
                    <a:pt x="10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10" y="62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20" y="62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20" y="72"/>
                  </a:lnTo>
                  <a:lnTo>
                    <a:pt x="16" y="74"/>
                  </a:lnTo>
                  <a:lnTo>
                    <a:pt x="16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 dirty="0">
                <a:solidFill>
                  <a:schemeClr val="tx2">
                    <a:lumMod val="50000"/>
                  </a:schemeClr>
                </a:solidFill>
                <a:latin typeface="方正综艺简体" panose="03000509000000000000" pitchFamily="65" charset="-122"/>
                <a:ea typeface="微软雅黑 Light" panose="020B0502040204020203" pitchFamily="34" charset="-122"/>
                <a:cs typeface="思源黑体 CN Regular" panose="020B0500000000000000" charset="-122"/>
                <a:sym typeface="微软雅黑 Light" panose="020B0502040204020203" pitchFamily="34" charset="-122"/>
              </a:endParaRPr>
            </a:p>
          </p:txBody>
        </p:sp>
      </p:grpSp>
      <p:pic>
        <p:nvPicPr>
          <p:cNvPr id="37" name="Picture 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734953">
            <a:off x="-1043526" y="3136415"/>
            <a:ext cx="2087051" cy="1977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1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20703025">
            <a:off x="11066844" y="407933"/>
            <a:ext cx="1500626" cy="1276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1" name="Shape 45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flipH="1">
            <a:off x="3460751" y="4070350"/>
            <a:ext cx="1" cy="2798549"/>
          </a:xfrm>
          <a:prstGeom prst="line">
            <a:avLst/>
          </a:prstGeom>
          <a:ln w="63500">
            <a:solidFill>
              <a:schemeClr val="bg1"/>
            </a:solidFill>
            <a:miter lim="400000"/>
          </a:ln>
        </p:spPr>
        <p:txBody>
          <a:bodyPr lIns="0" tIns="0" rIns="0" bIns="0" anchor="ctr"/>
          <a:lstStyle/>
          <a:p>
            <a:pPr defTabSz="2286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600">
              <a:latin typeface="等线" panose="02010600030101010101" charset="-122"/>
              <a:ea typeface="等线" panose="02010600030101010101" charset="-122"/>
              <a:cs typeface="等线" panose="02010600030101010101" charset="-122"/>
              <a:sym typeface="等线" panose="02010600030101010101" charset="-122"/>
            </a:endParaRPr>
          </a:p>
        </p:txBody>
      </p:sp>
      <p:sp>
        <p:nvSpPr>
          <p:cNvPr id="452" name="Shape 45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978151" y="4997451"/>
            <a:ext cx="946151" cy="9461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rgbClr val="4896E3"/>
          </a:solidFill>
          <a:ln w="50800">
            <a:solidFill>
              <a:schemeClr val="bg1"/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grpSp>
        <p:nvGrpSpPr>
          <p:cNvPr id="455" name="Group 45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2127251" y="1358901"/>
            <a:ext cx="2692402" cy="2692402"/>
            <a:chOff x="0" y="0"/>
            <a:chExt cx="5384801" cy="5384801"/>
          </a:xfrm>
        </p:grpSpPr>
        <p:sp>
          <p:nvSpPr>
            <p:cNvPr id="453" name="Shape 453"/>
            <p:cNvSpPr/>
            <p:nvPr/>
          </p:nvSpPr>
          <p:spPr>
            <a:xfrm>
              <a:off x="-1" y="-1"/>
              <a:ext cx="5384803" cy="53848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</a:path>
              </a:pathLst>
            </a:custGeom>
            <a:noFill/>
            <a:ln w="63500" cap="flat">
              <a:solidFill>
                <a:schemeClr val="bg1"/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defTabSz="292100">
                <a:defRPr sz="4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20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pic>
          <p:nvPicPr>
            <p:cNvPr id="454" name="placeholder.png"/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1624" y="358986"/>
              <a:ext cx="4618031" cy="461446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462" name="Group 46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2204264" y="2092397"/>
            <a:ext cx="3739986" cy="3611527"/>
            <a:chOff x="-144027" y="76344"/>
            <a:chExt cx="7479968" cy="7223051"/>
          </a:xfrm>
        </p:grpSpPr>
        <p:sp>
          <p:nvSpPr>
            <p:cNvPr id="460" name="Shape 460"/>
            <p:cNvSpPr/>
            <p:nvPr/>
          </p:nvSpPr>
          <p:spPr>
            <a:xfrm>
              <a:off x="5655994" y="76344"/>
              <a:ext cx="1679947" cy="139525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none" lIns="25400" tIns="25400" rIns="25400" bIns="25400" numCol="1" anchor="ctr">
              <a:spAutoFit/>
            </a:bodyPr>
            <a:lstStyle/>
            <a:p>
              <a:pPr lvl="0" algn="l">
                <a:defRPr sz="1800"/>
              </a:pPr>
              <a:r>
                <a:rPr dirty="0">
                  <a:solidFill>
                    <a:schemeClr val="bg1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  <a:sym typeface="思源黑体 CN Regular"/>
                </a:rPr>
                <a:t>JUNE</a:t>
              </a:r>
            </a:p>
            <a:p>
              <a:pPr lvl="0" algn="l">
                <a:defRPr sz="1800"/>
              </a:pPr>
              <a:r>
                <a:rPr sz="2400" b="1" dirty="0">
                  <a:solidFill>
                    <a:schemeClr val="bg1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  <a:sym typeface="思源黑体 CN Regular"/>
                </a:rPr>
                <a:t>19</a:t>
              </a:r>
              <a:r>
                <a:rPr lang="en-US" sz="2400" b="1" dirty="0">
                  <a:solidFill>
                    <a:schemeClr val="bg1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  <a:sym typeface="思源黑体 CN Regular"/>
                </a:rPr>
                <a:t>XX</a:t>
              </a:r>
            </a:p>
          </p:txBody>
        </p:sp>
        <p:sp>
          <p:nvSpPr>
            <p:cNvPr id="461" name="Shape 461"/>
            <p:cNvSpPr/>
            <p:nvPr/>
          </p:nvSpPr>
          <p:spPr>
            <a:xfrm>
              <a:off x="-144027" y="6365807"/>
              <a:ext cx="1186221" cy="9335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none" lIns="25400" tIns="25400" rIns="25400" bIns="25400" numCol="1" anchor="ctr">
              <a:spAutoFit/>
            </a:bodyPr>
            <a:lstStyle/>
            <a:p>
              <a:pPr lvl="0" algn="r">
                <a:defRPr sz="1800"/>
              </a:pPr>
              <a:r>
                <a:rPr sz="1100" dirty="0">
                  <a:solidFill>
                    <a:schemeClr val="bg1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  <a:sym typeface="思源黑体 CN Regular"/>
                </a:rPr>
                <a:t>DEC</a:t>
              </a:r>
            </a:p>
            <a:p>
              <a:pPr lvl="0" algn="r">
                <a:defRPr sz="1800"/>
              </a:pPr>
              <a:r>
                <a:rPr sz="1600" b="1" dirty="0">
                  <a:solidFill>
                    <a:schemeClr val="bg1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  <a:sym typeface="思源黑体 CN Regular"/>
                </a:rPr>
                <a:t>19</a:t>
              </a:r>
              <a:r>
                <a:rPr lang="en-US" sz="1600" b="1" dirty="0">
                  <a:solidFill>
                    <a:schemeClr val="bg1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  <a:sym typeface="思源黑体 CN Regular"/>
                </a:rPr>
                <a:t>XX</a:t>
              </a:r>
            </a:p>
          </p:txBody>
        </p:sp>
      </p:grpSp>
      <p:sp>
        <p:nvSpPr>
          <p:cNvPr id="465" name="Shape 46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996595" y="2921953"/>
            <a:ext cx="2019301" cy="328295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 algn="l">
              <a:defRPr sz="2400" b="1">
                <a:solidFill>
                  <a:srgbClr val="29323B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We start our company in the garage. With only 2 persons.</a:t>
            </a:r>
          </a:p>
        </p:txBody>
      </p:sp>
      <p:sp>
        <p:nvSpPr>
          <p:cNvPr id="466" name="Shape 46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076700" y="5136129"/>
            <a:ext cx="2019300" cy="605294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 algn="l">
              <a:defRPr sz="2400" b="1">
                <a:solidFill>
                  <a:srgbClr val="29323B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12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We start our company in the garage. With only 2 persons.</a:t>
            </a:r>
          </a:p>
        </p:txBody>
      </p:sp>
      <p:sp>
        <p:nvSpPr>
          <p:cNvPr id="467" name="Shape 46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3041651" y="5067300"/>
            <a:ext cx="811397" cy="8113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7" y="2882"/>
                </a:moveTo>
                <a:cubicBezTo>
                  <a:pt x="20639" y="6724"/>
                  <a:pt x="20639" y="12954"/>
                  <a:pt x="16797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7" y="2882"/>
                </a:cubicBezTo>
              </a:path>
            </a:pathLst>
          </a:custGeom>
          <a:solidFill>
            <a:schemeClr val="bg1">
              <a:lumMod val="95000"/>
              <a:alpha val="20000"/>
            </a:schemeClr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pPr>
            <a:endParaRPr sz="2000" dirty="0"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468" name="Shape 46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3243907" y="5283542"/>
            <a:ext cx="381001" cy="3810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875" y="17550"/>
                </a:moveTo>
                <a:cubicBezTo>
                  <a:pt x="15513" y="17550"/>
                  <a:pt x="14344" y="15612"/>
                  <a:pt x="13810" y="12825"/>
                </a:cubicBezTo>
                <a:lnTo>
                  <a:pt x="15525" y="12825"/>
                </a:lnTo>
                <a:cubicBezTo>
                  <a:pt x="17038" y="12825"/>
                  <a:pt x="18225" y="11343"/>
                  <a:pt x="18225" y="9450"/>
                </a:cubicBezTo>
                <a:cubicBezTo>
                  <a:pt x="18225" y="7558"/>
                  <a:pt x="17038" y="6075"/>
                  <a:pt x="15525" y="6075"/>
                </a:cubicBezTo>
                <a:lnTo>
                  <a:pt x="13810" y="6075"/>
                </a:lnTo>
                <a:cubicBezTo>
                  <a:pt x="14344" y="3289"/>
                  <a:pt x="15513" y="1350"/>
                  <a:pt x="16875" y="1350"/>
                </a:cubicBezTo>
                <a:cubicBezTo>
                  <a:pt x="18739" y="1350"/>
                  <a:pt x="20250" y="4977"/>
                  <a:pt x="20250" y="9450"/>
                </a:cubicBezTo>
                <a:cubicBezTo>
                  <a:pt x="20250" y="13923"/>
                  <a:pt x="18739" y="17550"/>
                  <a:pt x="16875" y="17550"/>
                </a:cubicBezTo>
                <a:moveTo>
                  <a:pt x="8927" y="11483"/>
                </a:moveTo>
                <a:lnTo>
                  <a:pt x="8775" y="11483"/>
                </a:lnTo>
                <a:lnTo>
                  <a:pt x="8775" y="11475"/>
                </a:lnTo>
                <a:cubicBezTo>
                  <a:pt x="8029" y="11475"/>
                  <a:pt x="7425" y="10569"/>
                  <a:pt x="7425" y="9450"/>
                </a:cubicBezTo>
                <a:cubicBezTo>
                  <a:pt x="7425" y="8332"/>
                  <a:pt x="8029" y="7425"/>
                  <a:pt x="8775" y="7425"/>
                </a:cubicBezTo>
                <a:lnTo>
                  <a:pt x="8927" y="7425"/>
                </a:lnTo>
                <a:cubicBezTo>
                  <a:pt x="10200" y="7425"/>
                  <a:pt x="11392" y="6924"/>
                  <a:pt x="12441" y="6063"/>
                </a:cubicBezTo>
                <a:cubicBezTo>
                  <a:pt x="12249" y="7149"/>
                  <a:pt x="12150" y="8300"/>
                  <a:pt x="12150" y="9450"/>
                </a:cubicBezTo>
                <a:cubicBezTo>
                  <a:pt x="12150" y="10604"/>
                  <a:pt x="12249" y="11758"/>
                  <a:pt x="12443" y="12846"/>
                </a:cubicBezTo>
                <a:cubicBezTo>
                  <a:pt x="11393" y="11984"/>
                  <a:pt x="10200" y="11483"/>
                  <a:pt x="8927" y="11483"/>
                </a:cubicBezTo>
                <a:moveTo>
                  <a:pt x="8096" y="20250"/>
                </a:moveTo>
                <a:lnTo>
                  <a:pt x="5396" y="20250"/>
                </a:lnTo>
                <a:lnTo>
                  <a:pt x="5396" y="14175"/>
                </a:lnTo>
                <a:cubicBezTo>
                  <a:pt x="5396" y="13683"/>
                  <a:pt x="5264" y="13223"/>
                  <a:pt x="5033" y="12825"/>
                </a:cubicBezTo>
                <a:lnTo>
                  <a:pt x="5505" y="12825"/>
                </a:lnTo>
                <a:lnTo>
                  <a:pt x="5505" y="12833"/>
                </a:lnTo>
                <a:lnTo>
                  <a:pt x="7536" y="12833"/>
                </a:lnTo>
                <a:cubicBezTo>
                  <a:pt x="7463" y="13043"/>
                  <a:pt x="7421" y="13265"/>
                  <a:pt x="7421" y="13500"/>
                </a:cubicBezTo>
                <a:lnTo>
                  <a:pt x="7421" y="18225"/>
                </a:lnTo>
                <a:cubicBezTo>
                  <a:pt x="7421" y="18875"/>
                  <a:pt x="7785" y="19307"/>
                  <a:pt x="8001" y="19566"/>
                </a:cubicBezTo>
                <a:cubicBezTo>
                  <a:pt x="8031" y="19601"/>
                  <a:pt x="8066" y="19638"/>
                  <a:pt x="8096" y="19678"/>
                </a:cubicBezTo>
                <a:cubicBezTo>
                  <a:pt x="8096" y="19678"/>
                  <a:pt x="8096" y="20250"/>
                  <a:pt x="8096" y="20250"/>
                </a:cubicBezTo>
                <a:close/>
                <a:moveTo>
                  <a:pt x="1350" y="9450"/>
                </a:moveTo>
                <a:cubicBezTo>
                  <a:pt x="1350" y="8332"/>
                  <a:pt x="1954" y="7425"/>
                  <a:pt x="2700" y="7425"/>
                </a:cubicBezTo>
                <a:lnTo>
                  <a:pt x="7434" y="7425"/>
                </a:lnTo>
                <a:cubicBezTo>
                  <a:pt x="7015" y="7917"/>
                  <a:pt x="6750" y="8631"/>
                  <a:pt x="6750" y="9450"/>
                </a:cubicBezTo>
                <a:cubicBezTo>
                  <a:pt x="6750" y="10270"/>
                  <a:pt x="7015" y="10985"/>
                  <a:pt x="7434" y="11475"/>
                </a:cubicBezTo>
                <a:lnTo>
                  <a:pt x="2700" y="11475"/>
                </a:lnTo>
                <a:cubicBezTo>
                  <a:pt x="1954" y="11475"/>
                  <a:pt x="1350" y="10569"/>
                  <a:pt x="1350" y="9450"/>
                </a:cubicBezTo>
                <a:moveTo>
                  <a:pt x="13500" y="9450"/>
                </a:moveTo>
                <a:cubicBezTo>
                  <a:pt x="13500" y="8750"/>
                  <a:pt x="13541" y="8074"/>
                  <a:pt x="13611" y="7425"/>
                </a:cubicBezTo>
                <a:lnTo>
                  <a:pt x="15525" y="7425"/>
                </a:lnTo>
                <a:cubicBezTo>
                  <a:pt x="16270" y="7425"/>
                  <a:pt x="16875" y="8332"/>
                  <a:pt x="16875" y="9450"/>
                </a:cubicBezTo>
                <a:cubicBezTo>
                  <a:pt x="16875" y="10569"/>
                  <a:pt x="16270" y="11475"/>
                  <a:pt x="15525" y="11475"/>
                </a:cubicBezTo>
                <a:lnTo>
                  <a:pt x="13611" y="11475"/>
                </a:lnTo>
                <a:cubicBezTo>
                  <a:pt x="13541" y="10826"/>
                  <a:pt x="13500" y="10151"/>
                  <a:pt x="13500" y="9450"/>
                </a:cubicBezTo>
                <a:moveTo>
                  <a:pt x="16875" y="0"/>
                </a:moveTo>
                <a:cubicBezTo>
                  <a:pt x="15489" y="0"/>
                  <a:pt x="14400" y="952"/>
                  <a:pt x="13619" y="2421"/>
                </a:cubicBezTo>
                <a:lnTo>
                  <a:pt x="13604" y="2413"/>
                </a:lnTo>
                <a:cubicBezTo>
                  <a:pt x="12469" y="4635"/>
                  <a:pt x="10779" y="6075"/>
                  <a:pt x="8927" y="6075"/>
                </a:cubicBezTo>
                <a:lnTo>
                  <a:pt x="8479" y="6075"/>
                </a:lnTo>
                <a:lnTo>
                  <a:pt x="5505" y="6075"/>
                </a:lnTo>
                <a:lnTo>
                  <a:pt x="2700" y="6075"/>
                </a:lnTo>
                <a:cubicBezTo>
                  <a:pt x="1185" y="6075"/>
                  <a:pt x="0" y="7558"/>
                  <a:pt x="0" y="9450"/>
                </a:cubicBezTo>
                <a:cubicBezTo>
                  <a:pt x="0" y="11343"/>
                  <a:pt x="1185" y="12825"/>
                  <a:pt x="2700" y="12825"/>
                </a:cubicBezTo>
                <a:cubicBezTo>
                  <a:pt x="3444" y="12828"/>
                  <a:pt x="4046" y="13430"/>
                  <a:pt x="4046" y="14175"/>
                </a:cubicBezTo>
                <a:lnTo>
                  <a:pt x="4046" y="20250"/>
                </a:lnTo>
                <a:cubicBezTo>
                  <a:pt x="4046" y="20996"/>
                  <a:pt x="4651" y="21600"/>
                  <a:pt x="5396" y="21600"/>
                </a:cubicBezTo>
                <a:lnTo>
                  <a:pt x="8096" y="21600"/>
                </a:lnTo>
                <a:cubicBezTo>
                  <a:pt x="8842" y="21600"/>
                  <a:pt x="9446" y="20996"/>
                  <a:pt x="9446" y="20250"/>
                </a:cubicBezTo>
                <a:lnTo>
                  <a:pt x="9446" y="19575"/>
                </a:lnTo>
                <a:cubicBezTo>
                  <a:pt x="9446" y="18900"/>
                  <a:pt x="8771" y="18598"/>
                  <a:pt x="8771" y="18225"/>
                </a:cubicBezTo>
                <a:lnTo>
                  <a:pt x="8771" y="13500"/>
                </a:lnTo>
                <a:cubicBezTo>
                  <a:pt x="8771" y="13484"/>
                  <a:pt x="8782" y="13474"/>
                  <a:pt x="8783" y="13458"/>
                </a:cubicBezTo>
                <a:cubicBezTo>
                  <a:pt x="8790" y="13362"/>
                  <a:pt x="8816" y="13272"/>
                  <a:pt x="8859" y="13192"/>
                </a:cubicBezTo>
                <a:cubicBezTo>
                  <a:pt x="8871" y="13169"/>
                  <a:pt x="8884" y="13152"/>
                  <a:pt x="8899" y="13132"/>
                </a:cubicBezTo>
                <a:cubicBezTo>
                  <a:pt x="8953" y="13052"/>
                  <a:pt x="9020" y="12986"/>
                  <a:pt x="9103" y="12934"/>
                </a:cubicBezTo>
                <a:cubicBezTo>
                  <a:pt x="9107" y="12932"/>
                  <a:pt x="9109" y="12928"/>
                  <a:pt x="9112" y="12925"/>
                </a:cubicBezTo>
                <a:cubicBezTo>
                  <a:pt x="9115" y="12925"/>
                  <a:pt x="9118" y="12923"/>
                  <a:pt x="9120" y="12923"/>
                </a:cubicBezTo>
                <a:cubicBezTo>
                  <a:pt x="9174" y="12892"/>
                  <a:pt x="9238" y="12886"/>
                  <a:pt x="9300" y="12869"/>
                </a:cubicBezTo>
                <a:cubicBezTo>
                  <a:pt x="11003" y="13049"/>
                  <a:pt x="12546" y="14424"/>
                  <a:pt x="13604" y="16496"/>
                </a:cubicBezTo>
                <a:lnTo>
                  <a:pt x="13621" y="16487"/>
                </a:lnTo>
                <a:cubicBezTo>
                  <a:pt x="14404" y="17951"/>
                  <a:pt x="15491" y="18900"/>
                  <a:pt x="16875" y="18900"/>
                </a:cubicBezTo>
                <a:cubicBezTo>
                  <a:pt x="19977" y="18900"/>
                  <a:pt x="21600" y="14146"/>
                  <a:pt x="21600" y="9450"/>
                </a:cubicBezTo>
                <a:cubicBezTo>
                  <a:pt x="21600" y="4754"/>
                  <a:pt x="19977" y="0"/>
                  <a:pt x="16875" y="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defTabSz="22860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15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pic>
        <p:nvPicPr>
          <p:cNvPr id="3" name="图片占位符 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/>
      </p:pic>
      <p:sp>
        <p:nvSpPr>
          <p:cNvPr id="19" name="TextBox 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7322749" y="929761"/>
            <a:ext cx="412973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Company Full Time Line</a:t>
            </a:r>
          </a:p>
        </p:txBody>
      </p:sp>
      <p:sp>
        <p:nvSpPr>
          <p:cNvPr id="20" name="Rectangle 1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313755" y="3050014"/>
            <a:ext cx="304878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Photo Studio, Agency</a:t>
            </a:r>
          </a:p>
          <a:p>
            <a:endParaRPr lang="en-US" sz="1200" dirty="0">
              <a:solidFill>
                <a:schemeClr val="bg1"/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  <a:p>
            <a:r>
              <a:rPr lang="en-US" sz="12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Conveniently iterate top-line alignments for wireless metrics. </a:t>
            </a:r>
          </a:p>
        </p:txBody>
      </p:sp>
      <p:sp>
        <p:nvSpPr>
          <p:cNvPr id="21" name="Rectangle 2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313755" y="4129306"/>
            <a:ext cx="304878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Security Service</a:t>
            </a:r>
          </a:p>
          <a:p>
            <a:endParaRPr lang="en-US" sz="1200" dirty="0">
              <a:solidFill>
                <a:schemeClr val="bg1"/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  <a:p>
            <a:r>
              <a:rPr lang="en-US" sz="12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Conveniently iterate top-line alignments for wireless metrics. </a:t>
            </a:r>
          </a:p>
        </p:txBody>
      </p:sp>
      <p:sp>
        <p:nvSpPr>
          <p:cNvPr id="22" name="Rectangle 2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313755" y="5208597"/>
            <a:ext cx="304878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Project Mega Data</a:t>
            </a:r>
          </a:p>
          <a:p>
            <a:endParaRPr lang="en-US" sz="1200" dirty="0">
              <a:solidFill>
                <a:schemeClr val="bg1"/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</a:endParaRPr>
          </a:p>
          <a:p>
            <a:r>
              <a:rPr lang="en-US" sz="12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Conveniently iterate top-line alignments for wireless metrics. </a:t>
            </a:r>
          </a:p>
        </p:txBody>
      </p:sp>
      <p:sp>
        <p:nvSpPr>
          <p:cNvPr id="26" name="Freeform 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EditPoints="1"/>
          </p:cNvSpPr>
          <p:nvPr/>
        </p:nvSpPr>
        <p:spPr bwMode="auto">
          <a:xfrm>
            <a:off x="7725842" y="4232407"/>
            <a:ext cx="431800" cy="433388"/>
          </a:xfrm>
          <a:custGeom>
            <a:avLst/>
            <a:gdLst>
              <a:gd name="T0" fmla="*/ 175 w 176"/>
              <a:gd name="T1" fmla="*/ 85 h 176"/>
              <a:gd name="T2" fmla="*/ 144 w 176"/>
              <a:gd name="T3" fmla="*/ 54 h 176"/>
              <a:gd name="T4" fmla="*/ 144 w 176"/>
              <a:gd name="T5" fmla="*/ 12 h 176"/>
              <a:gd name="T6" fmla="*/ 140 w 176"/>
              <a:gd name="T7" fmla="*/ 8 h 176"/>
              <a:gd name="T8" fmla="*/ 116 w 176"/>
              <a:gd name="T9" fmla="*/ 8 h 176"/>
              <a:gd name="T10" fmla="*/ 112 w 176"/>
              <a:gd name="T11" fmla="*/ 12 h 176"/>
              <a:gd name="T12" fmla="*/ 112 w 176"/>
              <a:gd name="T13" fmla="*/ 22 h 176"/>
              <a:gd name="T14" fmla="*/ 91 w 176"/>
              <a:gd name="T15" fmla="*/ 1 h 176"/>
              <a:gd name="T16" fmla="*/ 88 w 176"/>
              <a:gd name="T17" fmla="*/ 0 h 176"/>
              <a:gd name="T18" fmla="*/ 85 w 176"/>
              <a:gd name="T19" fmla="*/ 1 h 176"/>
              <a:gd name="T20" fmla="*/ 1 w 176"/>
              <a:gd name="T21" fmla="*/ 85 h 176"/>
              <a:gd name="T22" fmla="*/ 0 w 176"/>
              <a:gd name="T23" fmla="*/ 88 h 176"/>
              <a:gd name="T24" fmla="*/ 4 w 176"/>
              <a:gd name="T25" fmla="*/ 92 h 176"/>
              <a:gd name="T26" fmla="*/ 7 w 176"/>
              <a:gd name="T27" fmla="*/ 91 h 176"/>
              <a:gd name="T28" fmla="*/ 24 w 176"/>
              <a:gd name="T29" fmla="*/ 74 h 176"/>
              <a:gd name="T30" fmla="*/ 24 w 176"/>
              <a:gd name="T31" fmla="*/ 172 h 176"/>
              <a:gd name="T32" fmla="*/ 28 w 176"/>
              <a:gd name="T33" fmla="*/ 176 h 176"/>
              <a:gd name="T34" fmla="*/ 148 w 176"/>
              <a:gd name="T35" fmla="*/ 176 h 176"/>
              <a:gd name="T36" fmla="*/ 152 w 176"/>
              <a:gd name="T37" fmla="*/ 172 h 176"/>
              <a:gd name="T38" fmla="*/ 152 w 176"/>
              <a:gd name="T39" fmla="*/ 74 h 176"/>
              <a:gd name="T40" fmla="*/ 169 w 176"/>
              <a:gd name="T41" fmla="*/ 91 h 176"/>
              <a:gd name="T42" fmla="*/ 172 w 176"/>
              <a:gd name="T43" fmla="*/ 92 h 176"/>
              <a:gd name="T44" fmla="*/ 176 w 176"/>
              <a:gd name="T45" fmla="*/ 88 h 176"/>
              <a:gd name="T46" fmla="*/ 175 w 176"/>
              <a:gd name="T47" fmla="*/ 85 h 176"/>
              <a:gd name="T48" fmla="*/ 120 w 176"/>
              <a:gd name="T49" fmla="*/ 16 h 176"/>
              <a:gd name="T50" fmla="*/ 136 w 176"/>
              <a:gd name="T51" fmla="*/ 16 h 176"/>
              <a:gd name="T52" fmla="*/ 136 w 176"/>
              <a:gd name="T53" fmla="*/ 46 h 176"/>
              <a:gd name="T54" fmla="*/ 120 w 176"/>
              <a:gd name="T55" fmla="*/ 30 h 176"/>
              <a:gd name="T56" fmla="*/ 120 w 176"/>
              <a:gd name="T57" fmla="*/ 16 h 176"/>
              <a:gd name="T58" fmla="*/ 64 w 176"/>
              <a:gd name="T59" fmla="*/ 168 h 176"/>
              <a:gd name="T60" fmla="*/ 32 w 176"/>
              <a:gd name="T61" fmla="*/ 168 h 176"/>
              <a:gd name="T62" fmla="*/ 32 w 176"/>
              <a:gd name="T63" fmla="*/ 160 h 176"/>
              <a:gd name="T64" fmla="*/ 64 w 176"/>
              <a:gd name="T65" fmla="*/ 160 h 176"/>
              <a:gd name="T66" fmla="*/ 64 w 176"/>
              <a:gd name="T67" fmla="*/ 168 h 176"/>
              <a:gd name="T68" fmla="*/ 104 w 176"/>
              <a:gd name="T69" fmla="*/ 168 h 176"/>
              <a:gd name="T70" fmla="*/ 72 w 176"/>
              <a:gd name="T71" fmla="*/ 168 h 176"/>
              <a:gd name="T72" fmla="*/ 72 w 176"/>
              <a:gd name="T73" fmla="*/ 104 h 176"/>
              <a:gd name="T74" fmla="*/ 104 w 176"/>
              <a:gd name="T75" fmla="*/ 104 h 176"/>
              <a:gd name="T76" fmla="*/ 104 w 176"/>
              <a:gd name="T77" fmla="*/ 168 h 176"/>
              <a:gd name="T78" fmla="*/ 144 w 176"/>
              <a:gd name="T79" fmla="*/ 168 h 176"/>
              <a:gd name="T80" fmla="*/ 112 w 176"/>
              <a:gd name="T81" fmla="*/ 168 h 176"/>
              <a:gd name="T82" fmla="*/ 112 w 176"/>
              <a:gd name="T83" fmla="*/ 160 h 176"/>
              <a:gd name="T84" fmla="*/ 144 w 176"/>
              <a:gd name="T85" fmla="*/ 160 h 176"/>
              <a:gd name="T86" fmla="*/ 144 w 176"/>
              <a:gd name="T87" fmla="*/ 168 h 176"/>
              <a:gd name="T88" fmla="*/ 144 w 176"/>
              <a:gd name="T89" fmla="*/ 152 h 176"/>
              <a:gd name="T90" fmla="*/ 112 w 176"/>
              <a:gd name="T91" fmla="*/ 152 h 176"/>
              <a:gd name="T92" fmla="*/ 112 w 176"/>
              <a:gd name="T93" fmla="*/ 100 h 176"/>
              <a:gd name="T94" fmla="*/ 108 w 176"/>
              <a:gd name="T95" fmla="*/ 96 h 176"/>
              <a:gd name="T96" fmla="*/ 68 w 176"/>
              <a:gd name="T97" fmla="*/ 96 h 176"/>
              <a:gd name="T98" fmla="*/ 64 w 176"/>
              <a:gd name="T99" fmla="*/ 100 h 176"/>
              <a:gd name="T100" fmla="*/ 64 w 176"/>
              <a:gd name="T101" fmla="*/ 152 h 176"/>
              <a:gd name="T102" fmla="*/ 32 w 176"/>
              <a:gd name="T103" fmla="*/ 152 h 176"/>
              <a:gd name="T104" fmla="*/ 32 w 176"/>
              <a:gd name="T105" fmla="*/ 66 h 176"/>
              <a:gd name="T106" fmla="*/ 88 w 176"/>
              <a:gd name="T107" fmla="*/ 10 h 176"/>
              <a:gd name="T108" fmla="*/ 144 w 176"/>
              <a:gd name="T109" fmla="*/ 66 h 176"/>
              <a:gd name="T110" fmla="*/ 144 w 176"/>
              <a:gd name="T111" fmla="*/ 152 h 176"/>
              <a:gd name="T112" fmla="*/ 92 w 176"/>
              <a:gd name="T113" fmla="*/ 144 h 176"/>
              <a:gd name="T114" fmla="*/ 96 w 176"/>
              <a:gd name="T115" fmla="*/ 140 h 176"/>
              <a:gd name="T116" fmla="*/ 92 w 176"/>
              <a:gd name="T117" fmla="*/ 136 h 176"/>
              <a:gd name="T118" fmla="*/ 88 w 176"/>
              <a:gd name="T119" fmla="*/ 140 h 176"/>
              <a:gd name="T120" fmla="*/ 92 w 176"/>
              <a:gd name="T121" fmla="*/ 144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76" h="176">
                <a:moveTo>
                  <a:pt x="175" y="85"/>
                </a:moveTo>
                <a:cubicBezTo>
                  <a:pt x="144" y="54"/>
                  <a:pt x="144" y="54"/>
                  <a:pt x="144" y="54"/>
                </a:cubicBezTo>
                <a:cubicBezTo>
                  <a:pt x="144" y="12"/>
                  <a:pt x="144" y="12"/>
                  <a:pt x="144" y="12"/>
                </a:cubicBezTo>
                <a:cubicBezTo>
                  <a:pt x="144" y="10"/>
                  <a:pt x="142" y="8"/>
                  <a:pt x="140" y="8"/>
                </a:cubicBezTo>
                <a:cubicBezTo>
                  <a:pt x="116" y="8"/>
                  <a:pt x="116" y="8"/>
                  <a:pt x="116" y="8"/>
                </a:cubicBezTo>
                <a:cubicBezTo>
                  <a:pt x="114" y="8"/>
                  <a:pt x="112" y="10"/>
                  <a:pt x="112" y="12"/>
                </a:cubicBezTo>
                <a:cubicBezTo>
                  <a:pt x="112" y="22"/>
                  <a:pt x="112" y="22"/>
                  <a:pt x="112" y="22"/>
                </a:cubicBezTo>
                <a:cubicBezTo>
                  <a:pt x="91" y="1"/>
                  <a:pt x="91" y="1"/>
                  <a:pt x="91" y="1"/>
                </a:cubicBezTo>
                <a:cubicBezTo>
                  <a:pt x="90" y="0"/>
                  <a:pt x="89" y="0"/>
                  <a:pt x="88" y="0"/>
                </a:cubicBezTo>
                <a:cubicBezTo>
                  <a:pt x="87" y="0"/>
                  <a:pt x="86" y="0"/>
                  <a:pt x="85" y="1"/>
                </a:cubicBezTo>
                <a:cubicBezTo>
                  <a:pt x="1" y="85"/>
                  <a:pt x="1" y="85"/>
                  <a:pt x="1" y="85"/>
                </a:cubicBezTo>
                <a:cubicBezTo>
                  <a:pt x="0" y="86"/>
                  <a:pt x="0" y="87"/>
                  <a:pt x="0" y="88"/>
                </a:cubicBezTo>
                <a:cubicBezTo>
                  <a:pt x="0" y="90"/>
                  <a:pt x="2" y="92"/>
                  <a:pt x="4" y="92"/>
                </a:cubicBezTo>
                <a:cubicBezTo>
                  <a:pt x="5" y="92"/>
                  <a:pt x="6" y="92"/>
                  <a:pt x="7" y="91"/>
                </a:cubicBezTo>
                <a:cubicBezTo>
                  <a:pt x="24" y="74"/>
                  <a:pt x="24" y="74"/>
                  <a:pt x="24" y="74"/>
                </a:cubicBezTo>
                <a:cubicBezTo>
                  <a:pt x="24" y="172"/>
                  <a:pt x="24" y="172"/>
                  <a:pt x="24" y="172"/>
                </a:cubicBezTo>
                <a:cubicBezTo>
                  <a:pt x="24" y="174"/>
                  <a:pt x="26" y="176"/>
                  <a:pt x="28" y="176"/>
                </a:cubicBezTo>
                <a:cubicBezTo>
                  <a:pt x="148" y="176"/>
                  <a:pt x="148" y="176"/>
                  <a:pt x="148" y="176"/>
                </a:cubicBezTo>
                <a:cubicBezTo>
                  <a:pt x="150" y="176"/>
                  <a:pt x="152" y="174"/>
                  <a:pt x="152" y="172"/>
                </a:cubicBezTo>
                <a:cubicBezTo>
                  <a:pt x="152" y="74"/>
                  <a:pt x="152" y="74"/>
                  <a:pt x="152" y="74"/>
                </a:cubicBezTo>
                <a:cubicBezTo>
                  <a:pt x="169" y="91"/>
                  <a:pt x="169" y="91"/>
                  <a:pt x="169" y="91"/>
                </a:cubicBezTo>
                <a:cubicBezTo>
                  <a:pt x="170" y="92"/>
                  <a:pt x="171" y="92"/>
                  <a:pt x="172" y="92"/>
                </a:cubicBezTo>
                <a:cubicBezTo>
                  <a:pt x="174" y="92"/>
                  <a:pt x="176" y="90"/>
                  <a:pt x="176" y="88"/>
                </a:cubicBezTo>
                <a:cubicBezTo>
                  <a:pt x="176" y="87"/>
                  <a:pt x="176" y="86"/>
                  <a:pt x="175" y="85"/>
                </a:cubicBezTo>
                <a:moveTo>
                  <a:pt x="120" y="16"/>
                </a:moveTo>
                <a:cubicBezTo>
                  <a:pt x="136" y="16"/>
                  <a:pt x="136" y="16"/>
                  <a:pt x="136" y="16"/>
                </a:cubicBezTo>
                <a:cubicBezTo>
                  <a:pt x="136" y="46"/>
                  <a:pt x="136" y="46"/>
                  <a:pt x="136" y="46"/>
                </a:cubicBezTo>
                <a:cubicBezTo>
                  <a:pt x="120" y="30"/>
                  <a:pt x="120" y="30"/>
                  <a:pt x="120" y="30"/>
                </a:cubicBezTo>
                <a:lnTo>
                  <a:pt x="120" y="16"/>
                </a:lnTo>
                <a:close/>
                <a:moveTo>
                  <a:pt x="64" y="168"/>
                </a:moveTo>
                <a:cubicBezTo>
                  <a:pt x="32" y="168"/>
                  <a:pt x="32" y="168"/>
                  <a:pt x="32" y="168"/>
                </a:cubicBezTo>
                <a:cubicBezTo>
                  <a:pt x="32" y="160"/>
                  <a:pt x="32" y="160"/>
                  <a:pt x="32" y="160"/>
                </a:cubicBezTo>
                <a:cubicBezTo>
                  <a:pt x="64" y="160"/>
                  <a:pt x="64" y="160"/>
                  <a:pt x="64" y="160"/>
                </a:cubicBezTo>
                <a:lnTo>
                  <a:pt x="64" y="168"/>
                </a:lnTo>
                <a:close/>
                <a:moveTo>
                  <a:pt x="104" y="168"/>
                </a:moveTo>
                <a:cubicBezTo>
                  <a:pt x="72" y="168"/>
                  <a:pt x="72" y="168"/>
                  <a:pt x="72" y="168"/>
                </a:cubicBezTo>
                <a:cubicBezTo>
                  <a:pt x="72" y="104"/>
                  <a:pt x="72" y="104"/>
                  <a:pt x="72" y="104"/>
                </a:cubicBezTo>
                <a:cubicBezTo>
                  <a:pt x="104" y="104"/>
                  <a:pt x="104" y="104"/>
                  <a:pt x="104" y="104"/>
                </a:cubicBezTo>
                <a:lnTo>
                  <a:pt x="104" y="168"/>
                </a:lnTo>
                <a:close/>
                <a:moveTo>
                  <a:pt x="144" y="168"/>
                </a:moveTo>
                <a:cubicBezTo>
                  <a:pt x="112" y="168"/>
                  <a:pt x="112" y="168"/>
                  <a:pt x="112" y="168"/>
                </a:cubicBezTo>
                <a:cubicBezTo>
                  <a:pt x="112" y="160"/>
                  <a:pt x="112" y="160"/>
                  <a:pt x="112" y="160"/>
                </a:cubicBezTo>
                <a:cubicBezTo>
                  <a:pt x="144" y="160"/>
                  <a:pt x="144" y="160"/>
                  <a:pt x="144" y="160"/>
                </a:cubicBezTo>
                <a:lnTo>
                  <a:pt x="144" y="168"/>
                </a:lnTo>
                <a:close/>
                <a:moveTo>
                  <a:pt x="144" y="152"/>
                </a:moveTo>
                <a:cubicBezTo>
                  <a:pt x="112" y="152"/>
                  <a:pt x="112" y="152"/>
                  <a:pt x="112" y="152"/>
                </a:cubicBezTo>
                <a:cubicBezTo>
                  <a:pt x="112" y="100"/>
                  <a:pt x="112" y="100"/>
                  <a:pt x="112" y="100"/>
                </a:cubicBezTo>
                <a:cubicBezTo>
                  <a:pt x="112" y="98"/>
                  <a:pt x="110" y="96"/>
                  <a:pt x="108" y="96"/>
                </a:cubicBezTo>
                <a:cubicBezTo>
                  <a:pt x="68" y="96"/>
                  <a:pt x="68" y="96"/>
                  <a:pt x="68" y="96"/>
                </a:cubicBezTo>
                <a:cubicBezTo>
                  <a:pt x="66" y="96"/>
                  <a:pt x="64" y="98"/>
                  <a:pt x="64" y="100"/>
                </a:cubicBezTo>
                <a:cubicBezTo>
                  <a:pt x="64" y="152"/>
                  <a:pt x="64" y="152"/>
                  <a:pt x="64" y="152"/>
                </a:cubicBezTo>
                <a:cubicBezTo>
                  <a:pt x="32" y="152"/>
                  <a:pt x="32" y="152"/>
                  <a:pt x="32" y="152"/>
                </a:cubicBezTo>
                <a:cubicBezTo>
                  <a:pt x="32" y="66"/>
                  <a:pt x="32" y="66"/>
                  <a:pt x="32" y="66"/>
                </a:cubicBezTo>
                <a:cubicBezTo>
                  <a:pt x="88" y="10"/>
                  <a:pt x="88" y="10"/>
                  <a:pt x="88" y="10"/>
                </a:cubicBezTo>
                <a:cubicBezTo>
                  <a:pt x="144" y="66"/>
                  <a:pt x="144" y="66"/>
                  <a:pt x="144" y="66"/>
                </a:cubicBezTo>
                <a:lnTo>
                  <a:pt x="144" y="152"/>
                </a:lnTo>
                <a:close/>
                <a:moveTo>
                  <a:pt x="92" y="144"/>
                </a:moveTo>
                <a:cubicBezTo>
                  <a:pt x="94" y="144"/>
                  <a:pt x="96" y="142"/>
                  <a:pt x="96" y="140"/>
                </a:cubicBezTo>
                <a:cubicBezTo>
                  <a:pt x="96" y="138"/>
                  <a:pt x="94" y="136"/>
                  <a:pt x="92" y="136"/>
                </a:cubicBezTo>
                <a:cubicBezTo>
                  <a:pt x="90" y="136"/>
                  <a:pt x="88" y="138"/>
                  <a:pt x="88" y="140"/>
                </a:cubicBezTo>
                <a:cubicBezTo>
                  <a:pt x="88" y="142"/>
                  <a:pt x="90" y="144"/>
                  <a:pt x="92" y="144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GB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27" name="Freeform 2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EditPoints="1"/>
          </p:cNvSpPr>
          <p:nvPr/>
        </p:nvSpPr>
        <p:spPr bwMode="auto">
          <a:xfrm>
            <a:off x="7725842" y="3144683"/>
            <a:ext cx="433388" cy="431800"/>
          </a:xfrm>
          <a:custGeom>
            <a:avLst/>
            <a:gdLst>
              <a:gd name="T0" fmla="*/ 24 w 176"/>
              <a:gd name="T1" fmla="*/ 32 h 176"/>
              <a:gd name="T2" fmla="*/ 16 w 176"/>
              <a:gd name="T3" fmla="*/ 56 h 176"/>
              <a:gd name="T4" fmla="*/ 16 w 176"/>
              <a:gd name="T5" fmla="*/ 48 h 176"/>
              <a:gd name="T6" fmla="*/ 16 w 176"/>
              <a:gd name="T7" fmla="*/ 152 h 176"/>
              <a:gd name="T8" fmla="*/ 24 w 176"/>
              <a:gd name="T9" fmla="*/ 152 h 176"/>
              <a:gd name="T10" fmla="*/ 16 w 176"/>
              <a:gd name="T11" fmla="*/ 128 h 176"/>
              <a:gd name="T12" fmla="*/ 24 w 176"/>
              <a:gd name="T13" fmla="*/ 104 h 176"/>
              <a:gd name="T14" fmla="*/ 24 w 176"/>
              <a:gd name="T15" fmla="*/ 112 h 176"/>
              <a:gd name="T16" fmla="*/ 16 w 176"/>
              <a:gd name="T17" fmla="*/ 136 h 176"/>
              <a:gd name="T18" fmla="*/ 24 w 176"/>
              <a:gd name="T19" fmla="*/ 136 h 176"/>
              <a:gd name="T20" fmla="*/ 24 w 176"/>
              <a:gd name="T21" fmla="*/ 64 h 176"/>
              <a:gd name="T22" fmla="*/ 16 w 176"/>
              <a:gd name="T23" fmla="*/ 24 h 176"/>
              <a:gd name="T24" fmla="*/ 16 w 176"/>
              <a:gd name="T25" fmla="*/ 16 h 176"/>
              <a:gd name="T26" fmla="*/ 160 w 176"/>
              <a:gd name="T27" fmla="*/ 40 h 176"/>
              <a:gd name="T28" fmla="*/ 152 w 176"/>
              <a:gd name="T29" fmla="*/ 40 h 176"/>
              <a:gd name="T30" fmla="*/ 160 w 176"/>
              <a:gd name="T31" fmla="*/ 48 h 176"/>
              <a:gd name="T32" fmla="*/ 152 w 176"/>
              <a:gd name="T33" fmla="*/ 72 h 176"/>
              <a:gd name="T34" fmla="*/ 152 w 176"/>
              <a:gd name="T35" fmla="*/ 64 h 176"/>
              <a:gd name="T36" fmla="*/ 16 w 176"/>
              <a:gd name="T37" fmla="*/ 0 h 176"/>
              <a:gd name="T38" fmla="*/ 16 w 176"/>
              <a:gd name="T39" fmla="*/ 176 h 176"/>
              <a:gd name="T40" fmla="*/ 176 w 176"/>
              <a:gd name="T41" fmla="*/ 16 h 176"/>
              <a:gd name="T42" fmla="*/ 16 w 176"/>
              <a:gd name="T43" fmla="*/ 168 h 176"/>
              <a:gd name="T44" fmla="*/ 32 w 176"/>
              <a:gd name="T45" fmla="*/ 92 h 176"/>
              <a:gd name="T46" fmla="*/ 8 w 176"/>
              <a:gd name="T47" fmla="*/ 84 h 176"/>
              <a:gd name="T48" fmla="*/ 32 w 176"/>
              <a:gd name="T49" fmla="*/ 8 h 176"/>
              <a:gd name="T50" fmla="*/ 40 w 176"/>
              <a:gd name="T51" fmla="*/ 168 h 176"/>
              <a:gd name="T52" fmla="*/ 136 w 176"/>
              <a:gd name="T53" fmla="*/ 168 h 176"/>
              <a:gd name="T54" fmla="*/ 144 w 176"/>
              <a:gd name="T55" fmla="*/ 168 h 176"/>
              <a:gd name="T56" fmla="*/ 168 w 176"/>
              <a:gd name="T57" fmla="*/ 160 h 176"/>
              <a:gd name="T58" fmla="*/ 144 w 176"/>
              <a:gd name="T59" fmla="*/ 8 h 176"/>
              <a:gd name="T60" fmla="*/ 168 w 176"/>
              <a:gd name="T61" fmla="*/ 84 h 176"/>
              <a:gd name="T62" fmla="*/ 160 w 176"/>
              <a:gd name="T63" fmla="*/ 16 h 176"/>
              <a:gd name="T64" fmla="*/ 160 w 176"/>
              <a:gd name="T65" fmla="*/ 136 h 176"/>
              <a:gd name="T66" fmla="*/ 160 w 176"/>
              <a:gd name="T67" fmla="*/ 144 h 176"/>
              <a:gd name="T68" fmla="*/ 152 w 176"/>
              <a:gd name="T69" fmla="*/ 104 h 176"/>
              <a:gd name="T70" fmla="*/ 160 w 176"/>
              <a:gd name="T71" fmla="*/ 104 h 176"/>
              <a:gd name="T72" fmla="*/ 152 w 176"/>
              <a:gd name="T73" fmla="*/ 128 h 176"/>
              <a:gd name="T74" fmla="*/ 160 w 176"/>
              <a:gd name="T75" fmla="*/ 152 h 176"/>
              <a:gd name="T76" fmla="*/ 160 w 176"/>
              <a:gd name="T77" fmla="*/ 160 h 176"/>
              <a:gd name="T78" fmla="*/ 70 w 176"/>
              <a:gd name="T79" fmla="*/ 119 h 176"/>
              <a:gd name="T80" fmla="*/ 114 w 176"/>
              <a:gd name="T81" fmla="*/ 91 h 176"/>
              <a:gd name="T82" fmla="*/ 115 w 176"/>
              <a:gd name="T83" fmla="*/ 85 h 176"/>
              <a:gd name="T84" fmla="*/ 68 w 176"/>
              <a:gd name="T85" fmla="*/ 56 h 176"/>
              <a:gd name="T86" fmla="*/ 68 w 176"/>
              <a:gd name="T87" fmla="*/ 120 h 176"/>
              <a:gd name="T88" fmla="*/ 72 w 176"/>
              <a:gd name="T89" fmla="*/ 109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76" h="176">
                <a:moveTo>
                  <a:pt x="16" y="40"/>
                </a:moveTo>
                <a:cubicBezTo>
                  <a:pt x="24" y="40"/>
                  <a:pt x="24" y="40"/>
                  <a:pt x="24" y="40"/>
                </a:cubicBezTo>
                <a:cubicBezTo>
                  <a:pt x="24" y="32"/>
                  <a:pt x="24" y="32"/>
                  <a:pt x="24" y="32"/>
                </a:cubicBezTo>
                <a:cubicBezTo>
                  <a:pt x="16" y="32"/>
                  <a:pt x="16" y="32"/>
                  <a:pt x="16" y="32"/>
                </a:cubicBezTo>
                <a:lnTo>
                  <a:pt x="16" y="40"/>
                </a:lnTo>
                <a:close/>
                <a:moveTo>
                  <a:pt x="16" y="56"/>
                </a:moveTo>
                <a:cubicBezTo>
                  <a:pt x="24" y="56"/>
                  <a:pt x="24" y="56"/>
                  <a:pt x="24" y="56"/>
                </a:cubicBezTo>
                <a:cubicBezTo>
                  <a:pt x="24" y="48"/>
                  <a:pt x="24" y="48"/>
                  <a:pt x="24" y="48"/>
                </a:cubicBezTo>
                <a:cubicBezTo>
                  <a:pt x="16" y="48"/>
                  <a:pt x="16" y="48"/>
                  <a:pt x="16" y="48"/>
                </a:cubicBezTo>
                <a:lnTo>
                  <a:pt x="16" y="56"/>
                </a:lnTo>
                <a:close/>
                <a:moveTo>
                  <a:pt x="24" y="152"/>
                </a:moveTo>
                <a:cubicBezTo>
                  <a:pt x="16" y="152"/>
                  <a:pt x="16" y="152"/>
                  <a:pt x="16" y="152"/>
                </a:cubicBezTo>
                <a:cubicBezTo>
                  <a:pt x="16" y="160"/>
                  <a:pt x="16" y="160"/>
                  <a:pt x="16" y="160"/>
                </a:cubicBezTo>
                <a:cubicBezTo>
                  <a:pt x="24" y="160"/>
                  <a:pt x="24" y="160"/>
                  <a:pt x="24" y="160"/>
                </a:cubicBezTo>
                <a:lnTo>
                  <a:pt x="24" y="152"/>
                </a:lnTo>
                <a:close/>
                <a:moveTo>
                  <a:pt x="24" y="120"/>
                </a:moveTo>
                <a:cubicBezTo>
                  <a:pt x="16" y="120"/>
                  <a:pt x="16" y="120"/>
                  <a:pt x="16" y="120"/>
                </a:cubicBezTo>
                <a:cubicBezTo>
                  <a:pt x="16" y="128"/>
                  <a:pt x="16" y="128"/>
                  <a:pt x="16" y="128"/>
                </a:cubicBezTo>
                <a:cubicBezTo>
                  <a:pt x="24" y="128"/>
                  <a:pt x="24" y="128"/>
                  <a:pt x="24" y="128"/>
                </a:cubicBezTo>
                <a:lnTo>
                  <a:pt x="24" y="120"/>
                </a:lnTo>
                <a:close/>
                <a:moveTo>
                  <a:pt x="24" y="104"/>
                </a:moveTo>
                <a:cubicBezTo>
                  <a:pt x="16" y="104"/>
                  <a:pt x="16" y="104"/>
                  <a:pt x="16" y="104"/>
                </a:cubicBezTo>
                <a:cubicBezTo>
                  <a:pt x="16" y="112"/>
                  <a:pt x="16" y="112"/>
                  <a:pt x="16" y="112"/>
                </a:cubicBezTo>
                <a:cubicBezTo>
                  <a:pt x="24" y="112"/>
                  <a:pt x="24" y="112"/>
                  <a:pt x="24" y="112"/>
                </a:cubicBezTo>
                <a:lnTo>
                  <a:pt x="24" y="104"/>
                </a:lnTo>
                <a:close/>
                <a:moveTo>
                  <a:pt x="24" y="136"/>
                </a:moveTo>
                <a:cubicBezTo>
                  <a:pt x="16" y="136"/>
                  <a:pt x="16" y="136"/>
                  <a:pt x="16" y="136"/>
                </a:cubicBezTo>
                <a:cubicBezTo>
                  <a:pt x="16" y="144"/>
                  <a:pt x="16" y="144"/>
                  <a:pt x="16" y="144"/>
                </a:cubicBezTo>
                <a:cubicBezTo>
                  <a:pt x="24" y="144"/>
                  <a:pt x="24" y="144"/>
                  <a:pt x="24" y="144"/>
                </a:cubicBezTo>
                <a:lnTo>
                  <a:pt x="24" y="136"/>
                </a:lnTo>
                <a:close/>
                <a:moveTo>
                  <a:pt x="16" y="72"/>
                </a:moveTo>
                <a:cubicBezTo>
                  <a:pt x="24" y="72"/>
                  <a:pt x="24" y="72"/>
                  <a:pt x="24" y="72"/>
                </a:cubicBezTo>
                <a:cubicBezTo>
                  <a:pt x="24" y="64"/>
                  <a:pt x="24" y="64"/>
                  <a:pt x="24" y="64"/>
                </a:cubicBezTo>
                <a:cubicBezTo>
                  <a:pt x="16" y="64"/>
                  <a:pt x="16" y="64"/>
                  <a:pt x="16" y="64"/>
                </a:cubicBezTo>
                <a:lnTo>
                  <a:pt x="16" y="72"/>
                </a:lnTo>
                <a:close/>
                <a:moveTo>
                  <a:pt x="16" y="24"/>
                </a:moveTo>
                <a:cubicBezTo>
                  <a:pt x="24" y="24"/>
                  <a:pt x="24" y="24"/>
                  <a:pt x="24" y="24"/>
                </a:cubicBezTo>
                <a:cubicBezTo>
                  <a:pt x="24" y="16"/>
                  <a:pt x="24" y="16"/>
                  <a:pt x="24" y="16"/>
                </a:cubicBezTo>
                <a:cubicBezTo>
                  <a:pt x="16" y="16"/>
                  <a:pt x="16" y="16"/>
                  <a:pt x="16" y="16"/>
                </a:cubicBezTo>
                <a:lnTo>
                  <a:pt x="16" y="24"/>
                </a:lnTo>
                <a:close/>
                <a:moveTo>
                  <a:pt x="152" y="40"/>
                </a:moveTo>
                <a:cubicBezTo>
                  <a:pt x="160" y="40"/>
                  <a:pt x="160" y="40"/>
                  <a:pt x="160" y="40"/>
                </a:cubicBezTo>
                <a:cubicBezTo>
                  <a:pt x="160" y="32"/>
                  <a:pt x="160" y="32"/>
                  <a:pt x="160" y="32"/>
                </a:cubicBezTo>
                <a:cubicBezTo>
                  <a:pt x="152" y="32"/>
                  <a:pt x="152" y="32"/>
                  <a:pt x="152" y="32"/>
                </a:cubicBezTo>
                <a:lnTo>
                  <a:pt x="152" y="40"/>
                </a:lnTo>
                <a:close/>
                <a:moveTo>
                  <a:pt x="152" y="56"/>
                </a:moveTo>
                <a:cubicBezTo>
                  <a:pt x="160" y="56"/>
                  <a:pt x="160" y="56"/>
                  <a:pt x="160" y="56"/>
                </a:cubicBezTo>
                <a:cubicBezTo>
                  <a:pt x="160" y="48"/>
                  <a:pt x="160" y="48"/>
                  <a:pt x="160" y="48"/>
                </a:cubicBezTo>
                <a:cubicBezTo>
                  <a:pt x="152" y="48"/>
                  <a:pt x="152" y="48"/>
                  <a:pt x="152" y="48"/>
                </a:cubicBezTo>
                <a:lnTo>
                  <a:pt x="152" y="56"/>
                </a:lnTo>
                <a:close/>
                <a:moveTo>
                  <a:pt x="152" y="72"/>
                </a:moveTo>
                <a:cubicBezTo>
                  <a:pt x="160" y="72"/>
                  <a:pt x="160" y="72"/>
                  <a:pt x="160" y="72"/>
                </a:cubicBezTo>
                <a:cubicBezTo>
                  <a:pt x="160" y="64"/>
                  <a:pt x="160" y="64"/>
                  <a:pt x="160" y="64"/>
                </a:cubicBezTo>
                <a:cubicBezTo>
                  <a:pt x="152" y="64"/>
                  <a:pt x="152" y="64"/>
                  <a:pt x="152" y="64"/>
                </a:cubicBezTo>
                <a:lnTo>
                  <a:pt x="152" y="72"/>
                </a:lnTo>
                <a:close/>
                <a:moveTo>
                  <a:pt x="160" y="0"/>
                </a:moveTo>
                <a:cubicBezTo>
                  <a:pt x="16" y="0"/>
                  <a:pt x="16" y="0"/>
                  <a:pt x="16" y="0"/>
                </a:cubicBezTo>
                <a:cubicBezTo>
                  <a:pt x="7" y="0"/>
                  <a:pt x="0" y="7"/>
                  <a:pt x="0" y="16"/>
                </a:cubicBezTo>
                <a:cubicBezTo>
                  <a:pt x="0" y="160"/>
                  <a:pt x="0" y="160"/>
                  <a:pt x="0" y="160"/>
                </a:cubicBezTo>
                <a:cubicBezTo>
                  <a:pt x="0" y="169"/>
                  <a:pt x="7" y="176"/>
                  <a:pt x="16" y="176"/>
                </a:cubicBezTo>
                <a:cubicBezTo>
                  <a:pt x="160" y="176"/>
                  <a:pt x="160" y="176"/>
                  <a:pt x="160" y="176"/>
                </a:cubicBezTo>
                <a:cubicBezTo>
                  <a:pt x="169" y="176"/>
                  <a:pt x="176" y="169"/>
                  <a:pt x="176" y="160"/>
                </a:cubicBezTo>
                <a:cubicBezTo>
                  <a:pt x="176" y="16"/>
                  <a:pt x="176" y="16"/>
                  <a:pt x="176" y="16"/>
                </a:cubicBezTo>
                <a:cubicBezTo>
                  <a:pt x="176" y="7"/>
                  <a:pt x="169" y="0"/>
                  <a:pt x="160" y="0"/>
                </a:cubicBezTo>
                <a:moveTo>
                  <a:pt x="32" y="168"/>
                </a:moveTo>
                <a:cubicBezTo>
                  <a:pt x="16" y="168"/>
                  <a:pt x="16" y="168"/>
                  <a:pt x="16" y="168"/>
                </a:cubicBezTo>
                <a:cubicBezTo>
                  <a:pt x="12" y="168"/>
                  <a:pt x="8" y="164"/>
                  <a:pt x="8" y="160"/>
                </a:cubicBezTo>
                <a:cubicBezTo>
                  <a:pt x="8" y="92"/>
                  <a:pt x="8" y="92"/>
                  <a:pt x="8" y="92"/>
                </a:cubicBezTo>
                <a:cubicBezTo>
                  <a:pt x="32" y="92"/>
                  <a:pt x="32" y="92"/>
                  <a:pt x="32" y="92"/>
                </a:cubicBezTo>
                <a:lnTo>
                  <a:pt x="32" y="168"/>
                </a:lnTo>
                <a:close/>
                <a:moveTo>
                  <a:pt x="32" y="84"/>
                </a:moveTo>
                <a:cubicBezTo>
                  <a:pt x="8" y="84"/>
                  <a:pt x="8" y="84"/>
                  <a:pt x="8" y="84"/>
                </a:cubicBezTo>
                <a:cubicBezTo>
                  <a:pt x="8" y="16"/>
                  <a:pt x="8" y="16"/>
                  <a:pt x="8" y="16"/>
                </a:cubicBezTo>
                <a:cubicBezTo>
                  <a:pt x="8" y="12"/>
                  <a:pt x="12" y="8"/>
                  <a:pt x="16" y="8"/>
                </a:cubicBezTo>
                <a:cubicBezTo>
                  <a:pt x="32" y="8"/>
                  <a:pt x="32" y="8"/>
                  <a:pt x="32" y="8"/>
                </a:cubicBezTo>
                <a:lnTo>
                  <a:pt x="32" y="84"/>
                </a:lnTo>
                <a:close/>
                <a:moveTo>
                  <a:pt x="136" y="168"/>
                </a:moveTo>
                <a:cubicBezTo>
                  <a:pt x="40" y="168"/>
                  <a:pt x="40" y="168"/>
                  <a:pt x="40" y="168"/>
                </a:cubicBezTo>
                <a:cubicBezTo>
                  <a:pt x="40" y="8"/>
                  <a:pt x="40" y="8"/>
                  <a:pt x="40" y="8"/>
                </a:cubicBezTo>
                <a:cubicBezTo>
                  <a:pt x="136" y="8"/>
                  <a:pt x="136" y="8"/>
                  <a:pt x="136" y="8"/>
                </a:cubicBezTo>
                <a:lnTo>
                  <a:pt x="136" y="168"/>
                </a:lnTo>
                <a:close/>
                <a:moveTo>
                  <a:pt x="168" y="160"/>
                </a:moveTo>
                <a:cubicBezTo>
                  <a:pt x="168" y="164"/>
                  <a:pt x="164" y="168"/>
                  <a:pt x="160" y="168"/>
                </a:cubicBezTo>
                <a:cubicBezTo>
                  <a:pt x="144" y="168"/>
                  <a:pt x="144" y="168"/>
                  <a:pt x="144" y="168"/>
                </a:cubicBezTo>
                <a:cubicBezTo>
                  <a:pt x="144" y="92"/>
                  <a:pt x="144" y="92"/>
                  <a:pt x="144" y="92"/>
                </a:cubicBezTo>
                <a:cubicBezTo>
                  <a:pt x="168" y="92"/>
                  <a:pt x="168" y="92"/>
                  <a:pt x="168" y="92"/>
                </a:cubicBezTo>
                <a:lnTo>
                  <a:pt x="168" y="160"/>
                </a:lnTo>
                <a:close/>
                <a:moveTo>
                  <a:pt x="168" y="84"/>
                </a:moveTo>
                <a:cubicBezTo>
                  <a:pt x="144" y="84"/>
                  <a:pt x="144" y="84"/>
                  <a:pt x="144" y="84"/>
                </a:cubicBezTo>
                <a:cubicBezTo>
                  <a:pt x="144" y="8"/>
                  <a:pt x="144" y="8"/>
                  <a:pt x="144" y="8"/>
                </a:cubicBezTo>
                <a:cubicBezTo>
                  <a:pt x="160" y="8"/>
                  <a:pt x="160" y="8"/>
                  <a:pt x="160" y="8"/>
                </a:cubicBezTo>
                <a:cubicBezTo>
                  <a:pt x="164" y="8"/>
                  <a:pt x="168" y="12"/>
                  <a:pt x="168" y="16"/>
                </a:cubicBezTo>
                <a:lnTo>
                  <a:pt x="168" y="84"/>
                </a:lnTo>
                <a:close/>
                <a:moveTo>
                  <a:pt x="152" y="24"/>
                </a:moveTo>
                <a:cubicBezTo>
                  <a:pt x="160" y="24"/>
                  <a:pt x="160" y="24"/>
                  <a:pt x="160" y="24"/>
                </a:cubicBezTo>
                <a:cubicBezTo>
                  <a:pt x="160" y="16"/>
                  <a:pt x="160" y="16"/>
                  <a:pt x="160" y="16"/>
                </a:cubicBezTo>
                <a:cubicBezTo>
                  <a:pt x="152" y="16"/>
                  <a:pt x="152" y="16"/>
                  <a:pt x="152" y="16"/>
                </a:cubicBezTo>
                <a:lnTo>
                  <a:pt x="152" y="24"/>
                </a:lnTo>
                <a:close/>
                <a:moveTo>
                  <a:pt x="160" y="136"/>
                </a:moveTo>
                <a:cubicBezTo>
                  <a:pt x="152" y="136"/>
                  <a:pt x="152" y="136"/>
                  <a:pt x="152" y="136"/>
                </a:cubicBezTo>
                <a:cubicBezTo>
                  <a:pt x="152" y="144"/>
                  <a:pt x="152" y="144"/>
                  <a:pt x="152" y="144"/>
                </a:cubicBezTo>
                <a:cubicBezTo>
                  <a:pt x="160" y="144"/>
                  <a:pt x="160" y="144"/>
                  <a:pt x="160" y="144"/>
                </a:cubicBezTo>
                <a:lnTo>
                  <a:pt x="160" y="136"/>
                </a:lnTo>
                <a:close/>
                <a:moveTo>
                  <a:pt x="160" y="104"/>
                </a:moveTo>
                <a:cubicBezTo>
                  <a:pt x="152" y="104"/>
                  <a:pt x="152" y="104"/>
                  <a:pt x="152" y="104"/>
                </a:cubicBezTo>
                <a:cubicBezTo>
                  <a:pt x="152" y="112"/>
                  <a:pt x="152" y="112"/>
                  <a:pt x="152" y="112"/>
                </a:cubicBezTo>
                <a:cubicBezTo>
                  <a:pt x="160" y="112"/>
                  <a:pt x="160" y="112"/>
                  <a:pt x="160" y="112"/>
                </a:cubicBezTo>
                <a:lnTo>
                  <a:pt x="160" y="104"/>
                </a:lnTo>
                <a:close/>
                <a:moveTo>
                  <a:pt x="160" y="120"/>
                </a:moveTo>
                <a:cubicBezTo>
                  <a:pt x="152" y="120"/>
                  <a:pt x="152" y="120"/>
                  <a:pt x="152" y="120"/>
                </a:cubicBezTo>
                <a:cubicBezTo>
                  <a:pt x="152" y="128"/>
                  <a:pt x="152" y="128"/>
                  <a:pt x="152" y="128"/>
                </a:cubicBezTo>
                <a:cubicBezTo>
                  <a:pt x="160" y="128"/>
                  <a:pt x="160" y="128"/>
                  <a:pt x="160" y="128"/>
                </a:cubicBezTo>
                <a:lnTo>
                  <a:pt x="160" y="120"/>
                </a:lnTo>
                <a:close/>
                <a:moveTo>
                  <a:pt x="160" y="152"/>
                </a:moveTo>
                <a:cubicBezTo>
                  <a:pt x="152" y="152"/>
                  <a:pt x="152" y="152"/>
                  <a:pt x="152" y="152"/>
                </a:cubicBezTo>
                <a:cubicBezTo>
                  <a:pt x="152" y="160"/>
                  <a:pt x="152" y="160"/>
                  <a:pt x="152" y="160"/>
                </a:cubicBezTo>
                <a:cubicBezTo>
                  <a:pt x="160" y="160"/>
                  <a:pt x="160" y="160"/>
                  <a:pt x="160" y="160"/>
                </a:cubicBezTo>
                <a:lnTo>
                  <a:pt x="160" y="152"/>
                </a:lnTo>
                <a:close/>
                <a:moveTo>
                  <a:pt x="68" y="120"/>
                </a:moveTo>
                <a:cubicBezTo>
                  <a:pt x="69" y="120"/>
                  <a:pt x="70" y="120"/>
                  <a:pt x="70" y="119"/>
                </a:cubicBezTo>
                <a:cubicBezTo>
                  <a:pt x="71" y="119"/>
                  <a:pt x="71" y="119"/>
                  <a:pt x="71" y="119"/>
                </a:cubicBezTo>
                <a:cubicBezTo>
                  <a:pt x="115" y="91"/>
                  <a:pt x="115" y="91"/>
                  <a:pt x="115" y="91"/>
                </a:cubicBezTo>
                <a:cubicBezTo>
                  <a:pt x="114" y="91"/>
                  <a:pt x="114" y="91"/>
                  <a:pt x="114" y="91"/>
                </a:cubicBezTo>
                <a:cubicBezTo>
                  <a:pt x="115" y="90"/>
                  <a:pt x="116" y="89"/>
                  <a:pt x="116" y="88"/>
                </a:cubicBezTo>
                <a:cubicBezTo>
                  <a:pt x="116" y="87"/>
                  <a:pt x="115" y="86"/>
                  <a:pt x="114" y="85"/>
                </a:cubicBezTo>
                <a:cubicBezTo>
                  <a:pt x="115" y="85"/>
                  <a:pt x="115" y="85"/>
                  <a:pt x="115" y="85"/>
                </a:cubicBezTo>
                <a:cubicBezTo>
                  <a:pt x="71" y="57"/>
                  <a:pt x="71" y="57"/>
                  <a:pt x="71" y="57"/>
                </a:cubicBezTo>
                <a:cubicBezTo>
                  <a:pt x="70" y="57"/>
                  <a:pt x="70" y="57"/>
                  <a:pt x="70" y="57"/>
                </a:cubicBezTo>
                <a:cubicBezTo>
                  <a:pt x="70" y="56"/>
                  <a:pt x="69" y="56"/>
                  <a:pt x="68" y="56"/>
                </a:cubicBezTo>
                <a:cubicBezTo>
                  <a:pt x="66" y="56"/>
                  <a:pt x="64" y="58"/>
                  <a:pt x="64" y="60"/>
                </a:cubicBezTo>
                <a:cubicBezTo>
                  <a:pt x="64" y="116"/>
                  <a:pt x="64" y="116"/>
                  <a:pt x="64" y="116"/>
                </a:cubicBezTo>
                <a:cubicBezTo>
                  <a:pt x="64" y="118"/>
                  <a:pt x="66" y="120"/>
                  <a:pt x="68" y="120"/>
                </a:cubicBezTo>
                <a:moveTo>
                  <a:pt x="72" y="67"/>
                </a:moveTo>
                <a:cubicBezTo>
                  <a:pt x="105" y="88"/>
                  <a:pt x="105" y="88"/>
                  <a:pt x="105" y="88"/>
                </a:cubicBezTo>
                <a:cubicBezTo>
                  <a:pt x="72" y="109"/>
                  <a:pt x="72" y="109"/>
                  <a:pt x="72" y="109"/>
                </a:cubicBezTo>
                <a:lnTo>
                  <a:pt x="72" y="6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GB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29" name="Freeform 3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EditPoints="1"/>
          </p:cNvSpPr>
          <p:nvPr/>
        </p:nvSpPr>
        <p:spPr bwMode="auto">
          <a:xfrm>
            <a:off x="7725842" y="5321718"/>
            <a:ext cx="431800" cy="431800"/>
          </a:xfrm>
          <a:custGeom>
            <a:avLst/>
            <a:gdLst>
              <a:gd name="T0" fmla="*/ 44 w 176"/>
              <a:gd name="T1" fmla="*/ 132 h 176"/>
              <a:gd name="T2" fmla="*/ 78 w 176"/>
              <a:gd name="T3" fmla="*/ 126 h 176"/>
              <a:gd name="T4" fmla="*/ 170 w 176"/>
              <a:gd name="T5" fmla="*/ 34 h 176"/>
              <a:gd name="T6" fmla="*/ 176 w 176"/>
              <a:gd name="T7" fmla="*/ 20 h 176"/>
              <a:gd name="T8" fmla="*/ 156 w 176"/>
              <a:gd name="T9" fmla="*/ 0 h 176"/>
              <a:gd name="T10" fmla="*/ 142 w 176"/>
              <a:gd name="T11" fmla="*/ 6 h 176"/>
              <a:gd name="T12" fmla="*/ 50 w 176"/>
              <a:gd name="T13" fmla="*/ 98 h 176"/>
              <a:gd name="T14" fmla="*/ 44 w 176"/>
              <a:gd name="T15" fmla="*/ 132 h 176"/>
              <a:gd name="T16" fmla="*/ 148 w 176"/>
              <a:gd name="T17" fmla="*/ 12 h 176"/>
              <a:gd name="T18" fmla="*/ 156 w 176"/>
              <a:gd name="T19" fmla="*/ 8 h 176"/>
              <a:gd name="T20" fmla="*/ 168 w 176"/>
              <a:gd name="T21" fmla="*/ 20 h 176"/>
              <a:gd name="T22" fmla="*/ 164 w 176"/>
              <a:gd name="T23" fmla="*/ 28 h 176"/>
              <a:gd name="T24" fmla="*/ 159 w 176"/>
              <a:gd name="T25" fmla="*/ 34 h 176"/>
              <a:gd name="T26" fmla="*/ 142 w 176"/>
              <a:gd name="T27" fmla="*/ 17 h 176"/>
              <a:gd name="T28" fmla="*/ 148 w 176"/>
              <a:gd name="T29" fmla="*/ 12 h 176"/>
              <a:gd name="T30" fmla="*/ 137 w 176"/>
              <a:gd name="T31" fmla="*/ 22 h 176"/>
              <a:gd name="T32" fmla="*/ 154 w 176"/>
              <a:gd name="T33" fmla="*/ 39 h 176"/>
              <a:gd name="T34" fmla="*/ 80 w 176"/>
              <a:gd name="T35" fmla="*/ 113 h 176"/>
              <a:gd name="T36" fmla="*/ 80 w 176"/>
              <a:gd name="T37" fmla="*/ 96 h 176"/>
              <a:gd name="T38" fmla="*/ 63 w 176"/>
              <a:gd name="T39" fmla="*/ 96 h 176"/>
              <a:gd name="T40" fmla="*/ 137 w 176"/>
              <a:gd name="T41" fmla="*/ 22 h 176"/>
              <a:gd name="T42" fmla="*/ 57 w 176"/>
              <a:gd name="T43" fmla="*/ 104 h 176"/>
              <a:gd name="T44" fmla="*/ 72 w 176"/>
              <a:gd name="T45" fmla="*/ 104 h 176"/>
              <a:gd name="T46" fmla="*/ 72 w 176"/>
              <a:gd name="T47" fmla="*/ 119 h 176"/>
              <a:gd name="T48" fmla="*/ 54 w 176"/>
              <a:gd name="T49" fmla="*/ 122 h 176"/>
              <a:gd name="T50" fmla="*/ 57 w 176"/>
              <a:gd name="T51" fmla="*/ 104 h 176"/>
              <a:gd name="T52" fmla="*/ 172 w 176"/>
              <a:gd name="T53" fmla="*/ 60 h 176"/>
              <a:gd name="T54" fmla="*/ 168 w 176"/>
              <a:gd name="T55" fmla="*/ 64 h 176"/>
              <a:gd name="T56" fmla="*/ 168 w 176"/>
              <a:gd name="T57" fmla="*/ 152 h 176"/>
              <a:gd name="T58" fmla="*/ 152 w 176"/>
              <a:gd name="T59" fmla="*/ 168 h 176"/>
              <a:gd name="T60" fmla="*/ 24 w 176"/>
              <a:gd name="T61" fmla="*/ 168 h 176"/>
              <a:gd name="T62" fmla="*/ 8 w 176"/>
              <a:gd name="T63" fmla="*/ 152 h 176"/>
              <a:gd name="T64" fmla="*/ 8 w 176"/>
              <a:gd name="T65" fmla="*/ 24 h 176"/>
              <a:gd name="T66" fmla="*/ 24 w 176"/>
              <a:gd name="T67" fmla="*/ 8 h 176"/>
              <a:gd name="T68" fmla="*/ 112 w 176"/>
              <a:gd name="T69" fmla="*/ 8 h 176"/>
              <a:gd name="T70" fmla="*/ 116 w 176"/>
              <a:gd name="T71" fmla="*/ 4 h 176"/>
              <a:gd name="T72" fmla="*/ 112 w 176"/>
              <a:gd name="T73" fmla="*/ 0 h 176"/>
              <a:gd name="T74" fmla="*/ 24 w 176"/>
              <a:gd name="T75" fmla="*/ 0 h 176"/>
              <a:gd name="T76" fmla="*/ 0 w 176"/>
              <a:gd name="T77" fmla="*/ 24 h 176"/>
              <a:gd name="T78" fmla="*/ 0 w 176"/>
              <a:gd name="T79" fmla="*/ 152 h 176"/>
              <a:gd name="T80" fmla="*/ 24 w 176"/>
              <a:gd name="T81" fmla="*/ 176 h 176"/>
              <a:gd name="T82" fmla="*/ 152 w 176"/>
              <a:gd name="T83" fmla="*/ 176 h 176"/>
              <a:gd name="T84" fmla="*/ 176 w 176"/>
              <a:gd name="T85" fmla="*/ 152 h 176"/>
              <a:gd name="T86" fmla="*/ 176 w 176"/>
              <a:gd name="T87" fmla="*/ 64 h 176"/>
              <a:gd name="T88" fmla="*/ 172 w 176"/>
              <a:gd name="T89" fmla="*/ 60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76" h="176">
                <a:moveTo>
                  <a:pt x="44" y="132"/>
                </a:moveTo>
                <a:cubicBezTo>
                  <a:pt x="78" y="126"/>
                  <a:pt x="78" y="126"/>
                  <a:pt x="78" y="126"/>
                </a:cubicBezTo>
                <a:cubicBezTo>
                  <a:pt x="170" y="34"/>
                  <a:pt x="170" y="34"/>
                  <a:pt x="170" y="34"/>
                </a:cubicBezTo>
                <a:cubicBezTo>
                  <a:pt x="174" y="31"/>
                  <a:pt x="176" y="26"/>
                  <a:pt x="176" y="20"/>
                </a:cubicBezTo>
                <a:cubicBezTo>
                  <a:pt x="176" y="9"/>
                  <a:pt x="167" y="0"/>
                  <a:pt x="156" y="0"/>
                </a:cubicBezTo>
                <a:cubicBezTo>
                  <a:pt x="150" y="0"/>
                  <a:pt x="145" y="2"/>
                  <a:pt x="142" y="6"/>
                </a:cubicBezTo>
                <a:cubicBezTo>
                  <a:pt x="50" y="98"/>
                  <a:pt x="50" y="98"/>
                  <a:pt x="50" y="98"/>
                </a:cubicBezTo>
                <a:lnTo>
                  <a:pt x="44" y="132"/>
                </a:lnTo>
                <a:close/>
                <a:moveTo>
                  <a:pt x="148" y="12"/>
                </a:moveTo>
                <a:cubicBezTo>
                  <a:pt x="150" y="9"/>
                  <a:pt x="153" y="8"/>
                  <a:pt x="156" y="8"/>
                </a:cubicBezTo>
                <a:cubicBezTo>
                  <a:pt x="163" y="8"/>
                  <a:pt x="168" y="13"/>
                  <a:pt x="168" y="20"/>
                </a:cubicBezTo>
                <a:cubicBezTo>
                  <a:pt x="168" y="23"/>
                  <a:pt x="167" y="26"/>
                  <a:pt x="164" y="28"/>
                </a:cubicBezTo>
                <a:cubicBezTo>
                  <a:pt x="159" y="34"/>
                  <a:pt x="159" y="34"/>
                  <a:pt x="159" y="34"/>
                </a:cubicBezTo>
                <a:cubicBezTo>
                  <a:pt x="142" y="17"/>
                  <a:pt x="142" y="17"/>
                  <a:pt x="142" y="17"/>
                </a:cubicBezTo>
                <a:lnTo>
                  <a:pt x="148" y="12"/>
                </a:lnTo>
                <a:close/>
                <a:moveTo>
                  <a:pt x="137" y="22"/>
                </a:moveTo>
                <a:cubicBezTo>
                  <a:pt x="154" y="39"/>
                  <a:pt x="154" y="39"/>
                  <a:pt x="154" y="39"/>
                </a:cubicBezTo>
                <a:cubicBezTo>
                  <a:pt x="80" y="113"/>
                  <a:pt x="80" y="113"/>
                  <a:pt x="80" y="113"/>
                </a:cubicBezTo>
                <a:cubicBezTo>
                  <a:pt x="80" y="96"/>
                  <a:pt x="80" y="96"/>
                  <a:pt x="80" y="96"/>
                </a:cubicBezTo>
                <a:cubicBezTo>
                  <a:pt x="63" y="96"/>
                  <a:pt x="63" y="96"/>
                  <a:pt x="63" y="96"/>
                </a:cubicBezTo>
                <a:lnTo>
                  <a:pt x="137" y="22"/>
                </a:lnTo>
                <a:close/>
                <a:moveTo>
                  <a:pt x="57" y="104"/>
                </a:moveTo>
                <a:cubicBezTo>
                  <a:pt x="72" y="104"/>
                  <a:pt x="72" y="104"/>
                  <a:pt x="72" y="104"/>
                </a:cubicBezTo>
                <a:cubicBezTo>
                  <a:pt x="72" y="119"/>
                  <a:pt x="72" y="119"/>
                  <a:pt x="72" y="119"/>
                </a:cubicBezTo>
                <a:cubicBezTo>
                  <a:pt x="54" y="122"/>
                  <a:pt x="54" y="122"/>
                  <a:pt x="54" y="122"/>
                </a:cubicBezTo>
                <a:lnTo>
                  <a:pt x="57" y="104"/>
                </a:lnTo>
                <a:close/>
                <a:moveTo>
                  <a:pt x="172" y="60"/>
                </a:moveTo>
                <a:cubicBezTo>
                  <a:pt x="170" y="60"/>
                  <a:pt x="168" y="62"/>
                  <a:pt x="168" y="64"/>
                </a:cubicBezTo>
                <a:cubicBezTo>
                  <a:pt x="168" y="152"/>
                  <a:pt x="168" y="152"/>
                  <a:pt x="168" y="152"/>
                </a:cubicBezTo>
                <a:cubicBezTo>
                  <a:pt x="168" y="161"/>
                  <a:pt x="161" y="168"/>
                  <a:pt x="152" y="168"/>
                </a:cubicBezTo>
                <a:cubicBezTo>
                  <a:pt x="24" y="168"/>
                  <a:pt x="24" y="168"/>
                  <a:pt x="24" y="168"/>
                </a:cubicBezTo>
                <a:cubicBezTo>
                  <a:pt x="15" y="168"/>
                  <a:pt x="8" y="161"/>
                  <a:pt x="8" y="152"/>
                </a:cubicBezTo>
                <a:cubicBezTo>
                  <a:pt x="8" y="24"/>
                  <a:pt x="8" y="24"/>
                  <a:pt x="8" y="24"/>
                </a:cubicBezTo>
                <a:cubicBezTo>
                  <a:pt x="8" y="15"/>
                  <a:pt x="15" y="8"/>
                  <a:pt x="24" y="8"/>
                </a:cubicBezTo>
                <a:cubicBezTo>
                  <a:pt x="112" y="8"/>
                  <a:pt x="112" y="8"/>
                  <a:pt x="112" y="8"/>
                </a:cubicBezTo>
                <a:cubicBezTo>
                  <a:pt x="114" y="8"/>
                  <a:pt x="116" y="6"/>
                  <a:pt x="116" y="4"/>
                </a:cubicBezTo>
                <a:cubicBezTo>
                  <a:pt x="116" y="2"/>
                  <a:pt x="114" y="0"/>
                  <a:pt x="112" y="0"/>
                </a:cubicBezTo>
                <a:cubicBezTo>
                  <a:pt x="24" y="0"/>
                  <a:pt x="24" y="0"/>
                  <a:pt x="24" y="0"/>
                </a:cubicBezTo>
                <a:cubicBezTo>
                  <a:pt x="11" y="0"/>
                  <a:pt x="0" y="11"/>
                  <a:pt x="0" y="24"/>
                </a:cubicBezTo>
                <a:cubicBezTo>
                  <a:pt x="0" y="152"/>
                  <a:pt x="0" y="152"/>
                  <a:pt x="0" y="152"/>
                </a:cubicBezTo>
                <a:cubicBezTo>
                  <a:pt x="0" y="165"/>
                  <a:pt x="11" y="176"/>
                  <a:pt x="24" y="176"/>
                </a:cubicBezTo>
                <a:cubicBezTo>
                  <a:pt x="152" y="176"/>
                  <a:pt x="152" y="176"/>
                  <a:pt x="152" y="176"/>
                </a:cubicBezTo>
                <a:cubicBezTo>
                  <a:pt x="165" y="176"/>
                  <a:pt x="176" y="165"/>
                  <a:pt x="176" y="152"/>
                </a:cubicBezTo>
                <a:cubicBezTo>
                  <a:pt x="176" y="64"/>
                  <a:pt x="176" y="64"/>
                  <a:pt x="176" y="64"/>
                </a:cubicBezTo>
                <a:cubicBezTo>
                  <a:pt x="176" y="62"/>
                  <a:pt x="174" y="60"/>
                  <a:pt x="172" y="60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GB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</p:spTree>
  </p:cSld>
  <p:clrMapOvr>
    <a:masterClrMapping/>
  </p:clrMapOvr>
  <p:transition spd="slow">
    <p:push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0" name="Shape 47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flipH="1">
            <a:off x="8547100" y="3676651"/>
            <a:ext cx="0" cy="3251376"/>
          </a:xfrm>
          <a:prstGeom prst="line">
            <a:avLst/>
          </a:prstGeom>
          <a:ln w="63500">
            <a:solidFill>
              <a:schemeClr val="bg1"/>
            </a:solidFill>
            <a:miter lim="400000"/>
          </a:ln>
        </p:spPr>
        <p:txBody>
          <a:bodyPr lIns="0" tIns="0" rIns="0" bIns="0" anchor="ctr"/>
          <a:lstStyle/>
          <a:p>
            <a:pPr defTabSz="2286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600">
              <a:latin typeface="等线" panose="02010600030101010101" charset="-122"/>
              <a:ea typeface="等线" panose="02010600030101010101" charset="-122"/>
              <a:cs typeface="等线" panose="02010600030101010101" charset="-122"/>
              <a:sym typeface="等线" panose="02010600030101010101" charset="-122"/>
            </a:endParaRPr>
          </a:p>
        </p:txBody>
      </p:sp>
      <p:sp>
        <p:nvSpPr>
          <p:cNvPr id="471" name="Shape 47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flipH="1">
            <a:off x="3460751" y="1"/>
            <a:ext cx="1" cy="2015731"/>
          </a:xfrm>
          <a:prstGeom prst="line">
            <a:avLst/>
          </a:prstGeom>
          <a:ln w="63500">
            <a:solidFill>
              <a:schemeClr val="bg1"/>
            </a:solidFill>
            <a:miter lim="400000"/>
          </a:ln>
        </p:spPr>
        <p:txBody>
          <a:bodyPr lIns="0" tIns="0" rIns="0" bIns="0" anchor="ctr"/>
          <a:lstStyle/>
          <a:p>
            <a:pPr defTabSz="2286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600">
              <a:latin typeface="等线" panose="02010600030101010101" charset="-122"/>
              <a:ea typeface="等线" panose="02010600030101010101" charset="-122"/>
              <a:cs typeface="等线" panose="02010600030101010101" charset="-122"/>
              <a:sym typeface="等线" panose="02010600030101010101" charset="-122"/>
            </a:endParaRPr>
          </a:p>
        </p:txBody>
      </p:sp>
      <p:sp>
        <p:nvSpPr>
          <p:cNvPr id="474" name="Shape 47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3460733" y="2013518"/>
            <a:ext cx="1905001" cy="10350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01" extrusionOk="0">
                <a:moveTo>
                  <a:pt x="0" y="0"/>
                </a:moveTo>
                <a:lnTo>
                  <a:pt x="0" y="12988"/>
                </a:lnTo>
                <a:cubicBezTo>
                  <a:pt x="0" y="12988"/>
                  <a:pt x="58" y="21245"/>
                  <a:pt x="4452" y="21423"/>
                </a:cubicBezTo>
                <a:cubicBezTo>
                  <a:pt x="8845" y="21600"/>
                  <a:pt x="21600" y="21423"/>
                  <a:pt x="21600" y="21423"/>
                </a:cubicBezTo>
              </a:path>
            </a:pathLst>
          </a:custGeom>
          <a:ln w="63500">
            <a:solidFill>
              <a:schemeClr val="bg1"/>
            </a:solidFill>
            <a:miter lim="400000"/>
          </a:ln>
        </p:spPr>
        <p:txBody>
          <a:bodyPr lIns="0" tIns="0" rIns="0" bIns="0"/>
          <a:lstStyle/>
          <a:p>
            <a:pPr lvl="0" algn="l">
              <a:defRPr sz="2400">
                <a:solidFill>
                  <a:srgbClr val="FFFFFF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pPr>
            <a:endParaRPr sz="1200" dirty="0"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475" name="Shape 47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990851" y="1155701"/>
            <a:ext cx="946151" cy="9461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rgbClr val="3DADD7"/>
          </a:solidFill>
          <a:ln w="38100">
            <a:solidFill>
              <a:schemeClr val="bg1"/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pPr>
            <a:endParaRPr sz="2000" dirty="0"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pic>
        <p:nvPicPr>
          <p:cNvPr id="476" name="placeholder.png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4388" y="1225550"/>
            <a:ext cx="811335" cy="811411"/>
          </a:xfrm>
          <a:prstGeom prst="rect">
            <a:avLst/>
          </a:prstGeom>
          <a:ln w="12700">
            <a:miter lim="400000"/>
          </a:ln>
        </p:spPr>
      </p:pic>
      <p:sp>
        <p:nvSpPr>
          <p:cNvPr id="477" name="Shape 47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rot="10800000">
            <a:off x="5321123" y="3041651"/>
            <a:ext cx="3225977" cy="10350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01" extrusionOk="0">
                <a:moveTo>
                  <a:pt x="0" y="0"/>
                </a:moveTo>
                <a:lnTo>
                  <a:pt x="0" y="12988"/>
                </a:lnTo>
                <a:cubicBezTo>
                  <a:pt x="0" y="12988"/>
                  <a:pt x="34" y="21245"/>
                  <a:pt x="2629" y="21423"/>
                </a:cubicBezTo>
                <a:cubicBezTo>
                  <a:pt x="5223" y="21600"/>
                  <a:pt x="21600" y="21423"/>
                  <a:pt x="21600" y="21423"/>
                </a:cubicBezTo>
              </a:path>
            </a:pathLst>
          </a:custGeom>
          <a:ln w="63500">
            <a:solidFill>
              <a:schemeClr val="bg1"/>
            </a:solidFill>
            <a:miter lim="400000"/>
          </a:ln>
        </p:spPr>
        <p:txBody>
          <a:bodyPr lIns="0" tIns="0" rIns="0" bIns="0"/>
          <a:lstStyle/>
          <a:p>
            <a:pPr lvl="0" algn="l">
              <a:defRPr sz="2400">
                <a:solidFill>
                  <a:srgbClr val="FFFFFF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pPr>
            <a:endParaRPr sz="1200" dirty="0"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478" name="Shape 47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451350" y="2743200"/>
            <a:ext cx="647701" cy="6477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rgbClr val="39B4C8"/>
          </a:solidFill>
          <a:ln w="50800">
            <a:solidFill>
              <a:schemeClr val="bg1"/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pPr>
            <a:endParaRPr sz="2000" dirty="0"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479" name="Shape 47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494821" y="2791017"/>
            <a:ext cx="555454" cy="55545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chemeClr val="bg1">
              <a:lumMod val="95000"/>
              <a:alpha val="20000"/>
            </a:schemeClr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pPr>
            <a:endParaRPr sz="2000" dirty="0"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grpSp>
        <p:nvGrpSpPr>
          <p:cNvPr id="482" name="Group 48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7708901" y="4375151"/>
            <a:ext cx="1651001" cy="1651001"/>
            <a:chOff x="0" y="0"/>
            <a:chExt cx="3302000" cy="3302000"/>
          </a:xfrm>
        </p:grpSpPr>
        <p:sp>
          <p:nvSpPr>
            <p:cNvPr id="480" name="Shape 480"/>
            <p:cNvSpPr/>
            <p:nvPr/>
          </p:nvSpPr>
          <p:spPr>
            <a:xfrm>
              <a:off x="0" y="0"/>
              <a:ext cx="3302001" cy="33020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</a:path>
              </a:pathLst>
            </a:custGeom>
            <a:solidFill>
              <a:srgbClr val="34C1B5"/>
            </a:solidFill>
            <a:ln w="50800" cap="flat">
              <a:solidFill>
                <a:schemeClr val="bg1"/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defTabSz="292100">
                <a:defRPr sz="4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Open Sans" panose="020B0606030504020204"/>
                  <a:ea typeface="Open Sans" panose="020B0606030504020204"/>
                  <a:cs typeface="Open Sans" panose="020B0606030504020204"/>
                  <a:sym typeface="Open Sans" panose="020B0606030504020204"/>
                </a:defRPr>
              </a:pPr>
              <a:endParaRPr sz="2000" dirty="0"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endParaRPr>
            </a:p>
          </p:txBody>
        </p:sp>
        <p:pic>
          <p:nvPicPr>
            <p:cNvPr id="481" name="placeholder.png"/>
            <p:cNvPicPr/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1650" y="243771"/>
              <a:ext cx="2831626" cy="282932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483" name="Shape 48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438900" y="2743200"/>
            <a:ext cx="647701" cy="6477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rgbClr val="39B4C8"/>
          </a:solidFill>
          <a:ln w="50800">
            <a:solidFill>
              <a:schemeClr val="bg1"/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pPr>
            <a:endParaRPr sz="2000" dirty="0"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484" name="Shape 48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482371" y="2791017"/>
            <a:ext cx="555454" cy="55545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chemeClr val="bg1">
              <a:lumMod val="95000"/>
              <a:alpha val="20000"/>
            </a:schemeClr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pPr>
            <a:endParaRPr sz="2000" dirty="0"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485" name="Shape 48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121150" y="1377788"/>
            <a:ext cx="1333500" cy="559127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 algn="l">
              <a:defRPr sz="2500" b="1">
                <a:solidFill>
                  <a:srgbClr val="FFFFFF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11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We won our first international </a:t>
            </a:r>
            <a:r>
              <a:rPr sz="1100" dirty="0" err="1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awward</a:t>
            </a:r>
            <a:endParaRPr sz="1100" dirty="0">
              <a:solidFill>
                <a:schemeClr val="bg1"/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487" name="Shape 48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300557" y="3414679"/>
            <a:ext cx="593111" cy="466794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/>
          <a:p>
            <a:pPr lvl="0" algn="r">
              <a:defRPr sz="1800"/>
            </a:pPr>
            <a:r>
              <a:rPr sz="11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JAN</a:t>
            </a:r>
          </a:p>
          <a:p>
            <a:pPr lvl="0" algn="r">
              <a:defRPr sz="1800"/>
            </a:pPr>
            <a:r>
              <a:rPr lang="en-US" sz="1600" b="1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20XX</a:t>
            </a:r>
            <a:endParaRPr sz="1600" b="1" dirty="0">
              <a:solidFill>
                <a:schemeClr val="bg1"/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488" name="Shape 48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997450" y="3468053"/>
            <a:ext cx="908050" cy="328295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 algn="l">
              <a:defRPr sz="2100">
                <a:solidFill>
                  <a:srgbClr val="42505D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9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Our fist </a:t>
            </a:r>
            <a:r>
              <a:rPr sz="900" dirty="0" err="1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brach</a:t>
            </a:r>
            <a:r>
              <a:rPr sz="9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 in Indonesia</a:t>
            </a:r>
          </a:p>
        </p:txBody>
      </p:sp>
      <p:sp>
        <p:nvSpPr>
          <p:cNvPr id="489" name="Shape 48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427013" y="3414679"/>
            <a:ext cx="593111" cy="466794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/>
          <a:p>
            <a:pPr lvl="0" algn="r">
              <a:defRPr sz="1800"/>
            </a:pPr>
            <a:r>
              <a:rPr sz="11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JAN</a:t>
            </a:r>
          </a:p>
          <a:p>
            <a:pPr lvl="0" algn="r">
              <a:defRPr sz="1800"/>
            </a:pPr>
            <a:r>
              <a:rPr lang="en-US" sz="1600" b="1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20XX</a:t>
            </a:r>
            <a:endParaRPr sz="1600" b="1" dirty="0">
              <a:solidFill>
                <a:schemeClr val="bg1"/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490" name="Shape 49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124700" y="3468053"/>
            <a:ext cx="908050" cy="328295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 algn="l">
              <a:defRPr sz="2100">
                <a:solidFill>
                  <a:srgbClr val="42505D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9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Our fist </a:t>
            </a:r>
            <a:r>
              <a:rPr sz="900" dirty="0" err="1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brach</a:t>
            </a:r>
            <a:r>
              <a:rPr sz="9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 in Singapore</a:t>
            </a:r>
          </a:p>
        </p:txBody>
      </p:sp>
      <p:sp>
        <p:nvSpPr>
          <p:cNvPr id="491" name="Shape 49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099782" y="4556448"/>
            <a:ext cx="718145" cy="589905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/>
          <a:p>
            <a:pPr lvl="0" algn="r">
              <a:defRPr sz="1800"/>
            </a:pPr>
            <a:r>
              <a:rPr sz="14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MARCH</a:t>
            </a:r>
          </a:p>
          <a:p>
            <a:pPr lvl="0" algn="r">
              <a:defRPr sz="1800"/>
            </a:pPr>
            <a:r>
              <a:rPr lang="en-US" sz="2100" b="1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2018</a:t>
            </a:r>
            <a:endParaRPr sz="2100" b="1" dirty="0">
              <a:solidFill>
                <a:schemeClr val="bg1"/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494" name="Shape 49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2049351" y="1362398"/>
            <a:ext cx="763030" cy="589905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/>
          <a:p>
            <a:pPr lvl="0" algn="r">
              <a:defRPr sz="1800"/>
            </a:pPr>
            <a:r>
              <a:rPr sz="14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MARCH</a:t>
            </a:r>
          </a:p>
          <a:p>
            <a:pPr lvl="0" algn="r">
              <a:defRPr sz="1800"/>
            </a:pPr>
            <a:r>
              <a:rPr lang="en-US" sz="2100" b="1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20XX</a:t>
            </a:r>
            <a:endParaRPr sz="2100" b="1" dirty="0">
              <a:solidFill>
                <a:schemeClr val="bg1"/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495" name="Shape 49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580933" y="2914992"/>
            <a:ext cx="298451" cy="2984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3" h="21600" extrusionOk="0">
                <a:moveTo>
                  <a:pt x="16976" y="19986"/>
                </a:moveTo>
                <a:lnTo>
                  <a:pt x="11226" y="17681"/>
                </a:lnTo>
                <a:cubicBezTo>
                  <a:pt x="11089" y="17626"/>
                  <a:pt x="10947" y="17608"/>
                  <a:pt x="10806" y="17600"/>
                </a:cubicBezTo>
                <a:lnTo>
                  <a:pt x="19660" y="3838"/>
                </a:lnTo>
                <a:cubicBezTo>
                  <a:pt x="19660" y="3838"/>
                  <a:pt x="16976" y="19986"/>
                  <a:pt x="16976" y="19986"/>
                </a:cubicBezTo>
                <a:close/>
                <a:moveTo>
                  <a:pt x="6859" y="16245"/>
                </a:moveTo>
                <a:cubicBezTo>
                  <a:pt x="6858" y="16242"/>
                  <a:pt x="6856" y="16241"/>
                  <a:pt x="6854" y="16238"/>
                </a:cubicBezTo>
                <a:lnTo>
                  <a:pt x="19607" y="2552"/>
                </a:lnTo>
                <a:lnTo>
                  <a:pt x="8735" y="19537"/>
                </a:lnTo>
                <a:cubicBezTo>
                  <a:pt x="8735" y="19537"/>
                  <a:pt x="6859" y="16245"/>
                  <a:pt x="6859" y="16245"/>
                </a:cubicBezTo>
                <a:close/>
                <a:moveTo>
                  <a:pt x="2111" y="14025"/>
                </a:moveTo>
                <a:lnTo>
                  <a:pt x="17713" y="3595"/>
                </a:lnTo>
                <a:lnTo>
                  <a:pt x="6369" y="15770"/>
                </a:lnTo>
                <a:cubicBezTo>
                  <a:pt x="6309" y="15735"/>
                  <a:pt x="6256" y="15687"/>
                  <a:pt x="6191" y="15661"/>
                </a:cubicBezTo>
                <a:cubicBezTo>
                  <a:pt x="6191" y="15661"/>
                  <a:pt x="2111" y="14025"/>
                  <a:pt x="2111" y="14025"/>
                </a:cubicBezTo>
                <a:close/>
                <a:moveTo>
                  <a:pt x="21234" y="108"/>
                </a:moveTo>
                <a:cubicBezTo>
                  <a:pt x="21123" y="36"/>
                  <a:pt x="20996" y="0"/>
                  <a:pt x="20869" y="0"/>
                </a:cubicBezTo>
                <a:cubicBezTo>
                  <a:pt x="20739" y="0"/>
                  <a:pt x="20609" y="37"/>
                  <a:pt x="20496" y="113"/>
                </a:cubicBezTo>
                <a:lnTo>
                  <a:pt x="299" y="13613"/>
                </a:lnTo>
                <a:cubicBezTo>
                  <a:pt x="91" y="13752"/>
                  <a:pt x="-23" y="13996"/>
                  <a:pt x="3" y="14245"/>
                </a:cubicBezTo>
                <a:cubicBezTo>
                  <a:pt x="29" y="14494"/>
                  <a:pt x="190" y="14709"/>
                  <a:pt x="423" y="14801"/>
                </a:cubicBezTo>
                <a:lnTo>
                  <a:pt x="5690" y="16915"/>
                </a:lnTo>
                <a:lnTo>
                  <a:pt x="8167" y="21260"/>
                </a:lnTo>
                <a:cubicBezTo>
                  <a:pt x="8285" y="21468"/>
                  <a:pt x="8505" y="21597"/>
                  <a:pt x="8744" y="21600"/>
                </a:cubicBezTo>
                <a:lnTo>
                  <a:pt x="8751" y="21600"/>
                </a:lnTo>
                <a:cubicBezTo>
                  <a:pt x="8987" y="21600"/>
                  <a:pt x="9207" y="21475"/>
                  <a:pt x="9329" y="21272"/>
                </a:cubicBezTo>
                <a:lnTo>
                  <a:pt x="10727" y="18934"/>
                </a:lnTo>
                <a:lnTo>
                  <a:pt x="17253" y="21551"/>
                </a:lnTo>
                <a:cubicBezTo>
                  <a:pt x="17333" y="21584"/>
                  <a:pt x="17418" y="21600"/>
                  <a:pt x="17503" y="21600"/>
                </a:cubicBezTo>
                <a:cubicBezTo>
                  <a:pt x="17617" y="21600"/>
                  <a:pt x="17731" y="21571"/>
                  <a:pt x="17833" y="21513"/>
                </a:cubicBezTo>
                <a:cubicBezTo>
                  <a:pt x="18010" y="21413"/>
                  <a:pt x="18134" y="21238"/>
                  <a:pt x="18167" y="21036"/>
                </a:cubicBezTo>
                <a:lnTo>
                  <a:pt x="21533" y="786"/>
                </a:lnTo>
                <a:cubicBezTo>
                  <a:pt x="21577" y="521"/>
                  <a:pt x="21460" y="254"/>
                  <a:pt x="21234" y="108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defTabSz="22860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15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grpSp>
        <p:nvGrpSpPr>
          <p:cNvPr id="498" name="Group 49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4607522" y="2927040"/>
            <a:ext cx="330201" cy="285751"/>
            <a:chOff x="0" y="0"/>
            <a:chExt cx="660400" cy="571499"/>
          </a:xfrm>
          <a:solidFill>
            <a:schemeClr val="bg1"/>
          </a:solidFill>
        </p:grpSpPr>
        <p:sp>
          <p:nvSpPr>
            <p:cNvPr id="496" name="Shape 496"/>
            <p:cNvSpPr/>
            <p:nvPr/>
          </p:nvSpPr>
          <p:spPr>
            <a:xfrm>
              <a:off x="103186" y="102053"/>
              <a:ext cx="237333" cy="15308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61" y="0"/>
                  </a:moveTo>
                  <a:cubicBezTo>
                    <a:pt x="9461" y="0"/>
                    <a:pt x="0" y="9233"/>
                    <a:pt x="0" y="20160"/>
                  </a:cubicBezTo>
                  <a:cubicBezTo>
                    <a:pt x="0" y="20955"/>
                    <a:pt x="421" y="21600"/>
                    <a:pt x="939" y="21600"/>
                  </a:cubicBezTo>
                  <a:cubicBezTo>
                    <a:pt x="1457" y="21600"/>
                    <a:pt x="1878" y="20955"/>
                    <a:pt x="1878" y="20160"/>
                  </a:cubicBezTo>
                  <a:cubicBezTo>
                    <a:pt x="1878" y="10956"/>
                    <a:pt x="10655" y="2880"/>
                    <a:pt x="20661" y="2880"/>
                  </a:cubicBezTo>
                  <a:cubicBezTo>
                    <a:pt x="21179" y="2880"/>
                    <a:pt x="21600" y="2235"/>
                    <a:pt x="21600" y="1440"/>
                  </a:cubicBezTo>
                  <a:cubicBezTo>
                    <a:pt x="21600" y="645"/>
                    <a:pt x="21179" y="0"/>
                    <a:pt x="20661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2286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5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497" name="Shape 497"/>
            <p:cNvSpPr/>
            <p:nvPr/>
          </p:nvSpPr>
          <p:spPr>
            <a:xfrm>
              <a:off x="0" y="0"/>
              <a:ext cx="660401" cy="5715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6971"/>
                  </a:moveTo>
                  <a:cubicBezTo>
                    <a:pt x="10181" y="16971"/>
                    <a:pt x="9547" y="16918"/>
                    <a:pt x="8913" y="16812"/>
                  </a:cubicBezTo>
                  <a:cubicBezTo>
                    <a:pt x="8847" y="16800"/>
                    <a:pt x="8782" y="16795"/>
                    <a:pt x="8717" y="16795"/>
                  </a:cubicBezTo>
                  <a:cubicBezTo>
                    <a:pt x="8316" y="16795"/>
                    <a:pt x="7932" y="16999"/>
                    <a:pt x="7674" y="17359"/>
                  </a:cubicBezTo>
                  <a:cubicBezTo>
                    <a:pt x="7384" y="17762"/>
                    <a:pt x="6563" y="18657"/>
                    <a:pt x="5591" y="19318"/>
                  </a:cubicBezTo>
                  <a:cubicBezTo>
                    <a:pt x="5854" y="18628"/>
                    <a:pt x="6061" y="17854"/>
                    <a:pt x="6074" y="17056"/>
                  </a:cubicBezTo>
                  <a:cubicBezTo>
                    <a:pt x="6078" y="17007"/>
                    <a:pt x="6080" y="16957"/>
                    <a:pt x="6080" y="16914"/>
                  </a:cubicBezTo>
                  <a:cubicBezTo>
                    <a:pt x="6080" y="16335"/>
                    <a:pt x="5796" y="15803"/>
                    <a:pt x="5345" y="15540"/>
                  </a:cubicBezTo>
                  <a:cubicBezTo>
                    <a:pt x="2843" y="14080"/>
                    <a:pt x="1350" y="11731"/>
                    <a:pt x="1350" y="9257"/>
                  </a:cubicBezTo>
                  <a:cubicBezTo>
                    <a:pt x="1350" y="5003"/>
                    <a:pt x="5589" y="1543"/>
                    <a:pt x="10800" y="1543"/>
                  </a:cubicBezTo>
                  <a:cubicBezTo>
                    <a:pt x="16011" y="1543"/>
                    <a:pt x="20250" y="5003"/>
                    <a:pt x="20250" y="9257"/>
                  </a:cubicBezTo>
                  <a:cubicBezTo>
                    <a:pt x="20250" y="13511"/>
                    <a:pt x="16011" y="16971"/>
                    <a:pt x="10800" y="16971"/>
                  </a:cubicBezTo>
                  <a:moveTo>
                    <a:pt x="10800" y="0"/>
                  </a:moveTo>
                  <a:cubicBezTo>
                    <a:pt x="4835" y="0"/>
                    <a:pt x="0" y="4145"/>
                    <a:pt x="0" y="9257"/>
                  </a:cubicBezTo>
                  <a:cubicBezTo>
                    <a:pt x="0" y="12441"/>
                    <a:pt x="1876" y="15248"/>
                    <a:pt x="4730" y="16914"/>
                  </a:cubicBezTo>
                  <a:cubicBezTo>
                    <a:pt x="4730" y="16935"/>
                    <a:pt x="4725" y="16949"/>
                    <a:pt x="4725" y="16971"/>
                  </a:cubicBezTo>
                  <a:cubicBezTo>
                    <a:pt x="4725" y="18355"/>
                    <a:pt x="3821" y="19843"/>
                    <a:pt x="3423" y="20625"/>
                  </a:cubicBezTo>
                  <a:lnTo>
                    <a:pt x="3425" y="20625"/>
                  </a:lnTo>
                  <a:cubicBezTo>
                    <a:pt x="3393" y="20710"/>
                    <a:pt x="3375" y="20803"/>
                    <a:pt x="3375" y="20901"/>
                  </a:cubicBezTo>
                  <a:cubicBezTo>
                    <a:pt x="3375" y="21287"/>
                    <a:pt x="3648" y="21600"/>
                    <a:pt x="3986" y="21600"/>
                  </a:cubicBezTo>
                  <a:cubicBezTo>
                    <a:pt x="4050" y="21600"/>
                    <a:pt x="4161" y="21580"/>
                    <a:pt x="4159" y="21590"/>
                  </a:cubicBezTo>
                  <a:cubicBezTo>
                    <a:pt x="6268" y="21195"/>
                    <a:pt x="8255" y="18980"/>
                    <a:pt x="8717" y="18338"/>
                  </a:cubicBezTo>
                  <a:cubicBezTo>
                    <a:pt x="9391" y="18451"/>
                    <a:pt x="10086" y="18514"/>
                    <a:pt x="10800" y="18514"/>
                  </a:cubicBezTo>
                  <a:cubicBezTo>
                    <a:pt x="16764" y="18514"/>
                    <a:pt x="21600" y="14369"/>
                    <a:pt x="21600" y="9257"/>
                  </a:cubicBezTo>
                  <a:cubicBezTo>
                    <a:pt x="21600" y="4145"/>
                    <a:pt x="16764" y="0"/>
                    <a:pt x="10800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2286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5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</p:grpSp>
      <p:pic>
        <p:nvPicPr>
          <p:cNvPr id="5" name="图片占位符 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Grp="1" noChangeAspect="1"/>
          </p:cNvPicPr>
          <p:nvPr>
            <p:ph type="pic" sz="quarter" idx="10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/>
      </p:pic>
      <p:pic>
        <p:nvPicPr>
          <p:cNvPr id="4" name="图片占位符 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Grp="1" noChangeAspect="1"/>
          </p:cNvPicPr>
          <p:nvPr>
            <p:ph type="pic" sz="quarter" idx="1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/>
      </p:pic>
      <p:sp>
        <p:nvSpPr>
          <p:cNvPr id="31" name="Rounded Rectangle 1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759627" y="1389201"/>
            <a:ext cx="745772" cy="745772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2" name="TextBox 1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5818965" y="1508171"/>
            <a:ext cx="627096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850</a:t>
            </a:r>
          </a:p>
          <a:p>
            <a:pPr algn="ctr"/>
            <a:r>
              <a:rPr lang="en-US" sz="9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DESIGN</a:t>
            </a:r>
          </a:p>
        </p:txBody>
      </p:sp>
      <p:sp>
        <p:nvSpPr>
          <p:cNvPr id="33" name="Rounded Rectangle 1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586378" y="1389201"/>
            <a:ext cx="745772" cy="745772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4" name="TextBox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6588810" y="1508171"/>
            <a:ext cx="740908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750</a:t>
            </a:r>
          </a:p>
          <a:p>
            <a:pPr algn="ctr"/>
            <a:r>
              <a:rPr lang="en-US" sz="9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CONTENT</a:t>
            </a:r>
          </a:p>
        </p:txBody>
      </p:sp>
      <p:sp>
        <p:nvSpPr>
          <p:cNvPr id="35" name="Rounded Rectangle 1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413129" y="1389201"/>
            <a:ext cx="745772" cy="745772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6" name="TextBox 1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7494108" y="1508171"/>
            <a:ext cx="583814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500</a:t>
            </a:r>
          </a:p>
          <a:p>
            <a:pPr algn="ctr"/>
            <a:r>
              <a:rPr lang="en-US" sz="9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USE</a:t>
            </a:r>
          </a:p>
        </p:txBody>
      </p:sp>
      <p:sp>
        <p:nvSpPr>
          <p:cNvPr id="46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4952478" y="4516421"/>
            <a:ext cx="2647535" cy="1523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>
                <a:solidFill>
                  <a:schemeClr val="bg1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. This is a sample text. insert your desired text here. Again. this is a dummy text. enter your own text here.”</a:t>
            </a:r>
          </a:p>
        </p:txBody>
      </p:sp>
    </p:spTree>
  </p:cSld>
  <p:clrMapOvr>
    <a:masterClrMapping/>
  </p:clrMapOvr>
  <p:transition spd="slow">
    <p:push dir="u"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2" name="Shape 50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flipH="1">
            <a:off x="8547100" y="-533400"/>
            <a:ext cx="0" cy="3276602"/>
          </a:xfrm>
          <a:prstGeom prst="line">
            <a:avLst/>
          </a:prstGeom>
          <a:ln w="63500">
            <a:solidFill>
              <a:schemeClr val="bg1"/>
            </a:solidFill>
            <a:miter lim="400000"/>
          </a:ln>
        </p:spPr>
        <p:txBody>
          <a:bodyPr lIns="0" tIns="0" rIns="0" bIns="0" anchor="ctr"/>
          <a:lstStyle/>
          <a:p>
            <a:pPr defTabSz="2286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600">
              <a:latin typeface="等线" panose="02010600030101010101" charset="-122"/>
              <a:ea typeface="等线" panose="02010600030101010101" charset="-122"/>
              <a:cs typeface="等线" panose="02010600030101010101" charset="-122"/>
              <a:sym typeface="等线" panose="02010600030101010101" charset="-122"/>
            </a:endParaRPr>
          </a:p>
        </p:txBody>
      </p:sp>
      <p:grpSp>
        <p:nvGrpSpPr>
          <p:cNvPr id="505" name="Group 50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7232651" y="2762251"/>
            <a:ext cx="2628902" cy="2628902"/>
            <a:chOff x="0" y="0"/>
            <a:chExt cx="5257802" cy="5257802"/>
          </a:xfrm>
        </p:grpSpPr>
        <p:sp>
          <p:nvSpPr>
            <p:cNvPr id="503" name="Shape 503"/>
            <p:cNvSpPr/>
            <p:nvPr/>
          </p:nvSpPr>
          <p:spPr>
            <a:xfrm>
              <a:off x="0" y="0"/>
              <a:ext cx="5257803" cy="52578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</a:path>
              </a:pathLst>
            </a:custGeom>
            <a:noFill/>
            <a:ln w="63500" cap="flat">
              <a:solidFill>
                <a:schemeClr val="bg1"/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defTabSz="292100">
                <a:defRPr sz="4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20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pic>
          <p:nvPicPr>
            <p:cNvPr id="504" name="placeholder.png"/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2462" y="355679"/>
              <a:ext cx="4508742" cy="450365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506" name="Shape 50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064501" y="1035051"/>
            <a:ext cx="946151" cy="9461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rgbClr val="3BB9A6"/>
          </a:solidFill>
          <a:ln w="50800">
            <a:solidFill>
              <a:schemeClr val="bg1"/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507" name="Shape 50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128001" y="1104900"/>
            <a:ext cx="811397" cy="8113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7" y="2882"/>
                </a:moveTo>
                <a:cubicBezTo>
                  <a:pt x="20639" y="6724"/>
                  <a:pt x="20639" y="12954"/>
                  <a:pt x="16797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7" y="2882"/>
                </a:cubicBezTo>
              </a:path>
            </a:pathLst>
          </a:custGeom>
          <a:solidFill>
            <a:schemeClr val="bg1">
              <a:lumMod val="95000"/>
              <a:alpha val="20000"/>
            </a:schemeClr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pPr>
            <a:endParaRPr sz="2000" dirty="0"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508" name="Shape 50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971511" y="685278"/>
            <a:ext cx="3987801" cy="1107996"/>
          </a:xfrm>
          <a:prstGeom prst="rect">
            <a:avLst/>
          </a:prstGeom>
          <a:ln w="12700">
            <a:miter lim="400000"/>
          </a:ln>
        </p:spPr>
        <p:txBody>
          <a:bodyPr lIns="0" tIns="0" rIns="0" bIns="0">
            <a:spAutoFit/>
          </a:bodyPr>
          <a:lstStyle/>
          <a:p>
            <a:pPr lvl="0" algn="ctr">
              <a:defRPr sz="1800"/>
            </a:pPr>
            <a:r>
              <a:rPr sz="3600" b="1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We Love Our Job</a:t>
            </a:r>
            <a:r>
              <a:rPr sz="36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 and We Know it</a:t>
            </a:r>
          </a:p>
        </p:txBody>
      </p:sp>
      <p:sp>
        <p:nvSpPr>
          <p:cNvPr id="512" name="Shape 51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128786" y="5686750"/>
            <a:ext cx="763030" cy="589905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/>
          <a:p>
            <a:pPr lvl="0" algn="r">
              <a:defRPr sz="1800"/>
            </a:pPr>
            <a:r>
              <a:rPr sz="14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MARCH</a:t>
            </a:r>
          </a:p>
          <a:p>
            <a:pPr lvl="0" algn="r">
              <a:defRPr sz="1800"/>
            </a:pPr>
            <a:r>
              <a:rPr lang="en-US" sz="2100" b="1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20XX</a:t>
            </a:r>
            <a:endParaRPr sz="2100" b="1" dirty="0">
              <a:solidFill>
                <a:schemeClr val="bg1"/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514" name="Shape 51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116651" y="1222698"/>
            <a:ext cx="763030" cy="589905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/>
          <a:p>
            <a:pPr lvl="0" algn="r">
              <a:defRPr sz="1800"/>
            </a:pPr>
            <a:r>
              <a:rPr sz="14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MARCH</a:t>
            </a:r>
          </a:p>
          <a:p>
            <a:pPr lvl="0" algn="r">
              <a:defRPr sz="1800"/>
            </a:pPr>
            <a:r>
              <a:rPr lang="en-US" sz="2100" b="1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20XX</a:t>
            </a:r>
            <a:endParaRPr sz="2100" b="1" dirty="0">
              <a:solidFill>
                <a:schemeClr val="bg1"/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grpSp>
        <p:nvGrpSpPr>
          <p:cNvPr id="518" name="Group 51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8384033" y="1276336"/>
            <a:ext cx="319340" cy="464666"/>
            <a:chOff x="0" y="0"/>
            <a:chExt cx="638677" cy="929330"/>
          </a:xfrm>
          <a:solidFill>
            <a:schemeClr val="bg1"/>
          </a:solidFill>
        </p:grpSpPr>
        <p:sp>
          <p:nvSpPr>
            <p:cNvPr id="516" name="Shape 516"/>
            <p:cNvSpPr/>
            <p:nvPr/>
          </p:nvSpPr>
          <p:spPr>
            <a:xfrm>
              <a:off x="0" y="0"/>
              <a:ext cx="638678" cy="9293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387" y="14175"/>
                  </a:moveTo>
                  <a:lnTo>
                    <a:pt x="6224" y="14175"/>
                  </a:lnTo>
                  <a:cubicBezTo>
                    <a:pt x="5735" y="13447"/>
                    <a:pt x="5148" y="12717"/>
                    <a:pt x="4569" y="12004"/>
                  </a:cubicBezTo>
                  <a:cubicBezTo>
                    <a:pt x="3288" y="10428"/>
                    <a:pt x="1964" y="8797"/>
                    <a:pt x="1964" y="7425"/>
                  </a:cubicBezTo>
                  <a:cubicBezTo>
                    <a:pt x="1964" y="4075"/>
                    <a:pt x="5927" y="1350"/>
                    <a:pt x="10800" y="1350"/>
                  </a:cubicBezTo>
                  <a:cubicBezTo>
                    <a:pt x="15673" y="1350"/>
                    <a:pt x="19636" y="4075"/>
                    <a:pt x="19636" y="7425"/>
                  </a:cubicBezTo>
                  <a:cubicBezTo>
                    <a:pt x="19636" y="8787"/>
                    <a:pt x="18312" y="10426"/>
                    <a:pt x="17029" y="12012"/>
                  </a:cubicBezTo>
                  <a:cubicBezTo>
                    <a:pt x="16455" y="12723"/>
                    <a:pt x="15873" y="13450"/>
                    <a:pt x="15387" y="14175"/>
                  </a:cubicBezTo>
                  <a:moveTo>
                    <a:pt x="10800" y="20250"/>
                  </a:moveTo>
                  <a:cubicBezTo>
                    <a:pt x="9806" y="20250"/>
                    <a:pt x="9347" y="20172"/>
                    <a:pt x="8839" y="19406"/>
                  </a:cubicBezTo>
                  <a:lnTo>
                    <a:pt x="13000" y="19049"/>
                  </a:lnTo>
                  <a:cubicBezTo>
                    <a:pt x="12398" y="20164"/>
                    <a:pt x="11959" y="20250"/>
                    <a:pt x="10800" y="20250"/>
                  </a:cubicBezTo>
                  <a:moveTo>
                    <a:pt x="7596" y="16813"/>
                  </a:moveTo>
                  <a:cubicBezTo>
                    <a:pt x="7417" y="16407"/>
                    <a:pt x="7216" y="15979"/>
                    <a:pt x="6992" y="15525"/>
                  </a:cubicBezTo>
                  <a:lnTo>
                    <a:pt x="14616" y="15525"/>
                  </a:lnTo>
                  <a:cubicBezTo>
                    <a:pt x="14496" y="15767"/>
                    <a:pt x="14375" y="16010"/>
                    <a:pt x="14271" y="16240"/>
                  </a:cubicBezTo>
                  <a:cubicBezTo>
                    <a:pt x="14271" y="16240"/>
                    <a:pt x="7596" y="16813"/>
                    <a:pt x="7596" y="16813"/>
                  </a:cubicBezTo>
                  <a:close/>
                  <a:moveTo>
                    <a:pt x="13346" y="18344"/>
                  </a:moveTo>
                  <a:lnTo>
                    <a:pt x="8477" y="18762"/>
                  </a:lnTo>
                  <a:cubicBezTo>
                    <a:pt x="8303" y="18416"/>
                    <a:pt x="8116" y="18012"/>
                    <a:pt x="7890" y="17484"/>
                  </a:cubicBezTo>
                  <a:cubicBezTo>
                    <a:pt x="7887" y="17478"/>
                    <a:pt x="7883" y="17470"/>
                    <a:pt x="7881" y="17463"/>
                  </a:cubicBezTo>
                  <a:lnTo>
                    <a:pt x="13957" y="16941"/>
                  </a:lnTo>
                  <a:cubicBezTo>
                    <a:pt x="13871" y="17141"/>
                    <a:pt x="13778" y="17350"/>
                    <a:pt x="13698" y="17537"/>
                  </a:cubicBezTo>
                  <a:cubicBezTo>
                    <a:pt x="13570" y="17841"/>
                    <a:pt x="13454" y="18104"/>
                    <a:pt x="13346" y="18344"/>
                  </a:cubicBezTo>
                  <a:moveTo>
                    <a:pt x="10800" y="0"/>
                  </a:moveTo>
                  <a:cubicBezTo>
                    <a:pt x="4835" y="0"/>
                    <a:pt x="0" y="3324"/>
                    <a:pt x="0" y="7425"/>
                  </a:cubicBezTo>
                  <a:cubicBezTo>
                    <a:pt x="0" y="10146"/>
                    <a:pt x="3621" y="13030"/>
                    <a:pt x="4940" y="15562"/>
                  </a:cubicBezTo>
                  <a:cubicBezTo>
                    <a:pt x="6906" y="19339"/>
                    <a:pt x="6689" y="21600"/>
                    <a:pt x="10800" y="21600"/>
                  </a:cubicBezTo>
                  <a:cubicBezTo>
                    <a:pt x="14973" y="21600"/>
                    <a:pt x="14693" y="19350"/>
                    <a:pt x="16660" y="15578"/>
                  </a:cubicBezTo>
                  <a:cubicBezTo>
                    <a:pt x="17983" y="13040"/>
                    <a:pt x="21600" y="10125"/>
                    <a:pt x="21600" y="7425"/>
                  </a:cubicBezTo>
                  <a:cubicBezTo>
                    <a:pt x="21600" y="3324"/>
                    <a:pt x="16765" y="0"/>
                    <a:pt x="10800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2286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5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517" name="Shape 517"/>
            <p:cNvSpPr/>
            <p:nvPr/>
          </p:nvSpPr>
          <p:spPr>
            <a:xfrm>
              <a:off x="145153" y="145207"/>
              <a:ext cx="188701" cy="1887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938" y="0"/>
                  </a:moveTo>
                  <a:cubicBezTo>
                    <a:pt x="8944" y="0"/>
                    <a:pt x="0" y="8942"/>
                    <a:pt x="0" y="19938"/>
                  </a:cubicBezTo>
                  <a:cubicBezTo>
                    <a:pt x="0" y="20855"/>
                    <a:pt x="743" y="21600"/>
                    <a:pt x="1662" y="21600"/>
                  </a:cubicBezTo>
                  <a:cubicBezTo>
                    <a:pt x="2580" y="21600"/>
                    <a:pt x="3323" y="20855"/>
                    <a:pt x="3323" y="19938"/>
                  </a:cubicBezTo>
                  <a:cubicBezTo>
                    <a:pt x="3323" y="10777"/>
                    <a:pt x="10777" y="3323"/>
                    <a:pt x="19938" y="3323"/>
                  </a:cubicBezTo>
                  <a:cubicBezTo>
                    <a:pt x="20857" y="3323"/>
                    <a:pt x="21600" y="2578"/>
                    <a:pt x="21600" y="1662"/>
                  </a:cubicBezTo>
                  <a:cubicBezTo>
                    <a:pt x="21600" y="745"/>
                    <a:pt x="20857" y="0"/>
                    <a:pt x="19938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2286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5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</p:grpSp>
      <p:pic>
        <p:nvPicPr>
          <p:cNvPr id="4" name="图片占位符 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/>
      </p:pic>
      <p:sp>
        <p:nvSpPr>
          <p:cNvPr id="24" name="TextBox 1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1260846" y="5147616"/>
            <a:ext cx="665083" cy="255389"/>
          </a:xfrm>
          <a:prstGeom prst="roundRect">
            <a:avLst/>
          </a:prstGeom>
          <a:solidFill>
            <a:schemeClr val="accent3"/>
          </a:solidFill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UNIQUE</a:t>
            </a:r>
          </a:p>
        </p:txBody>
      </p:sp>
      <p:sp>
        <p:nvSpPr>
          <p:cNvPr id="25" name="TextBox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3265540" y="5147615"/>
            <a:ext cx="1090211" cy="255389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PROFESSIONAL</a:t>
            </a:r>
          </a:p>
        </p:txBody>
      </p:sp>
      <p:grpSp>
        <p:nvGrpSpPr>
          <p:cNvPr id="3" name="组合 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638337" y="3463827"/>
            <a:ext cx="6298354" cy="1546107"/>
            <a:chOff x="638337" y="3463827"/>
            <a:chExt cx="6298354" cy="1546107"/>
          </a:xfrm>
        </p:grpSpPr>
        <p:sp>
          <p:nvSpPr>
            <p:cNvPr id="20" name="Freeform 10"/>
            <p:cNvSpPr/>
            <p:nvPr/>
          </p:nvSpPr>
          <p:spPr>
            <a:xfrm rot="20324700">
              <a:off x="1355330" y="3465514"/>
              <a:ext cx="487406" cy="738337"/>
            </a:xfrm>
            <a:custGeom>
              <a:avLst/>
              <a:gdLst/>
              <a:ahLst/>
              <a:cxnLst/>
              <a:rect l="l" t="t" r="r" b="b"/>
              <a:pathLst>
                <a:path w="134936" h="204405">
                  <a:moveTo>
                    <a:pt x="127331" y="165827"/>
                  </a:moveTo>
                  <a:cubicBezTo>
                    <a:pt x="123825" y="169180"/>
                    <a:pt x="119711" y="172228"/>
                    <a:pt x="114986" y="174971"/>
                  </a:cubicBezTo>
                  <a:cubicBezTo>
                    <a:pt x="107519" y="179238"/>
                    <a:pt x="97689" y="181981"/>
                    <a:pt x="85497" y="183201"/>
                  </a:cubicBezTo>
                  <a:cubicBezTo>
                    <a:pt x="63704" y="185334"/>
                    <a:pt x="41301" y="182210"/>
                    <a:pt x="18288" y="173828"/>
                  </a:cubicBezTo>
                  <a:cubicBezTo>
                    <a:pt x="14478" y="172456"/>
                    <a:pt x="11126" y="170475"/>
                    <a:pt x="8230" y="167884"/>
                  </a:cubicBezTo>
                  <a:cubicBezTo>
                    <a:pt x="8535" y="173371"/>
                    <a:pt x="9373" y="177333"/>
                    <a:pt x="10745" y="179772"/>
                  </a:cubicBezTo>
                  <a:cubicBezTo>
                    <a:pt x="13945" y="185106"/>
                    <a:pt x="19889" y="189297"/>
                    <a:pt x="28575" y="192345"/>
                  </a:cubicBezTo>
                  <a:cubicBezTo>
                    <a:pt x="37262" y="195393"/>
                    <a:pt x="47397" y="197221"/>
                    <a:pt x="58979" y="197831"/>
                  </a:cubicBezTo>
                  <a:cubicBezTo>
                    <a:pt x="69952" y="198288"/>
                    <a:pt x="80468" y="197640"/>
                    <a:pt x="90526" y="195888"/>
                  </a:cubicBezTo>
                  <a:cubicBezTo>
                    <a:pt x="100584" y="194135"/>
                    <a:pt x="108204" y="191735"/>
                    <a:pt x="113386" y="188687"/>
                  </a:cubicBezTo>
                  <a:cubicBezTo>
                    <a:pt x="114300" y="188077"/>
                    <a:pt x="115291" y="188001"/>
                    <a:pt x="116358" y="188458"/>
                  </a:cubicBezTo>
                  <a:cubicBezTo>
                    <a:pt x="123216" y="185106"/>
                    <a:pt x="127178" y="181753"/>
                    <a:pt x="128245" y="178400"/>
                  </a:cubicBezTo>
                  <a:cubicBezTo>
                    <a:pt x="128702" y="176419"/>
                    <a:pt x="128626" y="173447"/>
                    <a:pt x="128016" y="169485"/>
                  </a:cubicBezTo>
                  <a:cubicBezTo>
                    <a:pt x="128016" y="168875"/>
                    <a:pt x="127788" y="167656"/>
                    <a:pt x="127331" y="165827"/>
                  </a:cubicBezTo>
                  <a:close/>
                  <a:moveTo>
                    <a:pt x="52121" y="157140"/>
                  </a:moveTo>
                  <a:cubicBezTo>
                    <a:pt x="54255" y="157140"/>
                    <a:pt x="55322" y="158207"/>
                    <a:pt x="55322" y="160341"/>
                  </a:cubicBezTo>
                  <a:cubicBezTo>
                    <a:pt x="55322" y="162474"/>
                    <a:pt x="54255" y="163541"/>
                    <a:pt x="52121" y="163541"/>
                  </a:cubicBezTo>
                  <a:cubicBezTo>
                    <a:pt x="49988" y="163541"/>
                    <a:pt x="48921" y="162474"/>
                    <a:pt x="48921" y="160341"/>
                  </a:cubicBezTo>
                  <a:cubicBezTo>
                    <a:pt x="48921" y="158207"/>
                    <a:pt x="49988" y="157140"/>
                    <a:pt x="52121" y="157140"/>
                  </a:cubicBezTo>
                  <a:close/>
                  <a:moveTo>
                    <a:pt x="73838" y="155769"/>
                  </a:moveTo>
                  <a:cubicBezTo>
                    <a:pt x="75972" y="155769"/>
                    <a:pt x="77039" y="156835"/>
                    <a:pt x="77039" y="158969"/>
                  </a:cubicBezTo>
                  <a:cubicBezTo>
                    <a:pt x="77039" y="161103"/>
                    <a:pt x="75972" y="162169"/>
                    <a:pt x="73838" y="162169"/>
                  </a:cubicBezTo>
                  <a:cubicBezTo>
                    <a:pt x="71705" y="162169"/>
                    <a:pt x="70638" y="161103"/>
                    <a:pt x="70638" y="158969"/>
                  </a:cubicBezTo>
                  <a:cubicBezTo>
                    <a:pt x="70638" y="156835"/>
                    <a:pt x="71705" y="155769"/>
                    <a:pt x="73838" y="155769"/>
                  </a:cubicBezTo>
                  <a:close/>
                  <a:moveTo>
                    <a:pt x="122987" y="153940"/>
                  </a:moveTo>
                  <a:cubicBezTo>
                    <a:pt x="122682" y="155464"/>
                    <a:pt x="121768" y="156302"/>
                    <a:pt x="120244" y="156454"/>
                  </a:cubicBezTo>
                  <a:lnTo>
                    <a:pt x="120244" y="156683"/>
                  </a:lnTo>
                  <a:cubicBezTo>
                    <a:pt x="120549" y="158512"/>
                    <a:pt x="119787" y="159655"/>
                    <a:pt x="117958" y="160112"/>
                  </a:cubicBezTo>
                  <a:cubicBezTo>
                    <a:pt x="117501" y="161026"/>
                    <a:pt x="116815" y="161636"/>
                    <a:pt x="115901" y="161941"/>
                  </a:cubicBezTo>
                  <a:cubicBezTo>
                    <a:pt x="114681" y="162398"/>
                    <a:pt x="110681" y="163998"/>
                    <a:pt x="103899" y="166741"/>
                  </a:cubicBezTo>
                  <a:cubicBezTo>
                    <a:pt x="97117" y="169485"/>
                    <a:pt x="91745" y="171313"/>
                    <a:pt x="87783" y="172228"/>
                  </a:cubicBezTo>
                  <a:lnTo>
                    <a:pt x="51980" y="172228"/>
                  </a:lnTo>
                  <a:lnTo>
                    <a:pt x="47951" y="171670"/>
                  </a:lnTo>
                  <a:lnTo>
                    <a:pt x="16002" y="159198"/>
                  </a:lnTo>
                  <a:lnTo>
                    <a:pt x="16002" y="160112"/>
                  </a:lnTo>
                  <a:cubicBezTo>
                    <a:pt x="16002" y="161026"/>
                    <a:pt x="15736" y="161788"/>
                    <a:pt x="15202" y="162398"/>
                  </a:cubicBezTo>
                  <a:cubicBezTo>
                    <a:pt x="14669" y="163008"/>
                    <a:pt x="14021" y="163389"/>
                    <a:pt x="13259" y="163541"/>
                  </a:cubicBezTo>
                  <a:cubicBezTo>
                    <a:pt x="15393" y="165370"/>
                    <a:pt x="17831" y="166818"/>
                    <a:pt x="20574" y="167884"/>
                  </a:cubicBezTo>
                  <a:lnTo>
                    <a:pt x="47951" y="171670"/>
                  </a:lnTo>
                  <a:lnTo>
                    <a:pt x="49378" y="172228"/>
                  </a:lnTo>
                  <a:lnTo>
                    <a:pt x="51980" y="172228"/>
                  </a:lnTo>
                  <a:lnTo>
                    <a:pt x="85040" y="176800"/>
                  </a:lnTo>
                  <a:cubicBezTo>
                    <a:pt x="96165" y="175733"/>
                    <a:pt x="105080" y="173295"/>
                    <a:pt x="111786" y="169485"/>
                  </a:cubicBezTo>
                  <a:cubicBezTo>
                    <a:pt x="119101" y="165370"/>
                    <a:pt x="123978" y="161331"/>
                    <a:pt x="126416" y="157369"/>
                  </a:cubicBezTo>
                  <a:lnTo>
                    <a:pt x="126873" y="155311"/>
                  </a:lnTo>
                  <a:cubicBezTo>
                    <a:pt x="126264" y="154702"/>
                    <a:pt x="124968" y="154245"/>
                    <a:pt x="122987" y="153940"/>
                  </a:cubicBezTo>
                  <a:close/>
                  <a:moveTo>
                    <a:pt x="61037" y="152797"/>
                  </a:moveTo>
                  <a:cubicBezTo>
                    <a:pt x="61951" y="152797"/>
                    <a:pt x="62713" y="153102"/>
                    <a:pt x="63323" y="153711"/>
                  </a:cubicBezTo>
                  <a:cubicBezTo>
                    <a:pt x="63932" y="154321"/>
                    <a:pt x="64237" y="155083"/>
                    <a:pt x="64237" y="155997"/>
                  </a:cubicBezTo>
                  <a:cubicBezTo>
                    <a:pt x="64237" y="158131"/>
                    <a:pt x="63170" y="159198"/>
                    <a:pt x="61037" y="159198"/>
                  </a:cubicBezTo>
                  <a:cubicBezTo>
                    <a:pt x="58903" y="159198"/>
                    <a:pt x="57836" y="158131"/>
                    <a:pt x="57836" y="155997"/>
                  </a:cubicBezTo>
                  <a:cubicBezTo>
                    <a:pt x="57836" y="155083"/>
                    <a:pt x="58141" y="154321"/>
                    <a:pt x="58751" y="153711"/>
                  </a:cubicBezTo>
                  <a:cubicBezTo>
                    <a:pt x="59360" y="153102"/>
                    <a:pt x="60122" y="152797"/>
                    <a:pt x="61037" y="152797"/>
                  </a:cubicBezTo>
                  <a:close/>
                  <a:moveTo>
                    <a:pt x="103556" y="150739"/>
                  </a:moveTo>
                  <a:cubicBezTo>
                    <a:pt x="105690" y="150739"/>
                    <a:pt x="106757" y="151806"/>
                    <a:pt x="106757" y="153940"/>
                  </a:cubicBezTo>
                  <a:cubicBezTo>
                    <a:pt x="106757" y="156073"/>
                    <a:pt x="105690" y="157140"/>
                    <a:pt x="103556" y="157140"/>
                  </a:cubicBezTo>
                  <a:cubicBezTo>
                    <a:pt x="101423" y="157140"/>
                    <a:pt x="100356" y="156073"/>
                    <a:pt x="100356" y="153940"/>
                  </a:cubicBezTo>
                  <a:cubicBezTo>
                    <a:pt x="100356" y="151806"/>
                    <a:pt x="101423" y="150739"/>
                    <a:pt x="103556" y="150739"/>
                  </a:cubicBezTo>
                  <a:close/>
                  <a:moveTo>
                    <a:pt x="91212" y="149368"/>
                  </a:moveTo>
                  <a:cubicBezTo>
                    <a:pt x="93345" y="149368"/>
                    <a:pt x="94412" y="150435"/>
                    <a:pt x="94412" y="152568"/>
                  </a:cubicBezTo>
                  <a:cubicBezTo>
                    <a:pt x="94412" y="154702"/>
                    <a:pt x="93345" y="155769"/>
                    <a:pt x="91212" y="155769"/>
                  </a:cubicBezTo>
                  <a:cubicBezTo>
                    <a:pt x="89078" y="155769"/>
                    <a:pt x="88011" y="154702"/>
                    <a:pt x="88011" y="152568"/>
                  </a:cubicBezTo>
                  <a:cubicBezTo>
                    <a:pt x="88011" y="150435"/>
                    <a:pt x="89078" y="149368"/>
                    <a:pt x="91212" y="149368"/>
                  </a:cubicBezTo>
                  <a:close/>
                  <a:moveTo>
                    <a:pt x="44577" y="148225"/>
                  </a:moveTo>
                  <a:cubicBezTo>
                    <a:pt x="46711" y="148225"/>
                    <a:pt x="47778" y="149292"/>
                    <a:pt x="47778" y="151425"/>
                  </a:cubicBezTo>
                  <a:cubicBezTo>
                    <a:pt x="47778" y="153559"/>
                    <a:pt x="46711" y="154626"/>
                    <a:pt x="44577" y="154626"/>
                  </a:cubicBezTo>
                  <a:cubicBezTo>
                    <a:pt x="42444" y="154626"/>
                    <a:pt x="41377" y="153559"/>
                    <a:pt x="41377" y="151425"/>
                  </a:cubicBezTo>
                  <a:cubicBezTo>
                    <a:pt x="41377" y="149292"/>
                    <a:pt x="42444" y="148225"/>
                    <a:pt x="44577" y="148225"/>
                  </a:cubicBezTo>
                  <a:close/>
                  <a:moveTo>
                    <a:pt x="32004" y="147082"/>
                  </a:moveTo>
                  <a:cubicBezTo>
                    <a:pt x="34138" y="147082"/>
                    <a:pt x="35205" y="148149"/>
                    <a:pt x="35205" y="150282"/>
                  </a:cubicBezTo>
                  <a:cubicBezTo>
                    <a:pt x="35205" y="152416"/>
                    <a:pt x="34138" y="153483"/>
                    <a:pt x="32004" y="153483"/>
                  </a:cubicBezTo>
                  <a:cubicBezTo>
                    <a:pt x="29871" y="153483"/>
                    <a:pt x="28804" y="152416"/>
                    <a:pt x="28804" y="150282"/>
                  </a:cubicBezTo>
                  <a:cubicBezTo>
                    <a:pt x="28804" y="148149"/>
                    <a:pt x="29871" y="147082"/>
                    <a:pt x="32004" y="147082"/>
                  </a:cubicBezTo>
                  <a:close/>
                  <a:moveTo>
                    <a:pt x="101727" y="142281"/>
                  </a:moveTo>
                  <a:cubicBezTo>
                    <a:pt x="103861" y="142281"/>
                    <a:pt x="104928" y="143348"/>
                    <a:pt x="104928" y="145482"/>
                  </a:cubicBezTo>
                  <a:cubicBezTo>
                    <a:pt x="104928" y="147615"/>
                    <a:pt x="103861" y="148682"/>
                    <a:pt x="101727" y="148682"/>
                  </a:cubicBezTo>
                  <a:cubicBezTo>
                    <a:pt x="99594" y="148682"/>
                    <a:pt x="98527" y="147615"/>
                    <a:pt x="98527" y="145482"/>
                  </a:cubicBezTo>
                  <a:cubicBezTo>
                    <a:pt x="98527" y="143348"/>
                    <a:pt x="99594" y="142281"/>
                    <a:pt x="101727" y="142281"/>
                  </a:cubicBezTo>
                  <a:close/>
                  <a:moveTo>
                    <a:pt x="79096" y="140452"/>
                  </a:moveTo>
                  <a:cubicBezTo>
                    <a:pt x="81230" y="140452"/>
                    <a:pt x="82296" y="141519"/>
                    <a:pt x="82296" y="143653"/>
                  </a:cubicBezTo>
                  <a:cubicBezTo>
                    <a:pt x="82296" y="145786"/>
                    <a:pt x="81230" y="146853"/>
                    <a:pt x="79096" y="146853"/>
                  </a:cubicBezTo>
                  <a:cubicBezTo>
                    <a:pt x="76962" y="146853"/>
                    <a:pt x="75896" y="145786"/>
                    <a:pt x="75896" y="143653"/>
                  </a:cubicBezTo>
                  <a:cubicBezTo>
                    <a:pt x="75896" y="141519"/>
                    <a:pt x="76962" y="140452"/>
                    <a:pt x="79096" y="140452"/>
                  </a:cubicBezTo>
                  <a:close/>
                  <a:moveTo>
                    <a:pt x="65609" y="139767"/>
                  </a:moveTo>
                  <a:cubicBezTo>
                    <a:pt x="67742" y="139767"/>
                    <a:pt x="68809" y="140833"/>
                    <a:pt x="68809" y="142967"/>
                  </a:cubicBezTo>
                  <a:cubicBezTo>
                    <a:pt x="68809" y="145101"/>
                    <a:pt x="67742" y="146167"/>
                    <a:pt x="65609" y="146167"/>
                  </a:cubicBezTo>
                  <a:cubicBezTo>
                    <a:pt x="63475" y="146167"/>
                    <a:pt x="62408" y="145101"/>
                    <a:pt x="62408" y="142967"/>
                  </a:cubicBezTo>
                  <a:cubicBezTo>
                    <a:pt x="62408" y="140833"/>
                    <a:pt x="63475" y="139767"/>
                    <a:pt x="65609" y="139767"/>
                  </a:cubicBezTo>
                  <a:close/>
                  <a:moveTo>
                    <a:pt x="50978" y="138166"/>
                  </a:moveTo>
                  <a:cubicBezTo>
                    <a:pt x="53112" y="138166"/>
                    <a:pt x="54179" y="139233"/>
                    <a:pt x="54179" y="141367"/>
                  </a:cubicBezTo>
                  <a:cubicBezTo>
                    <a:pt x="54179" y="143500"/>
                    <a:pt x="53112" y="144567"/>
                    <a:pt x="50978" y="144567"/>
                  </a:cubicBezTo>
                  <a:cubicBezTo>
                    <a:pt x="48845" y="144567"/>
                    <a:pt x="47778" y="143500"/>
                    <a:pt x="47778" y="141367"/>
                  </a:cubicBezTo>
                  <a:cubicBezTo>
                    <a:pt x="47778" y="139233"/>
                    <a:pt x="48845" y="138166"/>
                    <a:pt x="50978" y="138166"/>
                  </a:cubicBezTo>
                  <a:close/>
                  <a:moveTo>
                    <a:pt x="36576" y="134280"/>
                  </a:moveTo>
                  <a:cubicBezTo>
                    <a:pt x="38710" y="134280"/>
                    <a:pt x="39777" y="135347"/>
                    <a:pt x="39777" y="137481"/>
                  </a:cubicBezTo>
                  <a:cubicBezTo>
                    <a:pt x="39777" y="139614"/>
                    <a:pt x="38710" y="140681"/>
                    <a:pt x="36576" y="140681"/>
                  </a:cubicBezTo>
                  <a:cubicBezTo>
                    <a:pt x="34443" y="140681"/>
                    <a:pt x="33376" y="139614"/>
                    <a:pt x="33376" y="137481"/>
                  </a:cubicBezTo>
                  <a:cubicBezTo>
                    <a:pt x="33376" y="135347"/>
                    <a:pt x="34443" y="134280"/>
                    <a:pt x="36576" y="134280"/>
                  </a:cubicBezTo>
                  <a:close/>
                  <a:moveTo>
                    <a:pt x="89840" y="134052"/>
                  </a:moveTo>
                  <a:cubicBezTo>
                    <a:pt x="91974" y="134052"/>
                    <a:pt x="93041" y="135118"/>
                    <a:pt x="93041" y="137252"/>
                  </a:cubicBezTo>
                  <a:cubicBezTo>
                    <a:pt x="93041" y="139386"/>
                    <a:pt x="91974" y="140452"/>
                    <a:pt x="89840" y="140452"/>
                  </a:cubicBezTo>
                  <a:cubicBezTo>
                    <a:pt x="87707" y="140452"/>
                    <a:pt x="86640" y="139386"/>
                    <a:pt x="86640" y="137252"/>
                  </a:cubicBezTo>
                  <a:cubicBezTo>
                    <a:pt x="86640" y="135118"/>
                    <a:pt x="87707" y="134052"/>
                    <a:pt x="89840" y="134052"/>
                  </a:cubicBezTo>
                  <a:close/>
                  <a:moveTo>
                    <a:pt x="75667" y="126508"/>
                  </a:moveTo>
                  <a:cubicBezTo>
                    <a:pt x="77801" y="126508"/>
                    <a:pt x="78867" y="127575"/>
                    <a:pt x="78867" y="129708"/>
                  </a:cubicBezTo>
                  <a:cubicBezTo>
                    <a:pt x="78867" y="131842"/>
                    <a:pt x="77801" y="132909"/>
                    <a:pt x="75667" y="132909"/>
                  </a:cubicBezTo>
                  <a:cubicBezTo>
                    <a:pt x="73533" y="132909"/>
                    <a:pt x="72467" y="131842"/>
                    <a:pt x="72467" y="129708"/>
                  </a:cubicBezTo>
                  <a:cubicBezTo>
                    <a:pt x="72467" y="127575"/>
                    <a:pt x="73533" y="126508"/>
                    <a:pt x="75667" y="126508"/>
                  </a:cubicBezTo>
                  <a:close/>
                  <a:moveTo>
                    <a:pt x="52807" y="126508"/>
                  </a:moveTo>
                  <a:cubicBezTo>
                    <a:pt x="54941" y="126508"/>
                    <a:pt x="56007" y="127575"/>
                    <a:pt x="56007" y="129708"/>
                  </a:cubicBezTo>
                  <a:cubicBezTo>
                    <a:pt x="56007" y="131842"/>
                    <a:pt x="54941" y="132909"/>
                    <a:pt x="52807" y="132909"/>
                  </a:cubicBezTo>
                  <a:cubicBezTo>
                    <a:pt x="52197" y="133366"/>
                    <a:pt x="51435" y="133594"/>
                    <a:pt x="50521" y="133594"/>
                  </a:cubicBezTo>
                  <a:cubicBezTo>
                    <a:pt x="48387" y="133594"/>
                    <a:pt x="47321" y="132528"/>
                    <a:pt x="47321" y="130394"/>
                  </a:cubicBezTo>
                  <a:cubicBezTo>
                    <a:pt x="47321" y="128260"/>
                    <a:pt x="48387" y="127194"/>
                    <a:pt x="50521" y="127194"/>
                  </a:cubicBezTo>
                  <a:cubicBezTo>
                    <a:pt x="51131" y="126736"/>
                    <a:pt x="51893" y="126508"/>
                    <a:pt x="52807" y="126508"/>
                  </a:cubicBezTo>
                  <a:close/>
                  <a:moveTo>
                    <a:pt x="64923" y="125136"/>
                  </a:moveTo>
                  <a:cubicBezTo>
                    <a:pt x="67056" y="125136"/>
                    <a:pt x="68123" y="126203"/>
                    <a:pt x="68123" y="128337"/>
                  </a:cubicBezTo>
                  <a:cubicBezTo>
                    <a:pt x="68123" y="130470"/>
                    <a:pt x="67056" y="131537"/>
                    <a:pt x="64923" y="131537"/>
                  </a:cubicBezTo>
                  <a:cubicBezTo>
                    <a:pt x="62789" y="131537"/>
                    <a:pt x="61722" y="130470"/>
                    <a:pt x="61722" y="128337"/>
                  </a:cubicBezTo>
                  <a:cubicBezTo>
                    <a:pt x="61722" y="126203"/>
                    <a:pt x="62789" y="125136"/>
                    <a:pt x="64923" y="125136"/>
                  </a:cubicBezTo>
                  <a:close/>
                  <a:moveTo>
                    <a:pt x="86411" y="122850"/>
                  </a:moveTo>
                  <a:cubicBezTo>
                    <a:pt x="88545" y="122850"/>
                    <a:pt x="89612" y="123917"/>
                    <a:pt x="89612" y="126051"/>
                  </a:cubicBezTo>
                  <a:cubicBezTo>
                    <a:pt x="89612" y="128184"/>
                    <a:pt x="88545" y="129251"/>
                    <a:pt x="86411" y="129251"/>
                  </a:cubicBezTo>
                  <a:cubicBezTo>
                    <a:pt x="84278" y="129251"/>
                    <a:pt x="83211" y="128184"/>
                    <a:pt x="83211" y="126051"/>
                  </a:cubicBezTo>
                  <a:cubicBezTo>
                    <a:pt x="83211" y="123917"/>
                    <a:pt x="84278" y="122850"/>
                    <a:pt x="86411" y="122850"/>
                  </a:cubicBezTo>
                  <a:close/>
                  <a:moveTo>
                    <a:pt x="60122" y="113935"/>
                  </a:moveTo>
                  <a:cubicBezTo>
                    <a:pt x="62256" y="113935"/>
                    <a:pt x="63323" y="115002"/>
                    <a:pt x="63323" y="117135"/>
                  </a:cubicBezTo>
                  <a:cubicBezTo>
                    <a:pt x="63323" y="119269"/>
                    <a:pt x="62256" y="120336"/>
                    <a:pt x="60122" y="120336"/>
                  </a:cubicBezTo>
                  <a:cubicBezTo>
                    <a:pt x="57989" y="120336"/>
                    <a:pt x="56922" y="119269"/>
                    <a:pt x="56922" y="117135"/>
                  </a:cubicBezTo>
                  <a:cubicBezTo>
                    <a:pt x="56922" y="115002"/>
                    <a:pt x="57989" y="113935"/>
                    <a:pt x="60122" y="113935"/>
                  </a:cubicBezTo>
                  <a:close/>
                  <a:moveTo>
                    <a:pt x="68809" y="112792"/>
                  </a:moveTo>
                  <a:cubicBezTo>
                    <a:pt x="70943" y="112792"/>
                    <a:pt x="72009" y="113859"/>
                    <a:pt x="72009" y="115992"/>
                  </a:cubicBezTo>
                  <a:cubicBezTo>
                    <a:pt x="72009" y="118126"/>
                    <a:pt x="70943" y="119193"/>
                    <a:pt x="68809" y="119193"/>
                  </a:cubicBezTo>
                  <a:cubicBezTo>
                    <a:pt x="66675" y="119193"/>
                    <a:pt x="65609" y="118126"/>
                    <a:pt x="65609" y="115992"/>
                  </a:cubicBezTo>
                  <a:cubicBezTo>
                    <a:pt x="65609" y="113859"/>
                    <a:pt x="66675" y="112792"/>
                    <a:pt x="68809" y="112792"/>
                  </a:cubicBezTo>
                  <a:close/>
                  <a:moveTo>
                    <a:pt x="65837" y="101819"/>
                  </a:moveTo>
                  <a:cubicBezTo>
                    <a:pt x="67971" y="101819"/>
                    <a:pt x="69038" y="102886"/>
                    <a:pt x="69038" y="105019"/>
                  </a:cubicBezTo>
                  <a:cubicBezTo>
                    <a:pt x="69038" y="107153"/>
                    <a:pt x="67971" y="108220"/>
                    <a:pt x="65837" y="108220"/>
                  </a:cubicBezTo>
                  <a:cubicBezTo>
                    <a:pt x="63704" y="108220"/>
                    <a:pt x="62637" y="107153"/>
                    <a:pt x="62637" y="105019"/>
                  </a:cubicBezTo>
                  <a:cubicBezTo>
                    <a:pt x="62637" y="102886"/>
                    <a:pt x="63704" y="101819"/>
                    <a:pt x="65837" y="101819"/>
                  </a:cubicBezTo>
                  <a:close/>
                  <a:moveTo>
                    <a:pt x="66752" y="80331"/>
                  </a:moveTo>
                  <a:cubicBezTo>
                    <a:pt x="68885" y="80331"/>
                    <a:pt x="69952" y="81397"/>
                    <a:pt x="69952" y="83531"/>
                  </a:cubicBezTo>
                  <a:cubicBezTo>
                    <a:pt x="69952" y="85665"/>
                    <a:pt x="68885" y="86731"/>
                    <a:pt x="66752" y="86731"/>
                  </a:cubicBezTo>
                  <a:cubicBezTo>
                    <a:pt x="64618" y="86731"/>
                    <a:pt x="63551" y="85665"/>
                    <a:pt x="63551" y="83531"/>
                  </a:cubicBezTo>
                  <a:cubicBezTo>
                    <a:pt x="63551" y="81397"/>
                    <a:pt x="64618" y="80331"/>
                    <a:pt x="66752" y="80331"/>
                  </a:cubicBezTo>
                  <a:close/>
                  <a:moveTo>
                    <a:pt x="57836" y="71872"/>
                  </a:moveTo>
                  <a:cubicBezTo>
                    <a:pt x="59970" y="71872"/>
                    <a:pt x="61037" y="72939"/>
                    <a:pt x="61037" y="75073"/>
                  </a:cubicBezTo>
                  <a:cubicBezTo>
                    <a:pt x="61037" y="77206"/>
                    <a:pt x="59970" y="78273"/>
                    <a:pt x="57836" y="78273"/>
                  </a:cubicBezTo>
                  <a:cubicBezTo>
                    <a:pt x="55703" y="78273"/>
                    <a:pt x="54636" y="77206"/>
                    <a:pt x="54636" y="75073"/>
                  </a:cubicBezTo>
                  <a:cubicBezTo>
                    <a:pt x="54636" y="72939"/>
                    <a:pt x="55703" y="71872"/>
                    <a:pt x="57836" y="71872"/>
                  </a:cubicBezTo>
                  <a:close/>
                  <a:moveTo>
                    <a:pt x="72009" y="70044"/>
                  </a:moveTo>
                  <a:cubicBezTo>
                    <a:pt x="74143" y="70044"/>
                    <a:pt x="75210" y="71110"/>
                    <a:pt x="75210" y="73244"/>
                  </a:cubicBezTo>
                  <a:cubicBezTo>
                    <a:pt x="75210" y="75378"/>
                    <a:pt x="74143" y="76444"/>
                    <a:pt x="72009" y="76444"/>
                  </a:cubicBezTo>
                  <a:cubicBezTo>
                    <a:pt x="69876" y="76444"/>
                    <a:pt x="68809" y="75378"/>
                    <a:pt x="68809" y="73244"/>
                  </a:cubicBezTo>
                  <a:cubicBezTo>
                    <a:pt x="68809" y="71110"/>
                    <a:pt x="69876" y="70044"/>
                    <a:pt x="72009" y="70044"/>
                  </a:cubicBezTo>
                  <a:close/>
                  <a:moveTo>
                    <a:pt x="87326" y="66843"/>
                  </a:moveTo>
                  <a:cubicBezTo>
                    <a:pt x="89459" y="66843"/>
                    <a:pt x="90526" y="67910"/>
                    <a:pt x="90526" y="70044"/>
                  </a:cubicBezTo>
                  <a:cubicBezTo>
                    <a:pt x="90526" y="72177"/>
                    <a:pt x="89459" y="73244"/>
                    <a:pt x="87326" y="73244"/>
                  </a:cubicBezTo>
                  <a:cubicBezTo>
                    <a:pt x="85192" y="73244"/>
                    <a:pt x="84125" y="72177"/>
                    <a:pt x="84125" y="70044"/>
                  </a:cubicBezTo>
                  <a:cubicBezTo>
                    <a:pt x="84125" y="67910"/>
                    <a:pt x="85192" y="66843"/>
                    <a:pt x="87326" y="66843"/>
                  </a:cubicBezTo>
                  <a:close/>
                  <a:moveTo>
                    <a:pt x="44806" y="66157"/>
                  </a:moveTo>
                  <a:cubicBezTo>
                    <a:pt x="46940" y="66157"/>
                    <a:pt x="48006" y="67224"/>
                    <a:pt x="48006" y="69358"/>
                  </a:cubicBezTo>
                  <a:cubicBezTo>
                    <a:pt x="48006" y="71491"/>
                    <a:pt x="46940" y="72558"/>
                    <a:pt x="44806" y="72558"/>
                  </a:cubicBezTo>
                  <a:cubicBezTo>
                    <a:pt x="42672" y="72558"/>
                    <a:pt x="41606" y="71491"/>
                    <a:pt x="41606" y="69358"/>
                  </a:cubicBezTo>
                  <a:cubicBezTo>
                    <a:pt x="41606" y="67224"/>
                    <a:pt x="42672" y="66157"/>
                    <a:pt x="44806" y="66157"/>
                  </a:cubicBezTo>
                  <a:close/>
                  <a:moveTo>
                    <a:pt x="16002" y="49927"/>
                  </a:moveTo>
                  <a:cubicBezTo>
                    <a:pt x="17069" y="62881"/>
                    <a:pt x="17222" y="81321"/>
                    <a:pt x="16460" y="105248"/>
                  </a:cubicBezTo>
                  <a:cubicBezTo>
                    <a:pt x="16002" y="115611"/>
                    <a:pt x="15774" y="122317"/>
                    <a:pt x="15774" y="125365"/>
                  </a:cubicBezTo>
                  <a:cubicBezTo>
                    <a:pt x="15926" y="134661"/>
                    <a:pt x="15850" y="141976"/>
                    <a:pt x="15545" y="147310"/>
                  </a:cubicBezTo>
                  <a:lnTo>
                    <a:pt x="15545" y="148911"/>
                  </a:lnTo>
                  <a:lnTo>
                    <a:pt x="16460" y="148911"/>
                  </a:lnTo>
                  <a:cubicBezTo>
                    <a:pt x="17526" y="138395"/>
                    <a:pt x="21794" y="127117"/>
                    <a:pt x="29261" y="115078"/>
                  </a:cubicBezTo>
                  <a:cubicBezTo>
                    <a:pt x="36272" y="103495"/>
                    <a:pt x="43815" y="95875"/>
                    <a:pt x="51893" y="92218"/>
                  </a:cubicBezTo>
                  <a:cubicBezTo>
                    <a:pt x="42139" y="87646"/>
                    <a:pt x="34481" y="82121"/>
                    <a:pt x="28918" y="75644"/>
                  </a:cubicBezTo>
                  <a:cubicBezTo>
                    <a:pt x="23356" y="69167"/>
                    <a:pt x="19050" y="60595"/>
                    <a:pt x="16002" y="49927"/>
                  </a:cubicBezTo>
                  <a:close/>
                  <a:moveTo>
                    <a:pt x="14402" y="46269"/>
                  </a:moveTo>
                  <a:lnTo>
                    <a:pt x="14402" y="47184"/>
                  </a:lnTo>
                  <a:cubicBezTo>
                    <a:pt x="14859" y="47488"/>
                    <a:pt x="15240" y="47869"/>
                    <a:pt x="15545" y="48327"/>
                  </a:cubicBezTo>
                  <a:cubicBezTo>
                    <a:pt x="15545" y="47869"/>
                    <a:pt x="15621" y="47336"/>
                    <a:pt x="15774" y="46726"/>
                  </a:cubicBezTo>
                  <a:close/>
                  <a:moveTo>
                    <a:pt x="113386" y="43755"/>
                  </a:moveTo>
                  <a:cubicBezTo>
                    <a:pt x="111557" y="44212"/>
                    <a:pt x="109119" y="44898"/>
                    <a:pt x="106071" y="45812"/>
                  </a:cubicBezTo>
                  <a:cubicBezTo>
                    <a:pt x="98298" y="48250"/>
                    <a:pt x="93041" y="49774"/>
                    <a:pt x="90297" y="50384"/>
                  </a:cubicBezTo>
                  <a:cubicBezTo>
                    <a:pt x="78410" y="52518"/>
                    <a:pt x="63551" y="52975"/>
                    <a:pt x="45720" y="51756"/>
                  </a:cubicBezTo>
                  <a:cubicBezTo>
                    <a:pt x="36729" y="51146"/>
                    <a:pt x="28880" y="50079"/>
                    <a:pt x="22175" y="48555"/>
                  </a:cubicBezTo>
                  <a:cubicBezTo>
                    <a:pt x="25223" y="58918"/>
                    <a:pt x="29604" y="67110"/>
                    <a:pt x="35319" y="73130"/>
                  </a:cubicBezTo>
                  <a:cubicBezTo>
                    <a:pt x="41034" y="79149"/>
                    <a:pt x="49149" y="84293"/>
                    <a:pt x="59665" y="88560"/>
                  </a:cubicBezTo>
                  <a:cubicBezTo>
                    <a:pt x="60732" y="89017"/>
                    <a:pt x="61418" y="89779"/>
                    <a:pt x="61722" y="90846"/>
                  </a:cubicBezTo>
                  <a:cubicBezTo>
                    <a:pt x="62180" y="91303"/>
                    <a:pt x="62484" y="91913"/>
                    <a:pt x="62637" y="92675"/>
                  </a:cubicBezTo>
                  <a:cubicBezTo>
                    <a:pt x="62789" y="93589"/>
                    <a:pt x="62599" y="94389"/>
                    <a:pt x="62065" y="95075"/>
                  </a:cubicBezTo>
                  <a:cubicBezTo>
                    <a:pt x="61532" y="95761"/>
                    <a:pt x="60808" y="96180"/>
                    <a:pt x="59894" y="96333"/>
                  </a:cubicBezTo>
                  <a:cubicBezTo>
                    <a:pt x="55779" y="96790"/>
                    <a:pt x="51512" y="99038"/>
                    <a:pt x="47092" y="103076"/>
                  </a:cubicBezTo>
                  <a:cubicBezTo>
                    <a:pt x="42672" y="107115"/>
                    <a:pt x="38558" y="112182"/>
                    <a:pt x="34748" y="118278"/>
                  </a:cubicBezTo>
                  <a:cubicBezTo>
                    <a:pt x="29718" y="126508"/>
                    <a:pt x="26137" y="134661"/>
                    <a:pt x="24003" y="142738"/>
                  </a:cubicBezTo>
                  <a:cubicBezTo>
                    <a:pt x="24918" y="142434"/>
                    <a:pt x="25832" y="142510"/>
                    <a:pt x="26747" y="142967"/>
                  </a:cubicBezTo>
                  <a:cubicBezTo>
                    <a:pt x="28575" y="143881"/>
                    <a:pt x="28956" y="145329"/>
                    <a:pt x="27890" y="147310"/>
                  </a:cubicBezTo>
                  <a:cubicBezTo>
                    <a:pt x="26670" y="149444"/>
                    <a:pt x="25985" y="150739"/>
                    <a:pt x="25832" y="151197"/>
                  </a:cubicBezTo>
                  <a:cubicBezTo>
                    <a:pt x="25527" y="151349"/>
                    <a:pt x="25070" y="151730"/>
                    <a:pt x="24461" y="152340"/>
                  </a:cubicBezTo>
                  <a:lnTo>
                    <a:pt x="22175" y="154854"/>
                  </a:lnTo>
                  <a:cubicBezTo>
                    <a:pt x="22022" y="155159"/>
                    <a:pt x="21794" y="155388"/>
                    <a:pt x="21489" y="155540"/>
                  </a:cubicBezTo>
                  <a:cubicBezTo>
                    <a:pt x="27432" y="160417"/>
                    <a:pt x="37034" y="163922"/>
                    <a:pt x="50292" y="166056"/>
                  </a:cubicBezTo>
                  <a:cubicBezTo>
                    <a:pt x="64313" y="168189"/>
                    <a:pt x="76353" y="168113"/>
                    <a:pt x="86411" y="165827"/>
                  </a:cubicBezTo>
                  <a:cubicBezTo>
                    <a:pt x="90221" y="165065"/>
                    <a:pt x="95174" y="163427"/>
                    <a:pt x="101270" y="160912"/>
                  </a:cubicBezTo>
                  <a:cubicBezTo>
                    <a:pt x="107366" y="158397"/>
                    <a:pt x="111481" y="156759"/>
                    <a:pt x="113615" y="155997"/>
                  </a:cubicBezTo>
                  <a:cubicBezTo>
                    <a:pt x="108433" y="121250"/>
                    <a:pt x="95860" y="100143"/>
                    <a:pt x="75896" y="92675"/>
                  </a:cubicBezTo>
                  <a:cubicBezTo>
                    <a:pt x="75286" y="92523"/>
                    <a:pt x="74753" y="92142"/>
                    <a:pt x="74295" y="91532"/>
                  </a:cubicBezTo>
                  <a:cubicBezTo>
                    <a:pt x="73533" y="91227"/>
                    <a:pt x="73000" y="90618"/>
                    <a:pt x="72695" y="89703"/>
                  </a:cubicBezTo>
                  <a:cubicBezTo>
                    <a:pt x="71933" y="87722"/>
                    <a:pt x="72543" y="86350"/>
                    <a:pt x="74524" y="85588"/>
                  </a:cubicBezTo>
                  <a:cubicBezTo>
                    <a:pt x="83058" y="82236"/>
                    <a:pt x="91631" y="76140"/>
                    <a:pt x="100242" y="67300"/>
                  </a:cubicBezTo>
                  <a:cubicBezTo>
                    <a:pt x="108852" y="58461"/>
                    <a:pt x="113234" y="50613"/>
                    <a:pt x="113386" y="43755"/>
                  </a:cubicBezTo>
                  <a:close/>
                  <a:moveTo>
                    <a:pt x="123216" y="41240"/>
                  </a:moveTo>
                  <a:cubicBezTo>
                    <a:pt x="122759" y="42154"/>
                    <a:pt x="121997" y="42612"/>
                    <a:pt x="120930" y="42612"/>
                  </a:cubicBezTo>
                  <a:lnTo>
                    <a:pt x="119787" y="42612"/>
                  </a:lnTo>
                  <a:cubicBezTo>
                    <a:pt x="120244" y="51451"/>
                    <a:pt x="115215" y="61204"/>
                    <a:pt x="104699" y="71872"/>
                  </a:cubicBezTo>
                  <a:cubicBezTo>
                    <a:pt x="97994" y="78730"/>
                    <a:pt x="90678" y="84369"/>
                    <a:pt x="82754" y="88789"/>
                  </a:cubicBezTo>
                  <a:cubicBezTo>
                    <a:pt x="99822" y="97171"/>
                    <a:pt x="111481" y="115230"/>
                    <a:pt x="117729" y="142967"/>
                  </a:cubicBezTo>
                  <a:cubicBezTo>
                    <a:pt x="118187" y="137176"/>
                    <a:pt x="118491" y="129556"/>
                    <a:pt x="118644" y="120107"/>
                  </a:cubicBezTo>
                  <a:cubicBezTo>
                    <a:pt x="118949" y="101819"/>
                    <a:pt x="119253" y="90618"/>
                    <a:pt x="119558" y="86503"/>
                  </a:cubicBezTo>
                  <a:cubicBezTo>
                    <a:pt x="119863" y="83455"/>
                    <a:pt x="120358" y="78959"/>
                    <a:pt x="121044" y="73015"/>
                  </a:cubicBezTo>
                  <a:cubicBezTo>
                    <a:pt x="121730" y="67072"/>
                    <a:pt x="122149" y="63719"/>
                    <a:pt x="122301" y="62957"/>
                  </a:cubicBezTo>
                  <a:lnTo>
                    <a:pt x="122301" y="46726"/>
                  </a:lnTo>
                  <a:cubicBezTo>
                    <a:pt x="122301" y="45660"/>
                    <a:pt x="122682" y="44821"/>
                    <a:pt x="123444" y="44212"/>
                  </a:cubicBezTo>
                  <a:lnTo>
                    <a:pt x="123444" y="41469"/>
                  </a:lnTo>
                  <a:cubicBezTo>
                    <a:pt x="123444" y="41316"/>
                    <a:pt x="123368" y="41240"/>
                    <a:pt x="123216" y="41240"/>
                  </a:cubicBezTo>
                  <a:close/>
                  <a:moveTo>
                    <a:pt x="122301" y="19066"/>
                  </a:moveTo>
                  <a:cubicBezTo>
                    <a:pt x="120625" y="19828"/>
                    <a:pt x="118644" y="20590"/>
                    <a:pt x="116358" y="21352"/>
                  </a:cubicBezTo>
                  <a:cubicBezTo>
                    <a:pt x="108585" y="23943"/>
                    <a:pt x="101956" y="25619"/>
                    <a:pt x="96470" y="26381"/>
                  </a:cubicBezTo>
                  <a:cubicBezTo>
                    <a:pt x="87021" y="27600"/>
                    <a:pt x="71095" y="27753"/>
                    <a:pt x="48692" y="26838"/>
                  </a:cubicBezTo>
                  <a:cubicBezTo>
                    <a:pt x="37110" y="26381"/>
                    <a:pt x="27661" y="25619"/>
                    <a:pt x="20346" y="24552"/>
                  </a:cubicBezTo>
                  <a:cubicBezTo>
                    <a:pt x="16079" y="23943"/>
                    <a:pt x="12573" y="23257"/>
                    <a:pt x="9830" y="22495"/>
                  </a:cubicBezTo>
                  <a:cubicBezTo>
                    <a:pt x="8763" y="22038"/>
                    <a:pt x="7773" y="21657"/>
                    <a:pt x="6858" y="21352"/>
                  </a:cubicBezTo>
                  <a:cubicBezTo>
                    <a:pt x="6706" y="23333"/>
                    <a:pt x="6554" y="25009"/>
                    <a:pt x="6401" y="26381"/>
                  </a:cubicBezTo>
                  <a:cubicBezTo>
                    <a:pt x="6401" y="28819"/>
                    <a:pt x="6477" y="30801"/>
                    <a:pt x="6630" y="32325"/>
                  </a:cubicBezTo>
                  <a:cubicBezTo>
                    <a:pt x="6935" y="33849"/>
                    <a:pt x="7316" y="34839"/>
                    <a:pt x="7773" y="35296"/>
                  </a:cubicBezTo>
                  <a:cubicBezTo>
                    <a:pt x="10516" y="38040"/>
                    <a:pt x="15469" y="40326"/>
                    <a:pt x="22632" y="42154"/>
                  </a:cubicBezTo>
                  <a:cubicBezTo>
                    <a:pt x="28880" y="43678"/>
                    <a:pt x="36729" y="44745"/>
                    <a:pt x="46178" y="45355"/>
                  </a:cubicBezTo>
                  <a:cubicBezTo>
                    <a:pt x="63551" y="46574"/>
                    <a:pt x="77801" y="46117"/>
                    <a:pt x="88926" y="43983"/>
                  </a:cubicBezTo>
                  <a:cubicBezTo>
                    <a:pt x="91517" y="43526"/>
                    <a:pt x="96622" y="42154"/>
                    <a:pt x="104242" y="39868"/>
                  </a:cubicBezTo>
                  <a:cubicBezTo>
                    <a:pt x="110948" y="37735"/>
                    <a:pt x="116358" y="36516"/>
                    <a:pt x="120473" y="36211"/>
                  </a:cubicBezTo>
                  <a:cubicBezTo>
                    <a:pt x="121082" y="36211"/>
                    <a:pt x="121692" y="36363"/>
                    <a:pt x="122301" y="36668"/>
                  </a:cubicBezTo>
                  <a:close/>
                  <a:moveTo>
                    <a:pt x="88011" y="6721"/>
                  </a:moveTo>
                  <a:cubicBezTo>
                    <a:pt x="68809" y="5807"/>
                    <a:pt x="50673" y="6798"/>
                    <a:pt x="33605" y="9693"/>
                  </a:cubicBezTo>
                  <a:cubicBezTo>
                    <a:pt x="22327" y="11674"/>
                    <a:pt x="15012" y="13275"/>
                    <a:pt x="11659" y="14494"/>
                  </a:cubicBezTo>
                  <a:cubicBezTo>
                    <a:pt x="11049" y="14799"/>
                    <a:pt x="10364" y="15103"/>
                    <a:pt x="9602" y="15408"/>
                  </a:cubicBezTo>
                  <a:lnTo>
                    <a:pt x="11888" y="16323"/>
                  </a:lnTo>
                  <a:cubicBezTo>
                    <a:pt x="14174" y="17085"/>
                    <a:pt x="17298" y="17770"/>
                    <a:pt x="21260" y="18380"/>
                  </a:cubicBezTo>
                  <a:cubicBezTo>
                    <a:pt x="28423" y="19447"/>
                    <a:pt x="37643" y="20133"/>
                    <a:pt x="48921" y="20437"/>
                  </a:cubicBezTo>
                  <a:cubicBezTo>
                    <a:pt x="70866" y="21352"/>
                    <a:pt x="86411" y="21199"/>
                    <a:pt x="95555" y="19980"/>
                  </a:cubicBezTo>
                  <a:cubicBezTo>
                    <a:pt x="100737" y="19371"/>
                    <a:pt x="106985" y="17847"/>
                    <a:pt x="114300" y="15408"/>
                  </a:cubicBezTo>
                  <a:cubicBezTo>
                    <a:pt x="116434" y="14646"/>
                    <a:pt x="118110" y="13960"/>
                    <a:pt x="119330" y="13351"/>
                  </a:cubicBezTo>
                  <a:cubicBezTo>
                    <a:pt x="119482" y="13198"/>
                    <a:pt x="119711" y="13046"/>
                    <a:pt x="120015" y="12894"/>
                  </a:cubicBezTo>
                  <a:cubicBezTo>
                    <a:pt x="119406" y="12741"/>
                    <a:pt x="118720" y="12513"/>
                    <a:pt x="117958" y="12208"/>
                  </a:cubicBezTo>
                  <a:cubicBezTo>
                    <a:pt x="116129" y="11751"/>
                    <a:pt x="113958" y="11370"/>
                    <a:pt x="111443" y="11065"/>
                  </a:cubicBezTo>
                  <a:cubicBezTo>
                    <a:pt x="108928" y="10760"/>
                    <a:pt x="106833" y="10531"/>
                    <a:pt x="105156" y="10379"/>
                  </a:cubicBezTo>
                  <a:lnTo>
                    <a:pt x="97841" y="10150"/>
                  </a:lnTo>
                  <a:cubicBezTo>
                    <a:pt x="94488" y="9998"/>
                    <a:pt x="92202" y="9922"/>
                    <a:pt x="90983" y="9922"/>
                  </a:cubicBezTo>
                  <a:cubicBezTo>
                    <a:pt x="90221" y="9922"/>
                    <a:pt x="89535" y="9579"/>
                    <a:pt x="88926" y="8893"/>
                  </a:cubicBezTo>
                  <a:cubicBezTo>
                    <a:pt x="88316" y="8207"/>
                    <a:pt x="88011" y="7483"/>
                    <a:pt x="88011" y="6721"/>
                  </a:cubicBezTo>
                  <a:close/>
                  <a:moveTo>
                    <a:pt x="67037" y="92"/>
                  </a:moveTo>
                  <a:cubicBezTo>
                    <a:pt x="79039" y="-213"/>
                    <a:pt x="91593" y="244"/>
                    <a:pt x="104699" y="1464"/>
                  </a:cubicBezTo>
                  <a:cubicBezTo>
                    <a:pt x="106376" y="1616"/>
                    <a:pt x="107366" y="2530"/>
                    <a:pt x="107671" y="4207"/>
                  </a:cubicBezTo>
                  <a:cubicBezTo>
                    <a:pt x="112395" y="4512"/>
                    <a:pt x="116434" y="5197"/>
                    <a:pt x="119787" y="6264"/>
                  </a:cubicBezTo>
                  <a:cubicBezTo>
                    <a:pt x="122682" y="7026"/>
                    <a:pt x="124740" y="8017"/>
                    <a:pt x="125959" y="9236"/>
                  </a:cubicBezTo>
                  <a:cubicBezTo>
                    <a:pt x="126569" y="9846"/>
                    <a:pt x="127026" y="10608"/>
                    <a:pt x="127331" y="11522"/>
                  </a:cubicBezTo>
                  <a:cubicBezTo>
                    <a:pt x="128245" y="12132"/>
                    <a:pt x="128702" y="12970"/>
                    <a:pt x="128702" y="14037"/>
                  </a:cubicBezTo>
                  <a:lnTo>
                    <a:pt x="128702" y="30953"/>
                  </a:lnTo>
                  <a:cubicBezTo>
                    <a:pt x="128855" y="31258"/>
                    <a:pt x="129007" y="31639"/>
                    <a:pt x="129159" y="32096"/>
                  </a:cubicBezTo>
                  <a:cubicBezTo>
                    <a:pt x="130226" y="40021"/>
                    <a:pt x="130074" y="50460"/>
                    <a:pt x="128702" y="63414"/>
                  </a:cubicBezTo>
                  <a:cubicBezTo>
                    <a:pt x="128550" y="70425"/>
                    <a:pt x="128283" y="83683"/>
                    <a:pt x="127902" y="103191"/>
                  </a:cubicBezTo>
                  <a:cubicBezTo>
                    <a:pt x="127521" y="122698"/>
                    <a:pt x="127331" y="137785"/>
                    <a:pt x="127331" y="148453"/>
                  </a:cubicBezTo>
                  <a:cubicBezTo>
                    <a:pt x="129007" y="148911"/>
                    <a:pt x="130302" y="149596"/>
                    <a:pt x="131217" y="150511"/>
                  </a:cubicBezTo>
                  <a:cubicBezTo>
                    <a:pt x="133503" y="152644"/>
                    <a:pt x="134036" y="155311"/>
                    <a:pt x="132817" y="158512"/>
                  </a:cubicBezTo>
                  <a:cubicBezTo>
                    <a:pt x="132817" y="158664"/>
                    <a:pt x="133350" y="161941"/>
                    <a:pt x="134417" y="168342"/>
                  </a:cubicBezTo>
                  <a:cubicBezTo>
                    <a:pt x="135179" y="173371"/>
                    <a:pt x="135103" y="177333"/>
                    <a:pt x="134189" y="180229"/>
                  </a:cubicBezTo>
                  <a:cubicBezTo>
                    <a:pt x="132665" y="185563"/>
                    <a:pt x="127407" y="190363"/>
                    <a:pt x="118415" y="194631"/>
                  </a:cubicBezTo>
                  <a:cubicBezTo>
                    <a:pt x="115824" y="195850"/>
                    <a:pt x="112357" y="197259"/>
                    <a:pt x="108014" y="198860"/>
                  </a:cubicBezTo>
                  <a:cubicBezTo>
                    <a:pt x="103671" y="200460"/>
                    <a:pt x="101042" y="201489"/>
                    <a:pt x="100127" y="201946"/>
                  </a:cubicBezTo>
                  <a:cubicBezTo>
                    <a:pt x="98756" y="202555"/>
                    <a:pt x="97536" y="202327"/>
                    <a:pt x="96470" y="201260"/>
                  </a:cubicBezTo>
                  <a:cubicBezTo>
                    <a:pt x="84735" y="203851"/>
                    <a:pt x="72162" y="204841"/>
                    <a:pt x="58751" y="204232"/>
                  </a:cubicBezTo>
                  <a:cubicBezTo>
                    <a:pt x="46406" y="203622"/>
                    <a:pt x="35395" y="201603"/>
                    <a:pt x="25718" y="198174"/>
                  </a:cubicBezTo>
                  <a:cubicBezTo>
                    <a:pt x="16041" y="194745"/>
                    <a:pt x="9221" y="189678"/>
                    <a:pt x="5258" y="182972"/>
                  </a:cubicBezTo>
                  <a:cubicBezTo>
                    <a:pt x="2210" y="177943"/>
                    <a:pt x="1143" y="170323"/>
                    <a:pt x="2058" y="160112"/>
                  </a:cubicBezTo>
                  <a:cubicBezTo>
                    <a:pt x="2058" y="159350"/>
                    <a:pt x="2363" y="158664"/>
                    <a:pt x="2972" y="158055"/>
                  </a:cubicBezTo>
                  <a:cubicBezTo>
                    <a:pt x="2972" y="155616"/>
                    <a:pt x="3963" y="153559"/>
                    <a:pt x="5944" y="151882"/>
                  </a:cubicBezTo>
                  <a:cubicBezTo>
                    <a:pt x="6858" y="151273"/>
                    <a:pt x="7849" y="150739"/>
                    <a:pt x="8916" y="150282"/>
                  </a:cubicBezTo>
                  <a:cubicBezTo>
                    <a:pt x="9068" y="149215"/>
                    <a:pt x="9144" y="148149"/>
                    <a:pt x="9144" y="147082"/>
                  </a:cubicBezTo>
                  <a:cubicBezTo>
                    <a:pt x="8992" y="140833"/>
                    <a:pt x="9068" y="133671"/>
                    <a:pt x="9373" y="125593"/>
                  </a:cubicBezTo>
                  <a:cubicBezTo>
                    <a:pt x="9221" y="119193"/>
                    <a:pt x="9144" y="114697"/>
                    <a:pt x="9144" y="112106"/>
                  </a:cubicBezTo>
                  <a:cubicBezTo>
                    <a:pt x="9144" y="109058"/>
                    <a:pt x="9183" y="103876"/>
                    <a:pt x="9259" y="96561"/>
                  </a:cubicBezTo>
                  <a:cubicBezTo>
                    <a:pt x="9335" y="89246"/>
                    <a:pt x="9373" y="83607"/>
                    <a:pt x="9373" y="79645"/>
                  </a:cubicBezTo>
                  <a:cubicBezTo>
                    <a:pt x="9373" y="75682"/>
                    <a:pt x="9259" y="70691"/>
                    <a:pt x="9030" y="64671"/>
                  </a:cubicBezTo>
                  <a:cubicBezTo>
                    <a:pt x="8802" y="58652"/>
                    <a:pt x="8459" y="53127"/>
                    <a:pt x="8001" y="48098"/>
                  </a:cubicBezTo>
                  <a:lnTo>
                    <a:pt x="8001" y="47869"/>
                  </a:lnTo>
                  <a:lnTo>
                    <a:pt x="8001" y="44669"/>
                  </a:lnTo>
                  <a:cubicBezTo>
                    <a:pt x="8001" y="44212"/>
                    <a:pt x="8078" y="43831"/>
                    <a:pt x="8230" y="43526"/>
                  </a:cubicBezTo>
                  <a:cubicBezTo>
                    <a:pt x="6249" y="42459"/>
                    <a:pt x="4572" y="41240"/>
                    <a:pt x="3201" y="39868"/>
                  </a:cubicBezTo>
                  <a:cubicBezTo>
                    <a:pt x="1829" y="38344"/>
                    <a:pt x="915" y="36211"/>
                    <a:pt x="458" y="33468"/>
                  </a:cubicBezTo>
                  <a:cubicBezTo>
                    <a:pt x="153" y="31486"/>
                    <a:pt x="0" y="29048"/>
                    <a:pt x="0" y="26152"/>
                  </a:cubicBezTo>
                  <a:cubicBezTo>
                    <a:pt x="153" y="24476"/>
                    <a:pt x="305" y="22114"/>
                    <a:pt x="458" y="19066"/>
                  </a:cubicBezTo>
                  <a:cubicBezTo>
                    <a:pt x="762" y="16475"/>
                    <a:pt x="915" y="14799"/>
                    <a:pt x="915" y="14037"/>
                  </a:cubicBezTo>
                  <a:cubicBezTo>
                    <a:pt x="915" y="11903"/>
                    <a:pt x="1982" y="10836"/>
                    <a:pt x="4115" y="10836"/>
                  </a:cubicBezTo>
                  <a:lnTo>
                    <a:pt x="4801" y="10836"/>
                  </a:lnTo>
                  <a:cubicBezTo>
                    <a:pt x="4953" y="10836"/>
                    <a:pt x="5106" y="10760"/>
                    <a:pt x="5258" y="10608"/>
                  </a:cubicBezTo>
                  <a:cubicBezTo>
                    <a:pt x="6477" y="9846"/>
                    <a:pt x="7849" y="9160"/>
                    <a:pt x="9373" y="8550"/>
                  </a:cubicBezTo>
                  <a:cubicBezTo>
                    <a:pt x="13031" y="7026"/>
                    <a:pt x="20803" y="5274"/>
                    <a:pt x="32690" y="3292"/>
                  </a:cubicBezTo>
                  <a:cubicBezTo>
                    <a:pt x="43587" y="1464"/>
                    <a:pt x="55036" y="397"/>
                    <a:pt x="67037" y="9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endParaRPr lang="en-US" dirty="0">
                <a:solidFill>
                  <a:schemeClr val="bg1"/>
                </a:solidFill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21" name="Rectangle 11"/>
            <p:cNvSpPr/>
            <p:nvPr/>
          </p:nvSpPr>
          <p:spPr>
            <a:xfrm>
              <a:off x="638337" y="4363603"/>
              <a:ext cx="1921390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rPr>
                <a:t>BUSINESS PLAN</a:t>
              </a:r>
              <a:endParaRPr lang="en-US" sz="9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  <a:p>
              <a:pPr algn="ctr"/>
              <a:r>
                <a:rPr lang="en-US" sz="900" dirty="0">
                  <a:solidFill>
                    <a:schemeClr val="bg1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rPr>
                <a:t>Conveniently iterate top-line alignments for wireless metrics. </a:t>
              </a:r>
            </a:p>
          </p:txBody>
        </p:sp>
        <p:sp>
          <p:nvSpPr>
            <p:cNvPr id="22" name="Freeform 12"/>
            <p:cNvSpPr/>
            <p:nvPr/>
          </p:nvSpPr>
          <p:spPr>
            <a:xfrm>
              <a:off x="3460036" y="3465513"/>
              <a:ext cx="653834" cy="738337"/>
            </a:xfrm>
            <a:custGeom>
              <a:avLst/>
              <a:gdLst/>
              <a:ahLst/>
              <a:cxnLst/>
              <a:rect l="l" t="t" r="r" b="b"/>
              <a:pathLst>
                <a:path w="158323" h="178785">
                  <a:moveTo>
                    <a:pt x="90982" y="163240"/>
                  </a:moveTo>
                  <a:cubicBezTo>
                    <a:pt x="89154" y="164307"/>
                    <a:pt x="85801" y="166821"/>
                    <a:pt x="80924" y="170784"/>
                  </a:cubicBezTo>
                  <a:cubicBezTo>
                    <a:pt x="85496" y="170631"/>
                    <a:pt x="89382" y="170479"/>
                    <a:pt x="92583" y="170326"/>
                  </a:cubicBezTo>
                  <a:cubicBezTo>
                    <a:pt x="92278" y="169869"/>
                    <a:pt x="92049" y="169336"/>
                    <a:pt x="91897" y="168726"/>
                  </a:cubicBezTo>
                  <a:cubicBezTo>
                    <a:pt x="91744" y="167050"/>
                    <a:pt x="91440" y="165221"/>
                    <a:pt x="90982" y="163240"/>
                  </a:cubicBezTo>
                  <a:close/>
                  <a:moveTo>
                    <a:pt x="87782" y="145409"/>
                  </a:moveTo>
                  <a:cubicBezTo>
                    <a:pt x="80314" y="150591"/>
                    <a:pt x="70485" y="157982"/>
                    <a:pt x="58293" y="167583"/>
                  </a:cubicBezTo>
                  <a:cubicBezTo>
                    <a:pt x="57683" y="168040"/>
                    <a:pt x="56997" y="168269"/>
                    <a:pt x="56235" y="168269"/>
                  </a:cubicBezTo>
                  <a:cubicBezTo>
                    <a:pt x="56235" y="169183"/>
                    <a:pt x="56311" y="169945"/>
                    <a:pt x="56464" y="170555"/>
                  </a:cubicBezTo>
                  <a:cubicBezTo>
                    <a:pt x="57378" y="170707"/>
                    <a:pt x="58597" y="170784"/>
                    <a:pt x="60121" y="170784"/>
                  </a:cubicBezTo>
                  <a:cubicBezTo>
                    <a:pt x="63474" y="170936"/>
                    <a:pt x="67741" y="170936"/>
                    <a:pt x="72923" y="170784"/>
                  </a:cubicBezTo>
                  <a:cubicBezTo>
                    <a:pt x="72771" y="169717"/>
                    <a:pt x="73152" y="168802"/>
                    <a:pt x="74066" y="168040"/>
                  </a:cubicBezTo>
                  <a:cubicBezTo>
                    <a:pt x="74676" y="167583"/>
                    <a:pt x="76123" y="166402"/>
                    <a:pt x="78409" y="164497"/>
                  </a:cubicBezTo>
                  <a:cubicBezTo>
                    <a:pt x="80695" y="162592"/>
                    <a:pt x="82715" y="161030"/>
                    <a:pt x="84467" y="159811"/>
                  </a:cubicBezTo>
                  <a:cubicBezTo>
                    <a:pt x="86220" y="158592"/>
                    <a:pt x="87934" y="157525"/>
                    <a:pt x="89611" y="156610"/>
                  </a:cubicBezTo>
                  <a:lnTo>
                    <a:pt x="89611" y="155925"/>
                  </a:lnTo>
                  <a:cubicBezTo>
                    <a:pt x="88696" y="151657"/>
                    <a:pt x="88087" y="148152"/>
                    <a:pt x="87782" y="145409"/>
                  </a:cubicBezTo>
                  <a:close/>
                  <a:moveTo>
                    <a:pt x="87782" y="120949"/>
                  </a:moveTo>
                  <a:cubicBezTo>
                    <a:pt x="76809" y="130245"/>
                    <a:pt x="67056" y="137332"/>
                    <a:pt x="58521" y="142209"/>
                  </a:cubicBezTo>
                  <a:cubicBezTo>
                    <a:pt x="57607" y="142666"/>
                    <a:pt x="56692" y="142742"/>
                    <a:pt x="55778" y="142437"/>
                  </a:cubicBezTo>
                  <a:cubicBezTo>
                    <a:pt x="55930" y="143809"/>
                    <a:pt x="56007" y="148381"/>
                    <a:pt x="56007" y="156153"/>
                  </a:cubicBezTo>
                  <a:lnTo>
                    <a:pt x="56235" y="160954"/>
                  </a:lnTo>
                  <a:cubicBezTo>
                    <a:pt x="68732" y="151200"/>
                    <a:pt x="79171" y="143504"/>
                    <a:pt x="87553" y="137865"/>
                  </a:cubicBezTo>
                  <a:cubicBezTo>
                    <a:pt x="87553" y="134055"/>
                    <a:pt x="87630" y="128416"/>
                    <a:pt x="87782" y="120949"/>
                  </a:cubicBezTo>
                  <a:close/>
                  <a:moveTo>
                    <a:pt x="88925" y="95346"/>
                  </a:moveTo>
                  <a:cubicBezTo>
                    <a:pt x="85420" y="98546"/>
                    <a:pt x="80048" y="102775"/>
                    <a:pt x="72809" y="108033"/>
                  </a:cubicBezTo>
                  <a:cubicBezTo>
                    <a:pt x="65570" y="113291"/>
                    <a:pt x="60807" y="116834"/>
                    <a:pt x="58521" y="118663"/>
                  </a:cubicBezTo>
                  <a:cubicBezTo>
                    <a:pt x="57454" y="119425"/>
                    <a:pt x="56311" y="119577"/>
                    <a:pt x="55092" y="119120"/>
                  </a:cubicBezTo>
                  <a:cubicBezTo>
                    <a:pt x="55245" y="125216"/>
                    <a:pt x="55473" y="131007"/>
                    <a:pt x="55778" y="136494"/>
                  </a:cubicBezTo>
                  <a:cubicBezTo>
                    <a:pt x="64770" y="131160"/>
                    <a:pt x="75590" y="123082"/>
                    <a:pt x="88239" y="112262"/>
                  </a:cubicBezTo>
                  <a:close/>
                  <a:moveTo>
                    <a:pt x="28346" y="83230"/>
                  </a:moveTo>
                  <a:cubicBezTo>
                    <a:pt x="26517" y="83077"/>
                    <a:pt x="23850" y="83154"/>
                    <a:pt x="20345" y="83458"/>
                  </a:cubicBezTo>
                  <a:cubicBezTo>
                    <a:pt x="19431" y="83611"/>
                    <a:pt x="16611" y="83916"/>
                    <a:pt x="11887" y="84373"/>
                  </a:cubicBezTo>
                  <a:cubicBezTo>
                    <a:pt x="9448" y="84678"/>
                    <a:pt x="7620" y="84830"/>
                    <a:pt x="6400" y="84830"/>
                  </a:cubicBezTo>
                  <a:cubicBezTo>
                    <a:pt x="6400" y="94126"/>
                    <a:pt x="6667" y="108376"/>
                    <a:pt x="7201" y="127578"/>
                  </a:cubicBezTo>
                  <a:cubicBezTo>
                    <a:pt x="7734" y="146781"/>
                    <a:pt x="8001" y="161259"/>
                    <a:pt x="8001" y="171012"/>
                  </a:cubicBezTo>
                  <a:cubicBezTo>
                    <a:pt x="14859" y="169793"/>
                    <a:pt x="23850" y="169107"/>
                    <a:pt x="34975" y="168955"/>
                  </a:cubicBezTo>
                  <a:cubicBezTo>
                    <a:pt x="34823" y="168498"/>
                    <a:pt x="34747" y="168040"/>
                    <a:pt x="34747" y="167583"/>
                  </a:cubicBezTo>
                  <a:cubicBezTo>
                    <a:pt x="34747" y="163316"/>
                    <a:pt x="34442" y="156687"/>
                    <a:pt x="33832" y="147695"/>
                  </a:cubicBezTo>
                  <a:cubicBezTo>
                    <a:pt x="33223" y="138703"/>
                    <a:pt x="32918" y="131922"/>
                    <a:pt x="32918" y="127350"/>
                  </a:cubicBezTo>
                  <a:cubicBezTo>
                    <a:pt x="32918" y="125064"/>
                    <a:pt x="33070" y="121177"/>
                    <a:pt x="33375" y="115691"/>
                  </a:cubicBezTo>
                  <a:cubicBezTo>
                    <a:pt x="33680" y="110205"/>
                    <a:pt x="33909" y="106776"/>
                    <a:pt x="34061" y="105404"/>
                  </a:cubicBezTo>
                  <a:cubicBezTo>
                    <a:pt x="34366" y="95955"/>
                    <a:pt x="33985" y="89173"/>
                    <a:pt x="32918" y="85059"/>
                  </a:cubicBezTo>
                  <a:cubicBezTo>
                    <a:pt x="32766" y="84297"/>
                    <a:pt x="32385" y="83763"/>
                    <a:pt x="31775" y="83458"/>
                  </a:cubicBezTo>
                  <a:cubicBezTo>
                    <a:pt x="31623" y="83306"/>
                    <a:pt x="30480" y="83230"/>
                    <a:pt x="28346" y="83230"/>
                  </a:cubicBezTo>
                  <a:close/>
                  <a:moveTo>
                    <a:pt x="28575" y="76829"/>
                  </a:moveTo>
                  <a:cubicBezTo>
                    <a:pt x="31775" y="76829"/>
                    <a:pt x="34061" y="77210"/>
                    <a:pt x="35433" y="77972"/>
                  </a:cubicBezTo>
                  <a:cubicBezTo>
                    <a:pt x="37261" y="79191"/>
                    <a:pt x="38557" y="81096"/>
                    <a:pt x="39319" y="83687"/>
                  </a:cubicBezTo>
                  <a:cubicBezTo>
                    <a:pt x="40386" y="88259"/>
                    <a:pt x="40767" y="95574"/>
                    <a:pt x="40462" y="105633"/>
                  </a:cubicBezTo>
                  <a:cubicBezTo>
                    <a:pt x="40309" y="107004"/>
                    <a:pt x="40081" y="110395"/>
                    <a:pt x="39776" y="115805"/>
                  </a:cubicBezTo>
                  <a:cubicBezTo>
                    <a:pt x="39471" y="121215"/>
                    <a:pt x="39319" y="125064"/>
                    <a:pt x="39319" y="127350"/>
                  </a:cubicBezTo>
                  <a:cubicBezTo>
                    <a:pt x="39319" y="131617"/>
                    <a:pt x="39624" y="138246"/>
                    <a:pt x="40233" y="147238"/>
                  </a:cubicBezTo>
                  <a:cubicBezTo>
                    <a:pt x="40843" y="156229"/>
                    <a:pt x="41148" y="163011"/>
                    <a:pt x="41148" y="167583"/>
                  </a:cubicBezTo>
                  <a:cubicBezTo>
                    <a:pt x="41148" y="168193"/>
                    <a:pt x="40995" y="168802"/>
                    <a:pt x="40690" y="169412"/>
                  </a:cubicBezTo>
                  <a:cubicBezTo>
                    <a:pt x="41757" y="170022"/>
                    <a:pt x="42291" y="170936"/>
                    <a:pt x="42291" y="172155"/>
                  </a:cubicBezTo>
                  <a:cubicBezTo>
                    <a:pt x="42291" y="174289"/>
                    <a:pt x="41224" y="175356"/>
                    <a:pt x="39090" y="175356"/>
                  </a:cubicBezTo>
                  <a:cubicBezTo>
                    <a:pt x="25069" y="175356"/>
                    <a:pt x="14401" y="176194"/>
                    <a:pt x="7086" y="177870"/>
                  </a:cubicBezTo>
                  <a:cubicBezTo>
                    <a:pt x="6172" y="178023"/>
                    <a:pt x="5372" y="177870"/>
                    <a:pt x="4686" y="177413"/>
                  </a:cubicBezTo>
                  <a:cubicBezTo>
                    <a:pt x="4000" y="176956"/>
                    <a:pt x="3505" y="176270"/>
                    <a:pt x="3200" y="175356"/>
                  </a:cubicBezTo>
                  <a:lnTo>
                    <a:pt x="3200" y="174898"/>
                  </a:lnTo>
                  <a:cubicBezTo>
                    <a:pt x="2133" y="174289"/>
                    <a:pt x="1600" y="173374"/>
                    <a:pt x="1600" y="172155"/>
                  </a:cubicBezTo>
                  <a:cubicBezTo>
                    <a:pt x="1600" y="162097"/>
                    <a:pt x="1333" y="147009"/>
                    <a:pt x="800" y="126892"/>
                  </a:cubicBezTo>
                  <a:cubicBezTo>
                    <a:pt x="266" y="106776"/>
                    <a:pt x="0" y="91688"/>
                    <a:pt x="0" y="81630"/>
                  </a:cubicBezTo>
                  <a:cubicBezTo>
                    <a:pt x="0" y="79496"/>
                    <a:pt x="1066" y="78429"/>
                    <a:pt x="3200" y="78429"/>
                  </a:cubicBezTo>
                  <a:cubicBezTo>
                    <a:pt x="3657" y="78429"/>
                    <a:pt x="4038" y="78505"/>
                    <a:pt x="4343" y="78658"/>
                  </a:cubicBezTo>
                  <a:cubicBezTo>
                    <a:pt x="4648" y="78505"/>
                    <a:pt x="5029" y="78429"/>
                    <a:pt x="5486" y="78429"/>
                  </a:cubicBezTo>
                  <a:cubicBezTo>
                    <a:pt x="6400" y="78429"/>
                    <a:pt x="8305" y="78277"/>
                    <a:pt x="11201" y="77972"/>
                  </a:cubicBezTo>
                  <a:cubicBezTo>
                    <a:pt x="16078" y="77515"/>
                    <a:pt x="18973" y="77210"/>
                    <a:pt x="19888" y="77058"/>
                  </a:cubicBezTo>
                  <a:cubicBezTo>
                    <a:pt x="23393" y="76753"/>
                    <a:pt x="26289" y="76677"/>
                    <a:pt x="28575" y="76829"/>
                  </a:cubicBezTo>
                  <a:close/>
                  <a:moveTo>
                    <a:pt x="90068" y="70428"/>
                  </a:moveTo>
                  <a:cubicBezTo>
                    <a:pt x="85801" y="73476"/>
                    <a:pt x="79933" y="78353"/>
                    <a:pt x="72466" y="85059"/>
                  </a:cubicBezTo>
                  <a:cubicBezTo>
                    <a:pt x="64998" y="91764"/>
                    <a:pt x="59969" y="96184"/>
                    <a:pt x="57378" y="98317"/>
                  </a:cubicBezTo>
                  <a:cubicBezTo>
                    <a:pt x="56616" y="98927"/>
                    <a:pt x="55854" y="99156"/>
                    <a:pt x="55092" y="99003"/>
                  </a:cubicBezTo>
                  <a:cubicBezTo>
                    <a:pt x="54940" y="104337"/>
                    <a:pt x="54940" y="109062"/>
                    <a:pt x="55092" y="113176"/>
                  </a:cubicBezTo>
                  <a:cubicBezTo>
                    <a:pt x="56464" y="111957"/>
                    <a:pt x="61569" y="108147"/>
                    <a:pt x="70408" y="101746"/>
                  </a:cubicBezTo>
                  <a:cubicBezTo>
                    <a:pt x="79248" y="95346"/>
                    <a:pt x="85572" y="90088"/>
                    <a:pt x="89382" y="85973"/>
                  </a:cubicBezTo>
                  <a:cubicBezTo>
                    <a:pt x="89687" y="79725"/>
                    <a:pt x="89916" y="74543"/>
                    <a:pt x="90068" y="70428"/>
                  </a:cubicBezTo>
                  <a:close/>
                  <a:moveTo>
                    <a:pt x="90525" y="45282"/>
                  </a:moveTo>
                  <a:cubicBezTo>
                    <a:pt x="85801" y="49397"/>
                    <a:pt x="80276" y="54693"/>
                    <a:pt x="73952" y="61170"/>
                  </a:cubicBezTo>
                  <a:cubicBezTo>
                    <a:pt x="67627" y="67647"/>
                    <a:pt x="63322" y="72562"/>
                    <a:pt x="61036" y="75915"/>
                  </a:cubicBezTo>
                  <a:cubicBezTo>
                    <a:pt x="59817" y="77591"/>
                    <a:pt x="58293" y="77896"/>
                    <a:pt x="56464" y="76829"/>
                  </a:cubicBezTo>
                  <a:cubicBezTo>
                    <a:pt x="55854" y="76219"/>
                    <a:pt x="55397" y="75610"/>
                    <a:pt x="55092" y="75000"/>
                  </a:cubicBezTo>
                  <a:lnTo>
                    <a:pt x="55092" y="88488"/>
                  </a:lnTo>
                  <a:lnTo>
                    <a:pt x="55092" y="91917"/>
                  </a:lnTo>
                  <a:lnTo>
                    <a:pt x="65608" y="82544"/>
                  </a:lnTo>
                  <a:lnTo>
                    <a:pt x="78867" y="71114"/>
                  </a:lnTo>
                  <a:cubicBezTo>
                    <a:pt x="82829" y="67761"/>
                    <a:pt x="86639" y="64866"/>
                    <a:pt x="90297" y="62427"/>
                  </a:cubicBezTo>
                  <a:cubicBezTo>
                    <a:pt x="90449" y="59684"/>
                    <a:pt x="90525" y="57169"/>
                    <a:pt x="90525" y="54883"/>
                  </a:cubicBezTo>
                  <a:cubicBezTo>
                    <a:pt x="90678" y="50921"/>
                    <a:pt x="90678" y="47721"/>
                    <a:pt x="90525" y="45282"/>
                  </a:cubicBezTo>
                  <a:close/>
                  <a:moveTo>
                    <a:pt x="75438" y="39567"/>
                  </a:moveTo>
                  <a:cubicBezTo>
                    <a:pt x="75285" y="40329"/>
                    <a:pt x="74980" y="41015"/>
                    <a:pt x="74523" y="41625"/>
                  </a:cubicBezTo>
                  <a:cubicBezTo>
                    <a:pt x="72847" y="43301"/>
                    <a:pt x="71018" y="45015"/>
                    <a:pt x="69037" y="46768"/>
                  </a:cubicBezTo>
                  <a:cubicBezTo>
                    <a:pt x="67056" y="48521"/>
                    <a:pt x="64693" y="50540"/>
                    <a:pt x="61950" y="52826"/>
                  </a:cubicBezTo>
                  <a:lnTo>
                    <a:pt x="56007" y="57627"/>
                  </a:lnTo>
                  <a:lnTo>
                    <a:pt x="55092" y="58084"/>
                  </a:lnTo>
                  <a:lnTo>
                    <a:pt x="55092" y="73171"/>
                  </a:lnTo>
                  <a:cubicBezTo>
                    <a:pt x="55245" y="72867"/>
                    <a:pt x="55397" y="72562"/>
                    <a:pt x="55549" y="72257"/>
                  </a:cubicBezTo>
                  <a:cubicBezTo>
                    <a:pt x="58140" y="68599"/>
                    <a:pt x="62712" y="63418"/>
                    <a:pt x="69265" y="56712"/>
                  </a:cubicBezTo>
                  <a:cubicBezTo>
                    <a:pt x="75819" y="50007"/>
                    <a:pt x="81610" y="44520"/>
                    <a:pt x="86639" y="40253"/>
                  </a:cubicBezTo>
                  <a:lnTo>
                    <a:pt x="86410" y="40253"/>
                  </a:lnTo>
                  <a:cubicBezTo>
                    <a:pt x="83667" y="39948"/>
                    <a:pt x="80010" y="39720"/>
                    <a:pt x="75438" y="39567"/>
                  </a:cubicBezTo>
                  <a:close/>
                  <a:moveTo>
                    <a:pt x="67437" y="39567"/>
                  </a:moveTo>
                  <a:cubicBezTo>
                    <a:pt x="65608" y="39567"/>
                    <a:pt x="61264" y="39643"/>
                    <a:pt x="54406" y="39796"/>
                  </a:cubicBezTo>
                  <a:lnTo>
                    <a:pt x="54864" y="50311"/>
                  </a:lnTo>
                  <a:cubicBezTo>
                    <a:pt x="61264" y="44977"/>
                    <a:pt x="65455" y="41396"/>
                    <a:pt x="67437" y="39567"/>
                  </a:cubicBezTo>
                  <a:close/>
                  <a:moveTo>
                    <a:pt x="65151" y="33166"/>
                  </a:moveTo>
                  <a:lnTo>
                    <a:pt x="74295" y="33166"/>
                  </a:lnTo>
                  <a:cubicBezTo>
                    <a:pt x="79781" y="33319"/>
                    <a:pt x="84124" y="33547"/>
                    <a:pt x="87325" y="33852"/>
                  </a:cubicBezTo>
                  <a:cubicBezTo>
                    <a:pt x="89306" y="34157"/>
                    <a:pt x="90906" y="34462"/>
                    <a:pt x="92125" y="34767"/>
                  </a:cubicBezTo>
                  <a:cubicBezTo>
                    <a:pt x="94107" y="35376"/>
                    <a:pt x="95478" y="36367"/>
                    <a:pt x="96240" y="37738"/>
                  </a:cubicBezTo>
                  <a:cubicBezTo>
                    <a:pt x="96545" y="38348"/>
                    <a:pt x="96697" y="39262"/>
                    <a:pt x="96697" y="40482"/>
                  </a:cubicBezTo>
                  <a:cubicBezTo>
                    <a:pt x="96850" y="41396"/>
                    <a:pt x="96926" y="42615"/>
                    <a:pt x="96926" y="44139"/>
                  </a:cubicBezTo>
                  <a:cubicBezTo>
                    <a:pt x="97078" y="46882"/>
                    <a:pt x="97078" y="50540"/>
                    <a:pt x="96926" y="55112"/>
                  </a:cubicBezTo>
                  <a:cubicBezTo>
                    <a:pt x="96926" y="57093"/>
                    <a:pt x="96850" y="59227"/>
                    <a:pt x="96697" y="61513"/>
                  </a:cubicBezTo>
                  <a:lnTo>
                    <a:pt x="97155" y="61970"/>
                  </a:lnTo>
                  <a:cubicBezTo>
                    <a:pt x="98069" y="63342"/>
                    <a:pt x="97917" y="64637"/>
                    <a:pt x="96697" y="65856"/>
                  </a:cubicBezTo>
                  <a:cubicBezTo>
                    <a:pt x="96393" y="71190"/>
                    <a:pt x="96088" y="78201"/>
                    <a:pt x="95783" y="86887"/>
                  </a:cubicBezTo>
                  <a:lnTo>
                    <a:pt x="94640" y="110433"/>
                  </a:lnTo>
                  <a:cubicBezTo>
                    <a:pt x="94792" y="110433"/>
                    <a:pt x="94945" y="110509"/>
                    <a:pt x="95097" y="110662"/>
                  </a:cubicBezTo>
                  <a:cubicBezTo>
                    <a:pt x="96469" y="112186"/>
                    <a:pt x="96316" y="113710"/>
                    <a:pt x="94640" y="115234"/>
                  </a:cubicBezTo>
                  <a:lnTo>
                    <a:pt x="94411" y="115234"/>
                  </a:lnTo>
                  <a:cubicBezTo>
                    <a:pt x="94107" y="125140"/>
                    <a:pt x="93954" y="132379"/>
                    <a:pt x="93954" y="136951"/>
                  </a:cubicBezTo>
                  <a:lnTo>
                    <a:pt x="94183" y="137179"/>
                  </a:lnTo>
                  <a:cubicBezTo>
                    <a:pt x="94945" y="138551"/>
                    <a:pt x="94869" y="139846"/>
                    <a:pt x="93954" y="141066"/>
                  </a:cubicBezTo>
                  <a:lnTo>
                    <a:pt x="93954" y="141980"/>
                  </a:lnTo>
                  <a:cubicBezTo>
                    <a:pt x="94107" y="145180"/>
                    <a:pt x="94716" y="149448"/>
                    <a:pt x="95783" y="154782"/>
                  </a:cubicBezTo>
                  <a:cubicBezTo>
                    <a:pt x="97307" y="162402"/>
                    <a:pt x="98145" y="166745"/>
                    <a:pt x="98298" y="167812"/>
                  </a:cubicBezTo>
                  <a:cubicBezTo>
                    <a:pt x="98450" y="168879"/>
                    <a:pt x="98145" y="169793"/>
                    <a:pt x="97383" y="170555"/>
                  </a:cubicBezTo>
                  <a:cubicBezTo>
                    <a:pt x="98298" y="171012"/>
                    <a:pt x="98831" y="171850"/>
                    <a:pt x="98983" y="173070"/>
                  </a:cubicBezTo>
                  <a:cubicBezTo>
                    <a:pt x="98983" y="173984"/>
                    <a:pt x="98717" y="174746"/>
                    <a:pt x="98183" y="175356"/>
                  </a:cubicBezTo>
                  <a:cubicBezTo>
                    <a:pt x="97650" y="175965"/>
                    <a:pt x="96926" y="176346"/>
                    <a:pt x="96012" y="176499"/>
                  </a:cubicBezTo>
                  <a:cubicBezTo>
                    <a:pt x="91897" y="176803"/>
                    <a:pt x="84353" y="177032"/>
                    <a:pt x="73380" y="177184"/>
                  </a:cubicBezTo>
                  <a:cubicBezTo>
                    <a:pt x="67894" y="177337"/>
                    <a:pt x="63398" y="177337"/>
                    <a:pt x="59893" y="177184"/>
                  </a:cubicBezTo>
                  <a:cubicBezTo>
                    <a:pt x="57912" y="177032"/>
                    <a:pt x="56311" y="176880"/>
                    <a:pt x="55092" y="176727"/>
                  </a:cubicBezTo>
                  <a:cubicBezTo>
                    <a:pt x="54330" y="176727"/>
                    <a:pt x="53721" y="176651"/>
                    <a:pt x="53263" y="176499"/>
                  </a:cubicBezTo>
                  <a:cubicBezTo>
                    <a:pt x="52349" y="176194"/>
                    <a:pt x="51587" y="175813"/>
                    <a:pt x="50977" y="175356"/>
                  </a:cubicBezTo>
                  <a:lnTo>
                    <a:pt x="50292" y="173984"/>
                  </a:lnTo>
                  <a:cubicBezTo>
                    <a:pt x="50139" y="173832"/>
                    <a:pt x="50063" y="173679"/>
                    <a:pt x="50063" y="173527"/>
                  </a:cubicBezTo>
                  <a:lnTo>
                    <a:pt x="50063" y="173298"/>
                  </a:lnTo>
                  <a:lnTo>
                    <a:pt x="50063" y="172841"/>
                  </a:lnTo>
                  <a:lnTo>
                    <a:pt x="50063" y="171698"/>
                  </a:lnTo>
                  <a:cubicBezTo>
                    <a:pt x="49911" y="170784"/>
                    <a:pt x="49834" y="169488"/>
                    <a:pt x="49834" y="167812"/>
                  </a:cubicBezTo>
                  <a:cubicBezTo>
                    <a:pt x="49834" y="165373"/>
                    <a:pt x="49758" y="161563"/>
                    <a:pt x="49606" y="156382"/>
                  </a:cubicBezTo>
                  <a:cubicBezTo>
                    <a:pt x="49453" y="144647"/>
                    <a:pt x="49377" y="138475"/>
                    <a:pt x="49377" y="137865"/>
                  </a:cubicBezTo>
                  <a:cubicBezTo>
                    <a:pt x="48920" y="129483"/>
                    <a:pt x="48691" y="112948"/>
                    <a:pt x="48691" y="88259"/>
                  </a:cubicBezTo>
                  <a:cubicBezTo>
                    <a:pt x="48691" y="66161"/>
                    <a:pt x="48463" y="49854"/>
                    <a:pt x="48006" y="39339"/>
                  </a:cubicBezTo>
                  <a:cubicBezTo>
                    <a:pt x="48006" y="37967"/>
                    <a:pt x="48539" y="36976"/>
                    <a:pt x="49606" y="36367"/>
                  </a:cubicBezTo>
                  <a:cubicBezTo>
                    <a:pt x="49758" y="34386"/>
                    <a:pt x="50825" y="33395"/>
                    <a:pt x="52806" y="33395"/>
                  </a:cubicBezTo>
                  <a:cubicBezTo>
                    <a:pt x="53263" y="33395"/>
                    <a:pt x="54826" y="33357"/>
                    <a:pt x="57493" y="33281"/>
                  </a:cubicBezTo>
                  <a:cubicBezTo>
                    <a:pt x="60160" y="33204"/>
                    <a:pt x="62712" y="33166"/>
                    <a:pt x="65151" y="33166"/>
                  </a:cubicBezTo>
                  <a:close/>
                  <a:moveTo>
                    <a:pt x="115214" y="8020"/>
                  </a:moveTo>
                  <a:cubicBezTo>
                    <a:pt x="114909" y="8630"/>
                    <a:pt x="114376" y="9011"/>
                    <a:pt x="113614" y="9163"/>
                  </a:cubicBezTo>
                  <a:cubicBezTo>
                    <a:pt x="114071" y="9773"/>
                    <a:pt x="114223" y="10459"/>
                    <a:pt x="114071" y="11221"/>
                  </a:cubicBezTo>
                  <a:cubicBezTo>
                    <a:pt x="112547" y="24937"/>
                    <a:pt x="111709" y="39491"/>
                    <a:pt x="111556" y="54883"/>
                  </a:cubicBezTo>
                  <a:cubicBezTo>
                    <a:pt x="111404" y="70733"/>
                    <a:pt x="111671" y="84830"/>
                    <a:pt x="112357" y="97174"/>
                  </a:cubicBezTo>
                  <a:cubicBezTo>
                    <a:pt x="113042" y="109519"/>
                    <a:pt x="114071" y="124225"/>
                    <a:pt x="115443" y="141294"/>
                  </a:cubicBezTo>
                  <a:cubicBezTo>
                    <a:pt x="116052" y="148609"/>
                    <a:pt x="115900" y="156991"/>
                    <a:pt x="114985" y="166440"/>
                  </a:cubicBezTo>
                  <a:cubicBezTo>
                    <a:pt x="114985" y="166745"/>
                    <a:pt x="114604" y="168193"/>
                    <a:pt x="113842" y="170784"/>
                  </a:cubicBezTo>
                  <a:cubicBezTo>
                    <a:pt x="114757" y="170936"/>
                    <a:pt x="116052" y="171088"/>
                    <a:pt x="117729" y="171241"/>
                  </a:cubicBezTo>
                  <a:cubicBezTo>
                    <a:pt x="121081" y="171546"/>
                    <a:pt x="125349" y="171774"/>
                    <a:pt x="130530" y="171927"/>
                  </a:cubicBezTo>
                  <a:cubicBezTo>
                    <a:pt x="136931" y="172231"/>
                    <a:pt x="143713" y="172384"/>
                    <a:pt x="150876" y="172384"/>
                  </a:cubicBezTo>
                  <a:cubicBezTo>
                    <a:pt x="150418" y="171622"/>
                    <a:pt x="150266" y="170860"/>
                    <a:pt x="150418" y="170098"/>
                  </a:cubicBezTo>
                  <a:cubicBezTo>
                    <a:pt x="151333" y="165831"/>
                    <a:pt x="151828" y="161068"/>
                    <a:pt x="151904" y="155810"/>
                  </a:cubicBezTo>
                  <a:cubicBezTo>
                    <a:pt x="151981" y="150552"/>
                    <a:pt x="151828" y="145828"/>
                    <a:pt x="151447" y="141637"/>
                  </a:cubicBezTo>
                  <a:cubicBezTo>
                    <a:pt x="151066" y="137446"/>
                    <a:pt x="150533" y="132341"/>
                    <a:pt x="149847" y="126321"/>
                  </a:cubicBezTo>
                  <a:cubicBezTo>
                    <a:pt x="149161" y="120301"/>
                    <a:pt x="148742" y="115462"/>
                    <a:pt x="148590" y="111805"/>
                  </a:cubicBezTo>
                  <a:cubicBezTo>
                    <a:pt x="147828" y="98241"/>
                    <a:pt x="147980" y="73476"/>
                    <a:pt x="149047" y="37510"/>
                  </a:cubicBezTo>
                  <a:lnTo>
                    <a:pt x="149047" y="20365"/>
                  </a:lnTo>
                  <a:cubicBezTo>
                    <a:pt x="149047" y="15793"/>
                    <a:pt x="149123" y="11907"/>
                    <a:pt x="149275" y="8706"/>
                  </a:cubicBezTo>
                  <a:cubicBezTo>
                    <a:pt x="145618" y="8706"/>
                    <a:pt x="139674" y="8554"/>
                    <a:pt x="131445" y="8249"/>
                  </a:cubicBezTo>
                  <a:cubicBezTo>
                    <a:pt x="124891" y="8097"/>
                    <a:pt x="119481" y="8020"/>
                    <a:pt x="115214" y="8020"/>
                  </a:cubicBezTo>
                  <a:close/>
                  <a:moveTo>
                    <a:pt x="153162" y="19"/>
                  </a:moveTo>
                  <a:cubicBezTo>
                    <a:pt x="154076" y="172"/>
                    <a:pt x="154838" y="591"/>
                    <a:pt x="155448" y="1277"/>
                  </a:cubicBezTo>
                  <a:cubicBezTo>
                    <a:pt x="156057" y="1962"/>
                    <a:pt x="156286" y="2686"/>
                    <a:pt x="156133" y="3448"/>
                  </a:cubicBezTo>
                  <a:cubicBezTo>
                    <a:pt x="155676" y="7868"/>
                    <a:pt x="155448" y="13507"/>
                    <a:pt x="155448" y="20365"/>
                  </a:cubicBezTo>
                  <a:lnTo>
                    <a:pt x="155448" y="37510"/>
                  </a:lnTo>
                  <a:cubicBezTo>
                    <a:pt x="154381" y="73324"/>
                    <a:pt x="154228" y="97936"/>
                    <a:pt x="154990" y="111348"/>
                  </a:cubicBezTo>
                  <a:cubicBezTo>
                    <a:pt x="155143" y="114700"/>
                    <a:pt x="155562" y="119387"/>
                    <a:pt x="156248" y="125406"/>
                  </a:cubicBezTo>
                  <a:cubicBezTo>
                    <a:pt x="156934" y="131426"/>
                    <a:pt x="157467" y="136646"/>
                    <a:pt x="157848" y="141066"/>
                  </a:cubicBezTo>
                  <a:cubicBezTo>
                    <a:pt x="158229" y="145485"/>
                    <a:pt x="158381" y="150552"/>
                    <a:pt x="158305" y="156267"/>
                  </a:cubicBezTo>
                  <a:cubicBezTo>
                    <a:pt x="158229" y="161982"/>
                    <a:pt x="157734" y="167050"/>
                    <a:pt x="156819" y="171469"/>
                  </a:cubicBezTo>
                  <a:cubicBezTo>
                    <a:pt x="156514" y="172536"/>
                    <a:pt x="155829" y="173298"/>
                    <a:pt x="154762" y="173755"/>
                  </a:cubicBezTo>
                  <a:cubicBezTo>
                    <a:pt x="155219" y="174365"/>
                    <a:pt x="155448" y="174975"/>
                    <a:pt x="155448" y="175584"/>
                  </a:cubicBezTo>
                  <a:cubicBezTo>
                    <a:pt x="155448" y="176499"/>
                    <a:pt x="155143" y="177261"/>
                    <a:pt x="154533" y="177870"/>
                  </a:cubicBezTo>
                  <a:cubicBezTo>
                    <a:pt x="153924" y="178480"/>
                    <a:pt x="153162" y="178785"/>
                    <a:pt x="152247" y="178785"/>
                  </a:cubicBezTo>
                  <a:cubicBezTo>
                    <a:pt x="145084" y="178785"/>
                    <a:pt x="137769" y="178632"/>
                    <a:pt x="130302" y="178327"/>
                  </a:cubicBezTo>
                  <a:cubicBezTo>
                    <a:pt x="124815" y="178175"/>
                    <a:pt x="120472" y="177946"/>
                    <a:pt x="117271" y="177642"/>
                  </a:cubicBezTo>
                  <a:cubicBezTo>
                    <a:pt x="115290" y="177489"/>
                    <a:pt x="113690" y="177337"/>
                    <a:pt x="112471" y="177184"/>
                  </a:cubicBezTo>
                  <a:lnTo>
                    <a:pt x="110642" y="176727"/>
                  </a:lnTo>
                  <a:cubicBezTo>
                    <a:pt x="109728" y="176422"/>
                    <a:pt x="109042" y="175889"/>
                    <a:pt x="108585" y="175127"/>
                  </a:cubicBezTo>
                  <a:cubicBezTo>
                    <a:pt x="107365" y="173603"/>
                    <a:pt x="107061" y="171622"/>
                    <a:pt x="107670" y="169183"/>
                  </a:cubicBezTo>
                  <a:lnTo>
                    <a:pt x="108127" y="167812"/>
                  </a:lnTo>
                  <a:cubicBezTo>
                    <a:pt x="108280" y="167355"/>
                    <a:pt x="108394" y="166974"/>
                    <a:pt x="108470" y="166669"/>
                  </a:cubicBezTo>
                  <a:cubicBezTo>
                    <a:pt x="108547" y="166364"/>
                    <a:pt x="108585" y="166135"/>
                    <a:pt x="108585" y="165983"/>
                  </a:cubicBezTo>
                  <a:cubicBezTo>
                    <a:pt x="109499" y="156534"/>
                    <a:pt x="109651" y="148457"/>
                    <a:pt x="109042" y="141751"/>
                  </a:cubicBezTo>
                  <a:cubicBezTo>
                    <a:pt x="107670" y="124683"/>
                    <a:pt x="106642" y="109938"/>
                    <a:pt x="105956" y="97517"/>
                  </a:cubicBezTo>
                  <a:cubicBezTo>
                    <a:pt x="105270" y="85097"/>
                    <a:pt x="105003" y="70847"/>
                    <a:pt x="105156" y="54769"/>
                  </a:cubicBezTo>
                  <a:cubicBezTo>
                    <a:pt x="105308" y="38691"/>
                    <a:pt x="106146" y="23870"/>
                    <a:pt x="107670" y="10306"/>
                  </a:cubicBezTo>
                  <a:cubicBezTo>
                    <a:pt x="107823" y="8935"/>
                    <a:pt x="108432" y="8097"/>
                    <a:pt x="109499" y="7792"/>
                  </a:cubicBezTo>
                  <a:cubicBezTo>
                    <a:pt x="109347" y="7335"/>
                    <a:pt x="109270" y="6801"/>
                    <a:pt x="109270" y="6192"/>
                  </a:cubicBezTo>
                  <a:lnTo>
                    <a:pt x="109270" y="5963"/>
                  </a:lnTo>
                  <a:cubicBezTo>
                    <a:pt x="109118" y="5658"/>
                    <a:pt x="109042" y="5277"/>
                    <a:pt x="109042" y="4820"/>
                  </a:cubicBezTo>
                  <a:cubicBezTo>
                    <a:pt x="109042" y="2686"/>
                    <a:pt x="110109" y="1620"/>
                    <a:pt x="112242" y="1620"/>
                  </a:cubicBezTo>
                  <a:cubicBezTo>
                    <a:pt x="116662" y="1620"/>
                    <a:pt x="123063" y="1734"/>
                    <a:pt x="131445" y="1962"/>
                  </a:cubicBezTo>
                  <a:cubicBezTo>
                    <a:pt x="139827" y="2191"/>
                    <a:pt x="145999" y="2305"/>
                    <a:pt x="149961" y="2305"/>
                  </a:cubicBezTo>
                  <a:cubicBezTo>
                    <a:pt x="150418" y="629"/>
                    <a:pt x="151485" y="-133"/>
                    <a:pt x="153162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endParaRPr lang="en-US" dirty="0">
                <a:solidFill>
                  <a:schemeClr val="bg1"/>
                </a:solidFill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23" name="Rectangle 13"/>
            <p:cNvSpPr/>
            <p:nvPr/>
          </p:nvSpPr>
          <p:spPr>
            <a:xfrm>
              <a:off x="2826258" y="4363602"/>
              <a:ext cx="1921390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rPr>
                <a:t>INFOGRAPHIC</a:t>
              </a:r>
              <a:endParaRPr lang="en-US" sz="9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  <a:p>
              <a:pPr algn="ctr"/>
              <a:r>
                <a:rPr lang="en-US" sz="900" dirty="0">
                  <a:solidFill>
                    <a:schemeClr val="bg1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rPr>
                <a:t>Conveniently iterate top-line alignments for wireless metrics. </a:t>
              </a:r>
            </a:p>
          </p:txBody>
        </p:sp>
        <p:sp>
          <p:nvSpPr>
            <p:cNvPr id="26" name="Freeform 16"/>
            <p:cNvSpPr/>
            <p:nvPr/>
          </p:nvSpPr>
          <p:spPr>
            <a:xfrm rot="20581166">
              <a:off x="5710141" y="3463827"/>
              <a:ext cx="531710" cy="738337"/>
            </a:xfrm>
            <a:custGeom>
              <a:avLst/>
              <a:gdLst/>
              <a:ahLst/>
              <a:cxnLst/>
              <a:rect l="l" t="t" r="r" b="b"/>
              <a:pathLst>
                <a:path w="122084" h="169527">
                  <a:moveTo>
                    <a:pt x="35956" y="139827"/>
                  </a:moveTo>
                  <a:cubicBezTo>
                    <a:pt x="36413" y="141656"/>
                    <a:pt x="36947" y="143180"/>
                    <a:pt x="37556" y="144399"/>
                  </a:cubicBezTo>
                  <a:cubicBezTo>
                    <a:pt x="38013" y="145466"/>
                    <a:pt x="38547" y="146533"/>
                    <a:pt x="39156" y="147600"/>
                  </a:cubicBezTo>
                  <a:cubicBezTo>
                    <a:pt x="40376" y="146685"/>
                    <a:pt x="41671" y="146609"/>
                    <a:pt x="43043" y="147371"/>
                  </a:cubicBezTo>
                  <a:cubicBezTo>
                    <a:pt x="51882" y="153620"/>
                    <a:pt x="65369" y="154763"/>
                    <a:pt x="83505" y="150800"/>
                  </a:cubicBezTo>
                  <a:cubicBezTo>
                    <a:pt x="85029" y="150495"/>
                    <a:pt x="86172" y="151029"/>
                    <a:pt x="86934" y="152400"/>
                  </a:cubicBezTo>
                  <a:cubicBezTo>
                    <a:pt x="87543" y="151638"/>
                    <a:pt x="88077" y="150800"/>
                    <a:pt x="88534" y="149886"/>
                  </a:cubicBezTo>
                  <a:cubicBezTo>
                    <a:pt x="88686" y="149581"/>
                    <a:pt x="88915" y="149352"/>
                    <a:pt x="89220" y="149200"/>
                  </a:cubicBezTo>
                  <a:lnTo>
                    <a:pt x="89448" y="147143"/>
                  </a:lnTo>
                  <a:cubicBezTo>
                    <a:pt x="84267" y="148514"/>
                    <a:pt x="77485" y="149048"/>
                    <a:pt x="69103" y="148743"/>
                  </a:cubicBezTo>
                  <a:cubicBezTo>
                    <a:pt x="58130" y="148286"/>
                    <a:pt x="49443" y="146838"/>
                    <a:pt x="43043" y="144399"/>
                  </a:cubicBezTo>
                  <a:cubicBezTo>
                    <a:pt x="40757" y="143637"/>
                    <a:pt x="38394" y="142113"/>
                    <a:pt x="35956" y="139827"/>
                  </a:cubicBezTo>
                  <a:close/>
                  <a:moveTo>
                    <a:pt x="35042" y="126340"/>
                  </a:moveTo>
                  <a:lnTo>
                    <a:pt x="35042" y="129540"/>
                  </a:lnTo>
                  <a:lnTo>
                    <a:pt x="35042" y="130683"/>
                  </a:lnTo>
                  <a:cubicBezTo>
                    <a:pt x="35499" y="130836"/>
                    <a:pt x="35880" y="130988"/>
                    <a:pt x="36185" y="131141"/>
                  </a:cubicBezTo>
                  <a:cubicBezTo>
                    <a:pt x="37099" y="131903"/>
                    <a:pt x="38166" y="132893"/>
                    <a:pt x="39385" y="134112"/>
                  </a:cubicBezTo>
                  <a:cubicBezTo>
                    <a:pt x="40604" y="135332"/>
                    <a:pt x="41633" y="136246"/>
                    <a:pt x="42471" y="136856"/>
                  </a:cubicBezTo>
                  <a:cubicBezTo>
                    <a:pt x="43309" y="137465"/>
                    <a:pt x="44262" y="137999"/>
                    <a:pt x="45329" y="138456"/>
                  </a:cubicBezTo>
                  <a:cubicBezTo>
                    <a:pt x="50967" y="140589"/>
                    <a:pt x="59045" y="141885"/>
                    <a:pt x="69560" y="142342"/>
                  </a:cubicBezTo>
                  <a:cubicBezTo>
                    <a:pt x="79466" y="142799"/>
                    <a:pt x="86553" y="141961"/>
                    <a:pt x="90820" y="139827"/>
                  </a:cubicBezTo>
                  <a:lnTo>
                    <a:pt x="92192" y="133198"/>
                  </a:lnTo>
                  <a:lnTo>
                    <a:pt x="92649" y="129998"/>
                  </a:lnTo>
                  <a:cubicBezTo>
                    <a:pt x="92496" y="130150"/>
                    <a:pt x="92268" y="130226"/>
                    <a:pt x="91963" y="130226"/>
                  </a:cubicBezTo>
                  <a:cubicBezTo>
                    <a:pt x="80990" y="133884"/>
                    <a:pt x="70551" y="135560"/>
                    <a:pt x="60645" y="135255"/>
                  </a:cubicBezTo>
                  <a:cubicBezTo>
                    <a:pt x="49977" y="134798"/>
                    <a:pt x="41442" y="131826"/>
                    <a:pt x="35042" y="126340"/>
                  </a:cubicBezTo>
                  <a:close/>
                  <a:moveTo>
                    <a:pt x="94935" y="113310"/>
                  </a:moveTo>
                  <a:cubicBezTo>
                    <a:pt x="78628" y="123216"/>
                    <a:pt x="58816" y="124130"/>
                    <a:pt x="35499" y="116053"/>
                  </a:cubicBezTo>
                  <a:lnTo>
                    <a:pt x="35499" y="117653"/>
                  </a:lnTo>
                  <a:cubicBezTo>
                    <a:pt x="35804" y="117806"/>
                    <a:pt x="36108" y="118034"/>
                    <a:pt x="36413" y="118339"/>
                  </a:cubicBezTo>
                  <a:cubicBezTo>
                    <a:pt x="41595" y="124740"/>
                    <a:pt x="49748" y="128245"/>
                    <a:pt x="60873" y="128855"/>
                  </a:cubicBezTo>
                  <a:cubicBezTo>
                    <a:pt x="70017" y="129159"/>
                    <a:pt x="79771" y="127635"/>
                    <a:pt x="90134" y="124283"/>
                  </a:cubicBezTo>
                  <a:cubicBezTo>
                    <a:pt x="91506" y="123825"/>
                    <a:pt x="92649" y="124130"/>
                    <a:pt x="93563" y="125197"/>
                  </a:cubicBezTo>
                  <a:cubicBezTo>
                    <a:pt x="94325" y="120777"/>
                    <a:pt x="94782" y="116815"/>
                    <a:pt x="94935" y="113310"/>
                  </a:cubicBezTo>
                  <a:close/>
                  <a:moveTo>
                    <a:pt x="55158" y="31014"/>
                  </a:moveTo>
                  <a:cubicBezTo>
                    <a:pt x="48148" y="33300"/>
                    <a:pt x="41976" y="38862"/>
                    <a:pt x="36642" y="47702"/>
                  </a:cubicBezTo>
                  <a:cubicBezTo>
                    <a:pt x="31460" y="56236"/>
                    <a:pt x="28488" y="65075"/>
                    <a:pt x="27726" y="74219"/>
                  </a:cubicBezTo>
                  <a:cubicBezTo>
                    <a:pt x="29860" y="76505"/>
                    <a:pt x="31841" y="77420"/>
                    <a:pt x="33670" y="76962"/>
                  </a:cubicBezTo>
                  <a:cubicBezTo>
                    <a:pt x="33975" y="76810"/>
                    <a:pt x="34508" y="76277"/>
                    <a:pt x="35270" y="75362"/>
                  </a:cubicBezTo>
                  <a:cubicBezTo>
                    <a:pt x="36337" y="74295"/>
                    <a:pt x="37480" y="72695"/>
                    <a:pt x="38699" y="70562"/>
                  </a:cubicBezTo>
                  <a:cubicBezTo>
                    <a:pt x="40985" y="66752"/>
                    <a:pt x="43500" y="61799"/>
                    <a:pt x="46243" y="55703"/>
                  </a:cubicBezTo>
                  <a:cubicBezTo>
                    <a:pt x="48681" y="50216"/>
                    <a:pt x="50739" y="44882"/>
                    <a:pt x="52415" y="39701"/>
                  </a:cubicBezTo>
                  <a:cubicBezTo>
                    <a:pt x="53787" y="35738"/>
                    <a:pt x="54701" y="32843"/>
                    <a:pt x="55158" y="31014"/>
                  </a:cubicBezTo>
                  <a:close/>
                  <a:moveTo>
                    <a:pt x="56073" y="23927"/>
                  </a:moveTo>
                  <a:cubicBezTo>
                    <a:pt x="56987" y="23775"/>
                    <a:pt x="57787" y="23927"/>
                    <a:pt x="58473" y="24384"/>
                  </a:cubicBezTo>
                  <a:cubicBezTo>
                    <a:pt x="59159" y="24842"/>
                    <a:pt x="59654" y="25527"/>
                    <a:pt x="59959" y="26442"/>
                  </a:cubicBezTo>
                  <a:lnTo>
                    <a:pt x="59959" y="27585"/>
                  </a:lnTo>
                  <a:cubicBezTo>
                    <a:pt x="61178" y="28194"/>
                    <a:pt x="61712" y="29185"/>
                    <a:pt x="61559" y="30557"/>
                  </a:cubicBezTo>
                  <a:cubicBezTo>
                    <a:pt x="61407" y="32690"/>
                    <a:pt x="60416" y="36424"/>
                    <a:pt x="58587" y="41758"/>
                  </a:cubicBezTo>
                  <a:cubicBezTo>
                    <a:pt x="56759" y="47092"/>
                    <a:pt x="54625" y="52578"/>
                    <a:pt x="52187" y="58217"/>
                  </a:cubicBezTo>
                  <a:cubicBezTo>
                    <a:pt x="49291" y="64618"/>
                    <a:pt x="46624" y="69876"/>
                    <a:pt x="44186" y="73991"/>
                  </a:cubicBezTo>
                  <a:cubicBezTo>
                    <a:pt x="42814" y="76277"/>
                    <a:pt x="41519" y="78105"/>
                    <a:pt x="40299" y="79477"/>
                  </a:cubicBezTo>
                  <a:cubicBezTo>
                    <a:pt x="38623" y="81458"/>
                    <a:pt x="37023" y="82601"/>
                    <a:pt x="35499" y="82906"/>
                  </a:cubicBezTo>
                  <a:cubicBezTo>
                    <a:pt x="34432" y="83211"/>
                    <a:pt x="33403" y="83401"/>
                    <a:pt x="32413" y="83477"/>
                  </a:cubicBezTo>
                  <a:cubicBezTo>
                    <a:pt x="31422" y="83554"/>
                    <a:pt x="30470" y="83439"/>
                    <a:pt x="29555" y="83135"/>
                  </a:cubicBezTo>
                  <a:cubicBezTo>
                    <a:pt x="28641" y="82830"/>
                    <a:pt x="27879" y="82525"/>
                    <a:pt x="27269" y="82220"/>
                  </a:cubicBezTo>
                  <a:cubicBezTo>
                    <a:pt x="26660" y="81915"/>
                    <a:pt x="25974" y="81420"/>
                    <a:pt x="25212" y="80734"/>
                  </a:cubicBezTo>
                  <a:cubicBezTo>
                    <a:pt x="24450" y="80048"/>
                    <a:pt x="23916" y="79553"/>
                    <a:pt x="23612" y="79248"/>
                  </a:cubicBezTo>
                  <a:cubicBezTo>
                    <a:pt x="23307" y="78944"/>
                    <a:pt x="22812" y="78372"/>
                    <a:pt x="22126" y="77534"/>
                  </a:cubicBezTo>
                  <a:cubicBezTo>
                    <a:pt x="21440" y="76696"/>
                    <a:pt x="21021" y="76200"/>
                    <a:pt x="20868" y="76048"/>
                  </a:cubicBezTo>
                  <a:cubicBezTo>
                    <a:pt x="19497" y="74524"/>
                    <a:pt x="19649" y="73000"/>
                    <a:pt x="21326" y="71476"/>
                  </a:cubicBezTo>
                  <a:cubicBezTo>
                    <a:pt x="21478" y="71476"/>
                    <a:pt x="21554" y="71400"/>
                    <a:pt x="21554" y="71247"/>
                  </a:cubicBezTo>
                  <a:cubicBezTo>
                    <a:pt x="22773" y="61951"/>
                    <a:pt x="25974" y="52959"/>
                    <a:pt x="31155" y="44273"/>
                  </a:cubicBezTo>
                  <a:cubicBezTo>
                    <a:pt x="38013" y="32843"/>
                    <a:pt x="46319" y="26061"/>
                    <a:pt x="56073" y="23927"/>
                  </a:cubicBezTo>
                  <a:close/>
                  <a:moveTo>
                    <a:pt x="77790" y="7697"/>
                  </a:moveTo>
                  <a:cubicBezTo>
                    <a:pt x="65903" y="5563"/>
                    <a:pt x="54092" y="8001"/>
                    <a:pt x="42357" y="15012"/>
                  </a:cubicBezTo>
                  <a:cubicBezTo>
                    <a:pt x="30774" y="22022"/>
                    <a:pt x="21554" y="31547"/>
                    <a:pt x="14696" y="43587"/>
                  </a:cubicBezTo>
                  <a:cubicBezTo>
                    <a:pt x="7076" y="56998"/>
                    <a:pt x="4714" y="69571"/>
                    <a:pt x="7610" y="81306"/>
                  </a:cubicBezTo>
                  <a:cubicBezTo>
                    <a:pt x="10810" y="94412"/>
                    <a:pt x="20487" y="103861"/>
                    <a:pt x="36642" y="109652"/>
                  </a:cubicBezTo>
                  <a:cubicBezTo>
                    <a:pt x="47615" y="113310"/>
                    <a:pt x="57444" y="115062"/>
                    <a:pt x="66131" y="114910"/>
                  </a:cubicBezTo>
                  <a:cubicBezTo>
                    <a:pt x="74818" y="114758"/>
                    <a:pt x="82400" y="112891"/>
                    <a:pt x="88877" y="109309"/>
                  </a:cubicBezTo>
                  <a:cubicBezTo>
                    <a:pt x="95354" y="105728"/>
                    <a:pt x="100650" y="101194"/>
                    <a:pt x="104765" y="95708"/>
                  </a:cubicBezTo>
                  <a:cubicBezTo>
                    <a:pt x="108879" y="90221"/>
                    <a:pt x="111851" y="84049"/>
                    <a:pt x="113680" y="77191"/>
                  </a:cubicBezTo>
                  <a:cubicBezTo>
                    <a:pt x="115661" y="70638"/>
                    <a:pt x="116233" y="63818"/>
                    <a:pt x="115395" y="56731"/>
                  </a:cubicBezTo>
                  <a:cubicBezTo>
                    <a:pt x="114556" y="49645"/>
                    <a:pt x="112804" y="42977"/>
                    <a:pt x="110137" y="36729"/>
                  </a:cubicBezTo>
                  <a:cubicBezTo>
                    <a:pt x="107470" y="30480"/>
                    <a:pt x="103317" y="24765"/>
                    <a:pt x="97678" y="19584"/>
                  </a:cubicBezTo>
                  <a:cubicBezTo>
                    <a:pt x="92039" y="14402"/>
                    <a:pt x="85410" y="10440"/>
                    <a:pt x="77790" y="7697"/>
                  </a:cubicBezTo>
                  <a:close/>
                  <a:moveTo>
                    <a:pt x="75047" y="153"/>
                  </a:moveTo>
                  <a:cubicBezTo>
                    <a:pt x="76418" y="458"/>
                    <a:pt x="77866" y="839"/>
                    <a:pt x="79390" y="1296"/>
                  </a:cubicBezTo>
                  <a:cubicBezTo>
                    <a:pt x="81981" y="1905"/>
                    <a:pt x="84572" y="2667"/>
                    <a:pt x="87162" y="3582"/>
                  </a:cubicBezTo>
                  <a:cubicBezTo>
                    <a:pt x="88077" y="3887"/>
                    <a:pt x="88686" y="4572"/>
                    <a:pt x="88991" y="5639"/>
                  </a:cubicBezTo>
                  <a:cubicBezTo>
                    <a:pt x="102555" y="12802"/>
                    <a:pt x="112004" y="23318"/>
                    <a:pt x="117338" y="37186"/>
                  </a:cubicBezTo>
                  <a:cubicBezTo>
                    <a:pt x="122672" y="50902"/>
                    <a:pt x="123510" y="64770"/>
                    <a:pt x="119852" y="78791"/>
                  </a:cubicBezTo>
                  <a:cubicBezTo>
                    <a:pt x="116652" y="91288"/>
                    <a:pt x="110403" y="101346"/>
                    <a:pt x="101107" y="108966"/>
                  </a:cubicBezTo>
                  <a:cubicBezTo>
                    <a:pt x="101412" y="109576"/>
                    <a:pt x="101564" y="110262"/>
                    <a:pt x="101564" y="111024"/>
                  </a:cubicBezTo>
                  <a:cubicBezTo>
                    <a:pt x="101259" y="116663"/>
                    <a:pt x="100193" y="124435"/>
                    <a:pt x="98364" y="134341"/>
                  </a:cubicBezTo>
                  <a:lnTo>
                    <a:pt x="96992" y="141656"/>
                  </a:lnTo>
                  <a:cubicBezTo>
                    <a:pt x="96992" y="142266"/>
                    <a:pt x="96916" y="142799"/>
                    <a:pt x="96764" y="143256"/>
                  </a:cubicBezTo>
                  <a:cubicBezTo>
                    <a:pt x="95697" y="148590"/>
                    <a:pt x="94935" y="153162"/>
                    <a:pt x="94478" y="156972"/>
                  </a:cubicBezTo>
                  <a:cubicBezTo>
                    <a:pt x="94325" y="158496"/>
                    <a:pt x="93411" y="159411"/>
                    <a:pt x="91734" y="159716"/>
                  </a:cubicBezTo>
                  <a:cubicBezTo>
                    <a:pt x="91887" y="160782"/>
                    <a:pt x="91506" y="161697"/>
                    <a:pt x="90591" y="162459"/>
                  </a:cubicBezTo>
                  <a:cubicBezTo>
                    <a:pt x="86781" y="165354"/>
                    <a:pt x="81905" y="167336"/>
                    <a:pt x="75961" y="168402"/>
                  </a:cubicBezTo>
                  <a:cubicBezTo>
                    <a:pt x="70322" y="169622"/>
                    <a:pt x="64531" y="169850"/>
                    <a:pt x="58587" y="169088"/>
                  </a:cubicBezTo>
                  <a:cubicBezTo>
                    <a:pt x="52339" y="168326"/>
                    <a:pt x="46853" y="166421"/>
                    <a:pt x="42128" y="163373"/>
                  </a:cubicBezTo>
                  <a:cubicBezTo>
                    <a:pt x="37404" y="160173"/>
                    <a:pt x="34432" y="155753"/>
                    <a:pt x="33213" y="150114"/>
                  </a:cubicBezTo>
                  <a:cubicBezTo>
                    <a:pt x="32603" y="149200"/>
                    <a:pt x="32070" y="148209"/>
                    <a:pt x="31613" y="147143"/>
                  </a:cubicBezTo>
                  <a:cubicBezTo>
                    <a:pt x="29784" y="142875"/>
                    <a:pt x="28793" y="137008"/>
                    <a:pt x="28641" y="129540"/>
                  </a:cubicBezTo>
                  <a:cubicBezTo>
                    <a:pt x="28641" y="127407"/>
                    <a:pt x="28717" y="124511"/>
                    <a:pt x="28869" y="120854"/>
                  </a:cubicBezTo>
                  <a:cubicBezTo>
                    <a:pt x="29022" y="117196"/>
                    <a:pt x="29098" y="114758"/>
                    <a:pt x="29098" y="113538"/>
                  </a:cubicBezTo>
                  <a:cubicBezTo>
                    <a:pt x="14010" y="106680"/>
                    <a:pt x="4790" y="96470"/>
                    <a:pt x="1437" y="82906"/>
                  </a:cubicBezTo>
                  <a:cubicBezTo>
                    <a:pt x="-1915" y="69495"/>
                    <a:pt x="599" y="55322"/>
                    <a:pt x="8981" y="40386"/>
                  </a:cubicBezTo>
                  <a:cubicBezTo>
                    <a:pt x="15687" y="28652"/>
                    <a:pt x="24793" y="18936"/>
                    <a:pt x="36299" y="11240"/>
                  </a:cubicBezTo>
                  <a:cubicBezTo>
                    <a:pt x="47805" y="3544"/>
                    <a:pt x="59807" y="0"/>
                    <a:pt x="72303" y="610"/>
                  </a:cubicBezTo>
                  <a:cubicBezTo>
                    <a:pt x="73065" y="0"/>
                    <a:pt x="73980" y="-152"/>
                    <a:pt x="75047" y="15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endParaRPr lang="en-US" dirty="0">
                <a:solidFill>
                  <a:schemeClr val="bg1"/>
                </a:solidFill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27" name="Rectangle 17"/>
            <p:cNvSpPr/>
            <p:nvPr/>
          </p:nvSpPr>
          <p:spPr>
            <a:xfrm>
              <a:off x="5015301" y="4363601"/>
              <a:ext cx="1921390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rPr>
                <a:t>CREATIVE</a:t>
              </a:r>
              <a:endParaRPr lang="en-US" sz="9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endParaRPr>
            </a:p>
            <a:p>
              <a:pPr algn="ctr"/>
              <a:r>
                <a:rPr lang="en-US" sz="900" dirty="0">
                  <a:solidFill>
                    <a:schemeClr val="bg1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</a:rPr>
                <a:t>Conveniently iterate top-line alignments for wireless metrics. </a:t>
              </a:r>
            </a:p>
          </p:txBody>
        </p:sp>
      </p:grpSp>
      <p:sp>
        <p:nvSpPr>
          <p:cNvPr id="28" name="TextBox 1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5535467" y="5147614"/>
            <a:ext cx="881058" cy="255389"/>
          </a:xfrm>
          <a:prstGeom prst="roundRect">
            <a:avLst/>
          </a:prstGeom>
          <a:solidFill>
            <a:schemeClr val="accent3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9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SOLUTIONS</a:t>
            </a:r>
          </a:p>
        </p:txBody>
      </p:sp>
      <p:sp>
        <p:nvSpPr>
          <p:cNvPr id="30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1650454" y="2028054"/>
            <a:ext cx="4482059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>
                <a:solidFill>
                  <a:schemeClr val="bg1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. This is a sample text. insert your desired text here. Again. this is a dummy text. enter your own text here.”</a:t>
            </a:r>
          </a:p>
        </p:txBody>
      </p:sp>
    </p:spTree>
  </p:cSld>
  <p:clrMapOvr>
    <a:masterClrMapping/>
  </p:clrMapOvr>
  <p:transition spd="slow">
    <p:push dir="u"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0527" y="-700403"/>
            <a:ext cx="8342140" cy="7851228"/>
          </a:xfrm>
          <a:prstGeom prst="rect">
            <a:avLst/>
          </a:prstGeom>
        </p:spPr>
      </p:pic>
      <p:sp>
        <p:nvSpPr>
          <p:cNvPr id="3" name="文本框 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870392" y="3387436"/>
            <a:ext cx="4109145" cy="3819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lnSpc>
                <a:spcPct val="150000"/>
              </a:lnSpc>
            </a:pPr>
            <a:r>
              <a:rPr lang="en-US" altLang="zh-CN" sz="1400" spc="-300" dirty="0">
                <a:gradFill flip="none" rotWithShape="1">
                  <a:gsLst>
                    <a:gs pos="0">
                      <a:schemeClr val="accent5">
                        <a:lumMod val="75000"/>
                      </a:schemeClr>
                    </a:gs>
                    <a:gs pos="96403">
                      <a:schemeClr val="accent2"/>
                    </a:gs>
                    <a:gs pos="75000">
                      <a:schemeClr val="accent4"/>
                    </a:gs>
                  </a:gsLst>
                  <a:lin ang="10800000" scaled="1"/>
                </a:gradFill>
                <a:latin typeface="方正综艺简体" panose="03000509000000000000" pitchFamily="65" charset="-122"/>
                <a:ea typeface="思源黑体 CN Medium" panose="020B0600000000000000" pitchFamily="34" charset="-122"/>
                <a:cs typeface="思源黑体 CN Regular" panose="020B0500000000000000" charset="-122"/>
              </a:rPr>
              <a:t>CREATIVE  POWERPOINT  TEMPLATE</a:t>
            </a:r>
          </a:p>
        </p:txBody>
      </p:sp>
      <p:sp>
        <p:nvSpPr>
          <p:cNvPr id="4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870392" y="3766913"/>
            <a:ext cx="4030691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>
                <a:solidFill>
                  <a:schemeClr val="tx2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. This is a sample text. insert your desired text here. Again. this is a dummy text. enter your own text here.”</a:t>
            </a:r>
          </a:p>
        </p:txBody>
      </p:sp>
      <p:sp>
        <p:nvSpPr>
          <p:cNvPr id="5" name="文本框 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649647" y="2357517"/>
            <a:ext cx="579612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600" b="1" dirty="0">
                <a:solidFill>
                  <a:schemeClr val="accent4"/>
                </a:solidFill>
                <a:effectLst>
                  <a:innerShdw blurRad="63500" dist="50800" dir="15600000">
                    <a:schemeClr val="accent5">
                      <a:alpha val="23000"/>
                    </a:schemeClr>
                  </a:innerShdw>
                </a:effectLst>
                <a:latin typeface="方正综艺简体" panose="03000509000000000000" pitchFamily="65" charset="-122"/>
                <a:cs typeface="思源黑体 CN Regular" panose="020B0500000000000000" charset="-122"/>
              </a:rPr>
              <a:t>THANK YOU</a:t>
            </a:r>
            <a:endParaRPr lang="zh-CN" altLang="en-US" sz="6600" b="1" dirty="0">
              <a:solidFill>
                <a:schemeClr val="accent4"/>
              </a:solidFill>
              <a:effectLst>
                <a:innerShdw blurRad="63500" dist="50800" dir="15600000">
                  <a:schemeClr val="accent5">
                    <a:alpha val="23000"/>
                  </a:schemeClr>
                </a:innerShdw>
              </a:effectLst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6" name="Rectangle: Rounded Corners 2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924180" y="5209697"/>
            <a:ext cx="1402161" cy="38237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5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  <a:effectLst>
            <a:outerShdw blurRad="787400" dist="101600" dir="5400000" sx="80000" sy="80000" algn="t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200" dirty="0">
                <a:latin typeface="方正综艺简体" panose="03000509000000000000" pitchFamily="65" charset="-122"/>
                <a:cs typeface="思源黑体 CN Regular" panose="020B0500000000000000" charset="-122"/>
              </a:rPr>
              <a:t>Read Here</a:t>
            </a:r>
          </a:p>
        </p:txBody>
      </p:sp>
      <p:pic>
        <p:nvPicPr>
          <p:cNvPr id="7" name="图片 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5171"/>
          <a:stretch>
            <a:fillRect/>
          </a:stretch>
        </p:blipFill>
        <p:spPr>
          <a:xfrm>
            <a:off x="705391" y="1430726"/>
            <a:ext cx="888459" cy="1006768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56E43E27-F1B0-02E8-1946-73FF63AFFE33}"/>
              </a:ext>
            </a:extLst>
          </p:cNvPr>
          <p:cNvGrpSpPr/>
          <p:nvPr/>
        </p:nvGrpSpPr>
        <p:grpSpPr>
          <a:xfrm>
            <a:off x="1659925" y="1576395"/>
            <a:ext cx="8872151" cy="3560070"/>
            <a:chOff x="1659925" y="1622451"/>
            <a:chExt cx="8872151" cy="3560070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0D85D155-BED2-ACEB-3769-8DCFF91CDB3A}"/>
                </a:ext>
              </a:extLst>
            </p:cNvPr>
            <p:cNvSpPr txBox="1"/>
            <p:nvPr/>
          </p:nvSpPr>
          <p:spPr>
            <a:xfrm>
              <a:off x="1659925" y="1622451"/>
              <a:ext cx="8872151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S Reference Sans Serif" panose="020B0604030504040204" pitchFamily="34" charset="0"/>
                  <a:cs typeface="Arial" panose="020B0604020202020204" pitchFamily="34" charset="0"/>
                </a:rPr>
                <a:t>We respect your valuable time with </a:t>
              </a:r>
              <a:r>
                <a:rPr kumimoji="0" lang="en-US" altLang="zh-CN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S Reference Sans Serif" panose="020B0604030504040204" pitchFamily="34" charset="0"/>
                  <a:cs typeface="Arial" panose="020B0604020202020204" pitchFamily="34" charset="0"/>
                </a:rPr>
                <a:t>freeppt7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S Reference Sans Serif" panose="020B0604030504040204" pitchFamily="34" charset="0"/>
                  <a:cs typeface="Arial" panose="020B0604020202020204" pitchFamily="34" charset="0"/>
                </a:rPr>
                <a:t>!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S Reference Sans Serif" panose="020B0604030504040204" pitchFamily="34" charset="0"/>
                  <a:cs typeface="Arial" panose="020B0604020202020204" pitchFamily="34" charset="0"/>
                </a:rPr>
                <a:t>If you have any questions, please reach us</a:t>
              </a: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845DEF97-E3F3-DD1E-C544-B2026124D939}"/>
                </a:ext>
              </a:extLst>
            </p:cNvPr>
            <p:cNvGrpSpPr/>
            <p:nvPr/>
          </p:nvGrpSpPr>
          <p:grpSpPr>
            <a:xfrm>
              <a:off x="4744357" y="2961726"/>
              <a:ext cx="2878228" cy="444237"/>
              <a:chOff x="3649099" y="2657323"/>
              <a:chExt cx="4767227" cy="735794"/>
            </a:xfrm>
          </p:grpSpPr>
          <p:pic>
            <p:nvPicPr>
              <p:cNvPr id="8" name="Picture 4" descr="Facebook icon circle Logo PNG Vector (EPS) Free Download">
                <a:hlinkClick r:id="rId2"/>
                <a:extLst>
                  <a:ext uri="{FF2B5EF4-FFF2-40B4-BE49-F238E27FC236}">
                    <a16:creationId xmlns:a16="http://schemas.microsoft.com/office/drawing/2014/main" id="{602876B6-B1F8-A41A-F81C-A10A3E7EDB9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49099" y="2657323"/>
                <a:ext cx="730592" cy="73059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9" name="Picture 6" descr="Instagram Logo Icon Png #96303 - Free Icons Library">
                <a:hlinkClick r:id="rId4"/>
                <a:extLst>
                  <a:ext uri="{FF2B5EF4-FFF2-40B4-BE49-F238E27FC236}">
                    <a16:creationId xmlns:a16="http://schemas.microsoft.com/office/drawing/2014/main" id="{6041D0AE-538D-F0DF-C0B2-6B86D00F12F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00569" y="2657323"/>
                <a:ext cx="730592" cy="72119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" name="Picture 8" descr="Youtube PNG images free download">
                <a:hlinkClick r:id="rId6"/>
                <a:extLst>
                  <a:ext uri="{FF2B5EF4-FFF2-40B4-BE49-F238E27FC236}">
                    <a16:creationId xmlns:a16="http://schemas.microsoft.com/office/drawing/2014/main" id="{6D36331A-0349-69CC-F35A-C6E152B11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77912" y="2671927"/>
                <a:ext cx="1019843" cy="72119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1" name="Picture 10" descr="Download Twitter Logo Png Transparent Background - Logo Twitter Png PNG  Image with No Background - PNGkey.com">
                <a:hlinkClick r:id="rId8"/>
                <a:extLst>
                  <a:ext uri="{FF2B5EF4-FFF2-40B4-BE49-F238E27FC236}">
                    <a16:creationId xmlns:a16="http://schemas.microsoft.com/office/drawing/2014/main" id="{DEFC2ED4-7A85-4B63-AA58-3742E8C4C6F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47455" y="2671928"/>
                <a:ext cx="715988" cy="7159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2" name="Picture 12" descr="LinkedIn Logo – Free PNG format download (2022)">
                <a:hlinkClick r:id="rId10"/>
                <a:extLst>
                  <a:ext uri="{FF2B5EF4-FFF2-40B4-BE49-F238E27FC236}">
                    <a16:creationId xmlns:a16="http://schemas.microsoft.com/office/drawing/2014/main" id="{6305F8BE-4A1B-D495-8890-5153C8455B0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22895" y="2663501"/>
                <a:ext cx="1293431" cy="72755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923B166-2FB1-3537-5651-CEDA59A06144}"/>
                </a:ext>
              </a:extLst>
            </p:cNvPr>
            <p:cNvSpPr/>
            <p:nvPr/>
          </p:nvSpPr>
          <p:spPr>
            <a:xfrm>
              <a:off x="2668859" y="4659301"/>
              <a:ext cx="6854283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S Reference Sans Serif" panose="020B0604030504040204" pitchFamily="34" charset="0"/>
                  <a:cs typeface="Arial" panose="020B0604020202020204" pitchFamily="34" charset="0"/>
                </a:rPr>
                <a:t>CREDIT: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S Reference Sans Serif" panose="020B0604030504040204" pitchFamily="34" charset="0"/>
                  <a:cs typeface="Arial" panose="020B0604020202020204" pitchFamily="34" charset="0"/>
                </a:rPr>
                <a:t> Freeppt7.com created this PowerPoint template.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S Reference Sans Serif" panose="020B0604030504040204" pitchFamily="34" charset="0"/>
                  <a:cs typeface="Arial" panose="020B0604020202020204" pitchFamily="34" charset="0"/>
                </a:rPr>
                <a:t>Let this slide be kept for attribution.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CD92F99-F9BB-4F0B-8C48-7B2315895202}"/>
                </a:ext>
              </a:extLst>
            </p:cNvPr>
            <p:cNvSpPr/>
            <p:nvPr/>
          </p:nvSpPr>
          <p:spPr>
            <a:xfrm>
              <a:off x="2129246" y="4098910"/>
              <a:ext cx="8255725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S Reference Sans Serif" panose="020B0604030504040204" pitchFamily="34" charset="0"/>
                  <a:cs typeface="Arial" panose="020B0604020202020204" pitchFamily="34" charset="0"/>
                </a:rPr>
                <a:t>Do you have a design request, please visit our </a:t>
              </a:r>
              <a:r>
                <a:rPr kumimoji="0" lang="en-US" b="1" i="0" u="sng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S Reference Sans Serif" panose="020B0604030504040204" pitchFamily="34" charset="0"/>
                  <a:cs typeface="Arial" panose="020B0604020202020204" pitchFamily="34" charset="0"/>
                  <a:hlinkClick r:id="rId1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redesign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S Reference Sans Serif" panose="020B0604030504040204" pitchFamily="34" charset="0"/>
                  <a:cs typeface="Arial" panose="020B0604020202020204" pitchFamily="34" charset="0"/>
                </a:rPr>
                <a:t> page.</a:t>
              </a:r>
            </a:p>
          </p:txBody>
        </p:sp>
      </p:grpSp>
      <p:sp>
        <p:nvSpPr>
          <p:cNvPr id="13" name="TextBox 3">
            <a:hlinkClick r:id="rId13"/>
            <a:extLst>
              <a:ext uri="{FF2B5EF4-FFF2-40B4-BE49-F238E27FC236}">
                <a16:creationId xmlns:a16="http://schemas.microsoft.com/office/drawing/2014/main" id="{BD3C2092-DA25-3AA4-C25B-983997217607}"/>
              </a:ext>
            </a:extLst>
          </p:cNvPr>
          <p:cNvSpPr txBox="1"/>
          <p:nvPr/>
        </p:nvSpPr>
        <p:spPr>
          <a:xfrm>
            <a:off x="3672301" y="5669848"/>
            <a:ext cx="51696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dirty="0">
                <a:cs typeface="Arial" panose="020B0604020202020204" pitchFamily="34" charset="0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freeppt7.com</a:t>
            </a:r>
            <a:endParaRPr lang="ko-KR" altLang="en-US" sz="24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29658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059" r="-695"/>
          <a:stretch>
            <a:fillRect/>
          </a:stretch>
        </p:blipFill>
        <p:spPr>
          <a:xfrm>
            <a:off x="4791456" y="-173687"/>
            <a:ext cx="7571232" cy="7546944"/>
          </a:xfrm>
          <a:prstGeom prst="rect">
            <a:avLst/>
          </a:prstGeom>
        </p:spPr>
      </p:pic>
      <p:pic>
        <p:nvPicPr>
          <p:cNvPr id="4" name="图片 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491"/>
          <a:stretch>
            <a:fillRect/>
          </a:stretch>
        </p:blipFill>
        <p:spPr>
          <a:xfrm>
            <a:off x="4918524" y="273887"/>
            <a:ext cx="7170783" cy="6383252"/>
          </a:xfrm>
          <a:prstGeom prst="rect">
            <a:avLst/>
          </a:prstGeom>
        </p:spPr>
      </p:pic>
      <p:sp>
        <p:nvSpPr>
          <p:cNvPr id="6" name="文本框 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725251" y="3387436"/>
            <a:ext cx="4109145" cy="3819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lnSpc>
                <a:spcPct val="150000"/>
              </a:lnSpc>
            </a:pPr>
            <a:r>
              <a:rPr lang="en-US" altLang="zh-CN" sz="1400" spc="-300" dirty="0">
                <a:gradFill flip="none" rotWithShape="1">
                  <a:gsLst>
                    <a:gs pos="0">
                      <a:schemeClr val="accent5">
                        <a:lumMod val="75000"/>
                      </a:schemeClr>
                    </a:gs>
                    <a:gs pos="96403">
                      <a:schemeClr val="accent2"/>
                    </a:gs>
                    <a:gs pos="75000">
                      <a:schemeClr val="accent4"/>
                    </a:gs>
                  </a:gsLst>
                  <a:lin ang="10800000" scaled="1"/>
                </a:gradFill>
                <a:latin typeface="方正综艺简体" panose="03000509000000000000" pitchFamily="65" charset="-122"/>
                <a:ea typeface="思源黑体 CN Medium" panose="020B0600000000000000" pitchFamily="34" charset="-122"/>
                <a:cs typeface="思源黑体 CN Regular" panose="020B0500000000000000" charset="-122"/>
              </a:rPr>
              <a:t>CREATIVE  POWERPOINT  TEMPLATE</a:t>
            </a:r>
          </a:p>
        </p:txBody>
      </p:sp>
      <p:sp>
        <p:nvSpPr>
          <p:cNvPr id="7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725251" y="3766913"/>
            <a:ext cx="4030691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>
                <a:solidFill>
                  <a:schemeClr val="tx2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. This is a sample text. insert your desired text here. Again. this is a dummy text. enter your own text here.”</a:t>
            </a:r>
          </a:p>
        </p:txBody>
      </p:sp>
      <p:sp>
        <p:nvSpPr>
          <p:cNvPr id="8" name="文本框 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594447" y="2540271"/>
            <a:ext cx="478715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600" b="1" dirty="0">
                <a:solidFill>
                  <a:schemeClr val="accent4"/>
                </a:solidFill>
                <a:effectLst>
                  <a:innerShdw blurRad="63500" dist="50800" dir="15600000">
                    <a:schemeClr val="accent5">
                      <a:alpha val="23000"/>
                    </a:schemeClr>
                  </a:innerShdw>
                </a:effectLst>
                <a:latin typeface="方正综艺简体" panose="03000509000000000000" pitchFamily="65" charset="-122"/>
                <a:cs typeface="思源黑体 CN Regular" panose="020B0500000000000000" charset="-122"/>
              </a:rPr>
              <a:t>PART ONE</a:t>
            </a:r>
            <a:endParaRPr lang="zh-CN" altLang="en-US" sz="6600" b="1" dirty="0">
              <a:solidFill>
                <a:schemeClr val="accent4"/>
              </a:solidFill>
              <a:effectLst>
                <a:innerShdw blurRad="63500" dist="50800" dir="15600000">
                  <a:schemeClr val="accent5">
                    <a:alpha val="23000"/>
                  </a:schemeClr>
                </a:innerShdw>
              </a:effectLst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9" name="Rectangle: Rounded Corners 2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79039" y="5209697"/>
            <a:ext cx="1402161" cy="38237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5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  <a:effectLst>
            <a:outerShdw blurRad="787400" dist="101600" dir="5400000" sx="80000" sy="80000" algn="t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200" dirty="0">
                <a:latin typeface="方正综艺简体" panose="03000509000000000000" pitchFamily="65" charset="-122"/>
                <a:cs typeface="思源黑体 CN Regular" panose="020B0500000000000000" charset="-122"/>
              </a:rPr>
              <a:t>Read Here</a:t>
            </a:r>
          </a:p>
        </p:txBody>
      </p:sp>
      <p:pic>
        <p:nvPicPr>
          <p:cNvPr id="12" name="图片 1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391" y="1430726"/>
            <a:ext cx="888459" cy="1006768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占位符 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/>
      </p:pic>
      <p:sp>
        <p:nvSpPr>
          <p:cNvPr id="51" name="Freeform: Shape 5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931819" y="4763727"/>
            <a:ext cx="1076852" cy="2094273"/>
          </a:xfrm>
          <a:custGeom>
            <a:avLst/>
            <a:gdLst>
              <a:gd name="connsiteX0" fmla="*/ 0 w 1076852"/>
              <a:gd name="connsiteY0" fmla="*/ 0 h 2094273"/>
              <a:gd name="connsiteX1" fmla="*/ 581434 w 1076852"/>
              <a:gd name="connsiteY1" fmla="*/ 0 h 2094273"/>
              <a:gd name="connsiteX2" fmla="*/ 724504 w 1076852"/>
              <a:gd name="connsiteY2" fmla="*/ 254163 h 2094273"/>
              <a:gd name="connsiteX3" fmla="*/ 1076852 w 1076852"/>
              <a:gd name="connsiteY3" fmla="*/ 1740311 h 2094273"/>
              <a:gd name="connsiteX4" fmla="*/ 1059796 w 1076852"/>
              <a:gd name="connsiteY4" fmla="*/ 2078089 h 2094273"/>
              <a:gd name="connsiteX5" fmla="*/ 1057740 w 1076852"/>
              <a:gd name="connsiteY5" fmla="*/ 2094273 h 2094273"/>
              <a:gd name="connsiteX6" fmla="*/ 576901 w 1076852"/>
              <a:gd name="connsiteY6" fmla="*/ 2094273 h 2094273"/>
              <a:gd name="connsiteX7" fmla="*/ 586790 w 1076852"/>
              <a:gd name="connsiteY7" fmla="*/ 2029476 h 2094273"/>
              <a:gd name="connsiteX8" fmla="*/ 601392 w 1076852"/>
              <a:gd name="connsiteY8" fmla="*/ 1740311 h 2094273"/>
              <a:gd name="connsiteX9" fmla="*/ 99160 w 1076852"/>
              <a:gd name="connsiteY9" fmla="*/ 130959 h 2094273"/>
              <a:gd name="connsiteX10" fmla="*/ 0 w 1076852"/>
              <a:gd name="connsiteY10" fmla="*/ 0 h 2094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76852" h="2094273">
                <a:moveTo>
                  <a:pt x="0" y="0"/>
                </a:moveTo>
                <a:lnTo>
                  <a:pt x="581434" y="0"/>
                </a:lnTo>
                <a:lnTo>
                  <a:pt x="724504" y="254163"/>
                </a:lnTo>
                <a:cubicBezTo>
                  <a:pt x="949901" y="700891"/>
                  <a:pt x="1076852" y="1205776"/>
                  <a:pt x="1076852" y="1740311"/>
                </a:cubicBezTo>
                <a:cubicBezTo>
                  <a:pt x="1076852" y="1854345"/>
                  <a:pt x="1071074" y="1967030"/>
                  <a:pt x="1059796" y="2078089"/>
                </a:cubicBezTo>
                <a:lnTo>
                  <a:pt x="1057740" y="2094273"/>
                </a:lnTo>
                <a:lnTo>
                  <a:pt x="576901" y="2094273"/>
                </a:lnTo>
                <a:lnTo>
                  <a:pt x="586790" y="2029476"/>
                </a:lnTo>
                <a:cubicBezTo>
                  <a:pt x="596446" y="1934401"/>
                  <a:pt x="601392" y="1837933"/>
                  <a:pt x="601392" y="1740311"/>
                </a:cubicBezTo>
                <a:cubicBezTo>
                  <a:pt x="601392" y="1142373"/>
                  <a:pt x="415834" y="587775"/>
                  <a:pt x="99160" y="130959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40000">
                <a:schemeClr val="accent6">
                  <a:alpha val="64000"/>
                </a:schemeClr>
              </a:gs>
              <a:gs pos="100000">
                <a:schemeClr val="accent5">
                  <a:alpha val="43000"/>
                </a:schemeClr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50" name="Freeform: Shape 4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0" y="3214200"/>
            <a:ext cx="2513253" cy="1549527"/>
          </a:xfrm>
          <a:custGeom>
            <a:avLst/>
            <a:gdLst>
              <a:gd name="connsiteX0" fmla="*/ 0 w 2513253"/>
              <a:gd name="connsiteY0" fmla="*/ 0 h 1549527"/>
              <a:gd name="connsiteX1" fmla="*/ 42810 w 2513253"/>
              <a:gd name="connsiteY1" fmla="*/ 3255 h 1549527"/>
              <a:gd name="connsiteX2" fmla="*/ 2509500 w 2513253"/>
              <a:gd name="connsiteY2" fmla="*/ 1542860 h 1549527"/>
              <a:gd name="connsiteX3" fmla="*/ 2513253 w 2513253"/>
              <a:gd name="connsiteY3" fmla="*/ 1549527 h 1549527"/>
              <a:gd name="connsiteX4" fmla="*/ 1931819 w 2513253"/>
              <a:gd name="connsiteY4" fmla="*/ 1549527 h 1549527"/>
              <a:gd name="connsiteX5" fmla="*/ 1887392 w 2513253"/>
              <a:gd name="connsiteY5" fmla="*/ 1490854 h 1549527"/>
              <a:gd name="connsiteX6" fmla="*/ 275009 w 2513253"/>
              <a:gd name="connsiteY6" fmla="*/ 519118 h 1549527"/>
              <a:gd name="connsiteX7" fmla="*/ 0 w 2513253"/>
              <a:gd name="connsiteY7" fmla="*/ 477147 h 1549527"/>
              <a:gd name="connsiteX8" fmla="*/ 0 w 2513253"/>
              <a:gd name="connsiteY8" fmla="*/ 0 h 154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13253" h="1549527">
                <a:moveTo>
                  <a:pt x="0" y="0"/>
                </a:moveTo>
                <a:lnTo>
                  <a:pt x="42810" y="3255"/>
                </a:lnTo>
                <a:cubicBezTo>
                  <a:pt x="1083985" y="108992"/>
                  <a:pt x="1982231" y="698210"/>
                  <a:pt x="2509500" y="1542860"/>
                </a:cubicBezTo>
                <a:lnTo>
                  <a:pt x="2513253" y="1549527"/>
                </a:lnTo>
                <a:lnTo>
                  <a:pt x="1931819" y="1549527"/>
                </a:lnTo>
                <a:lnTo>
                  <a:pt x="1887392" y="1490854"/>
                </a:lnTo>
                <a:cubicBezTo>
                  <a:pt x="1483936" y="1001978"/>
                  <a:pt x="919386" y="650976"/>
                  <a:pt x="275009" y="519118"/>
                </a:cubicBezTo>
                <a:lnTo>
                  <a:pt x="0" y="477147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5"/>
              </a:gs>
              <a:gs pos="86000">
                <a:schemeClr val="accent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53" name="TextBox 5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1149027" y="1988527"/>
            <a:ext cx="3775585" cy="1274195"/>
          </a:xfrm>
          <a:prstGeom prst="rect">
            <a:avLst/>
          </a:prstGeom>
          <a:noFill/>
          <a:effectLst>
            <a:outerShdw blurRad="406400" dist="444500" dir="7080000" algn="t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pPr>
              <a:lnSpc>
                <a:spcPct val="80000"/>
              </a:lnSpc>
            </a:pPr>
            <a:r>
              <a:rPr lang="id-ID" sz="4800" b="1" dirty="0">
                <a:solidFill>
                  <a:schemeClr val="accent1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Special </a:t>
            </a:r>
          </a:p>
          <a:p>
            <a:pPr>
              <a:lnSpc>
                <a:spcPct val="80000"/>
              </a:lnSpc>
            </a:pPr>
            <a:r>
              <a:rPr lang="id-ID" sz="4800" b="1" dirty="0">
                <a:solidFill>
                  <a:schemeClr val="bg1">
                    <a:lumMod val="95000"/>
                  </a:schemeClr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Feature List</a:t>
            </a:r>
          </a:p>
        </p:txBody>
      </p:sp>
      <p:sp>
        <p:nvSpPr>
          <p:cNvPr id="77" name="Text Placeholder 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6403643" y="2486021"/>
            <a:ext cx="2875236" cy="1274195"/>
          </a:xfrm>
          <a:prstGeom prst="rect">
            <a:avLst/>
          </a:prstGeom>
        </p:spPr>
        <p:txBody>
          <a:bodyPr/>
          <a:lstStyle>
            <a:lvl1pPr marL="0" indent="0" algn="ctr" defTabSz="1460500" rtl="0" eaLnBrk="1" latinLnBrk="0" hangingPunct="1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None/>
              <a:defRPr sz="4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095375" indent="-365125" algn="l" defTabSz="14605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3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6260" indent="-365125" algn="l" defTabSz="14605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31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56510" indent="-365125" algn="l" defTabSz="14605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8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86760" indent="-365125" algn="l" defTabSz="14605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8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17010" indent="-365125" algn="l" defTabSz="14605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8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47260" indent="-365125" algn="l" defTabSz="14605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8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78145" indent="-365125" algn="l" defTabSz="14605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8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208395" indent="-365125" algn="l" defTabSz="14605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8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0" dirty="0">
                <a:solidFill>
                  <a:schemeClr val="bg1">
                    <a:lumMod val="95000"/>
                  </a:schemeClr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20XX</a:t>
            </a:r>
            <a:endParaRPr lang="id-ID" sz="8000" dirty="0">
              <a:solidFill>
                <a:schemeClr val="bg1">
                  <a:lumMod val="95000"/>
                </a:schemeClr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79" name="Rectangle 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 bwMode="auto">
          <a:xfrm>
            <a:off x="6403643" y="1034505"/>
            <a:ext cx="3526855" cy="412696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indent="92075">
              <a:defRPr/>
            </a:pPr>
            <a:r>
              <a:rPr lang="en-US" sz="2400" dirty="0">
                <a:gradFill>
                  <a:gsLst>
                    <a:gs pos="0">
                      <a:schemeClr val="accent5"/>
                    </a:gs>
                    <a:gs pos="100000">
                      <a:schemeClr val="accent2"/>
                    </a:gs>
                  </a:gsLst>
                  <a:lin ang="8100000" scaled="1"/>
                </a:gra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等线" panose="02010600030101010101" charset="-122"/>
              </a:rPr>
              <a:t>Feature</a:t>
            </a:r>
            <a:r>
              <a:rPr lang="id-ID" sz="2400" dirty="0">
                <a:gradFill>
                  <a:gsLst>
                    <a:gs pos="0">
                      <a:schemeClr val="accent5"/>
                    </a:gs>
                    <a:gs pos="100000">
                      <a:schemeClr val="accent2"/>
                    </a:gs>
                  </a:gsLst>
                  <a:lin ang="8100000" scaled="1"/>
                </a:gra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等线" panose="02010600030101010101" charset="-122"/>
              </a:rPr>
              <a:t> </a:t>
            </a:r>
            <a:r>
              <a:rPr lang="en-US" sz="2400" dirty="0">
                <a:gradFill>
                  <a:gsLst>
                    <a:gs pos="0">
                      <a:schemeClr val="accent5"/>
                    </a:gs>
                    <a:gs pos="100000">
                      <a:schemeClr val="accent2"/>
                    </a:gs>
                  </a:gsLst>
                  <a:lin ang="8100000" scaled="1"/>
                </a:gra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等线" panose="02010600030101010101" charset="-122"/>
              </a:rPr>
              <a:t>One</a:t>
            </a:r>
          </a:p>
        </p:txBody>
      </p:sp>
      <p:grpSp>
        <p:nvGrpSpPr>
          <p:cNvPr id="82" name="Group 8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6571004" y="3730419"/>
            <a:ext cx="1888244" cy="399158"/>
            <a:chOff x="6716147" y="3877903"/>
            <a:chExt cx="1888244" cy="399158"/>
          </a:xfrm>
        </p:grpSpPr>
        <p:sp>
          <p:nvSpPr>
            <p:cNvPr id="81" name="Rectangle: Rounded Corners 80"/>
            <p:cNvSpPr/>
            <p:nvPr/>
          </p:nvSpPr>
          <p:spPr>
            <a:xfrm>
              <a:off x="6716147" y="3892223"/>
              <a:ext cx="1888244" cy="384838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>
              <a:outerShdw blurRad="1270000" dist="635000" dir="5400000" sx="85000" sy="85000" algn="t" rotWithShape="0">
                <a:schemeClr val="bg1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6979827" y="3877903"/>
              <a:ext cx="136088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pc="300" dirty="0">
                  <a:solidFill>
                    <a:schemeClr val="accent1"/>
                  </a:solidFill>
                  <a:latin typeface="方正综艺简体" panose="03000509000000000000" pitchFamily="65" charset="-122"/>
                  <a:cs typeface="思源黑体 CN Regular" panose="020B0500000000000000" charset="-122"/>
                </a:rPr>
                <a:t>January</a:t>
              </a:r>
              <a:endParaRPr lang="id-ID" sz="2800" spc="300" dirty="0">
                <a:solidFill>
                  <a:schemeClr val="accent1"/>
                </a:solidFill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</p:grpSp>
      <p:sp>
        <p:nvSpPr>
          <p:cNvPr id="13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6414851" y="1430113"/>
            <a:ext cx="5109492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chemeClr val="bg1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. This is a sample text. insert your desired text here. Again. this is a dummy text. enter your own text here.”</a:t>
            </a:r>
          </a:p>
        </p:txBody>
      </p:sp>
      <p:pic>
        <p:nvPicPr>
          <p:cNvPr id="14" name="图片 1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655" y="858319"/>
            <a:ext cx="888459" cy="1006768"/>
          </a:xfrm>
          <a:prstGeom prst="rect">
            <a:avLst/>
          </a:prstGeom>
        </p:spPr>
      </p:pic>
    </p:spTree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占位符 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/>
      </p:pic>
      <p:sp>
        <p:nvSpPr>
          <p:cNvPr id="22" name="Freeform: Shape 2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" y="0"/>
            <a:ext cx="2989559" cy="2935876"/>
          </a:xfrm>
          <a:custGeom>
            <a:avLst/>
            <a:gdLst>
              <a:gd name="connsiteX0" fmla="*/ 2508720 w 2989559"/>
              <a:gd name="connsiteY0" fmla="*/ 0 h 2935876"/>
              <a:gd name="connsiteX1" fmla="*/ 2989559 w 2989559"/>
              <a:gd name="connsiteY1" fmla="*/ 0 h 2935876"/>
              <a:gd name="connsiteX2" fmla="*/ 2970606 w 2989559"/>
              <a:gd name="connsiteY2" fmla="*/ 149150 h 2935876"/>
              <a:gd name="connsiteX3" fmla="*/ 42810 w 2989559"/>
              <a:gd name="connsiteY3" fmla="*/ 2932621 h 2935876"/>
              <a:gd name="connsiteX4" fmla="*/ 0 w 2989559"/>
              <a:gd name="connsiteY4" fmla="*/ 2935876 h 2935876"/>
              <a:gd name="connsiteX5" fmla="*/ 0 w 2989559"/>
              <a:gd name="connsiteY5" fmla="*/ 2458729 h 2935876"/>
              <a:gd name="connsiteX6" fmla="*/ 275009 w 2989559"/>
              <a:gd name="connsiteY6" fmla="*/ 2416758 h 2935876"/>
              <a:gd name="connsiteX7" fmla="*/ 2475752 w 2989559"/>
              <a:gd name="connsiteY7" fmla="*/ 216015 h 2935876"/>
              <a:gd name="connsiteX8" fmla="*/ 2508720 w 2989559"/>
              <a:gd name="connsiteY8" fmla="*/ 0 h 2935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89559" h="2935876">
                <a:moveTo>
                  <a:pt x="2508720" y="0"/>
                </a:moveTo>
                <a:lnTo>
                  <a:pt x="2989559" y="0"/>
                </a:lnTo>
                <a:lnTo>
                  <a:pt x="2970606" y="149150"/>
                </a:lnTo>
                <a:cubicBezTo>
                  <a:pt x="2745016" y="1625553"/>
                  <a:pt x="1542102" y="2780359"/>
                  <a:pt x="42810" y="2932621"/>
                </a:cubicBezTo>
                <a:lnTo>
                  <a:pt x="0" y="2935876"/>
                </a:lnTo>
                <a:lnTo>
                  <a:pt x="0" y="2458729"/>
                </a:lnTo>
                <a:lnTo>
                  <a:pt x="275009" y="2416758"/>
                </a:lnTo>
                <a:cubicBezTo>
                  <a:pt x="1379655" y="2190715"/>
                  <a:pt x="2249709" y="1320661"/>
                  <a:pt x="2475752" y="216015"/>
                </a:cubicBezTo>
                <a:lnTo>
                  <a:pt x="250872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6">
                  <a:alpha val="64000"/>
                </a:schemeClr>
              </a:gs>
              <a:gs pos="100000">
                <a:schemeClr val="accent5">
                  <a:alpha val="43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grpSp>
        <p:nvGrpSpPr>
          <p:cNvPr id="38" name="Group 3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2806683" y="1552346"/>
            <a:ext cx="4337996" cy="3819753"/>
            <a:chOff x="2806683" y="1552346"/>
            <a:chExt cx="4337996" cy="3819753"/>
          </a:xfrm>
        </p:grpSpPr>
        <p:sp>
          <p:nvSpPr>
            <p:cNvPr id="37" name="Rectangle: Rounded Corners 36"/>
            <p:cNvSpPr/>
            <p:nvPr/>
          </p:nvSpPr>
          <p:spPr>
            <a:xfrm>
              <a:off x="2806683" y="1552346"/>
              <a:ext cx="4337996" cy="3819753"/>
            </a:xfrm>
            <a:prstGeom prst="roundRect">
              <a:avLst>
                <a:gd name="adj" fmla="val 5030"/>
              </a:avLst>
            </a:prstGeom>
            <a:solidFill>
              <a:schemeClr val="bg1">
                <a:alpha val="2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30" name="Text Placeholder 2"/>
            <p:cNvSpPr txBox="1"/>
            <p:nvPr/>
          </p:nvSpPr>
          <p:spPr>
            <a:xfrm>
              <a:off x="3094942" y="3354854"/>
              <a:ext cx="2875236" cy="1274195"/>
            </a:xfrm>
            <a:prstGeom prst="rect">
              <a:avLst/>
            </a:prstGeom>
          </p:spPr>
          <p:txBody>
            <a:bodyPr/>
            <a:lstStyle>
              <a:lvl1pPr marL="0" indent="0" algn="ctr" defTabSz="1460500" rtl="0" eaLnBrk="1" latinLnBrk="0" hangingPunct="1">
                <a:lnSpc>
                  <a:spcPct val="90000"/>
                </a:lnSpc>
                <a:spcBef>
                  <a:spcPts val="1600"/>
                </a:spcBef>
                <a:buFont typeface="Arial" panose="020B0604020202020204" pitchFamily="34" charset="0"/>
                <a:buNone/>
                <a:defRPr sz="40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1095375" indent="-365125" algn="l" defTabSz="1460500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panose="020B0604020202020204" pitchFamily="34" charset="0"/>
                <a:buChar char="•"/>
                <a:defRPr sz="383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26260" indent="-365125" algn="l" defTabSz="1460500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panose="020B0604020202020204" pitchFamily="34" charset="0"/>
                <a:buChar char="•"/>
                <a:defRPr sz="319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556510" indent="-365125" algn="l" defTabSz="1460500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panose="020B0604020202020204" pitchFamily="34" charset="0"/>
                <a:buChar char="•"/>
                <a:defRPr sz="287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286760" indent="-365125" algn="l" defTabSz="1460500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panose="020B0604020202020204" pitchFamily="34" charset="0"/>
                <a:buChar char="•"/>
                <a:defRPr sz="287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017010" indent="-365125" algn="l" defTabSz="1460500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panose="020B0604020202020204" pitchFamily="34" charset="0"/>
                <a:buChar char="•"/>
                <a:defRPr sz="287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747260" indent="-365125" algn="l" defTabSz="1460500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panose="020B0604020202020204" pitchFamily="34" charset="0"/>
                <a:buChar char="•"/>
                <a:defRPr sz="287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478145" indent="-365125" algn="l" defTabSz="1460500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panose="020B0604020202020204" pitchFamily="34" charset="0"/>
                <a:buChar char="•"/>
                <a:defRPr sz="287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6208395" indent="-365125" algn="l" defTabSz="1460500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panose="020B0604020202020204" pitchFamily="34" charset="0"/>
                <a:buChar char="•"/>
                <a:defRPr sz="287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8000" dirty="0">
                  <a:solidFill>
                    <a:schemeClr val="bg1"/>
                  </a:solidFill>
                  <a:latin typeface="方正综艺简体" panose="03000509000000000000" pitchFamily="65" charset="-122"/>
                  <a:cs typeface="思源黑体 CN Regular" panose="020B0500000000000000" charset="-122"/>
                </a:rPr>
                <a:t>20XX</a:t>
              </a:r>
              <a:endParaRPr lang="id-ID" sz="8000" dirty="0">
                <a:solidFill>
                  <a:schemeClr val="bg1"/>
                </a:solidFill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32" name="Rectangle 9"/>
            <p:cNvSpPr/>
            <p:nvPr/>
          </p:nvSpPr>
          <p:spPr bwMode="auto">
            <a:xfrm>
              <a:off x="3094942" y="1903338"/>
              <a:ext cx="3526855" cy="41269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/>
            <a:lstStyle/>
            <a:p>
              <a:pPr indent="92075">
                <a:defRPr/>
              </a:pPr>
              <a:r>
                <a:rPr lang="en-US" sz="2400" dirty="0">
                  <a:solidFill>
                    <a:schemeClr val="bg1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  <a:sym typeface="等线" panose="02010600030101010101" charset="-122"/>
                </a:rPr>
                <a:t>Feature</a:t>
              </a:r>
              <a:r>
                <a:rPr lang="id-ID" sz="2400" dirty="0">
                  <a:solidFill>
                    <a:schemeClr val="bg1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  <a:sym typeface="等线" panose="02010600030101010101" charset="-122"/>
                </a:rPr>
                <a:t> Two</a:t>
              </a:r>
              <a:endParaRPr lang="en-US" sz="24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等线" panose="02010600030101010101" charset="-122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3407446" y="4599252"/>
              <a:ext cx="1888244" cy="399158"/>
              <a:chOff x="6716147" y="3877903"/>
              <a:chExt cx="1888244" cy="399158"/>
            </a:xfrm>
          </p:grpSpPr>
          <p:sp>
            <p:nvSpPr>
              <p:cNvPr id="34" name="Rectangle: Rounded Corners 33"/>
              <p:cNvSpPr/>
              <p:nvPr/>
            </p:nvSpPr>
            <p:spPr>
              <a:xfrm>
                <a:off x="6716147" y="3892223"/>
                <a:ext cx="1888244" cy="384838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1270000" dist="635000" dir="5400000" sx="85000" sy="85000" algn="t" rotWithShape="0">
                  <a:schemeClr val="bg1">
                    <a:lumMod val="50000"/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35" name="Rectangle 34"/>
              <p:cNvSpPr/>
              <p:nvPr/>
            </p:nvSpPr>
            <p:spPr>
              <a:xfrm>
                <a:off x="6902882" y="3877903"/>
                <a:ext cx="1514774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id-ID" spc="300" dirty="0">
                    <a:solidFill>
                      <a:schemeClr val="accent1"/>
                    </a:solidFill>
                    <a:latin typeface="方正综艺简体" panose="03000509000000000000" pitchFamily="65" charset="-122"/>
                    <a:cs typeface="思源黑体 CN Regular" panose="020B0500000000000000" charset="-122"/>
                  </a:rPr>
                  <a:t>February</a:t>
                </a:r>
                <a:endParaRPr lang="id-ID" sz="2800" spc="300" dirty="0">
                  <a:solidFill>
                    <a:schemeClr val="accent1"/>
                  </a:solidFill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</p:grpSp>
      </p:grpSp>
      <p:grpSp>
        <p:nvGrpSpPr>
          <p:cNvPr id="39" name="Group 3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7378683" y="1552346"/>
            <a:ext cx="4337996" cy="3819753"/>
            <a:chOff x="2806683" y="1552346"/>
            <a:chExt cx="4337996" cy="3819753"/>
          </a:xfrm>
        </p:grpSpPr>
        <p:sp>
          <p:nvSpPr>
            <p:cNvPr id="40" name="Rectangle: Rounded Corners 39"/>
            <p:cNvSpPr/>
            <p:nvPr/>
          </p:nvSpPr>
          <p:spPr>
            <a:xfrm>
              <a:off x="2806683" y="1552346"/>
              <a:ext cx="4337996" cy="3819753"/>
            </a:xfrm>
            <a:prstGeom prst="roundRect">
              <a:avLst>
                <a:gd name="adj" fmla="val 5030"/>
              </a:avLst>
            </a:prstGeom>
            <a:solidFill>
              <a:schemeClr val="bg1">
                <a:alpha val="2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41" name="Text Placeholder 2"/>
            <p:cNvSpPr txBox="1"/>
            <p:nvPr/>
          </p:nvSpPr>
          <p:spPr>
            <a:xfrm>
              <a:off x="3094942" y="3354854"/>
              <a:ext cx="2875236" cy="1274195"/>
            </a:xfrm>
            <a:prstGeom prst="rect">
              <a:avLst/>
            </a:prstGeom>
          </p:spPr>
          <p:txBody>
            <a:bodyPr/>
            <a:lstStyle>
              <a:lvl1pPr marL="0" indent="0" algn="ctr" defTabSz="1460500" rtl="0" eaLnBrk="1" latinLnBrk="0" hangingPunct="1">
                <a:lnSpc>
                  <a:spcPct val="90000"/>
                </a:lnSpc>
                <a:spcBef>
                  <a:spcPts val="1600"/>
                </a:spcBef>
                <a:buFont typeface="Arial" panose="020B0604020202020204" pitchFamily="34" charset="0"/>
                <a:buNone/>
                <a:defRPr sz="40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1095375" indent="-365125" algn="l" defTabSz="1460500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panose="020B0604020202020204" pitchFamily="34" charset="0"/>
                <a:buChar char="•"/>
                <a:defRPr sz="383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26260" indent="-365125" algn="l" defTabSz="1460500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panose="020B0604020202020204" pitchFamily="34" charset="0"/>
                <a:buChar char="•"/>
                <a:defRPr sz="319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556510" indent="-365125" algn="l" defTabSz="1460500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panose="020B0604020202020204" pitchFamily="34" charset="0"/>
                <a:buChar char="•"/>
                <a:defRPr sz="287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286760" indent="-365125" algn="l" defTabSz="1460500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panose="020B0604020202020204" pitchFamily="34" charset="0"/>
                <a:buChar char="•"/>
                <a:defRPr sz="287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017010" indent="-365125" algn="l" defTabSz="1460500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panose="020B0604020202020204" pitchFamily="34" charset="0"/>
                <a:buChar char="•"/>
                <a:defRPr sz="287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747260" indent="-365125" algn="l" defTabSz="1460500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panose="020B0604020202020204" pitchFamily="34" charset="0"/>
                <a:buChar char="•"/>
                <a:defRPr sz="287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478145" indent="-365125" algn="l" defTabSz="1460500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panose="020B0604020202020204" pitchFamily="34" charset="0"/>
                <a:buChar char="•"/>
                <a:defRPr sz="287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6208395" indent="-365125" algn="l" defTabSz="1460500" rtl="0" eaLnBrk="1" latinLnBrk="0" hangingPunct="1">
                <a:lnSpc>
                  <a:spcPct val="90000"/>
                </a:lnSpc>
                <a:spcBef>
                  <a:spcPts val="800"/>
                </a:spcBef>
                <a:buFont typeface="Arial" panose="020B0604020202020204" pitchFamily="34" charset="0"/>
                <a:buChar char="•"/>
                <a:defRPr sz="287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8000" dirty="0">
                  <a:solidFill>
                    <a:schemeClr val="bg1"/>
                  </a:solidFill>
                  <a:latin typeface="方正综艺简体" panose="03000509000000000000" pitchFamily="65" charset="-122"/>
                  <a:cs typeface="思源黑体 CN Regular" panose="020B0500000000000000" charset="-122"/>
                </a:rPr>
                <a:t>20XX</a:t>
              </a:r>
              <a:endParaRPr lang="id-ID" sz="8000" dirty="0">
                <a:solidFill>
                  <a:schemeClr val="bg1"/>
                </a:solidFill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43" name="Rectangle 9"/>
            <p:cNvSpPr/>
            <p:nvPr/>
          </p:nvSpPr>
          <p:spPr bwMode="auto">
            <a:xfrm>
              <a:off x="3094942" y="1903338"/>
              <a:ext cx="3526855" cy="41269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/>
            <a:lstStyle/>
            <a:p>
              <a:pPr indent="92075">
                <a:defRPr/>
              </a:pPr>
              <a:r>
                <a:rPr lang="en-US" sz="2400" dirty="0">
                  <a:solidFill>
                    <a:schemeClr val="bg1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  <a:sym typeface="等线" panose="02010600030101010101" charset="-122"/>
                </a:rPr>
                <a:t>Feature</a:t>
              </a:r>
              <a:r>
                <a:rPr lang="id-ID" sz="2400" dirty="0">
                  <a:solidFill>
                    <a:schemeClr val="bg1"/>
                  </a:solidFill>
                  <a:latin typeface="方正综艺简体" panose="03000509000000000000" pitchFamily="65" charset="-122"/>
                  <a:ea typeface="方正综艺简体" panose="03000509000000000000" pitchFamily="65" charset="-122"/>
                  <a:cs typeface="思源黑体 CN Regular" panose="020B0500000000000000" charset="-122"/>
                  <a:sym typeface="等线" panose="02010600030101010101" charset="-122"/>
                </a:rPr>
                <a:t> Three</a:t>
              </a:r>
              <a:endParaRPr lang="en-US" sz="24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等线" panose="02010600030101010101" charset="-122"/>
              </a:endParaRPr>
            </a:p>
          </p:txBody>
        </p:sp>
        <p:grpSp>
          <p:nvGrpSpPr>
            <p:cNvPr id="44" name="Group 43"/>
            <p:cNvGrpSpPr/>
            <p:nvPr/>
          </p:nvGrpSpPr>
          <p:grpSpPr>
            <a:xfrm>
              <a:off x="3407446" y="4599252"/>
              <a:ext cx="1888244" cy="399158"/>
              <a:chOff x="6716147" y="3877903"/>
              <a:chExt cx="1888244" cy="399158"/>
            </a:xfrm>
          </p:grpSpPr>
          <p:sp>
            <p:nvSpPr>
              <p:cNvPr id="45" name="Rectangle: Rounded Corners 44"/>
              <p:cNvSpPr/>
              <p:nvPr/>
            </p:nvSpPr>
            <p:spPr>
              <a:xfrm>
                <a:off x="6716147" y="3892223"/>
                <a:ext cx="1888244" cy="384838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1270000" dist="635000" dir="5400000" sx="85000" sy="85000" algn="t" rotWithShape="0">
                  <a:schemeClr val="bg1">
                    <a:lumMod val="50000"/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46" name="Rectangle 45"/>
              <p:cNvSpPr/>
              <p:nvPr/>
            </p:nvSpPr>
            <p:spPr>
              <a:xfrm>
                <a:off x="7125507" y="3877903"/>
                <a:ext cx="1069525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id-ID" spc="300" dirty="0">
                    <a:solidFill>
                      <a:schemeClr val="accent1"/>
                    </a:solidFill>
                    <a:latin typeface="方正综艺简体" panose="03000509000000000000" pitchFamily="65" charset="-122"/>
                    <a:cs typeface="思源黑体 CN Regular" panose="020B0500000000000000" charset="-122"/>
                  </a:rPr>
                  <a:t>March</a:t>
                </a:r>
                <a:endParaRPr lang="id-ID" sz="2800" spc="300" dirty="0">
                  <a:solidFill>
                    <a:schemeClr val="accent1"/>
                  </a:solidFill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</p:grpSp>
      </p:grpSp>
      <p:sp>
        <p:nvSpPr>
          <p:cNvPr id="21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3091079" y="2257427"/>
            <a:ext cx="3759664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>
                <a:solidFill>
                  <a:schemeClr val="bg1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. This is a sample text. insert your desired text here. Again. this is a dummy text. enter your own text here.”</a:t>
            </a:r>
          </a:p>
        </p:txBody>
      </p:sp>
      <p:sp>
        <p:nvSpPr>
          <p:cNvPr id="23" name="Rectangle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>
            <a:spLocks noChangeArrowheads="1"/>
          </p:cNvSpPr>
          <p:nvPr/>
        </p:nvSpPr>
        <p:spPr bwMode="auto">
          <a:xfrm>
            <a:off x="7641307" y="2293713"/>
            <a:ext cx="3759664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>
                <a:solidFill>
                  <a:schemeClr val="bg1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. This is a sample text. insert your desired text here. Again. this is a dummy text. enter your own text here.”</a:t>
            </a:r>
          </a:p>
        </p:txBody>
      </p:sp>
      <p:sp>
        <p:nvSpPr>
          <p:cNvPr id="24" name="TextBox 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350990" y="6406120"/>
            <a:ext cx="13548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b="1" dirty="0">
                <a:solidFill>
                  <a:schemeClr val="accent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FREEPPT7</a:t>
            </a:r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 Company</a:t>
            </a:r>
          </a:p>
        </p:txBody>
      </p:sp>
    </p:spTree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0" y="-1"/>
            <a:ext cx="12192000" cy="5855701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9" name="Rectangle 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378969" y="3429000"/>
            <a:ext cx="5923531" cy="1684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chemeClr val="bg1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. This is a sample text. insert your desired text here. Again. this is a dummy text. enter your own text here.” “This is a sample text. insert your desired text here. Again. this is a dummy text. enter your own text here. This is a sample text. insert your desired text here. Again. this is a dummy</a:t>
            </a:r>
          </a:p>
          <a:p>
            <a:pPr algn="just">
              <a:lnSpc>
                <a:spcPct val="120000"/>
              </a:lnSpc>
            </a:pPr>
            <a:endParaRPr lang="en-US" sz="1200" i="1" dirty="0">
              <a:solidFill>
                <a:schemeClr val="bg1"/>
              </a:solidFill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grpSp>
        <p:nvGrpSpPr>
          <p:cNvPr id="2" name="Group 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1415843" y="1120876"/>
            <a:ext cx="3170904" cy="1769807"/>
            <a:chOff x="1415843" y="1120876"/>
            <a:chExt cx="3170904" cy="1769807"/>
          </a:xfrm>
        </p:grpSpPr>
        <p:sp>
          <p:nvSpPr>
            <p:cNvPr id="3" name="Rectangle: Rounded Corners 2"/>
            <p:cNvSpPr/>
            <p:nvPr/>
          </p:nvSpPr>
          <p:spPr>
            <a:xfrm>
              <a:off x="1415844" y="1120876"/>
              <a:ext cx="3170903" cy="1769807"/>
            </a:xfrm>
            <a:prstGeom prst="roundRect">
              <a:avLst>
                <a:gd name="adj" fmla="val 9167"/>
              </a:avLst>
            </a:prstGeom>
            <a:solidFill>
              <a:schemeClr val="accent2"/>
            </a:solidFill>
            <a:ln>
              <a:noFill/>
            </a:ln>
            <a:effectLst>
              <a:outerShdw blurRad="406400" dist="38100" dir="5400000" algn="t" rotWithShape="0">
                <a:prstClr val="black">
                  <a:alpha val="2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6" name="Freeform: Shape 5"/>
            <p:cNvSpPr/>
            <p:nvPr/>
          </p:nvSpPr>
          <p:spPr>
            <a:xfrm>
              <a:off x="1415843" y="1789593"/>
              <a:ext cx="3170903" cy="1101090"/>
            </a:xfrm>
            <a:custGeom>
              <a:avLst/>
              <a:gdLst>
                <a:gd name="connsiteX0" fmla="*/ 2367156 w 2667000"/>
                <a:gd name="connsiteY0" fmla="*/ 1081 h 1523265"/>
                <a:gd name="connsiteX1" fmla="*/ 2655347 w 2667000"/>
                <a:gd name="connsiteY1" fmla="*/ 116929 h 1523265"/>
                <a:gd name="connsiteX2" fmla="*/ 2667000 w 2667000"/>
                <a:gd name="connsiteY2" fmla="*/ 139181 h 1523265"/>
                <a:gd name="connsiteX3" fmla="*/ 2667000 w 2667000"/>
                <a:gd name="connsiteY3" fmla="*/ 1368312 h 1523265"/>
                <a:gd name="connsiteX4" fmla="*/ 2512047 w 2667000"/>
                <a:gd name="connsiteY4" fmla="*/ 1523265 h 1523265"/>
                <a:gd name="connsiteX5" fmla="*/ 154953 w 2667000"/>
                <a:gd name="connsiteY5" fmla="*/ 1523265 h 1523265"/>
                <a:gd name="connsiteX6" fmla="*/ 0 w 2667000"/>
                <a:gd name="connsiteY6" fmla="*/ 1368312 h 1523265"/>
                <a:gd name="connsiteX7" fmla="*/ 0 w 2667000"/>
                <a:gd name="connsiteY7" fmla="*/ 542786 h 1523265"/>
                <a:gd name="connsiteX8" fmla="*/ 47982 w 2667000"/>
                <a:gd name="connsiteY8" fmla="*/ 518259 h 1523265"/>
                <a:gd name="connsiteX9" fmla="*/ 274320 w 2667000"/>
                <a:gd name="connsiteY9" fmla="*/ 456465 h 1523265"/>
                <a:gd name="connsiteX10" fmla="*/ 1188720 w 2667000"/>
                <a:gd name="connsiteY10" fmla="*/ 852705 h 1523265"/>
                <a:gd name="connsiteX11" fmla="*/ 2087880 w 2667000"/>
                <a:gd name="connsiteY11" fmla="*/ 75465 h 1523265"/>
                <a:gd name="connsiteX12" fmla="*/ 2367156 w 2667000"/>
                <a:gd name="connsiteY12" fmla="*/ 1081 h 1523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67000" h="1523265">
                  <a:moveTo>
                    <a:pt x="2367156" y="1081"/>
                  </a:moveTo>
                  <a:cubicBezTo>
                    <a:pt x="2485207" y="-6499"/>
                    <a:pt x="2589208" y="25132"/>
                    <a:pt x="2655347" y="116929"/>
                  </a:cubicBezTo>
                  <a:lnTo>
                    <a:pt x="2667000" y="139181"/>
                  </a:lnTo>
                  <a:lnTo>
                    <a:pt x="2667000" y="1368312"/>
                  </a:lnTo>
                  <a:cubicBezTo>
                    <a:pt x="2667000" y="1453890"/>
                    <a:pt x="2597625" y="1523265"/>
                    <a:pt x="2512047" y="1523265"/>
                  </a:cubicBezTo>
                  <a:lnTo>
                    <a:pt x="154953" y="1523265"/>
                  </a:lnTo>
                  <a:cubicBezTo>
                    <a:pt x="69375" y="1523265"/>
                    <a:pt x="0" y="1453890"/>
                    <a:pt x="0" y="1368312"/>
                  </a:cubicBezTo>
                  <a:lnTo>
                    <a:pt x="0" y="542786"/>
                  </a:lnTo>
                  <a:lnTo>
                    <a:pt x="47982" y="518259"/>
                  </a:lnTo>
                  <a:cubicBezTo>
                    <a:pt x="125889" y="483770"/>
                    <a:pt x="203200" y="460910"/>
                    <a:pt x="274320" y="456465"/>
                  </a:cubicBezTo>
                  <a:cubicBezTo>
                    <a:pt x="558800" y="438685"/>
                    <a:pt x="886460" y="916205"/>
                    <a:pt x="1188720" y="852705"/>
                  </a:cubicBezTo>
                  <a:cubicBezTo>
                    <a:pt x="1490980" y="789205"/>
                    <a:pt x="1836420" y="184685"/>
                    <a:pt x="2087880" y="75465"/>
                  </a:cubicBezTo>
                  <a:cubicBezTo>
                    <a:pt x="2182178" y="34508"/>
                    <a:pt x="2278618" y="6766"/>
                    <a:pt x="2367156" y="1081"/>
                  </a:cubicBezTo>
                  <a:close/>
                </a:path>
              </a:pathLst>
            </a:custGeom>
            <a:gradFill>
              <a:gsLst>
                <a:gs pos="0">
                  <a:schemeClr val="accent5"/>
                </a:gs>
                <a:gs pos="100000">
                  <a:schemeClr val="accent2">
                    <a:lumMod val="75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1716262" y="1505688"/>
              <a:ext cx="2641884" cy="1126142"/>
              <a:chOff x="1716262" y="1505688"/>
              <a:chExt cx="2641884" cy="1126142"/>
            </a:xfrm>
          </p:grpSpPr>
          <p:sp>
            <p:nvSpPr>
              <p:cNvPr id="10" name="Rectangle 9"/>
              <p:cNvSpPr/>
              <p:nvPr/>
            </p:nvSpPr>
            <p:spPr>
              <a:xfrm>
                <a:off x="1716262" y="1875020"/>
                <a:ext cx="2641884" cy="7568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altLang="zh-CN" sz="1000">
                    <a:solidFill>
                      <a:schemeClr val="bg1"/>
                    </a:solidFill>
                    <a:latin typeface="华文细黑" panose="02010600040101010101" pitchFamily="2" charset="-122"/>
                    <a:ea typeface="华文细黑" panose="02010600040101010101" pitchFamily="2" charset="-122"/>
                    <a:cs typeface="+mn-ea"/>
                    <a:sym typeface="+mn-lt"/>
                  </a:rPr>
                  <a:t>“This is a sample text. insert your desired text here. Again. this is a dummy text. enter your own text here</a:t>
                </a: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1716262" y="1505688"/>
                <a:ext cx="1522016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id-ID" b="1" dirty="0">
                    <a:solidFill>
                      <a:schemeClr val="bg1"/>
                    </a:solidFill>
                    <a:latin typeface="方正综艺简体" panose="03000509000000000000" pitchFamily="65" charset="-122"/>
                    <a:ea typeface="等线" panose="02010600030101010101" charset="-122"/>
                    <a:cs typeface="思源黑体 CN Regular" panose="020B0500000000000000" charset="-122"/>
                  </a:rPr>
                  <a:t>Thank You!</a:t>
                </a:r>
                <a:endParaRPr lang="en-US" b="1" dirty="0">
                  <a:solidFill>
                    <a:schemeClr val="bg1"/>
                  </a:solidFill>
                  <a:latin typeface="方正综艺简体" panose="03000509000000000000" pitchFamily="65" charset="-122"/>
                  <a:ea typeface="等线" panose="02010600030101010101" charset="-122"/>
                  <a:cs typeface="思源黑体 CN Regular" panose="020B0500000000000000" charset="-122"/>
                </a:endParaRPr>
              </a:p>
            </p:txBody>
          </p:sp>
        </p:grpSp>
      </p:grpSp>
      <p:grpSp>
        <p:nvGrpSpPr>
          <p:cNvPr id="20" name="Group 1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7605252" y="3185651"/>
            <a:ext cx="3170904" cy="1769807"/>
            <a:chOff x="7605252" y="3185651"/>
            <a:chExt cx="3170904" cy="1769807"/>
          </a:xfrm>
        </p:grpSpPr>
        <p:sp>
          <p:nvSpPr>
            <p:cNvPr id="5" name="Rectangle: Rounded Corners 4"/>
            <p:cNvSpPr/>
            <p:nvPr/>
          </p:nvSpPr>
          <p:spPr>
            <a:xfrm>
              <a:off x="7605253" y="3185651"/>
              <a:ext cx="3170903" cy="1769807"/>
            </a:xfrm>
            <a:prstGeom prst="roundRect">
              <a:avLst>
                <a:gd name="adj" fmla="val 9167"/>
              </a:avLst>
            </a:prstGeom>
            <a:solidFill>
              <a:schemeClr val="accent3"/>
            </a:solidFill>
            <a:ln>
              <a:noFill/>
            </a:ln>
            <a:effectLst>
              <a:outerShdw blurRad="406400" dist="38100" dir="5400000" algn="t" rotWithShape="0">
                <a:prstClr val="black">
                  <a:alpha val="2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" name="Freeform: Shape 6"/>
            <p:cNvSpPr/>
            <p:nvPr/>
          </p:nvSpPr>
          <p:spPr>
            <a:xfrm>
              <a:off x="7605252" y="3429000"/>
              <a:ext cx="3170903" cy="1500645"/>
            </a:xfrm>
            <a:custGeom>
              <a:avLst/>
              <a:gdLst>
                <a:gd name="connsiteX0" fmla="*/ 2367156 w 2667000"/>
                <a:gd name="connsiteY0" fmla="*/ 1081 h 1523265"/>
                <a:gd name="connsiteX1" fmla="*/ 2655347 w 2667000"/>
                <a:gd name="connsiteY1" fmla="*/ 116929 h 1523265"/>
                <a:gd name="connsiteX2" fmla="*/ 2667000 w 2667000"/>
                <a:gd name="connsiteY2" fmla="*/ 139181 h 1523265"/>
                <a:gd name="connsiteX3" fmla="*/ 2667000 w 2667000"/>
                <a:gd name="connsiteY3" fmla="*/ 1368312 h 1523265"/>
                <a:gd name="connsiteX4" fmla="*/ 2512047 w 2667000"/>
                <a:gd name="connsiteY4" fmla="*/ 1523265 h 1523265"/>
                <a:gd name="connsiteX5" fmla="*/ 154953 w 2667000"/>
                <a:gd name="connsiteY5" fmla="*/ 1523265 h 1523265"/>
                <a:gd name="connsiteX6" fmla="*/ 0 w 2667000"/>
                <a:gd name="connsiteY6" fmla="*/ 1368312 h 1523265"/>
                <a:gd name="connsiteX7" fmla="*/ 0 w 2667000"/>
                <a:gd name="connsiteY7" fmla="*/ 542786 h 1523265"/>
                <a:gd name="connsiteX8" fmla="*/ 47982 w 2667000"/>
                <a:gd name="connsiteY8" fmla="*/ 518259 h 1523265"/>
                <a:gd name="connsiteX9" fmla="*/ 274320 w 2667000"/>
                <a:gd name="connsiteY9" fmla="*/ 456465 h 1523265"/>
                <a:gd name="connsiteX10" fmla="*/ 1188720 w 2667000"/>
                <a:gd name="connsiteY10" fmla="*/ 852705 h 1523265"/>
                <a:gd name="connsiteX11" fmla="*/ 2087880 w 2667000"/>
                <a:gd name="connsiteY11" fmla="*/ 75465 h 1523265"/>
                <a:gd name="connsiteX12" fmla="*/ 2367156 w 2667000"/>
                <a:gd name="connsiteY12" fmla="*/ 1081 h 1523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67000" h="1523265">
                  <a:moveTo>
                    <a:pt x="2367156" y="1081"/>
                  </a:moveTo>
                  <a:cubicBezTo>
                    <a:pt x="2485207" y="-6499"/>
                    <a:pt x="2589208" y="25132"/>
                    <a:pt x="2655347" y="116929"/>
                  </a:cubicBezTo>
                  <a:lnTo>
                    <a:pt x="2667000" y="139181"/>
                  </a:lnTo>
                  <a:lnTo>
                    <a:pt x="2667000" y="1368312"/>
                  </a:lnTo>
                  <a:cubicBezTo>
                    <a:pt x="2667000" y="1453890"/>
                    <a:pt x="2597625" y="1523265"/>
                    <a:pt x="2512047" y="1523265"/>
                  </a:cubicBezTo>
                  <a:lnTo>
                    <a:pt x="154953" y="1523265"/>
                  </a:lnTo>
                  <a:cubicBezTo>
                    <a:pt x="69375" y="1523265"/>
                    <a:pt x="0" y="1453890"/>
                    <a:pt x="0" y="1368312"/>
                  </a:cubicBezTo>
                  <a:lnTo>
                    <a:pt x="0" y="542786"/>
                  </a:lnTo>
                  <a:lnTo>
                    <a:pt x="47982" y="518259"/>
                  </a:lnTo>
                  <a:cubicBezTo>
                    <a:pt x="125889" y="483770"/>
                    <a:pt x="203200" y="460910"/>
                    <a:pt x="274320" y="456465"/>
                  </a:cubicBezTo>
                  <a:cubicBezTo>
                    <a:pt x="558800" y="438685"/>
                    <a:pt x="886460" y="916205"/>
                    <a:pt x="1188720" y="852705"/>
                  </a:cubicBezTo>
                  <a:cubicBezTo>
                    <a:pt x="1490980" y="789205"/>
                    <a:pt x="1836420" y="184685"/>
                    <a:pt x="2087880" y="75465"/>
                  </a:cubicBezTo>
                  <a:cubicBezTo>
                    <a:pt x="2182178" y="34508"/>
                    <a:pt x="2278618" y="6766"/>
                    <a:pt x="2367156" y="1081"/>
                  </a:cubicBezTo>
                  <a:close/>
                </a:path>
              </a:pathLst>
            </a:custGeom>
            <a:solidFill>
              <a:schemeClr val="accent3">
                <a:lumMod val="75000"/>
                <a:alpha val="3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grpSp>
          <p:nvGrpSpPr>
            <p:cNvPr id="13" name="Group 12"/>
            <p:cNvGrpSpPr/>
            <p:nvPr/>
          </p:nvGrpSpPr>
          <p:grpSpPr>
            <a:xfrm>
              <a:off x="7869761" y="3398475"/>
              <a:ext cx="2641884" cy="1231467"/>
              <a:chOff x="1716262" y="1369837"/>
              <a:chExt cx="2641884" cy="1231467"/>
            </a:xfrm>
          </p:grpSpPr>
          <p:sp>
            <p:nvSpPr>
              <p:cNvPr id="14" name="Rectangle 13"/>
              <p:cNvSpPr/>
              <p:nvPr/>
            </p:nvSpPr>
            <p:spPr>
              <a:xfrm>
                <a:off x="1716262" y="2139639"/>
                <a:ext cx="2641884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sz="1000" dirty="0">
                    <a:solidFill>
                      <a:schemeClr val="bg1"/>
                    </a:solidFill>
                    <a:latin typeface="方正综艺简体" panose="03000509000000000000" pitchFamily="65" charset="-122"/>
                    <a:cs typeface="思源黑体 CN Regular" panose="020B0500000000000000" charset="-122"/>
                  </a:rPr>
                  <a:t>A wonderful serenity has taken possession of my entire soul, </a:t>
                </a:r>
                <a:endParaRPr lang="id-ID" sz="1000" dirty="0">
                  <a:solidFill>
                    <a:schemeClr val="bg1"/>
                  </a:solidFill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5" name="Rectangle 14"/>
              <p:cNvSpPr/>
              <p:nvPr/>
            </p:nvSpPr>
            <p:spPr>
              <a:xfrm>
                <a:off x="1716262" y="1369837"/>
                <a:ext cx="2641884" cy="58477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id-ID" b="1" dirty="0">
                    <a:solidFill>
                      <a:schemeClr val="bg1"/>
                    </a:solidFill>
                    <a:latin typeface="方正综艺简体" panose="03000509000000000000" pitchFamily="65" charset="-122"/>
                    <a:ea typeface="等线" panose="02010600030101010101" charset="-122"/>
                    <a:cs typeface="思源黑体 CN Regular" panose="020B0500000000000000" charset="-122"/>
                  </a:rPr>
                  <a:t>Thank You </a:t>
                </a:r>
                <a:r>
                  <a:rPr lang="id-ID" sz="1400" b="1" dirty="0">
                    <a:solidFill>
                      <a:schemeClr val="bg1"/>
                    </a:solidFill>
                    <a:latin typeface="方正综艺简体" panose="03000509000000000000" pitchFamily="65" charset="-122"/>
                    <a:ea typeface="等线" panose="02010600030101010101" charset="-122"/>
                    <a:cs typeface="思源黑体 CN Regular" panose="020B0500000000000000" charset="-122"/>
                  </a:rPr>
                  <a:t>for your interest in </a:t>
                </a:r>
                <a:r>
                  <a:rPr lang="id-ID" sz="1400" b="1" dirty="0">
                    <a:solidFill>
                      <a:schemeClr val="accent3">
                        <a:lumMod val="50000"/>
                      </a:schemeClr>
                    </a:solidFill>
                    <a:latin typeface="方正综艺简体" panose="03000509000000000000" pitchFamily="65" charset="-122"/>
                    <a:ea typeface="等线" panose="02010600030101010101" charset="-122"/>
                    <a:cs typeface="思源黑体 CN Regular" panose="020B0500000000000000" charset="-122"/>
                  </a:rPr>
                  <a:t>live Stars </a:t>
                </a:r>
                <a:r>
                  <a:rPr lang="id-ID" sz="1400" b="1" dirty="0">
                    <a:solidFill>
                      <a:schemeClr val="bg1"/>
                    </a:solidFill>
                    <a:latin typeface="方正综艺简体" panose="03000509000000000000" pitchFamily="65" charset="-122"/>
                    <a:ea typeface="等线" panose="02010600030101010101" charset="-122"/>
                    <a:cs typeface="思源黑体 CN Regular" panose="020B0500000000000000" charset="-122"/>
                  </a:rPr>
                  <a:t>project!</a:t>
                </a:r>
                <a:endParaRPr lang="en-US" sz="1400" b="1" dirty="0">
                  <a:solidFill>
                    <a:schemeClr val="bg1"/>
                  </a:solidFill>
                  <a:latin typeface="方正综艺简体" panose="03000509000000000000" pitchFamily="65" charset="-122"/>
                  <a:ea typeface="等线" panose="02010600030101010101" charset="-122"/>
                  <a:cs typeface="思源黑体 CN Regular" panose="020B0500000000000000" charset="-122"/>
                </a:endParaRPr>
              </a:p>
            </p:txBody>
          </p:sp>
        </p:grpSp>
      </p:grpSp>
      <p:grpSp>
        <p:nvGrpSpPr>
          <p:cNvPr id="19" name="Group 1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5218470" y="1120876"/>
            <a:ext cx="5557686" cy="1769807"/>
            <a:chOff x="5218470" y="1120876"/>
            <a:chExt cx="5557686" cy="1769807"/>
          </a:xfrm>
        </p:grpSpPr>
        <p:sp>
          <p:nvSpPr>
            <p:cNvPr id="4" name="Rectangle: Rounded Corners 3"/>
            <p:cNvSpPr/>
            <p:nvPr/>
          </p:nvSpPr>
          <p:spPr>
            <a:xfrm>
              <a:off x="5218470" y="1120876"/>
              <a:ext cx="5557686" cy="1769807"/>
            </a:xfrm>
            <a:prstGeom prst="roundRect">
              <a:avLst>
                <a:gd name="adj" fmla="val 9167"/>
              </a:avLst>
            </a:prstGeom>
            <a:solidFill>
              <a:schemeClr val="bg1"/>
            </a:solidFill>
            <a:ln>
              <a:noFill/>
            </a:ln>
            <a:effectLst>
              <a:outerShdw blurRad="406400" dist="38100" dir="5400000" algn="t" rotWithShape="0">
                <a:prstClr val="black">
                  <a:alpha val="2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6" name="Freeform: Shape 15"/>
            <p:cNvSpPr/>
            <p:nvPr/>
          </p:nvSpPr>
          <p:spPr>
            <a:xfrm>
              <a:off x="5346324" y="1284392"/>
              <a:ext cx="370655" cy="243008"/>
            </a:xfrm>
            <a:custGeom>
              <a:avLst/>
              <a:gdLst>
                <a:gd name="connsiteX0" fmla="*/ 124690 w 173154"/>
                <a:gd name="connsiteY0" fmla="*/ 0 h 113523"/>
                <a:gd name="connsiteX1" fmla="*/ 173154 w 173154"/>
                <a:gd name="connsiteY1" fmla="*/ 0 h 113523"/>
                <a:gd name="connsiteX2" fmla="*/ 148922 w 173154"/>
                <a:gd name="connsiteY2" fmla="*/ 113523 h 113523"/>
                <a:gd name="connsiteX3" fmla="*/ 85314 w 173154"/>
                <a:gd name="connsiteY3" fmla="*/ 113523 h 113523"/>
                <a:gd name="connsiteX4" fmla="*/ 39376 w 173154"/>
                <a:gd name="connsiteY4" fmla="*/ 0 h 113523"/>
                <a:gd name="connsiteX5" fmla="*/ 87839 w 173154"/>
                <a:gd name="connsiteY5" fmla="*/ 0 h 113523"/>
                <a:gd name="connsiteX6" fmla="*/ 63607 w 173154"/>
                <a:gd name="connsiteY6" fmla="*/ 113523 h 113523"/>
                <a:gd name="connsiteX7" fmla="*/ 0 w 173154"/>
                <a:gd name="connsiteY7" fmla="*/ 113523 h 113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3154" h="113520">
                  <a:moveTo>
                    <a:pt x="124690" y="0"/>
                  </a:moveTo>
                  <a:lnTo>
                    <a:pt x="173154" y="0"/>
                  </a:lnTo>
                  <a:lnTo>
                    <a:pt x="148922" y="113523"/>
                  </a:lnTo>
                  <a:lnTo>
                    <a:pt x="85314" y="113523"/>
                  </a:lnTo>
                  <a:close/>
                  <a:moveTo>
                    <a:pt x="39376" y="0"/>
                  </a:moveTo>
                  <a:lnTo>
                    <a:pt x="87839" y="0"/>
                  </a:lnTo>
                  <a:lnTo>
                    <a:pt x="63607" y="113523"/>
                  </a:lnTo>
                  <a:lnTo>
                    <a:pt x="0" y="113523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8100000" scaled="1"/>
            </a:gradFill>
            <a:ln>
              <a:noFill/>
            </a:ln>
            <a:effectLst>
              <a:outerShdw blurRad="787400" dist="101600" dir="5400000" sx="80000" sy="80000" algn="t" rotWithShape="0">
                <a:schemeClr val="accent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4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5853459" y="1350347"/>
              <a:ext cx="4622279" cy="9787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20000"/>
                </a:lnSpc>
              </a:pPr>
              <a:r>
                <a:rPr lang="en-US" sz="1200" i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方正综艺简体" panose="03000509000000000000" pitchFamily="65" charset="-122"/>
                  <a:cs typeface="思源黑体 CN Regular" panose="020B0500000000000000" charset="-122"/>
                </a:rPr>
                <a:t>“This is a sample text. insert your desired text here. Again. this is a dummy text. enter your own text here. This is a sample text. insert your desired text here. Again. this is a dummy text. enter your own text here.”</a:t>
              </a: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8401705" y="2420385"/>
              <a:ext cx="2074033" cy="307777"/>
            </a:xfrm>
            <a:prstGeom prst="round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8100000" scaled="1"/>
            </a:gradFill>
            <a:ln>
              <a:noFill/>
            </a:ln>
            <a:effectLst>
              <a:outerShdw blurRad="787400" dist="101600" dir="5400000" sx="80000" sy="80000" algn="t" rotWithShape="0">
                <a:schemeClr val="accent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lt1"/>
                  </a:solidFill>
                  <a:latin typeface="方正综艺简体" panose="03000509000000000000" pitchFamily="65" charset="-122"/>
                  <a:cs typeface="思源黑体 CN Regular" panose="020B0500000000000000" charset="-122"/>
                </a:rPr>
                <a:t>Lionel - Company</a:t>
              </a:r>
            </a:p>
          </p:txBody>
        </p:sp>
      </p:grpSp>
      <p:sp>
        <p:nvSpPr>
          <p:cNvPr id="21" name="Rectangle: Rounded Corners 2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562810" y="5209697"/>
            <a:ext cx="1402161" cy="38237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5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  <a:effectLst>
            <a:outerShdw blurRad="787400" dist="101600" dir="5400000" sx="80000" sy="80000" algn="t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200" dirty="0">
                <a:latin typeface="方正综艺简体" panose="03000509000000000000" pitchFamily="65" charset="-122"/>
                <a:cs typeface="思源黑体 CN Regular" panose="020B0500000000000000" charset="-122"/>
              </a:rPr>
              <a:t>Read Here</a:t>
            </a:r>
          </a:p>
        </p:txBody>
      </p:sp>
      <p:sp>
        <p:nvSpPr>
          <p:cNvPr id="23" name="TextBox 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350990" y="6406120"/>
            <a:ext cx="13548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b="1" dirty="0">
                <a:solidFill>
                  <a:schemeClr val="accent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FREEPPT7</a:t>
            </a:r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 Company</a:t>
            </a:r>
          </a:p>
        </p:txBody>
      </p:sp>
    </p:spTree>
  </p:cSld>
  <p:clrMapOvr>
    <a:masterClrMapping/>
  </p:clrMapOvr>
  <p:transition spd="slow">
    <p:push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0" y="-1"/>
            <a:ext cx="12192000" cy="5855701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grpSp>
        <p:nvGrpSpPr>
          <p:cNvPr id="10" name="Group 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5138850" y="3580409"/>
            <a:ext cx="5637306" cy="1769807"/>
            <a:chOff x="5138850" y="3580409"/>
            <a:chExt cx="5637306" cy="1769807"/>
          </a:xfrm>
        </p:grpSpPr>
        <p:sp>
          <p:nvSpPr>
            <p:cNvPr id="4" name="Rectangle: Rounded Corners 3"/>
            <p:cNvSpPr/>
            <p:nvPr/>
          </p:nvSpPr>
          <p:spPr>
            <a:xfrm>
              <a:off x="5138850" y="3580409"/>
              <a:ext cx="5637306" cy="1769807"/>
            </a:xfrm>
            <a:prstGeom prst="roundRect">
              <a:avLst>
                <a:gd name="adj" fmla="val 9167"/>
              </a:avLst>
            </a:prstGeom>
            <a:solidFill>
              <a:schemeClr val="bg1"/>
            </a:solidFill>
            <a:ln>
              <a:noFill/>
            </a:ln>
            <a:effectLst>
              <a:outerShdw blurRad="406400" dist="38100" dir="5400000" algn="t" rotWithShape="0">
                <a:prstClr val="black">
                  <a:alpha val="2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6" name="Freeform: Shape 15"/>
            <p:cNvSpPr/>
            <p:nvPr/>
          </p:nvSpPr>
          <p:spPr>
            <a:xfrm>
              <a:off x="5268536" y="3743925"/>
              <a:ext cx="375965" cy="243008"/>
            </a:xfrm>
            <a:custGeom>
              <a:avLst/>
              <a:gdLst>
                <a:gd name="connsiteX0" fmla="*/ 124690 w 173154"/>
                <a:gd name="connsiteY0" fmla="*/ 0 h 113523"/>
                <a:gd name="connsiteX1" fmla="*/ 173154 w 173154"/>
                <a:gd name="connsiteY1" fmla="*/ 0 h 113523"/>
                <a:gd name="connsiteX2" fmla="*/ 148922 w 173154"/>
                <a:gd name="connsiteY2" fmla="*/ 113523 h 113523"/>
                <a:gd name="connsiteX3" fmla="*/ 85314 w 173154"/>
                <a:gd name="connsiteY3" fmla="*/ 113523 h 113523"/>
                <a:gd name="connsiteX4" fmla="*/ 39376 w 173154"/>
                <a:gd name="connsiteY4" fmla="*/ 0 h 113523"/>
                <a:gd name="connsiteX5" fmla="*/ 87839 w 173154"/>
                <a:gd name="connsiteY5" fmla="*/ 0 h 113523"/>
                <a:gd name="connsiteX6" fmla="*/ 63607 w 173154"/>
                <a:gd name="connsiteY6" fmla="*/ 113523 h 113523"/>
                <a:gd name="connsiteX7" fmla="*/ 0 w 173154"/>
                <a:gd name="connsiteY7" fmla="*/ 113523 h 113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3154" h="113520">
                  <a:moveTo>
                    <a:pt x="124690" y="0"/>
                  </a:moveTo>
                  <a:lnTo>
                    <a:pt x="173154" y="0"/>
                  </a:lnTo>
                  <a:lnTo>
                    <a:pt x="148922" y="113523"/>
                  </a:lnTo>
                  <a:lnTo>
                    <a:pt x="85314" y="113523"/>
                  </a:lnTo>
                  <a:close/>
                  <a:moveTo>
                    <a:pt x="39376" y="0"/>
                  </a:moveTo>
                  <a:lnTo>
                    <a:pt x="87839" y="0"/>
                  </a:lnTo>
                  <a:lnTo>
                    <a:pt x="63607" y="113523"/>
                  </a:lnTo>
                  <a:lnTo>
                    <a:pt x="0" y="113523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8100000" scaled="1"/>
            </a:gradFill>
            <a:ln>
              <a:noFill/>
            </a:ln>
            <a:effectLst>
              <a:outerShdw blurRad="787400" dist="101600" dir="5400000" sx="80000" sy="80000" algn="t" rotWithShape="0">
                <a:schemeClr val="accent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400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5782936" y="3809880"/>
              <a:ext cx="4688498" cy="9787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20000"/>
                </a:lnSpc>
              </a:pPr>
              <a:r>
                <a:rPr lang="en-US" sz="1200" i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方正综艺简体" panose="03000509000000000000" pitchFamily="65" charset="-122"/>
                  <a:cs typeface="思源黑体 CN Regular" panose="020B0500000000000000" charset="-122"/>
                </a:rPr>
                <a:t>“This is a sample text. insert your desired text here. Again. this is a dummy text. enter your own text here. This is a sample text. insert your desired text here. Again. this is a dummy text. enter your own text here.”</a:t>
              </a:r>
            </a:p>
          </p:txBody>
        </p:sp>
        <p:sp>
          <p:nvSpPr>
            <p:cNvPr id="18" name="Rectangle: Rounded Corners 17"/>
            <p:cNvSpPr/>
            <p:nvPr/>
          </p:nvSpPr>
          <p:spPr>
            <a:xfrm>
              <a:off x="8367688" y="4879918"/>
              <a:ext cx="2103746" cy="307777"/>
            </a:xfrm>
            <a:prstGeom prst="round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8100000" scaled="1"/>
            </a:gradFill>
            <a:ln>
              <a:noFill/>
            </a:ln>
            <a:effectLst>
              <a:outerShdw blurRad="787400" dist="101600" dir="5400000" sx="80000" sy="80000" algn="t" rotWithShape="0">
                <a:schemeClr val="accent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lt1"/>
                  </a:solidFill>
                  <a:latin typeface="方正综艺简体" panose="03000509000000000000" pitchFamily="65" charset="-122"/>
                  <a:cs typeface="思源黑体 CN Regular" panose="020B0500000000000000" charset="-122"/>
                </a:rPr>
                <a:t>Lionel - Company</a:t>
              </a:r>
            </a:p>
          </p:txBody>
        </p:sp>
      </p:grpSp>
      <p:grpSp>
        <p:nvGrpSpPr>
          <p:cNvPr id="23" name="Group 2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5138850" y="1624265"/>
            <a:ext cx="3170904" cy="1769807"/>
            <a:chOff x="4037155" y="1889317"/>
            <a:chExt cx="3170904" cy="1769807"/>
          </a:xfrm>
        </p:grpSpPr>
        <p:sp>
          <p:nvSpPr>
            <p:cNvPr id="5" name="Rectangle: Rounded Corners 4"/>
            <p:cNvSpPr/>
            <p:nvPr/>
          </p:nvSpPr>
          <p:spPr>
            <a:xfrm>
              <a:off x="4037156" y="1889317"/>
              <a:ext cx="3170903" cy="1769807"/>
            </a:xfrm>
            <a:prstGeom prst="roundRect">
              <a:avLst>
                <a:gd name="adj" fmla="val 9167"/>
              </a:avLst>
            </a:prstGeom>
            <a:gradFill>
              <a:gsLst>
                <a:gs pos="100000">
                  <a:schemeClr val="accent4"/>
                </a:gs>
                <a:gs pos="0">
                  <a:schemeClr val="accent3"/>
                </a:gs>
              </a:gsLst>
              <a:lin ang="5400000" scaled="0"/>
            </a:gradFill>
            <a:ln>
              <a:noFill/>
            </a:ln>
            <a:effectLst>
              <a:outerShdw blurRad="406400" dist="38100" dir="5400000" algn="t" rotWithShape="0">
                <a:prstClr val="black">
                  <a:alpha val="2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sp>
          <p:nvSpPr>
            <p:cNvPr id="7" name="Freeform: Shape 6"/>
            <p:cNvSpPr/>
            <p:nvPr/>
          </p:nvSpPr>
          <p:spPr>
            <a:xfrm>
              <a:off x="4037155" y="2158479"/>
              <a:ext cx="3170903" cy="1500645"/>
            </a:xfrm>
            <a:custGeom>
              <a:avLst/>
              <a:gdLst>
                <a:gd name="connsiteX0" fmla="*/ 2367156 w 2667000"/>
                <a:gd name="connsiteY0" fmla="*/ 1081 h 1523265"/>
                <a:gd name="connsiteX1" fmla="*/ 2655347 w 2667000"/>
                <a:gd name="connsiteY1" fmla="*/ 116929 h 1523265"/>
                <a:gd name="connsiteX2" fmla="*/ 2667000 w 2667000"/>
                <a:gd name="connsiteY2" fmla="*/ 139181 h 1523265"/>
                <a:gd name="connsiteX3" fmla="*/ 2667000 w 2667000"/>
                <a:gd name="connsiteY3" fmla="*/ 1368312 h 1523265"/>
                <a:gd name="connsiteX4" fmla="*/ 2512047 w 2667000"/>
                <a:gd name="connsiteY4" fmla="*/ 1523265 h 1523265"/>
                <a:gd name="connsiteX5" fmla="*/ 154953 w 2667000"/>
                <a:gd name="connsiteY5" fmla="*/ 1523265 h 1523265"/>
                <a:gd name="connsiteX6" fmla="*/ 0 w 2667000"/>
                <a:gd name="connsiteY6" fmla="*/ 1368312 h 1523265"/>
                <a:gd name="connsiteX7" fmla="*/ 0 w 2667000"/>
                <a:gd name="connsiteY7" fmla="*/ 542786 h 1523265"/>
                <a:gd name="connsiteX8" fmla="*/ 47982 w 2667000"/>
                <a:gd name="connsiteY8" fmla="*/ 518259 h 1523265"/>
                <a:gd name="connsiteX9" fmla="*/ 274320 w 2667000"/>
                <a:gd name="connsiteY9" fmla="*/ 456465 h 1523265"/>
                <a:gd name="connsiteX10" fmla="*/ 1188720 w 2667000"/>
                <a:gd name="connsiteY10" fmla="*/ 852705 h 1523265"/>
                <a:gd name="connsiteX11" fmla="*/ 2087880 w 2667000"/>
                <a:gd name="connsiteY11" fmla="*/ 75465 h 1523265"/>
                <a:gd name="connsiteX12" fmla="*/ 2367156 w 2667000"/>
                <a:gd name="connsiteY12" fmla="*/ 1081 h 1523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67000" h="1523265">
                  <a:moveTo>
                    <a:pt x="2367156" y="1081"/>
                  </a:moveTo>
                  <a:cubicBezTo>
                    <a:pt x="2485207" y="-6499"/>
                    <a:pt x="2589208" y="25132"/>
                    <a:pt x="2655347" y="116929"/>
                  </a:cubicBezTo>
                  <a:lnTo>
                    <a:pt x="2667000" y="139181"/>
                  </a:lnTo>
                  <a:lnTo>
                    <a:pt x="2667000" y="1368312"/>
                  </a:lnTo>
                  <a:cubicBezTo>
                    <a:pt x="2667000" y="1453890"/>
                    <a:pt x="2597625" y="1523265"/>
                    <a:pt x="2512047" y="1523265"/>
                  </a:cubicBezTo>
                  <a:lnTo>
                    <a:pt x="154953" y="1523265"/>
                  </a:lnTo>
                  <a:cubicBezTo>
                    <a:pt x="69375" y="1523265"/>
                    <a:pt x="0" y="1453890"/>
                    <a:pt x="0" y="1368312"/>
                  </a:cubicBezTo>
                  <a:lnTo>
                    <a:pt x="0" y="542786"/>
                  </a:lnTo>
                  <a:lnTo>
                    <a:pt x="47982" y="518259"/>
                  </a:lnTo>
                  <a:cubicBezTo>
                    <a:pt x="125889" y="483770"/>
                    <a:pt x="203200" y="460910"/>
                    <a:pt x="274320" y="456465"/>
                  </a:cubicBezTo>
                  <a:cubicBezTo>
                    <a:pt x="558800" y="438685"/>
                    <a:pt x="886460" y="916205"/>
                    <a:pt x="1188720" y="852705"/>
                  </a:cubicBezTo>
                  <a:cubicBezTo>
                    <a:pt x="1490980" y="789205"/>
                    <a:pt x="1836420" y="184685"/>
                    <a:pt x="2087880" y="75465"/>
                  </a:cubicBezTo>
                  <a:cubicBezTo>
                    <a:pt x="2182178" y="34508"/>
                    <a:pt x="2278618" y="6766"/>
                    <a:pt x="2367156" y="1081"/>
                  </a:cubicBezTo>
                  <a:close/>
                </a:path>
              </a:pathLst>
            </a:custGeom>
            <a:solidFill>
              <a:schemeClr val="accent3">
                <a:lumMod val="75000"/>
                <a:alpha val="3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>
                <a:latin typeface="方正综艺简体" panose="03000509000000000000" pitchFamily="65" charset="-122"/>
                <a:cs typeface="思源黑体 CN Regular" panose="020B0500000000000000" charset="-122"/>
              </a:endParaRPr>
            </a:p>
          </p:txBody>
        </p:sp>
        <p:grpSp>
          <p:nvGrpSpPr>
            <p:cNvPr id="13" name="Group 12"/>
            <p:cNvGrpSpPr/>
            <p:nvPr/>
          </p:nvGrpSpPr>
          <p:grpSpPr>
            <a:xfrm>
              <a:off x="4301664" y="2159012"/>
              <a:ext cx="2641884" cy="1174596"/>
              <a:chOff x="1716262" y="1426708"/>
              <a:chExt cx="2641884" cy="1174596"/>
            </a:xfrm>
          </p:grpSpPr>
          <p:sp>
            <p:nvSpPr>
              <p:cNvPr id="14" name="Rectangle 13"/>
              <p:cNvSpPr/>
              <p:nvPr/>
            </p:nvSpPr>
            <p:spPr>
              <a:xfrm>
                <a:off x="1716262" y="2139639"/>
                <a:ext cx="2641884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sz="1000" dirty="0">
                    <a:solidFill>
                      <a:schemeClr val="bg1"/>
                    </a:solidFill>
                    <a:latin typeface="方正综艺简体" panose="03000509000000000000" pitchFamily="65" charset="-122"/>
                    <a:cs typeface="思源黑体 CN Regular" panose="020B0500000000000000" charset="-122"/>
                  </a:rPr>
                  <a:t>A wonderful serenity has taken possession of my entire soul, </a:t>
                </a:r>
                <a:endParaRPr lang="id-ID" sz="1000" dirty="0">
                  <a:solidFill>
                    <a:schemeClr val="bg1"/>
                  </a:solidFill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15" name="Rectangle 14"/>
              <p:cNvSpPr/>
              <p:nvPr/>
            </p:nvSpPr>
            <p:spPr>
              <a:xfrm>
                <a:off x="1716262" y="1426708"/>
                <a:ext cx="2641884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bg1"/>
                    </a:solidFill>
                    <a:latin typeface="方正综艺简体" panose="03000509000000000000" pitchFamily="65" charset="-122"/>
                    <a:ea typeface="等线" panose="02010600030101010101" charset="-122"/>
                    <a:cs typeface="思源黑体 CN Regular" panose="020B0500000000000000" charset="-122"/>
                  </a:rPr>
                  <a:t>A wonderful serenity </a:t>
                </a:r>
                <a:r>
                  <a:rPr lang="en-US" dirty="0">
                    <a:solidFill>
                      <a:schemeClr val="bg1"/>
                    </a:solidFill>
                    <a:latin typeface="方正综艺简体" panose="03000509000000000000" pitchFamily="65" charset="-122"/>
                    <a:ea typeface="等线" panose="02010600030101010101" charset="-122"/>
                    <a:cs typeface="思源黑体 CN Regular" panose="020B0500000000000000" charset="-122"/>
                  </a:rPr>
                  <a:t>has taken possession </a:t>
                </a:r>
                <a:endParaRPr lang="en-US" sz="1400" dirty="0">
                  <a:solidFill>
                    <a:schemeClr val="bg1"/>
                  </a:solidFill>
                  <a:latin typeface="方正综艺简体" panose="03000509000000000000" pitchFamily="65" charset="-122"/>
                  <a:ea typeface="等线" panose="02010600030101010101" charset="-122"/>
                  <a:cs typeface="思源黑体 CN Regular" panose="020B0500000000000000" charset="-122"/>
                </a:endParaRPr>
              </a:p>
            </p:txBody>
          </p:sp>
        </p:grpSp>
      </p:grpSp>
      <p:grpSp>
        <p:nvGrpSpPr>
          <p:cNvPr id="9" name="Group 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GrpSpPr/>
          <p:nvPr/>
        </p:nvGrpSpPr>
        <p:grpSpPr>
          <a:xfrm>
            <a:off x="1415843" y="1624265"/>
            <a:ext cx="3362634" cy="3752438"/>
            <a:chOff x="1415843" y="1624265"/>
            <a:chExt cx="3362634" cy="3752438"/>
          </a:xfrm>
        </p:grpSpPr>
        <p:grpSp>
          <p:nvGrpSpPr>
            <p:cNvPr id="2" name="Group 1"/>
            <p:cNvGrpSpPr/>
            <p:nvPr/>
          </p:nvGrpSpPr>
          <p:grpSpPr>
            <a:xfrm>
              <a:off x="1415843" y="1624265"/>
              <a:ext cx="3362634" cy="3752438"/>
              <a:chOff x="1415843" y="1381014"/>
              <a:chExt cx="3170904" cy="1509669"/>
            </a:xfrm>
          </p:grpSpPr>
          <p:sp>
            <p:nvSpPr>
              <p:cNvPr id="3" name="Rectangle: Rounded Corners 2"/>
              <p:cNvSpPr/>
              <p:nvPr/>
            </p:nvSpPr>
            <p:spPr>
              <a:xfrm>
                <a:off x="1415844" y="1381014"/>
                <a:ext cx="3170903" cy="1509669"/>
              </a:xfrm>
              <a:prstGeom prst="roundRect">
                <a:avLst>
                  <a:gd name="adj" fmla="val 4781"/>
                </a:avLst>
              </a:prstGeom>
              <a:solidFill>
                <a:schemeClr val="accent2"/>
              </a:solidFill>
              <a:ln>
                <a:noFill/>
              </a:ln>
              <a:effectLst>
                <a:outerShdw blurRad="406400" dist="38100" dir="5400000" algn="t" rotWithShape="0">
                  <a:prstClr val="black">
                    <a:alpha val="2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  <p:sp>
            <p:nvSpPr>
              <p:cNvPr id="6" name="Freeform: Shape 5"/>
              <p:cNvSpPr/>
              <p:nvPr/>
            </p:nvSpPr>
            <p:spPr>
              <a:xfrm>
                <a:off x="1415843" y="1740792"/>
                <a:ext cx="3170903" cy="1149891"/>
              </a:xfrm>
              <a:custGeom>
                <a:avLst/>
                <a:gdLst>
                  <a:gd name="connsiteX0" fmla="*/ 2367156 w 2667000"/>
                  <a:gd name="connsiteY0" fmla="*/ 1081 h 1523265"/>
                  <a:gd name="connsiteX1" fmla="*/ 2655347 w 2667000"/>
                  <a:gd name="connsiteY1" fmla="*/ 116929 h 1523265"/>
                  <a:gd name="connsiteX2" fmla="*/ 2667000 w 2667000"/>
                  <a:gd name="connsiteY2" fmla="*/ 139181 h 1523265"/>
                  <a:gd name="connsiteX3" fmla="*/ 2667000 w 2667000"/>
                  <a:gd name="connsiteY3" fmla="*/ 1368312 h 1523265"/>
                  <a:gd name="connsiteX4" fmla="*/ 2512047 w 2667000"/>
                  <a:gd name="connsiteY4" fmla="*/ 1523265 h 1523265"/>
                  <a:gd name="connsiteX5" fmla="*/ 154953 w 2667000"/>
                  <a:gd name="connsiteY5" fmla="*/ 1523265 h 1523265"/>
                  <a:gd name="connsiteX6" fmla="*/ 0 w 2667000"/>
                  <a:gd name="connsiteY6" fmla="*/ 1368312 h 1523265"/>
                  <a:gd name="connsiteX7" fmla="*/ 0 w 2667000"/>
                  <a:gd name="connsiteY7" fmla="*/ 542786 h 1523265"/>
                  <a:gd name="connsiteX8" fmla="*/ 47982 w 2667000"/>
                  <a:gd name="connsiteY8" fmla="*/ 518259 h 1523265"/>
                  <a:gd name="connsiteX9" fmla="*/ 274320 w 2667000"/>
                  <a:gd name="connsiteY9" fmla="*/ 456465 h 1523265"/>
                  <a:gd name="connsiteX10" fmla="*/ 1188720 w 2667000"/>
                  <a:gd name="connsiteY10" fmla="*/ 852705 h 1523265"/>
                  <a:gd name="connsiteX11" fmla="*/ 2087880 w 2667000"/>
                  <a:gd name="connsiteY11" fmla="*/ 75465 h 1523265"/>
                  <a:gd name="connsiteX12" fmla="*/ 2367156 w 2667000"/>
                  <a:gd name="connsiteY12" fmla="*/ 1081 h 1523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667000" h="1523265">
                    <a:moveTo>
                      <a:pt x="2367156" y="1081"/>
                    </a:moveTo>
                    <a:cubicBezTo>
                      <a:pt x="2485207" y="-6499"/>
                      <a:pt x="2589208" y="25132"/>
                      <a:pt x="2655347" y="116929"/>
                    </a:cubicBezTo>
                    <a:lnTo>
                      <a:pt x="2667000" y="139181"/>
                    </a:lnTo>
                    <a:lnTo>
                      <a:pt x="2667000" y="1368312"/>
                    </a:lnTo>
                    <a:cubicBezTo>
                      <a:pt x="2667000" y="1453890"/>
                      <a:pt x="2597625" y="1523265"/>
                      <a:pt x="2512047" y="1523265"/>
                    </a:cubicBezTo>
                    <a:lnTo>
                      <a:pt x="154953" y="1523265"/>
                    </a:lnTo>
                    <a:cubicBezTo>
                      <a:pt x="69375" y="1523265"/>
                      <a:pt x="0" y="1453890"/>
                      <a:pt x="0" y="1368312"/>
                    </a:cubicBezTo>
                    <a:lnTo>
                      <a:pt x="0" y="542786"/>
                    </a:lnTo>
                    <a:lnTo>
                      <a:pt x="47982" y="518259"/>
                    </a:lnTo>
                    <a:cubicBezTo>
                      <a:pt x="125889" y="483770"/>
                      <a:pt x="203200" y="460910"/>
                      <a:pt x="274320" y="456465"/>
                    </a:cubicBezTo>
                    <a:cubicBezTo>
                      <a:pt x="558800" y="438685"/>
                      <a:pt x="886460" y="916205"/>
                      <a:pt x="1188720" y="852705"/>
                    </a:cubicBezTo>
                    <a:cubicBezTo>
                      <a:pt x="1490980" y="789205"/>
                      <a:pt x="1836420" y="184685"/>
                      <a:pt x="2087880" y="75465"/>
                    </a:cubicBezTo>
                    <a:cubicBezTo>
                      <a:pt x="2182178" y="34508"/>
                      <a:pt x="2278618" y="6766"/>
                      <a:pt x="2367156" y="1081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accent2">
                      <a:lumMod val="75000"/>
                    </a:schemeClr>
                  </a:gs>
                  <a:gs pos="0">
                    <a:schemeClr val="accent1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dirty="0">
                  <a:latin typeface="方正综艺简体" panose="03000509000000000000" pitchFamily="65" charset="-122"/>
                  <a:cs typeface="思源黑体 CN Regular" panose="020B0500000000000000" charset="-122"/>
                </a:endParaRPr>
              </a:p>
            </p:txBody>
          </p:sp>
        </p:grpSp>
        <p:sp>
          <p:nvSpPr>
            <p:cNvPr id="24" name="Rectangle 23"/>
            <p:cNvSpPr/>
            <p:nvPr/>
          </p:nvSpPr>
          <p:spPr>
            <a:xfrm>
              <a:off x="1776218" y="2996816"/>
              <a:ext cx="2641884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id-ID" b="1" dirty="0">
                  <a:solidFill>
                    <a:schemeClr val="bg1"/>
                  </a:solidFill>
                  <a:latin typeface="方正综艺简体" panose="03000509000000000000" pitchFamily="65" charset="-122"/>
                  <a:ea typeface="等线" panose="02010600030101010101" charset="-122"/>
                  <a:cs typeface="思源黑体 CN Regular" panose="020B0500000000000000" charset="-122"/>
                </a:rPr>
                <a:t>Thank You </a:t>
              </a:r>
              <a:r>
                <a:rPr lang="id-ID" sz="1400" b="1" dirty="0">
                  <a:solidFill>
                    <a:schemeClr val="bg1"/>
                  </a:solidFill>
                  <a:latin typeface="方正综艺简体" panose="03000509000000000000" pitchFamily="65" charset="-122"/>
                  <a:ea typeface="等线" panose="02010600030101010101" charset="-122"/>
                  <a:cs typeface="思源黑体 CN Regular" panose="020B0500000000000000" charset="-122"/>
                </a:rPr>
                <a:t>for your interest in live Stars project!</a:t>
              </a:r>
              <a:endParaRPr lang="en-US" sz="1400" b="1" dirty="0">
                <a:solidFill>
                  <a:schemeClr val="bg1"/>
                </a:solidFill>
                <a:latin typeface="方正综艺简体" panose="03000509000000000000" pitchFamily="65" charset="-122"/>
                <a:ea typeface="等线" panose="02010600030101010101" charset="-122"/>
                <a:cs typeface="思源黑体 CN Regular" panose="020B0500000000000000" charset="-122"/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1732964" y="4428382"/>
              <a:ext cx="2685138" cy="63389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000" dirty="0">
                  <a:solidFill>
                    <a:schemeClr val="bg1"/>
                  </a:solidFill>
                  <a:latin typeface="方正综艺简体" panose="03000509000000000000" pitchFamily="65" charset="-122"/>
                  <a:cs typeface="思源黑体 CN Regular" panose="020B0500000000000000" charset="-122"/>
                </a:rPr>
                <a:t>“This is a sample text. insert your desired text here. Again. this is a dummy text. enter your own text here</a:t>
              </a: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1732964" y="4143006"/>
              <a:ext cx="1522016" cy="28469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50" b="1" dirty="0">
                  <a:solidFill>
                    <a:schemeClr val="bg1"/>
                  </a:solidFill>
                  <a:latin typeface="方正综艺简体" panose="03000509000000000000" pitchFamily="65" charset="-122"/>
                  <a:ea typeface="等线" panose="02010600030101010101" charset="-122"/>
                  <a:cs typeface="思源黑体 CN Regular" panose="020B0500000000000000" charset="-122"/>
                </a:rPr>
                <a:t>299,000</a:t>
              </a:r>
            </a:p>
          </p:txBody>
        </p:sp>
      </p:grpSp>
      <p:sp>
        <p:nvSpPr>
          <p:cNvPr id="32" name="Rectangle 3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670127" y="1868227"/>
            <a:ext cx="3039133" cy="16274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n-US" sz="1200" i="1" dirty="0">
                <a:solidFill>
                  <a:schemeClr val="bg1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“This is a sample text. insert your desired text here. Again. this is a dummy text. enter your own text here. This is a sample text. insert your desired text here. Again. this is a dummy text. enter your own text here.”</a:t>
            </a:r>
          </a:p>
        </p:txBody>
      </p:sp>
      <p:pic>
        <p:nvPicPr>
          <p:cNvPr id="11" name="图片占位符 1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/>
      </p:pic>
      <p:sp>
        <p:nvSpPr>
          <p:cNvPr id="28" name="TextBox 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350990" y="6406120"/>
            <a:ext cx="13548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b="1" dirty="0">
                <a:solidFill>
                  <a:schemeClr val="accent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FREEPPT7</a:t>
            </a:r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 Company</a:t>
            </a:r>
          </a:p>
        </p:txBody>
      </p:sp>
    </p:spTree>
  </p:cSld>
  <p:clrMapOvr>
    <a:masterClrMapping/>
  </p:clrMapOvr>
  <p:transition spd="slow">
    <p:push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Shape 25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350" y="1397001"/>
            <a:ext cx="12179300" cy="1585299"/>
          </a:xfrm>
          <a:prstGeom prst="rect">
            <a:avLst/>
          </a:prstGeom>
          <a:solidFill>
            <a:schemeClr val="accent4">
              <a:lumMod val="75000"/>
            </a:schemeClr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253" name="Shape 25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350" y="2982299"/>
            <a:ext cx="12179300" cy="1585299"/>
          </a:xfrm>
          <a:prstGeom prst="rect">
            <a:avLst/>
          </a:prstGeom>
          <a:solidFill>
            <a:schemeClr val="accent1"/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254" name="Shape 25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350" y="4567851"/>
            <a:ext cx="12179300" cy="1585299"/>
          </a:xfrm>
          <a:prstGeom prst="rect">
            <a:avLst/>
          </a:prstGeom>
          <a:solidFill>
            <a:schemeClr val="accent2"/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255" name="Shape 25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267200" y="1568450"/>
            <a:ext cx="1238250" cy="1238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gradFill>
            <a:gsLst>
              <a:gs pos="0">
                <a:schemeClr val="accent3"/>
              </a:gs>
              <a:gs pos="26313">
                <a:schemeClr val="accent4"/>
              </a:gs>
              <a:gs pos="50259">
                <a:schemeClr val="accent5"/>
              </a:gs>
              <a:gs pos="100000">
                <a:schemeClr val="accent6"/>
              </a:gs>
            </a:gsLst>
            <a:lin ang="16380000"/>
          </a:gradFill>
          <a:ln w="635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256" name="Shape 25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290806" y="1595466"/>
            <a:ext cx="1187630" cy="11876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rgbClr val="5760DC"/>
          </a:solidFill>
          <a:ln w="25400"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257" name="Shape 25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366645" y="1667895"/>
            <a:ext cx="1039360" cy="10393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7" y="2882"/>
                </a:moveTo>
                <a:cubicBezTo>
                  <a:pt x="20639" y="6724"/>
                  <a:pt x="20639" y="12954"/>
                  <a:pt x="16797" y="16797"/>
                </a:cubicBezTo>
                <a:cubicBezTo>
                  <a:pt x="12954" y="20639"/>
                  <a:pt x="6724" y="20639"/>
                  <a:pt x="2882" y="16797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7" y="2882"/>
                </a:cubicBezTo>
              </a:path>
            </a:pathLst>
          </a:custGeom>
          <a:solidFill>
            <a:srgbClr val="EBEBEB"/>
          </a:solidFill>
          <a:ln w="25400">
            <a:solidFill>
              <a:srgbClr val="000000">
                <a:alpha val="0"/>
              </a:srgbClr>
            </a:solidFill>
            <a:miter lim="400000"/>
          </a:ln>
          <a:effectLst>
            <a:outerShdw blurRad="127000" dir="2700000" rotWithShape="0">
              <a:srgbClr val="000000">
                <a:alpha val="11000"/>
              </a:srgbClr>
            </a:outerShdw>
          </a:effectLst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pic>
        <p:nvPicPr>
          <p:cNvPr id="258" name="placeholder.png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366583" y="1670078"/>
            <a:ext cx="1039432" cy="1037242"/>
          </a:xfrm>
          <a:prstGeom prst="rect">
            <a:avLst/>
          </a:prstGeom>
          <a:ln w="12700">
            <a:miter lim="400000"/>
          </a:ln>
        </p:spPr>
      </p:pic>
      <p:sp>
        <p:nvSpPr>
          <p:cNvPr id="259" name="Shape 25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68784" y="1654642"/>
            <a:ext cx="1760097" cy="297517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/>
          <a:p>
            <a:pPr lvl="0" algn="l">
              <a:defRPr sz="1800"/>
            </a:pPr>
            <a:r>
              <a:rPr sz="1600" b="1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Graphic</a:t>
            </a:r>
            <a:r>
              <a:rPr sz="16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 Designer</a:t>
            </a:r>
          </a:p>
        </p:txBody>
      </p:sp>
      <p:sp>
        <p:nvSpPr>
          <p:cNvPr id="261" name="Shape 26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71227" y="3245317"/>
            <a:ext cx="1566454" cy="297517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/>
          <a:p>
            <a:pPr lvl="0" algn="l">
              <a:defRPr sz="1800"/>
            </a:pPr>
            <a:r>
              <a:rPr sz="1600" b="1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Web </a:t>
            </a:r>
            <a:r>
              <a:rPr sz="16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Developer</a:t>
            </a:r>
          </a:p>
        </p:txBody>
      </p:sp>
      <p:sp>
        <p:nvSpPr>
          <p:cNvPr id="263" name="Shape 26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68350" y="4826467"/>
            <a:ext cx="1681551" cy="297517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/>
          <a:p>
            <a:pPr lvl="0" algn="l">
              <a:defRPr sz="1800"/>
            </a:pPr>
            <a:r>
              <a:rPr sz="1600" b="1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Project </a:t>
            </a:r>
            <a:r>
              <a:rPr sz="16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Manager</a:t>
            </a:r>
          </a:p>
        </p:txBody>
      </p:sp>
      <p:sp>
        <p:nvSpPr>
          <p:cNvPr id="265" name="Shape 26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575300" y="1958212"/>
            <a:ext cx="800100" cy="420628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/>
          <a:p>
            <a:pPr lvl="0">
              <a:defRPr sz="1800"/>
            </a:pPr>
            <a:r>
              <a:rPr lang="en-US" altLang="zh-CN" sz="12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HEI</a:t>
            </a:r>
          </a:p>
          <a:p>
            <a:pPr lvl="0">
              <a:defRPr sz="1800"/>
            </a:pPr>
            <a:r>
              <a:rPr lang="en-US" altLang="zh-CN" sz="1200" dirty="0" err="1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jialuo</a:t>
            </a:r>
            <a:endParaRPr lang="en-US" sz="1200" dirty="0">
              <a:solidFill>
                <a:schemeClr val="bg1"/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266" name="Shape 26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470650" y="1568450"/>
            <a:ext cx="1238250" cy="1238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gradFill>
            <a:gsLst>
              <a:gs pos="0">
                <a:schemeClr val="accent3"/>
              </a:gs>
              <a:gs pos="26313">
                <a:schemeClr val="accent4"/>
              </a:gs>
              <a:gs pos="50259">
                <a:schemeClr val="accent5"/>
              </a:gs>
              <a:gs pos="100000">
                <a:schemeClr val="accent6"/>
              </a:gs>
            </a:gsLst>
            <a:lin ang="16380000"/>
          </a:gradFill>
          <a:ln w="635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267" name="Shape 26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494256" y="1595466"/>
            <a:ext cx="1187630" cy="11876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rgbClr val="5760DC"/>
          </a:solidFill>
          <a:ln w="25400"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268" name="Shape 26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570095" y="1667895"/>
            <a:ext cx="1039360" cy="10393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7" y="2882"/>
                </a:moveTo>
                <a:cubicBezTo>
                  <a:pt x="20639" y="6724"/>
                  <a:pt x="20639" y="12954"/>
                  <a:pt x="16797" y="16797"/>
                </a:cubicBezTo>
                <a:cubicBezTo>
                  <a:pt x="12954" y="20639"/>
                  <a:pt x="6724" y="20639"/>
                  <a:pt x="2882" y="16797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7" y="2882"/>
                </a:cubicBezTo>
              </a:path>
            </a:pathLst>
          </a:custGeom>
          <a:solidFill>
            <a:srgbClr val="EBEBEB"/>
          </a:solidFill>
          <a:ln w="25400">
            <a:solidFill>
              <a:srgbClr val="000000">
                <a:alpha val="0"/>
              </a:srgbClr>
            </a:solidFill>
            <a:miter lim="400000"/>
          </a:ln>
          <a:effectLst>
            <a:outerShdw blurRad="127000" dir="2700000" rotWithShape="0">
              <a:srgbClr val="000000">
                <a:alpha val="11000"/>
              </a:srgbClr>
            </a:outerShdw>
          </a:effectLst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pic>
        <p:nvPicPr>
          <p:cNvPr id="269" name="placeholder.png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570033" y="1670078"/>
            <a:ext cx="1039432" cy="1037242"/>
          </a:xfrm>
          <a:prstGeom prst="rect">
            <a:avLst/>
          </a:prstGeom>
          <a:ln w="12700">
            <a:miter lim="400000"/>
          </a:ln>
        </p:spPr>
      </p:pic>
      <p:sp>
        <p:nvSpPr>
          <p:cNvPr id="271" name="Shape 27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680450" y="1568450"/>
            <a:ext cx="1238250" cy="1238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gradFill>
            <a:gsLst>
              <a:gs pos="0">
                <a:schemeClr val="accent3"/>
              </a:gs>
              <a:gs pos="26313">
                <a:schemeClr val="accent4"/>
              </a:gs>
              <a:gs pos="50259">
                <a:schemeClr val="accent5"/>
              </a:gs>
              <a:gs pos="100000">
                <a:schemeClr val="accent6"/>
              </a:gs>
            </a:gsLst>
            <a:lin ang="16380000"/>
          </a:gradFill>
          <a:ln w="635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272" name="Shape 27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704057" y="1595466"/>
            <a:ext cx="1187630" cy="11876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rgbClr val="5760DC"/>
          </a:solidFill>
          <a:ln w="25400"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273" name="Shape 27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779895" y="1667895"/>
            <a:ext cx="1039360" cy="10393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7" y="2882"/>
                </a:moveTo>
                <a:cubicBezTo>
                  <a:pt x="20639" y="6724"/>
                  <a:pt x="20639" y="12954"/>
                  <a:pt x="16797" y="16797"/>
                </a:cubicBezTo>
                <a:cubicBezTo>
                  <a:pt x="12954" y="20639"/>
                  <a:pt x="6724" y="20639"/>
                  <a:pt x="2882" y="16797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7" y="2882"/>
                </a:cubicBezTo>
              </a:path>
            </a:pathLst>
          </a:custGeom>
          <a:solidFill>
            <a:srgbClr val="EBEBEB"/>
          </a:solidFill>
          <a:ln w="25400">
            <a:solidFill>
              <a:srgbClr val="000000">
                <a:alpha val="0"/>
              </a:srgbClr>
            </a:solidFill>
            <a:miter lim="400000"/>
          </a:ln>
          <a:effectLst>
            <a:outerShdw blurRad="127000" dir="2700000" rotWithShape="0">
              <a:srgbClr val="000000">
                <a:alpha val="11000"/>
              </a:srgbClr>
            </a:outerShdw>
          </a:effectLst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pic>
        <p:nvPicPr>
          <p:cNvPr id="274" name="placeholder.png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779833" y="1670078"/>
            <a:ext cx="1039432" cy="1037242"/>
          </a:xfrm>
          <a:prstGeom prst="rect">
            <a:avLst/>
          </a:prstGeom>
          <a:ln w="12700">
            <a:miter lim="400000"/>
          </a:ln>
        </p:spPr>
      </p:pic>
      <p:sp>
        <p:nvSpPr>
          <p:cNvPr id="276" name="Shape 27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flipH="1">
            <a:off x="6248400" y="1555750"/>
            <a:ext cx="0" cy="1264416"/>
          </a:xfrm>
          <a:prstGeom prst="line">
            <a:avLst/>
          </a:prstGeom>
          <a:ln w="12700">
            <a:solidFill>
              <a:schemeClr val="bg1">
                <a:lumMod val="95000"/>
                <a:alpha val="40000"/>
              </a:schemeClr>
            </a:solidFill>
            <a:custDash>
              <a:ds d="200000" sp="200000"/>
            </a:custDash>
            <a:miter lim="400000"/>
          </a:ln>
        </p:spPr>
        <p:txBody>
          <a:bodyPr lIns="0" tIns="0" rIns="0" bIns="0" anchor="ctr"/>
          <a:lstStyle/>
          <a:p>
            <a:pPr defTabSz="2286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600">
              <a:latin typeface="等线" panose="02010600030101010101" charset="-122"/>
              <a:ea typeface="等线" panose="02010600030101010101" charset="-122"/>
              <a:cs typeface="等线" panose="02010600030101010101" charset="-122"/>
              <a:sym typeface="等线" panose="02010600030101010101" charset="-122"/>
            </a:endParaRPr>
          </a:p>
        </p:txBody>
      </p:sp>
      <p:sp>
        <p:nvSpPr>
          <p:cNvPr id="277" name="Shape 27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flipH="1">
            <a:off x="8458200" y="1555750"/>
            <a:ext cx="0" cy="1264416"/>
          </a:xfrm>
          <a:prstGeom prst="line">
            <a:avLst/>
          </a:prstGeom>
          <a:ln w="12700">
            <a:solidFill>
              <a:schemeClr val="bg1">
                <a:lumMod val="95000"/>
                <a:alpha val="40000"/>
              </a:schemeClr>
            </a:solidFill>
            <a:custDash>
              <a:ds d="200000" sp="200000"/>
            </a:custDash>
            <a:miter lim="400000"/>
          </a:ln>
        </p:spPr>
        <p:txBody>
          <a:bodyPr lIns="0" tIns="0" rIns="0" bIns="0" anchor="ctr"/>
          <a:lstStyle/>
          <a:p>
            <a:pPr defTabSz="2286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600">
              <a:latin typeface="等线" panose="02010600030101010101" charset="-122"/>
              <a:ea typeface="等线" panose="02010600030101010101" charset="-122"/>
              <a:cs typeface="等线" panose="02010600030101010101" charset="-122"/>
              <a:sym typeface="等线" panose="02010600030101010101" charset="-122"/>
            </a:endParaRPr>
          </a:p>
        </p:txBody>
      </p:sp>
      <p:sp>
        <p:nvSpPr>
          <p:cNvPr id="278" name="Shape 27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267200" y="3162300"/>
            <a:ext cx="1238250" cy="1238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gradFill>
            <a:gsLst>
              <a:gs pos="0">
                <a:schemeClr val="accent3"/>
              </a:gs>
              <a:gs pos="26313">
                <a:schemeClr val="accent4"/>
              </a:gs>
              <a:gs pos="50259">
                <a:schemeClr val="accent5"/>
              </a:gs>
              <a:gs pos="100000">
                <a:schemeClr val="accent6"/>
              </a:gs>
            </a:gsLst>
            <a:lin ang="16380000"/>
          </a:gradFill>
          <a:ln w="635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279" name="Shape 27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290806" y="3189316"/>
            <a:ext cx="1187630" cy="11876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rgbClr val="42A3E8"/>
          </a:solidFill>
          <a:ln w="25400"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280" name="Shape 28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366645" y="3261745"/>
            <a:ext cx="1039360" cy="10393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7" y="2882"/>
                </a:moveTo>
                <a:cubicBezTo>
                  <a:pt x="20639" y="6724"/>
                  <a:pt x="20639" y="12954"/>
                  <a:pt x="16797" y="16797"/>
                </a:cubicBezTo>
                <a:cubicBezTo>
                  <a:pt x="12954" y="20639"/>
                  <a:pt x="6724" y="20639"/>
                  <a:pt x="2882" y="16797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7" y="2882"/>
                </a:cubicBezTo>
              </a:path>
            </a:pathLst>
          </a:custGeom>
          <a:solidFill>
            <a:srgbClr val="EBEBEB"/>
          </a:solidFill>
          <a:ln w="25400">
            <a:solidFill>
              <a:srgbClr val="000000">
                <a:alpha val="0"/>
              </a:srgbClr>
            </a:solidFill>
            <a:miter lim="400000"/>
          </a:ln>
          <a:effectLst>
            <a:outerShdw blurRad="127000" dir="2700000" rotWithShape="0">
              <a:srgbClr val="000000">
                <a:alpha val="11000"/>
              </a:srgbClr>
            </a:outerShdw>
          </a:effectLst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pic>
        <p:nvPicPr>
          <p:cNvPr id="281" name="placeholder.png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366583" y="3263928"/>
            <a:ext cx="1039432" cy="1037242"/>
          </a:xfrm>
          <a:prstGeom prst="rect">
            <a:avLst/>
          </a:prstGeom>
          <a:ln w="12700">
            <a:miter lim="400000"/>
          </a:ln>
        </p:spPr>
      </p:pic>
      <p:sp>
        <p:nvSpPr>
          <p:cNvPr id="283" name="Shape 28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470650" y="3162300"/>
            <a:ext cx="1238250" cy="1238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gradFill>
            <a:gsLst>
              <a:gs pos="0">
                <a:schemeClr val="accent3"/>
              </a:gs>
              <a:gs pos="26313">
                <a:schemeClr val="accent4"/>
              </a:gs>
              <a:gs pos="50259">
                <a:schemeClr val="accent5"/>
              </a:gs>
              <a:gs pos="100000">
                <a:schemeClr val="accent6"/>
              </a:gs>
            </a:gsLst>
            <a:lin ang="16380000"/>
          </a:gradFill>
          <a:ln w="635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284" name="Shape 28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494256" y="3189316"/>
            <a:ext cx="1187630" cy="11876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rgbClr val="42A3E8"/>
          </a:solidFill>
          <a:ln w="25400"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285" name="Shape 28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570095" y="3261745"/>
            <a:ext cx="1039360" cy="10393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7" y="2882"/>
                </a:moveTo>
                <a:cubicBezTo>
                  <a:pt x="20639" y="6724"/>
                  <a:pt x="20639" y="12954"/>
                  <a:pt x="16797" y="16797"/>
                </a:cubicBezTo>
                <a:cubicBezTo>
                  <a:pt x="12954" y="20639"/>
                  <a:pt x="6724" y="20639"/>
                  <a:pt x="2882" y="16797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7" y="2882"/>
                </a:cubicBezTo>
              </a:path>
            </a:pathLst>
          </a:custGeom>
          <a:solidFill>
            <a:srgbClr val="EBEBEB"/>
          </a:solidFill>
          <a:ln w="25400">
            <a:solidFill>
              <a:srgbClr val="000000">
                <a:alpha val="0"/>
              </a:srgbClr>
            </a:solidFill>
            <a:miter lim="400000"/>
          </a:ln>
          <a:effectLst>
            <a:outerShdw blurRad="127000" dir="2700000" rotWithShape="0">
              <a:srgbClr val="000000">
                <a:alpha val="11000"/>
              </a:srgbClr>
            </a:outerShdw>
          </a:effectLst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pic>
        <p:nvPicPr>
          <p:cNvPr id="286" name="placeholder.png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570033" y="3263928"/>
            <a:ext cx="1039432" cy="1037242"/>
          </a:xfrm>
          <a:prstGeom prst="rect">
            <a:avLst/>
          </a:prstGeom>
          <a:ln w="12700">
            <a:miter lim="400000"/>
          </a:ln>
        </p:spPr>
      </p:pic>
      <p:sp>
        <p:nvSpPr>
          <p:cNvPr id="288" name="Shape 28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680450" y="3162300"/>
            <a:ext cx="1238250" cy="1238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gradFill>
            <a:gsLst>
              <a:gs pos="0">
                <a:schemeClr val="accent3"/>
              </a:gs>
              <a:gs pos="26313">
                <a:schemeClr val="accent4"/>
              </a:gs>
              <a:gs pos="50259">
                <a:schemeClr val="accent5"/>
              </a:gs>
              <a:gs pos="100000">
                <a:schemeClr val="accent6"/>
              </a:gs>
            </a:gsLst>
            <a:lin ang="16380000"/>
          </a:gradFill>
          <a:ln w="635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289" name="Shape 28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704057" y="3189316"/>
            <a:ext cx="1187630" cy="11876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rgbClr val="42A3E8"/>
          </a:solidFill>
          <a:ln w="25400"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290" name="Shape 29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779895" y="3261745"/>
            <a:ext cx="1039360" cy="10393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7" y="2882"/>
                </a:moveTo>
                <a:cubicBezTo>
                  <a:pt x="20639" y="6724"/>
                  <a:pt x="20639" y="12954"/>
                  <a:pt x="16797" y="16797"/>
                </a:cubicBezTo>
                <a:cubicBezTo>
                  <a:pt x="12954" y="20639"/>
                  <a:pt x="6724" y="20639"/>
                  <a:pt x="2882" y="16797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7" y="2882"/>
                </a:cubicBezTo>
              </a:path>
            </a:pathLst>
          </a:custGeom>
          <a:solidFill>
            <a:srgbClr val="EBEBEB"/>
          </a:solidFill>
          <a:ln w="25400">
            <a:solidFill>
              <a:srgbClr val="000000">
                <a:alpha val="0"/>
              </a:srgbClr>
            </a:solidFill>
            <a:miter lim="400000"/>
          </a:ln>
          <a:effectLst>
            <a:outerShdw blurRad="127000" dir="2700000" rotWithShape="0">
              <a:srgbClr val="000000">
                <a:alpha val="11000"/>
              </a:srgbClr>
            </a:outerShdw>
          </a:effectLst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pic>
        <p:nvPicPr>
          <p:cNvPr id="291" name="placeholder.png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779833" y="3263928"/>
            <a:ext cx="1039432" cy="1037242"/>
          </a:xfrm>
          <a:prstGeom prst="rect">
            <a:avLst/>
          </a:prstGeom>
          <a:ln w="12700">
            <a:miter lim="400000"/>
          </a:ln>
        </p:spPr>
      </p:pic>
      <p:sp>
        <p:nvSpPr>
          <p:cNvPr id="293" name="Shape 29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flipH="1">
            <a:off x="6248400" y="3149600"/>
            <a:ext cx="0" cy="1264416"/>
          </a:xfrm>
          <a:prstGeom prst="line">
            <a:avLst/>
          </a:prstGeom>
          <a:ln w="12700">
            <a:solidFill>
              <a:schemeClr val="bg1">
                <a:lumMod val="95000"/>
                <a:alpha val="40000"/>
              </a:schemeClr>
            </a:solidFill>
            <a:custDash>
              <a:ds d="200000" sp="200000"/>
            </a:custDash>
            <a:miter lim="400000"/>
          </a:ln>
        </p:spPr>
        <p:txBody>
          <a:bodyPr lIns="0" tIns="0" rIns="0" bIns="0" anchor="ctr"/>
          <a:lstStyle/>
          <a:p>
            <a:pPr defTabSz="2286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600">
              <a:latin typeface="等线" panose="02010600030101010101" charset="-122"/>
              <a:ea typeface="等线" panose="02010600030101010101" charset="-122"/>
              <a:cs typeface="等线" panose="02010600030101010101" charset="-122"/>
              <a:sym typeface="等线" panose="02010600030101010101" charset="-122"/>
            </a:endParaRPr>
          </a:p>
        </p:txBody>
      </p:sp>
      <p:sp>
        <p:nvSpPr>
          <p:cNvPr id="294" name="Shape 29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flipH="1">
            <a:off x="8458200" y="3149600"/>
            <a:ext cx="0" cy="1264416"/>
          </a:xfrm>
          <a:prstGeom prst="line">
            <a:avLst/>
          </a:prstGeom>
          <a:ln w="12700">
            <a:solidFill>
              <a:schemeClr val="bg1">
                <a:lumMod val="95000"/>
                <a:alpha val="40000"/>
              </a:schemeClr>
            </a:solidFill>
            <a:custDash>
              <a:ds d="200000" sp="200000"/>
            </a:custDash>
            <a:miter lim="400000"/>
          </a:ln>
        </p:spPr>
        <p:txBody>
          <a:bodyPr lIns="0" tIns="0" rIns="0" bIns="0" anchor="ctr"/>
          <a:lstStyle/>
          <a:p>
            <a:pPr defTabSz="2286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600">
              <a:latin typeface="等线" panose="02010600030101010101" charset="-122"/>
              <a:ea typeface="等线" panose="02010600030101010101" charset="-122"/>
              <a:cs typeface="等线" panose="02010600030101010101" charset="-122"/>
              <a:sym typeface="等线" panose="02010600030101010101" charset="-122"/>
            </a:endParaRPr>
          </a:p>
        </p:txBody>
      </p:sp>
      <p:sp>
        <p:nvSpPr>
          <p:cNvPr id="295" name="Shape 29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267200" y="4737100"/>
            <a:ext cx="1238250" cy="1238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gradFill>
            <a:gsLst>
              <a:gs pos="0">
                <a:schemeClr val="accent3"/>
              </a:gs>
              <a:gs pos="26313">
                <a:schemeClr val="accent4"/>
              </a:gs>
              <a:gs pos="50259">
                <a:schemeClr val="accent5"/>
              </a:gs>
              <a:gs pos="100000">
                <a:schemeClr val="accent6"/>
              </a:gs>
            </a:gsLst>
            <a:lin ang="16380000"/>
          </a:gradFill>
          <a:ln w="635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296" name="Shape 29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290806" y="4764116"/>
            <a:ext cx="1187630" cy="11876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rgbClr val="2DCBA1"/>
          </a:solidFill>
          <a:ln w="25400"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297" name="Shape 29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4366645" y="4836545"/>
            <a:ext cx="1039360" cy="10393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7" y="2882"/>
                </a:moveTo>
                <a:cubicBezTo>
                  <a:pt x="20639" y="6724"/>
                  <a:pt x="20639" y="12954"/>
                  <a:pt x="16797" y="16797"/>
                </a:cubicBezTo>
                <a:cubicBezTo>
                  <a:pt x="12954" y="20639"/>
                  <a:pt x="6724" y="20639"/>
                  <a:pt x="2882" y="16797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7" y="2882"/>
                </a:cubicBezTo>
              </a:path>
            </a:pathLst>
          </a:custGeom>
          <a:solidFill>
            <a:srgbClr val="EBEBEB"/>
          </a:solidFill>
          <a:ln w="25400">
            <a:solidFill>
              <a:srgbClr val="000000">
                <a:alpha val="0"/>
              </a:srgbClr>
            </a:solidFill>
            <a:miter lim="400000"/>
          </a:ln>
          <a:effectLst>
            <a:outerShdw blurRad="127000" dir="2700000" rotWithShape="0">
              <a:srgbClr val="000000">
                <a:alpha val="11000"/>
              </a:srgbClr>
            </a:outerShdw>
          </a:effectLst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pic>
        <p:nvPicPr>
          <p:cNvPr id="298" name="placeholder.png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366583" y="4838728"/>
            <a:ext cx="1039432" cy="1037242"/>
          </a:xfrm>
          <a:prstGeom prst="rect">
            <a:avLst/>
          </a:prstGeom>
          <a:ln w="12700">
            <a:miter lim="400000"/>
          </a:ln>
        </p:spPr>
      </p:pic>
      <p:sp>
        <p:nvSpPr>
          <p:cNvPr id="300" name="Shape 30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470650" y="4737100"/>
            <a:ext cx="1238250" cy="1238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gradFill>
            <a:gsLst>
              <a:gs pos="0">
                <a:schemeClr val="accent3"/>
              </a:gs>
              <a:gs pos="26313">
                <a:schemeClr val="accent4"/>
              </a:gs>
              <a:gs pos="50259">
                <a:schemeClr val="accent5"/>
              </a:gs>
              <a:gs pos="100000">
                <a:schemeClr val="accent6"/>
              </a:gs>
            </a:gsLst>
            <a:lin ang="16380000"/>
          </a:gradFill>
          <a:ln w="635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01" name="Shape 30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494256" y="4764116"/>
            <a:ext cx="1187630" cy="11876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rgbClr val="2DCBA1"/>
          </a:solidFill>
          <a:ln w="25400"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02" name="Shape 30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570095" y="4836545"/>
            <a:ext cx="1039360" cy="10393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7" y="2882"/>
                </a:moveTo>
                <a:cubicBezTo>
                  <a:pt x="20639" y="6724"/>
                  <a:pt x="20639" y="12954"/>
                  <a:pt x="16797" y="16797"/>
                </a:cubicBezTo>
                <a:cubicBezTo>
                  <a:pt x="12954" y="20639"/>
                  <a:pt x="6724" y="20639"/>
                  <a:pt x="2882" y="16797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7" y="2882"/>
                </a:cubicBezTo>
              </a:path>
            </a:pathLst>
          </a:custGeom>
          <a:solidFill>
            <a:srgbClr val="EBEBEB"/>
          </a:solidFill>
          <a:ln w="25400">
            <a:solidFill>
              <a:srgbClr val="000000">
                <a:alpha val="0"/>
              </a:srgbClr>
            </a:solidFill>
            <a:miter lim="400000"/>
          </a:ln>
          <a:effectLst>
            <a:outerShdw blurRad="127000" dir="2700000" rotWithShape="0">
              <a:srgbClr val="000000">
                <a:alpha val="11000"/>
              </a:srgbClr>
            </a:outerShdw>
          </a:effectLst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pic>
        <p:nvPicPr>
          <p:cNvPr id="303" name="placeholder.png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570033" y="4838728"/>
            <a:ext cx="1039432" cy="1037242"/>
          </a:xfrm>
          <a:prstGeom prst="rect">
            <a:avLst/>
          </a:prstGeom>
          <a:ln w="12700">
            <a:miter lim="400000"/>
          </a:ln>
        </p:spPr>
      </p:pic>
      <p:sp>
        <p:nvSpPr>
          <p:cNvPr id="305" name="Shape 30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680450" y="4737100"/>
            <a:ext cx="1238250" cy="1238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gradFill>
            <a:gsLst>
              <a:gs pos="0">
                <a:schemeClr val="accent3"/>
              </a:gs>
              <a:gs pos="26313">
                <a:schemeClr val="accent4"/>
              </a:gs>
              <a:gs pos="50259">
                <a:schemeClr val="accent5"/>
              </a:gs>
              <a:gs pos="100000">
                <a:schemeClr val="accent6"/>
              </a:gs>
            </a:gsLst>
            <a:lin ang="16380000"/>
          </a:gradFill>
          <a:ln w="635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06" name="Shape 30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704057" y="4764116"/>
            <a:ext cx="1187630" cy="11876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rgbClr val="2DCBA1"/>
          </a:solidFill>
          <a:ln w="25400"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sp>
        <p:nvSpPr>
          <p:cNvPr id="307" name="Shape 30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8779895" y="4836545"/>
            <a:ext cx="1039360" cy="10393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7" y="2882"/>
                </a:moveTo>
                <a:cubicBezTo>
                  <a:pt x="20639" y="6724"/>
                  <a:pt x="20639" y="12954"/>
                  <a:pt x="16797" y="16797"/>
                </a:cubicBezTo>
                <a:cubicBezTo>
                  <a:pt x="12954" y="20639"/>
                  <a:pt x="6724" y="20639"/>
                  <a:pt x="2882" y="16797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7" y="2882"/>
                </a:cubicBezTo>
              </a:path>
            </a:pathLst>
          </a:custGeom>
          <a:solidFill>
            <a:srgbClr val="EBEBEB"/>
          </a:solidFill>
          <a:ln w="25400">
            <a:solidFill>
              <a:srgbClr val="000000">
                <a:alpha val="0"/>
              </a:srgbClr>
            </a:solidFill>
            <a:miter lim="400000"/>
          </a:ln>
          <a:effectLst>
            <a:outerShdw blurRad="127000" dir="2700000" rotWithShape="0">
              <a:srgbClr val="000000">
                <a:alpha val="11000"/>
              </a:srgbClr>
            </a:outerShdw>
          </a:effectLst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方正综艺简体" panose="03000509000000000000" pitchFamily="65" charset="-122"/>
              <a:cs typeface="思源黑体 CN Regular" panose="020B0500000000000000" charset="-122"/>
            </a:endParaRPr>
          </a:p>
        </p:txBody>
      </p:sp>
      <p:pic>
        <p:nvPicPr>
          <p:cNvPr id="308" name="placeholder.png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779833" y="4838728"/>
            <a:ext cx="1039432" cy="1037242"/>
          </a:xfrm>
          <a:prstGeom prst="rect">
            <a:avLst/>
          </a:prstGeom>
          <a:ln w="12700">
            <a:miter lim="400000"/>
          </a:ln>
        </p:spPr>
      </p:pic>
      <p:sp>
        <p:nvSpPr>
          <p:cNvPr id="310" name="Shape 31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flipH="1">
            <a:off x="6248400" y="4724400"/>
            <a:ext cx="0" cy="1264416"/>
          </a:xfrm>
          <a:prstGeom prst="line">
            <a:avLst/>
          </a:prstGeom>
          <a:ln w="12700">
            <a:solidFill>
              <a:schemeClr val="bg1">
                <a:lumMod val="95000"/>
                <a:alpha val="40000"/>
              </a:schemeClr>
            </a:solidFill>
            <a:custDash>
              <a:ds d="200000" sp="200000"/>
            </a:custDash>
            <a:miter lim="400000"/>
          </a:ln>
        </p:spPr>
        <p:txBody>
          <a:bodyPr lIns="0" tIns="0" rIns="0" bIns="0" anchor="ctr"/>
          <a:lstStyle/>
          <a:p>
            <a:pPr defTabSz="2286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600">
              <a:latin typeface="等线" panose="02010600030101010101" charset="-122"/>
              <a:ea typeface="等线" panose="02010600030101010101" charset="-122"/>
              <a:cs typeface="等线" panose="02010600030101010101" charset="-122"/>
              <a:sym typeface="等线" panose="02010600030101010101" charset="-122"/>
            </a:endParaRPr>
          </a:p>
        </p:txBody>
      </p:sp>
      <p:sp>
        <p:nvSpPr>
          <p:cNvPr id="311" name="Shape 31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 flipH="1">
            <a:off x="8458200" y="4724400"/>
            <a:ext cx="0" cy="1264416"/>
          </a:xfrm>
          <a:prstGeom prst="line">
            <a:avLst/>
          </a:prstGeom>
          <a:ln w="12700">
            <a:solidFill>
              <a:schemeClr val="bg1">
                <a:lumMod val="95000"/>
                <a:alpha val="40000"/>
              </a:schemeClr>
            </a:solidFill>
            <a:custDash>
              <a:ds d="200000" sp="200000"/>
            </a:custDash>
            <a:miter lim="400000"/>
          </a:ln>
        </p:spPr>
        <p:txBody>
          <a:bodyPr lIns="0" tIns="0" rIns="0" bIns="0" anchor="ctr"/>
          <a:lstStyle/>
          <a:p>
            <a:pPr defTabSz="2286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600">
              <a:latin typeface="等线" panose="02010600030101010101" charset="-122"/>
              <a:ea typeface="等线" panose="02010600030101010101" charset="-122"/>
              <a:cs typeface="等线" panose="02010600030101010101" charset="-122"/>
              <a:sym typeface="等线" panose="02010600030101010101" charset="-122"/>
            </a:endParaRPr>
          </a:p>
        </p:txBody>
      </p:sp>
      <p:pic>
        <p:nvPicPr>
          <p:cNvPr id="11" name="图片占位符 10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/>
      </p:pic>
      <p:pic>
        <p:nvPicPr>
          <p:cNvPr id="12" name="图片占位符 1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Grp="1" noChangeAspect="1"/>
          </p:cNvPicPr>
          <p:nvPr>
            <p:ph type="pic" sz="quarter" idx="1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/>
      </p:pic>
      <p:pic>
        <p:nvPicPr>
          <p:cNvPr id="13" name="图片占位符 12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/>
      </p:pic>
      <p:pic>
        <p:nvPicPr>
          <p:cNvPr id="14" name="图片占位符 13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Grp="1" noChangeAspect="1"/>
          </p:cNvPicPr>
          <p:nvPr>
            <p:ph type="pic" sz="quarter" idx="13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/>
      </p:pic>
      <p:pic>
        <p:nvPicPr>
          <p:cNvPr id="15" name="图片占位符 14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Grp="1" noChangeAspect="1"/>
          </p:cNvPicPr>
          <p:nvPr>
            <p:ph type="pic" sz="quarter" idx="14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/>
      </p:pic>
      <p:pic>
        <p:nvPicPr>
          <p:cNvPr id="16" name="图片占位符 1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Grp="1" noChangeAspect="1"/>
          </p:cNvPicPr>
          <p:nvPr>
            <p:ph type="pic" sz="quarter" idx="15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/>
      </p:pic>
      <p:pic>
        <p:nvPicPr>
          <p:cNvPr id="17" name="图片占位符 16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Grp="1" noChangeAspect="1"/>
          </p:cNvPicPr>
          <p:nvPr>
            <p:ph type="pic" sz="quarter" idx="16"/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/>
      </p:pic>
      <p:pic>
        <p:nvPicPr>
          <p:cNvPr id="18" name="图片占位符 17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Grp="1" noChangeAspect="1"/>
          </p:cNvPicPr>
          <p:nvPr>
            <p:ph type="pic" sz="quarter" idx="17"/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/>
      </p:pic>
      <p:pic>
        <p:nvPicPr>
          <p:cNvPr id="19" name="图片占位符 18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PicPr>
            <a:picLocks noGrp="1" noChangeAspect="1"/>
          </p:cNvPicPr>
          <p:nvPr>
            <p:ph type="pic" sz="quarter" idx="18"/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/>
      </p:pic>
      <p:sp>
        <p:nvSpPr>
          <p:cNvPr id="74" name="Shape 249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94432" y="545080"/>
            <a:ext cx="3534668" cy="605294"/>
          </a:xfrm>
          <a:prstGeom prst="rect">
            <a:avLst/>
          </a:prstGeom>
          <a:ln w="12700">
            <a:miter lim="400000"/>
          </a:ln>
        </p:spPr>
        <p:txBody>
          <a:bodyPr wrap="square" lIns="25400" tIns="25400" rIns="25400" bIns="25400" anchor="ctr">
            <a:spAutoFit/>
          </a:bodyPr>
          <a:lstStyle>
            <a:lvl1pPr algn="l">
              <a:defRPr sz="4000" b="1">
                <a:solidFill>
                  <a:srgbClr val="232323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3600" dirty="0">
                <a:solidFill>
                  <a:schemeClr val="tx2">
                    <a:lumMod val="7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Meet </a:t>
            </a:r>
            <a:r>
              <a:rPr lang="en-US" sz="3600" dirty="0">
                <a:solidFill>
                  <a:schemeClr val="tx2">
                    <a:lumMod val="7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Our Team</a:t>
            </a:r>
            <a:endParaRPr sz="3600" dirty="0">
              <a:solidFill>
                <a:schemeClr val="tx2">
                  <a:lumMod val="75000"/>
                </a:schemeClr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76" name="Rectangle 3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88177" y="1968972"/>
            <a:ext cx="3039133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n-US" sz="1200" dirty="0">
                <a:solidFill>
                  <a:schemeClr val="bg1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This is a sample text. insert your desired text here. Again. this is a dummy text. enter your own text here. </a:t>
            </a:r>
          </a:p>
        </p:txBody>
      </p:sp>
      <p:sp>
        <p:nvSpPr>
          <p:cNvPr id="77" name="Rectangle 3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07227" y="3569172"/>
            <a:ext cx="3039133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n-US" sz="1200" dirty="0">
                <a:solidFill>
                  <a:schemeClr val="bg1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This is a sample text. insert your desired text here. Again. this is a dummy text. enter your own text here. </a:t>
            </a:r>
          </a:p>
        </p:txBody>
      </p:sp>
      <p:sp>
        <p:nvSpPr>
          <p:cNvPr id="78" name="Rectangle 31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688177" y="5188422"/>
            <a:ext cx="3039133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n-US" sz="1200" dirty="0">
                <a:solidFill>
                  <a:schemeClr val="bg1"/>
                </a:solidFill>
                <a:latin typeface="方正综艺简体" panose="03000509000000000000" pitchFamily="65" charset="-122"/>
                <a:cs typeface="思源黑体 CN Regular" panose="020B0500000000000000" charset="-122"/>
              </a:rPr>
              <a:t>This is a sample text. insert your desired text here. Again. this is a dummy text. enter your own text here. </a:t>
            </a:r>
          </a:p>
        </p:txBody>
      </p:sp>
      <p:sp>
        <p:nvSpPr>
          <p:cNvPr id="79" name="Shape 26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804150" y="1958212"/>
            <a:ext cx="800100" cy="420628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/>
          <a:p>
            <a:pPr lvl="0">
              <a:defRPr sz="1800"/>
            </a:pPr>
            <a:r>
              <a:rPr lang="en-US" altLang="zh-CN" sz="12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HEI</a:t>
            </a:r>
          </a:p>
          <a:p>
            <a:pPr lvl="0">
              <a:defRPr sz="1800"/>
            </a:pPr>
            <a:r>
              <a:rPr lang="en-US" altLang="zh-CN" sz="1200" dirty="0" err="1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jialuo</a:t>
            </a:r>
            <a:endParaRPr lang="en-US" sz="1200" dirty="0">
              <a:solidFill>
                <a:schemeClr val="bg1"/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80" name="Shape 26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0033000" y="1958212"/>
            <a:ext cx="800100" cy="420628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/>
          <a:p>
            <a:pPr lvl="0">
              <a:defRPr sz="1800"/>
            </a:pPr>
            <a:r>
              <a:rPr lang="en-US" altLang="zh-CN" sz="12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HEI</a:t>
            </a:r>
          </a:p>
          <a:p>
            <a:pPr lvl="0">
              <a:defRPr sz="1800"/>
            </a:pPr>
            <a:r>
              <a:rPr lang="en-US" altLang="zh-CN" sz="1200" dirty="0" err="1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jialuo</a:t>
            </a:r>
            <a:endParaRPr lang="en-US" sz="1200" dirty="0">
              <a:solidFill>
                <a:schemeClr val="bg1"/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81" name="Shape 26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594350" y="3596512"/>
            <a:ext cx="800100" cy="420628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/>
          <a:p>
            <a:pPr lvl="0">
              <a:defRPr sz="1800"/>
            </a:pPr>
            <a:r>
              <a:rPr lang="en-US" altLang="zh-CN" sz="12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HEI</a:t>
            </a:r>
          </a:p>
          <a:p>
            <a:pPr lvl="0">
              <a:defRPr sz="1800"/>
            </a:pPr>
            <a:r>
              <a:rPr lang="en-US" altLang="zh-CN" sz="1200" dirty="0" err="1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jialuo</a:t>
            </a:r>
            <a:endParaRPr lang="en-US" sz="1200" dirty="0">
              <a:solidFill>
                <a:schemeClr val="bg1"/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82" name="Shape 26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823200" y="3596512"/>
            <a:ext cx="800100" cy="420628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/>
          <a:p>
            <a:pPr lvl="0">
              <a:defRPr sz="1800"/>
            </a:pPr>
            <a:r>
              <a:rPr lang="en-US" altLang="zh-CN" sz="12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HEI</a:t>
            </a:r>
          </a:p>
          <a:p>
            <a:pPr lvl="0">
              <a:defRPr sz="1800"/>
            </a:pPr>
            <a:r>
              <a:rPr lang="en-US" altLang="zh-CN" sz="1200" dirty="0" err="1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jialuo</a:t>
            </a:r>
            <a:endParaRPr lang="en-US" sz="1200" dirty="0">
              <a:solidFill>
                <a:schemeClr val="bg1"/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83" name="Shape 26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0052050" y="3596512"/>
            <a:ext cx="800100" cy="420628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/>
          <a:p>
            <a:pPr lvl="0">
              <a:defRPr sz="1800"/>
            </a:pPr>
            <a:r>
              <a:rPr lang="en-US" altLang="zh-CN" sz="12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HEI</a:t>
            </a:r>
          </a:p>
          <a:p>
            <a:pPr lvl="0">
              <a:defRPr sz="1800"/>
            </a:pPr>
            <a:r>
              <a:rPr lang="en-US" altLang="zh-CN" sz="1200" dirty="0" err="1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jialuo</a:t>
            </a:r>
            <a:endParaRPr lang="en-US" sz="1200" dirty="0">
              <a:solidFill>
                <a:schemeClr val="bg1"/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84" name="Shape 26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5613400" y="5120512"/>
            <a:ext cx="800100" cy="420628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/>
          <a:p>
            <a:pPr lvl="0">
              <a:defRPr sz="1800"/>
            </a:pPr>
            <a:r>
              <a:rPr lang="en-US" altLang="zh-CN" sz="12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HEI</a:t>
            </a:r>
          </a:p>
          <a:p>
            <a:pPr lvl="0">
              <a:defRPr sz="1800"/>
            </a:pPr>
            <a:r>
              <a:rPr lang="en-US" altLang="zh-CN" sz="1200" dirty="0" err="1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jialuo</a:t>
            </a:r>
            <a:endParaRPr lang="en-US" sz="1200" dirty="0">
              <a:solidFill>
                <a:schemeClr val="bg1"/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85" name="Shape 26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7842250" y="5120512"/>
            <a:ext cx="800100" cy="420628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/>
          <a:p>
            <a:pPr lvl="0">
              <a:defRPr sz="1800"/>
            </a:pPr>
            <a:r>
              <a:rPr lang="en-US" altLang="zh-CN" sz="12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HEI</a:t>
            </a:r>
          </a:p>
          <a:p>
            <a:pPr lvl="0">
              <a:defRPr sz="1800"/>
            </a:pPr>
            <a:r>
              <a:rPr lang="en-US" altLang="zh-CN" sz="1200" dirty="0" err="1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jialuo</a:t>
            </a:r>
            <a:endParaRPr lang="en-US" sz="1200" dirty="0">
              <a:solidFill>
                <a:schemeClr val="bg1"/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86" name="Shape 26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/>
          <p:nvPr/>
        </p:nvSpPr>
        <p:spPr>
          <a:xfrm>
            <a:off x="10071100" y="5120512"/>
            <a:ext cx="800100" cy="420628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/>
          <a:p>
            <a:pPr lvl="0">
              <a:defRPr sz="1800"/>
            </a:pPr>
            <a:r>
              <a:rPr lang="en-US" altLang="zh-CN" sz="1200" dirty="0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HEI</a:t>
            </a:r>
          </a:p>
          <a:p>
            <a:pPr lvl="0">
              <a:defRPr sz="1800"/>
            </a:pPr>
            <a:r>
              <a:rPr lang="en-US" altLang="zh-CN" sz="1200" dirty="0" err="1">
                <a:solidFill>
                  <a:schemeClr val="bg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  <a:sym typeface="思源黑体 CN Regular"/>
              </a:rPr>
              <a:t>jialuo</a:t>
            </a:r>
            <a:endParaRPr lang="en-US" sz="1200" dirty="0">
              <a:solidFill>
                <a:schemeClr val="bg1"/>
              </a:solidFill>
              <a:latin typeface="方正综艺简体" panose="03000509000000000000" pitchFamily="65" charset="-122"/>
              <a:ea typeface="方正综艺简体" panose="03000509000000000000" pitchFamily="65" charset="-122"/>
              <a:cs typeface="思源黑体 CN Regular" panose="020B0500000000000000" charset="-122"/>
              <a:sym typeface="思源黑体 CN Regular"/>
            </a:endParaRPr>
          </a:p>
        </p:txBody>
      </p:sp>
      <p:sp>
        <p:nvSpPr>
          <p:cNvPr id="73" name="TextBox 5" descr="e7d195523061f1c03a90ee8e42cb24248e56383cd534985688F9F494128731F165EE95AB4B0C0A38076AAEA07667B1565C446FC45FF01DFB0E885BCDBDF3A284F3DB14DA61DD97F0BAB2E6C668FB49317BA98E6F6ED1654B0D97AE33B58339FE4F3A95CE9A4143B700A146A9D5F01CDE55384FAB5A882E11D18F4004CECB65BF6FEB59F85F0AE848AA0FA7B765B31D51"/>
          <p:cNvSpPr txBox="1"/>
          <p:nvPr/>
        </p:nvSpPr>
        <p:spPr>
          <a:xfrm>
            <a:off x="350990" y="6406120"/>
            <a:ext cx="13548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b="1" dirty="0">
                <a:solidFill>
                  <a:schemeClr val="accent1"/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FREEPPT7</a:t>
            </a:r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方正综艺简体" panose="03000509000000000000" pitchFamily="65" charset="-122"/>
                <a:ea typeface="方正综艺简体" panose="03000509000000000000" pitchFamily="65" charset="-122"/>
                <a:cs typeface="思源黑体 CN Regular" panose="020B0500000000000000" charset="-122"/>
              </a:rPr>
              <a:t> Company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42000"/>
  <p:tag name="AS_OS" val="Microsoft Windows NT 6.1.7601 Service Pack 1"/>
  <p:tag name="AS_RELEASE_DATE" val="2022.11.14"/>
  <p:tag name="AS_TITLE" val="Aspose.Slides for .NET 4.0 Client Profile"/>
  <p:tag name="AS_VERSION" val="22.11"/>
  <p:tag name="COMMONDATA" val="eyJoZGlkIjoiMmMxNzY4NzliODJmOGYzMWEyZDdkODA0MWI0NTdiODcifQ=="/>
  <p:tag name="KSO_WPP_MARK_KEY" val="052ee8b5-143e-457d-b2e5-c4401cff65c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heme/theme1.xml><?xml version="1.0" encoding="utf-8"?>
<a:theme xmlns:a="http://schemas.openxmlformats.org/drawingml/2006/main" name="www.freeppt7.com">
  <a:themeElements>
    <a:clrScheme name="Office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65BADA"/>
      </a:accent1>
      <a:accent2>
        <a:srgbClr val="343399"/>
      </a:accent2>
      <a:accent3>
        <a:srgbClr val="BB7FB5"/>
      </a:accent3>
      <a:accent4>
        <a:srgbClr val="6353A0"/>
      </a:accent4>
      <a:accent5>
        <a:srgbClr val="16D7F7"/>
      </a:accent5>
      <a:accent6>
        <a:srgbClr val="A960FB"/>
      </a:accent6>
      <a:hlink>
        <a:srgbClr val="4472C4"/>
      </a:hlink>
      <a:folHlink>
        <a:srgbClr val="BFBFBF"/>
      </a:folHlink>
    </a:clrScheme>
    <a:fontScheme name="自定义 6">
      <a:majorFont>
        <a:latin typeface="思源黑体 CN Regular"/>
        <a:ea typeface="思源黑体 CN Regular"/>
        <a:cs typeface="Arial"/>
      </a:majorFont>
      <a:minorFont>
        <a:latin typeface="思源黑体 CN Regular"/>
        <a:ea typeface="思源黑体 CN Norm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ww.jpppt.com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宋体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宋体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Calibri Light"/>
        <a:cs typeface="Arial"/>
        <a:font script="Jpan" typeface="ＭＳ Ｐゴシック"/>
        <a:font script="Hang" typeface="맑은 고딕"/>
        <a:font script="Hans" typeface="思源黑体 CN Regular"/>
        <a:font script="Hant" typeface="新細明體"/>
        <a:font script="Arab" typeface="思源黑体 CN Regular"/>
        <a:font script="Hebr" typeface="思源黑体 CN Regular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思源黑体 CN Regular"/>
        <a:font script="Uigh" typeface="Microsoft Uighur"/>
        <a:font script="Geor" typeface="Sylfaen"/>
      </a:majorFont>
      <a:minorFont>
        <a:latin typeface="思源黑体 CN Regular"/>
        <a:ea typeface="思源黑体 CN Regular"/>
        <a:cs typeface="Arial"/>
        <a:font script="Jpan" typeface="ＭＳ Ｐゴシック"/>
        <a:font script="Hang" typeface="맑은 고딕"/>
        <a:font script="Hans" typeface="思源黑体 CN Regular"/>
        <a:font script="Hant" typeface="新細明體"/>
        <a:font script="Arab" typeface="思源黑体 CN Regular"/>
        <a:font script="Hebr" typeface="思源黑体 CN Regular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思源黑体 CN Regular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Calibri Light"/>
        <a:cs typeface="Arial"/>
        <a:font script="Jpan" typeface="ＭＳ Ｐゴシック"/>
        <a:font script="Hang" typeface="맑은 고딕"/>
        <a:font script="Hans" typeface="思源黑体 CN Regular"/>
        <a:font script="Hant" typeface="新細明體"/>
        <a:font script="Arab" typeface="思源黑体 CN Regular"/>
        <a:font script="Hebr" typeface="思源黑体 CN Regular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思源黑体 CN Regular"/>
        <a:font script="Uigh" typeface="Microsoft Uighur"/>
        <a:font script="Geor" typeface="Sylfaen"/>
      </a:majorFont>
      <a:minorFont>
        <a:latin typeface="思源黑体 CN Regular"/>
        <a:ea typeface="思源黑体 CN Regular"/>
        <a:cs typeface="Arial"/>
        <a:font script="Jpan" typeface="ＭＳ Ｐゴシック"/>
        <a:font script="Hang" typeface="맑은 고딕"/>
        <a:font script="Hans" typeface="思源黑体 CN Regular"/>
        <a:font script="Hant" typeface="新細明體"/>
        <a:font script="Arab" typeface="思源黑体 CN Regular"/>
        <a:font script="Hebr" typeface="思源黑体 CN Regular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思源黑体 CN Regular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</Template>
  <TotalTime>26</TotalTime>
  <Words>3072</Words>
  <Application>Microsoft Office PowerPoint</Application>
  <PresentationFormat>宽屏</PresentationFormat>
  <Paragraphs>463</Paragraphs>
  <Slides>34</Slides>
  <Notes>33</Notes>
  <HiddenSlides>0</HiddenSlides>
  <MMClips>0</MMClips>
  <ScaleCrop>false</ScaleCrop>
  <HeadingPairs>
    <vt:vector size="6" baseType="variant">
      <vt:variant>
        <vt:lpstr>已用的字体</vt:lpstr>
      </vt:variant>
      <vt:variant>
        <vt:i4>6</vt:i4>
      </vt:variant>
      <vt:variant>
        <vt:lpstr>主题</vt:lpstr>
      </vt:variant>
      <vt:variant>
        <vt:i4>2</vt:i4>
      </vt:variant>
      <vt:variant>
        <vt:lpstr>幻灯片标题</vt:lpstr>
      </vt:variant>
      <vt:variant>
        <vt:i4>34</vt:i4>
      </vt:variant>
    </vt:vector>
  </HeadingPairs>
  <TitlesOfParts>
    <vt:vector size="42" baseType="lpstr">
      <vt:lpstr>等线</vt:lpstr>
      <vt:lpstr>方正综艺简体</vt:lpstr>
      <vt:lpstr>华文细黑</vt:lpstr>
      <vt:lpstr>微软雅黑 Light</vt:lpstr>
      <vt:lpstr>Arial</vt:lpstr>
      <vt:lpstr>MS Reference Sans Serif</vt:lpstr>
      <vt:lpstr>www.freeppt7.com</vt:lpstr>
      <vt:lpstr>www.jpppt.com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cp:lastModifiedBy>kaiweiliu9209@outlook.com</cp:lastModifiedBy>
  <cp:revision>2</cp:revision>
  <dcterms:created xsi:type="dcterms:W3CDTF">2018-05-31T06:00:00Z</dcterms:created>
  <dcterms:modified xsi:type="dcterms:W3CDTF">2024-11-06T11:46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B35B4AD49795404B8725CF4350281622</vt:lpwstr>
  </property>
  <property fmtid="{D5CDD505-2E9C-101B-9397-08002B2CF9AE}" pid="3" name="KSOProductBuildVer">
    <vt:lpwstr>2052-12.1.0.18276</vt:lpwstr>
  </property>
</Properties>
</file>